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60" r:id="rId3"/>
  </p:sldMasterIdLst>
  <p:notesMasterIdLst>
    <p:notesMasterId r:id="rId5"/>
  </p:notesMasterIdLst>
  <p:handoutMasterIdLst>
    <p:handoutMasterId r:id="rId6"/>
  </p:handoutMasterIdLst>
  <p:sldIdLst>
    <p:sldId id="2147481292" r:id="rId4"/>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02" autoAdjust="0"/>
    <p:restoredTop sz="96327"/>
  </p:normalViewPr>
  <p:slideViewPr>
    <p:cSldViewPr snapToGrid="0">
      <p:cViewPr varScale="1">
        <p:scale>
          <a:sx n="71" d="100"/>
          <a:sy n="71" d="100"/>
        </p:scale>
        <p:origin x="704" y="44"/>
      </p:cViewPr>
      <p:guideLst/>
    </p:cSldViewPr>
  </p:slideViewPr>
  <p:notesTextViewPr>
    <p:cViewPr>
      <p:scale>
        <a:sx n="1" d="1"/>
        <a:sy n="1" d="1"/>
      </p:scale>
      <p:origin x="0" y="0"/>
    </p:cViewPr>
  </p:notesTextViewPr>
  <p:sorterViewPr>
    <p:cViewPr>
      <p:scale>
        <a:sx n="1" d="1"/>
        <a:sy n="1" d="1"/>
      </p:scale>
      <p:origin x="0" y="0"/>
    </p:cViewPr>
  </p:sorterViewPr>
  <p:notesViewPr>
    <p:cSldViewPr snapToGrid="0">
      <p:cViewPr varScale="1">
        <p:scale>
          <a:sx n="156" d="100"/>
          <a:sy n="156" d="100"/>
        </p:scale>
        <p:origin x="6880"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1.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5C06504-709D-1406-9E78-6F8EF86CC1F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E9C667-7A8C-4CE4-A1D5-C0E77F9A91CC}" type="slidenum">
              <a:rPr lang="en-GB" smtClean="0">
                <a:latin typeface="+mn-lt" panose="020B0604020202020204" pitchFamily="34" charset="0"/>
              </a:rPr>
              <a:t>‹#›</a:t>
            </a:fld>
            <a:endParaRPr lang="en-GB" dirty="0">
              <a:latin typeface="+mn-lt" panose="020B0604020202020204" pitchFamily="34" charset="0"/>
            </a:endParaRPr>
          </a:p>
        </p:txBody>
      </p:sp>
    </p:spTree>
    <p:extLst>
      <p:ext uri="{BB962C8B-B14F-4D97-AF65-F5344CB8AC3E}">
        <p14:creationId xmlns:p14="http://schemas.microsoft.com/office/powerpoint/2010/main" val="32655654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n-lt" panose="020B0604020202020204" pitchFamily="34" charset="0"/>
              </a:defRPr>
            </a:lvl1pPr>
          </a:lstStyle>
          <a:p>
            <a:fld id="{53827769-3CEB-41B7-9E7C-94A4E5ED2A31}" type="slidenum">
              <a:rPr lang="en-GB" smtClean="0"/>
              <a:pPr/>
              <a:t>‹#›</a:t>
            </a:fld>
            <a:endParaRPr lang="en-GB" dirty="0"/>
          </a:p>
        </p:txBody>
      </p:sp>
    </p:spTree>
    <p:extLst>
      <p:ext uri="{BB962C8B-B14F-4D97-AF65-F5344CB8AC3E}">
        <p14:creationId xmlns:p14="http://schemas.microsoft.com/office/powerpoint/2010/main" val="3778563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n-lt" panose="020B0604020202020204" pitchFamily="34" charset="0"/>
        <a:ea typeface="+mn-ea"/>
        <a:cs typeface="+mn-cs"/>
      </a:defRPr>
    </a:lvl1pPr>
    <a:lvl2pPr marL="171450" indent="-171450" algn="l" defTabSz="914400" rtl="0" eaLnBrk="1" latinLnBrk="0" hangingPunct="1">
      <a:buClr>
        <a:schemeClr val="accent1"/>
      </a:buClr>
      <a:buFont typeface="Arial" panose="020B0604020202020204" pitchFamily="34" charset="0"/>
      <a:buChar char="•"/>
      <a:defRPr sz="1200" b="0" i="0" kern="1200">
        <a:solidFill>
          <a:schemeClr val="tx1"/>
        </a:solidFill>
        <a:latin typeface="+mn-lt" panose="020B0604020202020204" pitchFamily="34" charset="0"/>
        <a:ea typeface="+mn-ea"/>
        <a:cs typeface="+mn-cs"/>
      </a:defRPr>
    </a:lvl2pPr>
    <a:lvl3pPr marL="347663" indent="-171450" algn="l" defTabSz="914400" rtl="0" eaLnBrk="1" latinLnBrk="0" hangingPunct="1">
      <a:buClr>
        <a:schemeClr val="accent1"/>
      </a:buClr>
      <a:buFont typeface="Arial" panose="020B0604020202020204" pitchFamily="34" charset="0"/>
      <a:buChar char="•"/>
      <a:defRPr sz="1200" b="0" i="0" kern="1200">
        <a:solidFill>
          <a:schemeClr val="tx1"/>
        </a:solidFill>
        <a:latin typeface="+mn-lt" panose="020B0604020202020204" pitchFamily="34" charset="0"/>
        <a:ea typeface="+mn-ea"/>
        <a:cs typeface="+mn-cs"/>
      </a:defRPr>
    </a:lvl3pPr>
    <a:lvl4pPr marL="512763" indent="-171450" algn="l" defTabSz="914400" rtl="0" eaLnBrk="1" latinLnBrk="0" hangingPunct="1">
      <a:buClr>
        <a:schemeClr val="accent1"/>
      </a:buClr>
      <a:buFont typeface="Arial" panose="020B0604020202020204" pitchFamily="34" charset="0"/>
      <a:buChar char="•"/>
      <a:defRPr sz="1200" b="0" i="0" kern="1200">
        <a:solidFill>
          <a:schemeClr val="tx1"/>
        </a:solidFill>
        <a:latin typeface="+mn-lt" panose="020B0604020202020204" pitchFamily="34" charset="0"/>
        <a:ea typeface="+mn-ea"/>
        <a:cs typeface="+mn-cs"/>
      </a:defRPr>
    </a:lvl4pPr>
    <a:lvl5pPr marL="685800" indent="-171450" algn="l" defTabSz="914400" rtl="0" eaLnBrk="1" latinLnBrk="0" hangingPunct="1">
      <a:buClr>
        <a:schemeClr val="accent1"/>
      </a:buClr>
      <a:buFont typeface="Arial" panose="020B0604020202020204" pitchFamily="34" charset="0"/>
      <a:buChar char="•"/>
      <a:defRPr sz="1200" b="0" i="0" kern="1200">
        <a:solidFill>
          <a:schemeClr val="tx1"/>
        </a:solidFill>
        <a:latin typeface="+mn-lt"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4.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18" Type="http://schemas.openxmlformats.org/officeDocument/2006/relationships/image" Target="../media/image33.png"/><Relationship Id="rId26" Type="http://schemas.openxmlformats.org/officeDocument/2006/relationships/image" Target="../media/image41.png"/><Relationship Id="rId3" Type="http://schemas.openxmlformats.org/officeDocument/2006/relationships/image" Target="../media/image18.svg"/><Relationship Id="rId21" Type="http://schemas.openxmlformats.org/officeDocument/2006/relationships/image" Target="../media/image36.svg"/><Relationship Id="rId7" Type="http://schemas.openxmlformats.org/officeDocument/2006/relationships/image" Target="../media/image22.svg"/><Relationship Id="rId12" Type="http://schemas.openxmlformats.org/officeDocument/2006/relationships/image" Target="../media/image27.png"/><Relationship Id="rId17" Type="http://schemas.openxmlformats.org/officeDocument/2006/relationships/image" Target="../media/image32.svg"/><Relationship Id="rId25" Type="http://schemas.openxmlformats.org/officeDocument/2006/relationships/image" Target="../media/image40.svg"/><Relationship Id="rId2" Type="http://schemas.openxmlformats.org/officeDocument/2006/relationships/image" Target="../media/image17.png"/><Relationship Id="rId16" Type="http://schemas.openxmlformats.org/officeDocument/2006/relationships/image" Target="../media/image31.png"/><Relationship Id="rId20" Type="http://schemas.openxmlformats.org/officeDocument/2006/relationships/image" Target="../media/image35.png"/><Relationship Id="rId29" Type="http://schemas.openxmlformats.org/officeDocument/2006/relationships/image" Target="../media/image44.svg"/><Relationship Id="rId1" Type="http://schemas.openxmlformats.org/officeDocument/2006/relationships/slideMaster" Target="../slideMasters/slideMaster1.xml"/><Relationship Id="rId6" Type="http://schemas.openxmlformats.org/officeDocument/2006/relationships/image" Target="../media/image21.png"/><Relationship Id="rId11" Type="http://schemas.openxmlformats.org/officeDocument/2006/relationships/image" Target="../media/image26.svg"/><Relationship Id="rId24" Type="http://schemas.openxmlformats.org/officeDocument/2006/relationships/image" Target="../media/image39.png"/><Relationship Id="rId5" Type="http://schemas.openxmlformats.org/officeDocument/2006/relationships/image" Target="../media/image20.svg"/><Relationship Id="rId15" Type="http://schemas.openxmlformats.org/officeDocument/2006/relationships/image" Target="../media/image30.svg"/><Relationship Id="rId23" Type="http://schemas.openxmlformats.org/officeDocument/2006/relationships/image" Target="../media/image38.svg"/><Relationship Id="rId28" Type="http://schemas.openxmlformats.org/officeDocument/2006/relationships/image" Target="../media/image43.png"/><Relationship Id="rId10" Type="http://schemas.openxmlformats.org/officeDocument/2006/relationships/image" Target="../media/image25.png"/><Relationship Id="rId19" Type="http://schemas.openxmlformats.org/officeDocument/2006/relationships/image" Target="../media/image34.svg"/><Relationship Id="rId4" Type="http://schemas.openxmlformats.org/officeDocument/2006/relationships/image" Target="../media/image19.png"/><Relationship Id="rId9" Type="http://schemas.openxmlformats.org/officeDocument/2006/relationships/image" Target="../media/image24.sv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sv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 Image Animati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9DB453-028E-3EF2-45D2-00AD8E66B2A0}"/>
              </a:ext>
            </a:extLst>
          </p:cNvPr>
          <p:cNvGraphicFramePr>
            <a:graphicFrameLocks noChangeAspect="1"/>
          </p:cNvGraphicFramePr>
          <p:nvPr userDrawn="1">
            <p:custDataLst>
              <p:tags r:id="rId1"/>
            </p:custDataLst>
            <p:extLst>
              <p:ext uri="{D42A27DB-BD31-4B8C-83A1-F6EECF244321}">
                <p14:modId xmlns:p14="http://schemas.microsoft.com/office/powerpoint/2010/main" val="33725244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E9DB453-028E-3EF2-45D2-00AD8E66B2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p:nvPr>
        </p:nvSpPr>
        <p:spPr>
          <a:xfrm>
            <a:off x="493714" y="4377847"/>
            <a:ext cx="5492750" cy="836112"/>
          </a:xfrm>
        </p:spPr>
        <p:txBody>
          <a:bodyPr/>
          <a:lstStyle>
            <a:lvl1pPr marL="0" indent="0" algn="l">
              <a:spcBef>
                <a:spcPts val="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p:cNvSpPr>
            <a:spLocks noGrp="1"/>
          </p:cNvSpPr>
          <p:nvPr>
            <p:ph type="ctrTitle"/>
          </p:nvPr>
        </p:nvSpPr>
        <p:spPr>
          <a:xfrm>
            <a:off x="493714" y="1143000"/>
            <a:ext cx="5492750" cy="2984325"/>
          </a:xfrm>
        </p:spPr>
        <p:txBody>
          <a:bodyPr vert="horz" anchor="b"/>
          <a:lstStyle>
            <a:lvl1pPr algn="l">
              <a:defRPr sz="5600"/>
            </a:lvl1pPr>
          </a:lstStyle>
          <a:p>
            <a:r>
              <a:rPr lang="en-US"/>
              <a:t>Click to edit Master title style</a:t>
            </a:r>
            <a:endParaRPr lang="en-US" dirty="0"/>
          </a:p>
        </p:txBody>
      </p:sp>
      <p:sp>
        <p:nvSpPr>
          <p:cNvPr id="15" name="Text Placeholder 3">
            <a:extLst>
              <a:ext uri="{FF2B5EF4-FFF2-40B4-BE49-F238E27FC236}">
                <a16:creationId xmlns:a16="http://schemas.microsoft.com/office/drawing/2014/main" id="{9268547D-8226-DF8B-B63B-9888C9C029CD}"/>
              </a:ext>
            </a:extLst>
          </p:cNvPr>
          <p:cNvSpPr>
            <a:spLocks noGrp="1"/>
          </p:cNvSpPr>
          <p:nvPr>
            <p:ph type="body" sz="half" idx="2" hasCustomPrompt="1"/>
          </p:nvPr>
        </p:nvSpPr>
        <p:spPr>
          <a:xfrm>
            <a:off x="493714" y="6162263"/>
            <a:ext cx="4278311" cy="237841"/>
          </a:xfrm>
        </p:spPr>
        <p:txBody>
          <a:bodyPr/>
          <a:lstStyle>
            <a:lvl1pPr marL="0" indent="0">
              <a:spcBef>
                <a:spcPts val="0"/>
              </a:spcBef>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Day, Year</a:t>
            </a:r>
          </a:p>
        </p:txBody>
      </p:sp>
      <p:pic>
        <p:nvPicPr>
          <p:cNvPr id="8" name="Picture 7">
            <a:extLst>
              <a:ext uri="{FF2B5EF4-FFF2-40B4-BE49-F238E27FC236}">
                <a16:creationId xmlns:a16="http://schemas.microsoft.com/office/drawing/2014/main" id="{0814A05C-644B-002F-6803-A004F6E36536}"/>
              </a:ext>
            </a:extLst>
          </p:cNvPr>
          <p:cNvPicPr>
            <a:picLocks noChangeAspect="1"/>
          </p:cNvPicPr>
          <p:nvPr userDrawn="1"/>
        </p:nvPicPr>
        <p:blipFill rotWithShape="1">
          <a:blip r:embed="rId5"/>
          <a:srcRect l="63045"/>
          <a:stretch/>
        </p:blipFill>
        <p:spPr>
          <a:xfrm>
            <a:off x="7688649" y="1921"/>
            <a:ext cx="4506769" cy="6856079"/>
          </a:xfrm>
          <a:prstGeom prst="rect">
            <a:avLst/>
          </a:prstGeom>
        </p:spPr>
      </p:pic>
      <p:sp>
        <p:nvSpPr>
          <p:cNvPr id="10" name="Oval 9">
            <a:extLst>
              <a:ext uri="{FF2B5EF4-FFF2-40B4-BE49-F238E27FC236}">
                <a16:creationId xmlns:a16="http://schemas.microsoft.com/office/drawing/2014/main" id="{05C55B9D-5F0D-59EF-F42B-043365AFDB48}"/>
              </a:ext>
            </a:extLst>
          </p:cNvPr>
          <p:cNvSpPr/>
          <p:nvPr userDrawn="1"/>
        </p:nvSpPr>
        <p:spPr>
          <a:xfrm>
            <a:off x="6422073" y="-2448323"/>
            <a:ext cx="11754643" cy="11754000"/>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5A07CCEB-1BCB-67FE-5EBE-B0045EA2B7FE}"/>
              </a:ext>
            </a:extLst>
          </p:cNvPr>
          <p:cNvSpPr/>
          <p:nvPr userDrawn="1"/>
        </p:nvSpPr>
        <p:spPr>
          <a:xfrm>
            <a:off x="6436901" y="4787239"/>
            <a:ext cx="426720" cy="42672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A1A95D22-3D1A-B6A1-EDB9-42477AA46F29}"/>
              </a:ext>
            </a:extLst>
          </p:cNvPr>
          <p:cNvSpPr/>
          <p:nvPr userDrawn="1"/>
        </p:nvSpPr>
        <p:spPr>
          <a:xfrm>
            <a:off x="7247101" y="-1623340"/>
            <a:ext cx="10104587" cy="10104034"/>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3E73C7B9-E2DC-B271-7679-9A8F2CB538EF}"/>
              </a:ext>
            </a:extLst>
          </p:cNvPr>
          <p:cNvSpPr/>
          <p:nvPr userDrawn="1"/>
        </p:nvSpPr>
        <p:spPr>
          <a:xfrm>
            <a:off x="7563942" y="928800"/>
            <a:ext cx="428400" cy="4284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Logo rgb">
            <a:extLst>
              <a:ext uri="{FF2B5EF4-FFF2-40B4-BE49-F238E27FC236}">
                <a16:creationId xmlns:a16="http://schemas.microsoft.com/office/drawing/2014/main" id="{9F7EB07A-BC22-E84E-A10A-B8BFCA42034E}"/>
              </a:ext>
            </a:extLst>
          </p:cNvPr>
          <p:cNvPicPr>
            <a:picLocks noChangeAspect="1"/>
          </p:cNvPicPr>
          <p:nvPr userDrawn="1"/>
        </p:nvPicPr>
        <p:blipFill>
          <a:blip r:embed="rId6"/>
          <a:stretch>
            <a:fillRect/>
          </a:stretch>
        </p:blipFill>
        <p:spPr>
          <a:xfrm>
            <a:off x="470222" y="457895"/>
            <a:ext cx="1559515" cy="337507"/>
          </a:xfrm>
          <a:prstGeom prst="rect">
            <a:avLst/>
          </a:prstGeom>
        </p:spPr>
      </p:pic>
    </p:spTree>
    <p:extLst>
      <p:ext uri="{BB962C8B-B14F-4D97-AF65-F5344CB8AC3E}">
        <p14:creationId xmlns:p14="http://schemas.microsoft.com/office/powerpoint/2010/main" val="465325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path" presetSubtype="0" accel="50000" decel="50000" fill="hold" grpId="0" nodeType="withEffect">
                                  <p:stCondLst>
                                    <p:cond delay="0"/>
                                  </p:stCondLst>
                                  <p:childTnLst>
                                    <p:animMotion origin="layout" path="M 0.02266 0.11527 C -0.08437 -0.31389 0.0237 -0.81945 0.26472 -1.01158 C 0.50599 -1.20139 0.79024 -1.0088 0.89844 -0.57824 C 1.00625 -0.14514 0.89753 0.36134 0.65599 0.55277 C 0.4155 0.74259 0.1319 0.54699 0.02266 0.11527 Z " pathEditMode="relative" rAng="14760000" ptsTypes="AAAAA">
                                      <p:cBhvr>
                                        <p:cTn id="6" dur="2500" fill="hold"/>
                                        <p:tgtEl>
                                          <p:spTgt spid="11"/>
                                        </p:tgtEl>
                                        <p:attrNameLst>
                                          <p:attrName>ppt_x</p:attrName>
                                          <p:attrName>ppt_y</p:attrName>
                                        </p:attrNameLst>
                                      </p:cBhvr>
                                      <p:rCtr x="43828" y="-34514"/>
                                    </p:animMotion>
                                  </p:childTnLst>
                                </p:cTn>
                              </p:par>
                              <p:par>
                                <p:cTn id="7" presetID="1" presetClass="path" presetSubtype="0" accel="50000" decel="50000" fill="hold" grpId="0" nodeType="withEffect">
                                  <p:stCondLst>
                                    <p:cond delay="0"/>
                                  </p:stCondLst>
                                  <p:childTnLst>
                                    <p:animMotion origin="layout" path="M 0.01289 -0.03334 C 0.12774 -0.39699 0.38138 -0.5338 0.58112 -0.33704 C 0.78177 -0.13912 0.85234 0.31736 0.73841 0.68171 C 0.625 1.04676 0.37018 1.17939 0.17044 0.9831 C -0.03047 0.78541 -0.10039 0.33194 0.01289 -0.03334 Z " pathEditMode="relative" rAng="17940000" ptsTypes="AAAAA">
                                      <p:cBhvr>
                                        <p:cTn id="8" dur="2500" spd="-100000" fill="hold"/>
                                        <p:tgtEl>
                                          <p:spTgt spid="16"/>
                                        </p:tgtEl>
                                        <p:attrNameLst>
                                          <p:attrName>ppt_x</p:attrName>
                                          <p:attrName>ppt_y</p:attrName>
                                        </p:attrNameLst>
                                      </p:cBhvr>
                                      <p:rCtr x="36302" y="356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ntent Light Platinum">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309BA0B-4EA6-A2A9-F0B1-5900F1285DF4}"/>
              </a:ext>
            </a:extLst>
          </p:cNvPr>
          <p:cNvGraphicFramePr>
            <a:graphicFrameLocks noChangeAspect="1"/>
          </p:cNvGraphicFramePr>
          <p:nvPr userDrawn="1">
            <p:custDataLst>
              <p:tags r:id="rId1"/>
            </p:custDataLst>
            <p:extLst>
              <p:ext uri="{D42A27DB-BD31-4B8C-83A1-F6EECF244321}">
                <p14:modId xmlns:p14="http://schemas.microsoft.com/office/powerpoint/2010/main" val="26292983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309BA0B-4EA6-A2A9-F0B1-5900F1285DF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07BB7BF9-A97E-3584-9D29-1FE9C122AB18}"/>
              </a:ext>
            </a:extLst>
          </p:cNvPr>
          <p:cNvSpPr/>
          <p:nvPr userDrawn="1"/>
        </p:nvSpPr>
        <p:spPr>
          <a:xfrm>
            <a:off x="0" y="1143000"/>
            <a:ext cx="12192000" cy="5715000"/>
          </a:xfrm>
          <a:prstGeom prst="rect">
            <a:avLst/>
          </a:prstGeom>
          <a:solidFill>
            <a:srgbClr val="EFF4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3111500" y="6337300"/>
            <a:ext cx="7645401"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10" name="TextBox 9">
            <a:extLst>
              <a:ext uri="{FF2B5EF4-FFF2-40B4-BE49-F238E27FC236}">
                <a16:creationId xmlns:a16="http://schemas.microsoft.com/office/drawing/2014/main" id="{9D2B8259-9F05-6B89-902E-19BB93F60310}"/>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latin typeface="+mn-lt"/>
                <a:ea typeface="+mn-lt" charset="0"/>
                <a:cs typeface="+mn-lt" panose="020B0604020202020204" pitchFamily="34" charset="0"/>
              </a:rPr>
              <a:pPr lvl="0" algn="r">
                <a:lnSpc>
                  <a:spcPts val="1000"/>
                </a:lnSpc>
              </a:pPr>
              <a:t>‹#›</a:t>
            </a:fld>
            <a:endParaRPr lang="en-US" sz="800" b="0" i="0">
              <a:latin typeface="+mn-lt"/>
              <a:ea typeface="+mn-lt" charset="0"/>
              <a:cs typeface="+mn-lt" panose="020B0604020202020204" pitchFamily="34" charset="0"/>
            </a:endParaRPr>
          </a:p>
        </p:txBody>
      </p:sp>
      <p:sp>
        <p:nvSpPr>
          <p:cNvPr id="2" name="Title 1"/>
          <p:cNvSpPr>
            <a:spLocks noGrp="1"/>
          </p:cNvSpPr>
          <p:nvPr>
            <p:ph type="title"/>
          </p:nvPr>
        </p:nvSpPr>
        <p:spPr>
          <a:xfrm>
            <a:off x="493713" y="368300"/>
            <a:ext cx="11218100" cy="774700"/>
          </a:xfrm>
        </p:spPr>
        <p:txBody>
          <a:bodyPr vert="horz"/>
          <a:lstStyle/>
          <a:p>
            <a:r>
              <a:rPr lang="en-US"/>
              <a:t>Click to edit Master title style</a:t>
            </a:r>
          </a:p>
        </p:txBody>
      </p:sp>
      <p:sp>
        <p:nvSpPr>
          <p:cNvPr id="3" name="Content Placeholder 2"/>
          <p:cNvSpPr>
            <a:spLocks noGrp="1"/>
          </p:cNvSpPr>
          <p:nvPr>
            <p:ph sz="half" idx="1"/>
          </p:nvPr>
        </p:nvSpPr>
        <p:spPr>
          <a:xfrm>
            <a:off x="493713" y="1663700"/>
            <a:ext cx="5492750"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23000" y="1663700"/>
            <a:ext cx="5488813"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Logo rgb">
            <a:extLst>
              <a:ext uri="{FF2B5EF4-FFF2-40B4-BE49-F238E27FC236}">
                <a16:creationId xmlns:a16="http://schemas.microsoft.com/office/drawing/2014/main" id="{FAD1F5A6-6EA3-9140-9787-7396E397030E}"/>
              </a:ext>
            </a:extLst>
          </p:cNvPr>
          <p:cNvPicPr>
            <a:picLocks noChangeAspect="1"/>
          </p:cNvPicPr>
          <p:nvPr userDrawn="1"/>
        </p:nvPicPr>
        <p:blipFill>
          <a:blip r:embed="rId5"/>
          <a:stretch>
            <a:fillRect/>
          </a:stretch>
        </p:blipFill>
        <p:spPr>
          <a:xfrm>
            <a:off x="468737" y="6451600"/>
            <a:ext cx="787254" cy="170376"/>
          </a:xfrm>
          <a:prstGeom prst="rect">
            <a:avLst/>
          </a:prstGeom>
        </p:spPr>
      </p:pic>
    </p:spTree>
    <p:extLst>
      <p:ext uri="{BB962C8B-B14F-4D97-AF65-F5344CB8AC3E}">
        <p14:creationId xmlns:p14="http://schemas.microsoft.com/office/powerpoint/2010/main" val="29305702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ntent Re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309BA0B-4EA6-A2A9-F0B1-5900F1285DF4}"/>
              </a:ext>
            </a:extLst>
          </p:cNvPr>
          <p:cNvGraphicFramePr>
            <a:graphicFrameLocks noChangeAspect="1"/>
          </p:cNvGraphicFramePr>
          <p:nvPr userDrawn="1">
            <p:custDataLst>
              <p:tags r:id="rId1"/>
            </p:custDataLst>
            <p:extLst>
              <p:ext uri="{D42A27DB-BD31-4B8C-83A1-F6EECF244321}">
                <p14:modId xmlns:p14="http://schemas.microsoft.com/office/powerpoint/2010/main" val="26292983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309BA0B-4EA6-A2A9-F0B1-5900F1285DF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07BB7BF9-A97E-3584-9D29-1FE9C122AB18}"/>
              </a:ext>
            </a:extLst>
          </p:cNvPr>
          <p:cNvSpPr/>
          <p:nvPr userDrawn="1"/>
        </p:nvSpPr>
        <p:spPr>
          <a:xfrm>
            <a:off x="0" y="1143000"/>
            <a:ext cx="12192000" cy="5715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Logo rgb">
            <a:extLst>
              <a:ext uri="{FF2B5EF4-FFF2-40B4-BE49-F238E27FC236}">
                <a16:creationId xmlns:a16="http://schemas.microsoft.com/office/drawing/2014/main" id="{B616EEE2-521D-DE69-6994-0545AE880BD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67223" y="6451600"/>
            <a:ext cx="790282" cy="170376"/>
          </a:xfrm>
          <a:prstGeom prst="rect">
            <a:avLst/>
          </a:prstGeom>
        </p:spPr>
      </p:pic>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3111500" y="6337300"/>
            <a:ext cx="7645401" cy="293128"/>
          </a:xfrm>
        </p:spPr>
        <p:txBody>
          <a:bodyPr vert="horz" lIns="0" tIns="0" rIns="0" bIns="0" rtlCol="0" anchor="b" anchorCtr="0">
            <a:noAutofit/>
          </a:bodyPr>
          <a:lstStyle>
            <a:lvl1pPr algn="r">
              <a:spcBef>
                <a:spcPts val="0"/>
              </a:spcBef>
              <a:defRPr lang="en-US" sz="800" baseline="0" dirty="0" smtClean="0">
                <a:solidFill>
                  <a:schemeClr val="bg1"/>
                </a:solidFill>
              </a:defRPr>
            </a:lvl1pPr>
          </a:lstStyle>
          <a:p>
            <a:pPr lvl="0" algn="r"/>
            <a:r>
              <a:rPr lang="en-US"/>
              <a:t>Click to add footnote or delete if not in use</a:t>
            </a:r>
          </a:p>
        </p:txBody>
      </p:sp>
      <p:sp>
        <p:nvSpPr>
          <p:cNvPr id="10" name="TextBox 9">
            <a:extLst>
              <a:ext uri="{FF2B5EF4-FFF2-40B4-BE49-F238E27FC236}">
                <a16:creationId xmlns:a16="http://schemas.microsoft.com/office/drawing/2014/main" id="{9D2B8259-9F05-6B89-902E-19BB93F60310}"/>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solidFill>
                  <a:schemeClr val="bg1"/>
                </a:solidFill>
                <a:latin typeface="+mn-lt"/>
                <a:ea typeface="+mn-lt" charset="0"/>
                <a:cs typeface="+mn-lt" panose="020B0604020202020204" pitchFamily="34" charset="0"/>
              </a:rPr>
              <a:pPr lvl="0" algn="r">
                <a:lnSpc>
                  <a:spcPts val="1000"/>
                </a:lnSpc>
              </a:pPr>
              <a:t>‹#›</a:t>
            </a:fld>
            <a:endParaRPr lang="en-US" sz="800" b="0" i="0">
              <a:solidFill>
                <a:schemeClr val="bg1"/>
              </a:solidFill>
              <a:latin typeface="+mn-lt"/>
              <a:ea typeface="+mn-lt" charset="0"/>
              <a:cs typeface="+mn-lt" panose="020B0604020202020204" pitchFamily="34" charset="0"/>
            </a:endParaRPr>
          </a:p>
        </p:txBody>
      </p:sp>
      <p:sp>
        <p:nvSpPr>
          <p:cNvPr id="2" name="Title 1"/>
          <p:cNvSpPr>
            <a:spLocks noGrp="1"/>
          </p:cNvSpPr>
          <p:nvPr>
            <p:ph type="title"/>
          </p:nvPr>
        </p:nvSpPr>
        <p:spPr>
          <a:xfrm>
            <a:off x="493713" y="368300"/>
            <a:ext cx="11218100" cy="774700"/>
          </a:xfrm>
        </p:spPr>
        <p:txBody>
          <a:bodyPr vert="horz"/>
          <a:lstStyle/>
          <a:p>
            <a:r>
              <a:rPr lang="en-US"/>
              <a:t>Click to edit Master title style</a:t>
            </a:r>
          </a:p>
        </p:txBody>
      </p:sp>
      <p:sp>
        <p:nvSpPr>
          <p:cNvPr id="3" name="Content Placeholder 2"/>
          <p:cNvSpPr>
            <a:spLocks noGrp="1"/>
          </p:cNvSpPr>
          <p:nvPr>
            <p:ph sz="half" idx="1"/>
          </p:nvPr>
        </p:nvSpPr>
        <p:spPr>
          <a:xfrm>
            <a:off x="493713" y="1663700"/>
            <a:ext cx="5492750" cy="443230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23000" y="1663700"/>
            <a:ext cx="5488813" cy="443230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98145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23B9239E-3C5F-BD6D-0C49-A8514610AF15}"/>
              </a:ext>
            </a:extLst>
          </p:cNvPr>
          <p:cNvSpPr>
            <a:spLocks noGrp="1"/>
          </p:cNvSpPr>
          <p:nvPr>
            <p:ph type="body" sz="half" idx="11" hasCustomPrompt="1"/>
          </p:nvPr>
        </p:nvSpPr>
        <p:spPr>
          <a:xfrm>
            <a:off x="3111500" y="6337300"/>
            <a:ext cx="7645401"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2" name="Title 1"/>
          <p:cNvSpPr>
            <a:spLocks noGrp="1"/>
          </p:cNvSpPr>
          <p:nvPr>
            <p:ph type="title"/>
          </p:nvPr>
        </p:nvSpPr>
        <p:spPr>
          <a:xfrm>
            <a:off x="493713" y="368300"/>
            <a:ext cx="11218100" cy="774700"/>
          </a:xfrm>
        </p:spPr>
        <p:txBody>
          <a:bodyPr/>
          <a:lstStyle/>
          <a:p>
            <a:r>
              <a:rPr lang="en-US"/>
              <a:t>Click to edit Master title style</a:t>
            </a:r>
          </a:p>
        </p:txBody>
      </p:sp>
      <p:sp>
        <p:nvSpPr>
          <p:cNvPr id="3" name="Content Placeholder 2"/>
          <p:cNvSpPr>
            <a:spLocks noGrp="1"/>
          </p:cNvSpPr>
          <p:nvPr>
            <p:ph sz="half" idx="1"/>
          </p:nvPr>
        </p:nvSpPr>
        <p:spPr>
          <a:xfrm>
            <a:off x="493713" y="1663700"/>
            <a:ext cx="3582987"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13237" y="1663700"/>
            <a:ext cx="3582987"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7E05733C-9371-780A-3B90-331ED36E38FC}"/>
              </a:ext>
            </a:extLst>
          </p:cNvPr>
          <p:cNvSpPr>
            <a:spLocks noGrp="1"/>
          </p:cNvSpPr>
          <p:nvPr>
            <p:ph sz="half" idx="10"/>
          </p:nvPr>
        </p:nvSpPr>
        <p:spPr>
          <a:xfrm>
            <a:off x="8128826" y="1663700"/>
            <a:ext cx="3582987"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04927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80D738BB-8498-7DFB-35C9-C40C77D5B733}"/>
              </a:ext>
            </a:extLst>
          </p:cNvPr>
          <p:cNvSpPr>
            <a:spLocks noGrp="1"/>
          </p:cNvSpPr>
          <p:nvPr>
            <p:ph type="body" sz="half" idx="12" hasCustomPrompt="1"/>
          </p:nvPr>
        </p:nvSpPr>
        <p:spPr>
          <a:xfrm>
            <a:off x="3111500" y="6337300"/>
            <a:ext cx="7645401"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2" name="Title 1"/>
          <p:cNvSpPr>
            <a:spLocks noGrp="1"/>
          </p:cNvSpPr>
          <p:nvPr>
            <p:ph type="title"/>
          </p:nvPr>
        </p:nvSpPr>
        <p:spPr>
          <a:xfrm>
            <a:off x="493713" y="368300"/>
            <a:ext cx="11218100" cy="774700"/>
          </a:xfrm>
        </p:spPr>
        <p:txBody>
          <a:bodyPr/>
          <a:lstStyle/>
          <a:p>
            <a:r>
              <a:rPr lang="en-US"/>
              <a:t>Click to edit Master title style</a:t>
            </a:r>
          </a:p>
        </p:txBody>
      </p:sp>
      <p:sp>
        <p:nvSpPr>
          <p:cNvPr id="3" name="Content Placeholder 2"/>
          <p:cNvSpPr>
            <a:spLocks noGrp="1"/>
          </p:cNvSpPr>
          <p:nvPr>
            <p:ph sz="half" idx="1"/>
          </p:nvPr>
        </p:nvSpPr>
        <p:spPr>
          <a:xfrm>
            <a:off x="493714" y="1663700"/>
            <a:ext cx="2627312" cy="44323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59151" y="1663700"/>
            <a:ext cx="2627312" cy="44323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7E05733C-9371-780A-3B90-331ED36E38FC}"/>
              </a:ext>
            </a:extLst>
          </p:cNvPr>
          <p:cNvSpPr>
            <a:spLocks noGrp="1"/>
          </p:cNvSpPr>
          <p:nvPr>
            <p:ph sz="half" idx="10"/>
          </p:nvPr>
        </p:nvSpPr>
        <p:spPr>
          <a:xfrm>
            <a:off x="6224589" y="1663700"/>
            <a:ext cx="2627312" cy="44323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94973B16-0189-5D31-F0D1-165767D5F8DA}"/>
              </a:ext>
            </a:extLst>
          </p:cNvPr>
          <p:cNvSpPr>
            <a:spLocks noGrp="1"/>
          </p:cNvSpPr>
          <p:nvPr>
            <p:ph sz="half" idx="11"/>
          </p:nvPr>
        </p:nvSpPr>
        <p:spPr>
          <a:xfrm>
            <a:off x="9095444" y="1663700"/>
            <a:ext cx="2627312" cy="44323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86139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9774017C-6AAC-AD9E-FCCF-3DCC2075E64E}"/>
              </a:ext>
            </a:extLst>
          </p:cNvPr>
          <p:cNvSpPr>
            <a:spLocks noGrp="1"/>
          </p:cNvSpPr>
          <p:nvPr>
            <p:ph type="body" sz="half" idx="2" hasCustomPrompt="1"/>
          </p:nvPr>
        </p:nvSpPr>
        <p:spPr>
          <a:xfrm>
            <a:off x="3111500" y="6337300"/>
            <a:ext cx="7645401"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Tree>
    <p:extLst>
      <p:ext uri="{BB962C8B-B14F-4D97-AF65-F5344CB8AC3E}">
        <p14:creationId xmlns:p14="http://schemas.microsoft.com/office/powerpoint/2010/main" val="34558213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Divider Light Re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714" y="368300"/>
            <a:ext cx="9312274" cy="5727700"/>
          </a:xfrm>
        </p:spPr>
        <p:txBody>
          <a:bodyPr anchor="ctr"/>
          <a:lstStyle>
            <a:lvl1pPr>
              <a:defRPr sz="7500"/>
            </a:lvl1pPr>
          </a:lstStyle>
          <a:p>
            <a:r>
              <a:rPr lang="en-US" dirty="0"/>
              <a:t>Divider title</a:t>
            </a:r>
          </a:p>
        </p:txBody>
      </p:sp>
    </p:spTree>
    <p:extLst>
      <p:ext uri="{BB962C8B-B14F-4D97-AF65-F5344CB8AC3E}">
        <p14:creationId xmlns:p14="http://schemas.microsoft.com/office/powerpoint/2010/main" val="11492708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Divider Light Platinum">
    <p:bg>
      <p:bgPr>
        <a:solidFill>
          <a:srgbClr val="EFF4F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714" y="368300"/>
            <a:ext cx="9312274" cy="5727700"/>
          </a:xfrm>
        </p:spPr>
        <p:txBody>
          <a:bodyPr anchor="ctr"/>
          <a:lstStyle>
            <a:lvl1pPr>
              <a:defRPr sz="7500"/>
            </a:lvl1pPr>
          </a:lstStyle>
          <a:p>
            <a:r>
              <a:rPr lang="en-US" dirty="0"/>
              <a:t>Divider title</a:t>
            </a:r>
          </a:p>
        </p:txBody>
      </p:sp>
      <p:sp>
        <p:nvSpPr>
          <p:cNvPr id="3" name="Oval 2">
            <a:extLst>
              <a:ext uri="{FF2B5EF4-FFF2-40B4-BE49-F238E27FC236}">
                <a16:creationId xmlns:a16="http://schemas.microsoft.com/office/drawing/2014/main" id="{78F70959-BE53-7844-7809-59DA98C6B9FE}"/>
              </a:ext>
            </a:extLst>
          </p:cNvPr>
          <p:cNvSpPr/>
          <p:nvPr userDrawn="1"/>
        </p:nvSpPr>
        <p:spPr>
          <a:xfrm>
            <a:off x="7654563" y="609600"/>
            <a:ext cx="2713676" cy="2713528"/>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18398C5B-130D-7B14-A361-803308F8613F}"/>
              </a:ext>
            </a:extLst>
          </p:cNvPr>
          <p:cNvSpPr/>
          <p:nvPr userDrawn="1"/>
        </p:nvSpPr>
        <p:spPr>
          <a:xfrm>
            <a:off x="7654563" y="3320143"/>
            <a:ext cx="2713676" cy="2713528"/>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44DE7539-BDD6-E0F2-E06E-BBA98E1DB442}"/>
              </a:ext>
            </a:extLst>
          </p:cNvPr>
          <p:cNvSpPr/>
          <p:nvPr userDrawn="1"/>
        </p:nvSpPr>
        <p:spPr>
          <a:xfrm>
            <a:off x="6293848" y="1948543"/>
            <a:ext cx="2713676" cy="2713528"/>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23EC6AFF-B333-166D-2617-E2C1EE98CC43}"/>
              </a:ext>
            </a:extLst>
          </p:cNvPr>
          <p:cNvSpPr/>
          <p:nvPr userDrawn="1"/>
        </p:nvSpPr>
        <p:spPr>
          <a:xfrm>
            <a:off x="9015277" y="1948543"/>
            <a:ext cx="2713676" cy="2713528"/>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72246369-8EF0-EC90-5DCF-99F7FE9A7FD0}"/>
              </a:ext>
            </a:extLst>
          </p:cNvPr>
          <p:cNvSpPr/>
          <p:nvPr userDrawn="1"/>
        </p:nvSpPr>
        <p:spPr>
          <a:xfrm>
            <a:off x="7455312" y="1767840"/>
            <a:ext cx="426720" cy="42672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6689D8D2-1E8C-C5E1-4541-02D05078FFBF}"/>
              </a:ext>
            </a:extLst>
          </p:cNvPr>
          <p:cNvSpPr/>
          <p:nvPr userDrawn="1"/>
        </p:nvSpPr>
        <p:spPr>
          <a:xfrm>
            <a:off x="10136330" y="1767840"/>
            <a:ext cx="426720" cy="42672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6E200067-0ACF-DE51-0DDC-5452A3DBB38B}"/>
              </a:ext>
            </a:extLst>
          </p:cNvPr>
          <p:cNvSpPr/>
          <p:nvPr userDrawn="1"/>
        </p:nvSpPr>
        <p:spPr>
          <a:xfrm>
            <a:off x="7455312" y="4448711"/>
            <a:ext cx="426720" cy="42672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4D695F7C-BAC7-3D35-5636-38FA86C9C50D}"/>
              </a:ext>
            </a:extLst>
          </p:cNvPr>
          <p:cNvSpPr/>
          <p:nvPr userDrawn="1"/>
        </p:nvSpPr>
        <p:spPr>
          <a:xfrm>
            <a:off x="10136330" y="4448711"/>
            <a:ext cx="426720" cy="42672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630209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Light Platinum">
    <p:bg>
      <p:bgPr>
        <a:solidFill>
          <a:srgbClr val="EFF4F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714" y="368300"/>
            <a:ext cx="9312274" cy="5727700"/>
          </a:xfrm>
        </p:spPr>
        <p:txBody>
          <a:bodyPr anchor="ctr"/>
          <a:lstStyle>
            <a:lvl1pPr>
              <a:defRPr sz="7500"/>
            </a:lvl1pPr>
          </a:lstStyle>
          <a:p>
            <a:r>
              <a:rPr lang="en-US" dirty="0"/>
              <a:t>Divider title</a:t>
            </a:r>
          </a:p>
        </p:txBody>
      </p:sp>
    </p:spTree>
    <p:extLst>
      <p:ext uri="{BB962C8B-B14F-4D97-AF65-F5344CB8AC3E}">
        <p14:creationId xmlns:p14="http://schemas.microsoft.com/office/powerpoint/2010/main" val="37910369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Red">
    <p:bg>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DB20D7A-8D42-B7A5-E41E-03A16C022A8A}"/>
              </a:ext>
            </a:extLst>
          </p:cNvPr>
          <p:cNvGraphicFramePr>
            <a:graphicFrameLocks noChangeAspect="1"/>
          </p:cNvGraphicFramePr>
          <p:nvPr userDrawn="1">
            <p:custDataLst>
              <p:tags r:id="rId1"/>
            </p:custDataLst>
            <p:extLst>
              <p:ext uri="{D42A27DB-BD31-4B8C-83A1-F6EECF244321}">
                <p14:modId xmlns:p14="http://schemas.microsoft.com/office/powerpoint/2010/main" val="36843965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DB20D7A-8D42-B7A5-E41E-03A16C022A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93714" y="368300"/>
            <a:ext cx="9312274" cy="5727700"/>
          </a:xfrm>
        </p:spPr>
        <p:txBody>
          <a:bodyPr vert="horz" anchor="ctr"/>
          <a:lstStyle>
            <a:lvl1pPr>
              <a:defRPr sz="7500">
                <a:solidFill>
                  <a:schemeClr val="bg1"/>
                </a:solidFill>
              </a:defRPr>
            </a:lvl1pPr>
          </a:lstStyle>
          <a:p>
            <a:r>
              <a:rPr lang="en-US" dirty="0"/>
              <a:t>Divider title</a:t>
            </a:r>
          </a:p>
        </p:txBody>
      </p:sp>
      <p:sp>
        <p:nvSpPr>
          <p:cNvPr id="3" name="TextBox 2">
            <a:extLst>
              <a:ext uri="{FF2B5EF4-FFF2-40B4-BE49-F238E27FC236}">
                <a16:creationId xmlns:a16="http://schemas.microsoft.com/office/drawing/2014/main" id="{37039DC6-10FF-B76B-1C04-652B0F7F89AB}"/>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solidFill>
                  <a:schemeClr val="bg1"/>
                </a:solidFill>
                <a:latin typeface="+mn-lt"/>
                <a:ea typeface="+mn-lt" charset="0"/>
                <a:cs typeface="+mn-lt" panose="020B0604020202020204" pitchFamily="34" charset="0"/>
              </a:rPr>
              <a:pPr lvl="0" algn="r">
                <a:lnSpc>
                  <a:spcPts val="1000"/>
                </a:lnSpc>
              </a:pPr>
              <a:t>‹#›</a:t>
            </a:fld>
            <a:endParaRPr lang="en-US" sz="800" b="0" i="0">
              <a:solidFill>
                <a:schemeClr val="bg1"/>
              </a:solidFill>
              <a:latin typeface="+mn-lt"/>
              <a:ea typeface="+mn-lt" charset="0"/>
              <a:cs typeface="+mn-lt" panose="020B0604020202020204" pitchFamily="34" charset="0"/>
            </a:endParaRPr>
          </a:p>
        </p:txBody>
      </p:sp>
      <p:pic>
        <p:nvPicPr>
          <p:cNvPr id="4" name="Logo rgb">
            <a:extLst>
              <a:ext uri="{FF2B5EF4-FFF2-40B4-BE49-F238E27FC236}">
                <a16:creationId xmlns:a16="http://schemas.microsoft.com/office/drawing/2014/main" id="{27ABD618-84D9-6FAB-A805-51F3ED277AE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67223" y="6451600"/>
            <a:ext cx="790282" cy="170376"/>
          </a:xfrm>
          <a:prstGeom prst="rect">
            <a:avLst/>
          </a:prstGeom>
        </p:spPr>
      </p:pic>
    </p:spTree>
    <p:extLst>
      <p:ext uri="{BB962C8B-B14F-4D97-AF65-F5344CB8AC3E}">
        <p14:creationId xmlns:p14="http://schemas.microsoft.com/office/powerpoint/2010/main" val="6393913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Full Imag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44D7C4-AF92-4A28-0F4C-EF623F4027DC}"/>
              </a:ext>
            </a:extLst>
          </p:cNvPr>
          <p:cNvGraphicFramePr>
            <a:graphicFrameLocks noChangeAspect="1"/>
          </p:cNvGraphicFramePr>
          <p:nvPr userDrawn="1">
            <p:custDataLst>
              <p:tags r:id="rId1"/>
            </p:custDataLst>
            <p:extLst>
              <p:ext uri="{D42A27DB-BD31-4B8C-83A1-F6EECF244321}">
                <p14:modId xmlns:p14="http://schemas.microsoft.com/office/powerpoint/2010/main" val="25485906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F44D7C4-AF92-4A28-0F4C-EF623F4027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D810DC37-7A43-394C-F88D-1F06A6083659}"/>
              </a:ext>
            </a:extLst>
          </p:cNvPr>
          <p:cNvSpPr>
            <a:spLocks noGrp="1"/>
          </p:cNvSpPr>
          <p:nvPr>
            <p:ph type="pic" sz="quarter" idx="10"/>
          </p:nvPr>
        </p:nvSpPr>
        <p:spPr>
          <a:xfrm>
            <a:off x="0" y="6263"/>
            <a:ext cx="12192000" cy="6858000"/>
          </a:xfrm>
          <a:solidFill>
            <a:schemeClr val="bg1">
              <a:lumMod val="95000"/>
            </a:schemeClr>
          </a:solidFill>
        </p:spPr>
        <p:txBody>
          <a:bodyPr vert="horz" lIns="0" tIns="0" rIns="0" bIns="0" rtlCol="0" anchor="t">
            <a:noAutofit/>
          </a:bodyPr>
          <a:lstStyle>
            <a:lvl1pPr>
              <a:defRPr lang="en-US" sz="1200">
                <a:solidFill>
                  <a:schemeClr val="tx2"/>
                </a:solidFill>
              </a:defRPr>
            </a:lvl1pPr>
          </a:lstStyle>
          <a:p>
            <a:pPr lvl="0"/>
            <a:r>
              <a:rPr lang="en-US"/>
              <a:t>Click icon to add picture</a:t>
            </a:r>
            <a:endParaRPr lang="en-US" dirty="0"/>
          </a:p>
        </p:txBody>
      </p:sp>
      <p:sp>
        <p:nvSpPr>
          <p:cNvPr id="2" name="Title 1"/>
          <p:cNvSpPr>
            <a:spLocks noGrp="1"/>
          </p:cNvSpPr>
          <p:nvPr>
            <p:ph type="title" hasCustomPrompt="1"/>
          </p:nvPr>
        </p:nvSpPr>
        <p:spPr>
          <a:xfrm>
            <a:off x="493714" y="368300"/>
            <a:ext cx="9312274" cy="5727700"/>
          </a:xfrm>
        </p:spPr>
        <p:txBody>
          <a:bodyPr vert="horz" anchor="ctr"/>
          <a:lstStyle>
            <a:lvl1pPr>
              <a:defRPr sz="7500">
                <a:solidFill>
                  <a:schemeClr val="tx1"/>
                </a:solidFill>
              </a:defRPr>
            </a:lvl1pPr>
          </a:lstStyle>
          <a:p>
            <a:r>
              <a:rPr lang="en-US" dirty="0"/>
              <a:t>Divider title</a:t>
            </a:r>
          </a:p>
        </p:txBody>
      </p:sp>
      <p:sp>
        <p:nvSpPr>
          <p:cNvPr id="10" name="TextBox 9">
            <a:extLst>
              <a:ext uri="{FF2B5EF4-FFF2-40B4-BE49-F238E27FC236}">
                <a16:creationId xmlns:a16="http://schemas.microsoft.com/office/drawing/2014/main" id="{72B46EE4-99D6-D340-9FBB-29F90C17B14D}"/>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kern="1200" smtClean="0">
                <a:solidFill>
                  <a:srgbClr val="000000"/>
                </a:solidFill>
                <a:latin typeface="+mn-lt" charset="0"/>
                <a:ea typeface="+mn-lt" charset="0"/>
                <a:cs typeface="+mn-lt" panose="020B0604020202020204" pitchFamily="34" charset="0"/>
              </a:rPr>
              <a:pPr/>
              <a:t>‹#›</a:t>
            </a:fld>
            <a:endParaRPr lang="en-US" sz="800" b="0" i="0" dirty="0">
              <a:solidFill>
                <a:schemeClr val="bg1"/>
              </a:solidFill>
              <a:latin typeface="+mn-lt"/>
              <a:ea typeface="+mn-lt" charset="0"/>
              <a:cs typeface="+mn-lt" panose="020B0604020202020204" pitchFamily="34" charset="0"/>
            </a:endParaRPr>
          </a:p>
        </p:txBody>
      </p:sp>
      <p:pic>
        <p:nvPicPr>
          <p:cNvPr id="7" name="Logo rgb">
            <a:extLst>
              <a:ext uri="{FF2B5EF4-FFF2-40B4-BE49-F238E27FC236}">
                <a16:creationId xmlns:a16="http://schemas.microsoft.com/office/drawing/2014/main" id="{50F79620-823B-3D4A-868F-0A9118D2FEA2}"/>
              </a:ext>
            </a:extLst>
          </p:cNvPr>
          <p:cNvPicPr>
            <a:picLocks noChangeAspect="1"/>
          </p:cNvPicPr>
          <p:nvPr userDrawn="1"/>
        </p:nvPicPr>
        <p:blipFill>
          <a:blip r:embed="rId5"/>
          <a:stretch>
            <a:fillRect/>
          </a:stretch>
        </p:blipFill>
        <p:spPr>
          <a:xfrm>
            <a:off x="468737" y="6451600"/>
            <a:ext cx="787254" cy="170376"/>
          </a:xfrm>
          <a:prstGeom prst="rect">
            <a:avLst/>
          </a:prstGeom>
        </p:spPr>
      </p:pic>
    </p:spTree>
    <p:extLst>
      <p:ext uri="{BB962C8B-B14F-4D97-AF65-F5344CB8AC3E}">
        <p14:creationId xmlns:p14="http://schemas.microsoft.com/office/powerpoint/2010/main" val="28380801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Globe Anima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8F43BA5-5F0F-F60A-E19A-253A25BA66A2}"/>
              </a:ext>
            </a:extLst>
          </p:cNvPr>
          <p:cNvSpPr/>
          <p:nvPr userDrawn="1"/>
        </p:nvSpPr>
        <p:spPr>
          <a:xfrm>
            <a:off x="0" y="0"/>
            <a:ext cx="12192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think-cell data - do not delete" hidden="1">
            <a:extLst>
              <a:ext uri="{FF2B5EF4-FFF2-40B4-BE49-F238E27FC236}">
                <a16:creationId xmlns:a16="http://schemas.microsoft.com/office/drawing/2014/main" id="{DE9DB453-028E-3EF2-45D2-00AD8E66B2A0}"/>
              </a:ext>
            </a:extLst>
          </p:cNvPr>
          <p:cNvGraphicFramePr>
            <a:graphicFrameLocks noChangeAspect="1"/>
          </p:cNvGraphicFramePr>
          <p:nvPr userDrawn="1">
            <p:custDataLst>
              <p:tags r:id="rId1"/>
            </p:custDataLst>
            <p:extLst>
              <p:ext uri="{D42A27DB-BD31-4B8C-83A1-F6EECF244321}">
                <p14:modId xmlns:p14="http://schemas.microsoft.com/office/powerpoint/2010/main" val="33725244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E9DB453-028E-3EF2-45D2-00AD8E66B2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p:nvPr>
        </p:nvSpPr>
        <p:spPr>
          <a:xfrm>
            <a:off x="493714" y="4377847"/>
            <a:ext cx="5492750" cy="836112"/>
          </a:xfrm>
        </p:spPr>
        <p:txBody>
          <a:bodyPr/>
          <a:lstStyle>
            <a:lvl1pPr marL="0" indent="0" algn="l">
              <a:spcBef>
                <a:spcPts val="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p:cNvSpPr>
            <a:spLocks noGrp="1"/>
          </p:cNvSpPr>
          <p:nvPr>
            <p:ph type="ctrTitle"/>
          </p:nvPr>
        </p:nvSpPr>
        <p:spPr>
          <a:xfrm>
            <a:off x="493714" y="1143000"/>
            <a:ext cx="5492750" cy="2984325"/>
          </a:xfrm>
        </p:spPr>
        <p:txBody>
          <a:bodyPr vert="horz" anchor="b"/>
          <a:lstStyle>
            <a:lvl1pPr algn="l">
              <a:defRPr sz="5600"/>
            </a:lvl1pPr>
          </a:lstStyle>
          <a:p>
            <a:r>
              <a:rPr lang="en-US"/>
              <a:t>Click to edit Master title style</a:t>
            </a:r>
            <a:endParaRPr lang="en-US" dirty="0"/>
          </a:p>
        </p:txBody>
      </p:sp>
      <p:sp>
        <p:nvSpPr>
          <p:cNvPr id="15" name="Text Placeholder 3">
            <a:extLst>
              <a:ext uri="{FF2B5EF4-FFF2-40B4-BE49-F238E27FC236}">
                <a16:creationId xmlns:a16="http://schemas.microsoft.com/office/drawing/2014/main" id="{9268547D-8226-DF8B-B63B-9888C9C029CD}"/>
              </a:ext>
            </a:extLst>
          </p:cNvPr>
          <p:cNvSpPr>
            <a:spLocks noGrp="1"/>
          </p:cNvSpPr>
          <p:nvPr>
            <p:ph type="body" sz="half" idx="2" hasCustomPrompt="1"/>
          </p:nvPr>
        </p:nvSpPr>
        <p:spPr>
          <a:xfrm>
            <a:off x="493714" y="6162263"/>
            <a:ext cx="4278311" cy="237841"/>
          </a:xfrm>
        </p:spPr>
        <p:txBody>
          <a:bodyPr/>
          <a:lstStyle>
            <a:lvl1pPr marL="0" indent="0">
              <a:spcBef>
                <a:spcPts val="0"/>
              </a:spcBef>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Day, Year</a:t>
            </a:r>
          </a:p>
        </p:txBody>
      </p:sp>
      <p:pic>
        <p:nvPicPr>
          <p:cNvPr id="8" name="Picture 7">
            <a:extLst>
              <a:ext uri="{FF2B5EF4-FFF2-40B4-BE49-F238E27FC236}">
                <a16:creationId xmlns:a16="http://schemas.microsoft.com/office/drawing/2014/main" id="{8F564185-4773-B1FB-AD50-4172B5522BD2}"/>
              </a:ext>
            </a:extLst>
          </p:cNvPr>
          <p:cNvPicPr>
            <a:picLocks noChangeAspect="1"/>
          </p:cNvPicPr>
          <p:nvPr userDrawn="1"/>
        </p:nvPicPr>
        <p:blipFill rotWithShape="1">
          <a:blip r:embed="rId5"/>
          <a:srcRect t="1951" r="28613" b="1951"/>
          <a:stretch/>
        </p:blipFill>
        <p:spPr>
          <a:xfrm>
            <a:off x="7097495" y="0"/>
            <a:ext cx="5094505" cy="6858000"/>
          </a:xfrm>
          <a:prstGeom prst="rect">
            <a:avLst/>
          </a:prstGeom>
        </p:spPr>
      </p:pic>
      <p:sp>
        <p:nvSpPr>
          <p:cNvPr id="12" name="Oval 11">
            <a:extLst>
              <a:ext uri="{FF2B5EF4-FFF2-40B4-BE49-F238E27FC236}">
                <a16:creationId xmlns:a16="http://schemas.microsoft.com/office/drawing/2014/main" id="{57F993AA-8421-00BA-4922-3F9F807ED02C}"/>
              </a:ext>
            </a:extLst>
          </p:cNvPr>
          <p:cNvSpPr/>
          <p:nvPr userDrawn="1"/>
        </p:nvSpPr>
        <p:spPr>
          <a:xfrm>
            <a:off x="7886098" y="3171825"/>
            <a:ext cx="514350" cy="514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D835A817-8394-FC5A-29C7-2DC3A24AB08C}"/>
              </a:ext>
            </a:extLst>
          </p:cNvPr>
          <p:cNvSpPr/>
          <p:nvPr userDrawn="1"/>
        </p:nvSpPr>
        <p:spPr>
          <a:xfrm>
            <a:off x="10408582" y="1406525"/>
            <a:ext cx="514350" cy="514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A18BED52-4E92-E6D0-3574-D58AE023E90D}"/>
              </a:ext>
            </a:extLst>
          </p:cNvPr>
          <p:cNvSpPr/>
          <p:nvPr userDrawn="1"/>
        </p:nvSpPr>
        <p:spPr>
          <a:xfrm>
            <a:off x="11523662" y="4930775"/>
            <a:ext cx="514350" cy="514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Logo rgb">
            <a:extLst>
              <a:ext uri="{FF2B5EF4-FFF2-40B4-BE49-F238E27FC236}">
                <a16:creationId xmlns:a16="http://schemas.microsoft.com/office/drawing/2014/main" id="{9DBE17C8-FA39-6B4B-8F73-E84598D37364}"/>
              </a:ext>
            </a:extLst>
          </p:cNvPr>
          <p:cNvPicPr>
            <a:picLocks noChangeAspect="1"/>
          </p:cNvPicPr>
          <p:nvPr userDrawn="1"/>
        </p:nvPicPr>
        <p:blipFill>
          <a:blip r:embed="rId6"/>
          <a:stretch>
            <a:fillRect/>
          </a:stretch>
        </p:blipFill>
        <p:spPr>
          <a:xfrm>
            <a:off x="470222" y="457895"/>
            <a:ext cx="1559515" cy="337507"/>
          </a:xfrm>
          <a:prstGeom prst="rect">
            <a:avLst/>
          </a:prstGeom>
        </p:spPr>
      </p:pic>
    </p:spTree>
    <p:extLst>
      <p:ext uri="{BB962C8B-B14F-4D97-AF65-F5344CB8AC3E}">
        <p14:creationId xmlns:p14="http://schemas.microsoft.com/office/powerpoint/2010/main" val="2284305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0" decel="5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1+#ppt_w/2"/>
                                          </p:val>
                                        </p:tav>
                                        <p:tav tm="100000">
                                          <p:val>
                                            <p:strVal val="#ppt_x"/>
                                          </p:val>
                                        </p:tav>
                                      </p:tavLst>
                                    </p:anim>
                                    <p:anim calcmode="lin" valueType="num">
                                      <p:cBhvr additive="base">
                                        <p:cTn id="8" dur="1000" fill="hold"/>
                                        <p:tgtEl>
                                          <p:spTgt spid="12"/>
                                        </p:tgtEl>
                                        <p:attrNameLst>
                                          <p:attrName>ppt_y</p:attrName>
                                        </p:attrNameLst>
                                      </p:cBhvr>
                                      <p:tavLst>
                                        <p:tav tm="0">
                                          <p:val>
                                            <p:strVal val="#ppt_y"/>
                                          </p:val>
                                        </p:tav>
                                        <p:tav tm="100000">
                                          <p:val>
                                            <p:strVal val="#ppt_y"/>
                                          </p:val>
                                        </p:tav>
                                      </p:tavLst>
                                    </p:anim>
                                  </p:childTnLst>
                                </p:cTn>
                              </p:par>
                              <p:par>
                                <p:cTn id="9" presetID="37" presetClass="path" presetSubtype="0" accel="50000" decel="50000" fill="hold" grpId="0" nodeType="withEffect">
                                  <p:stCondLst>
                                    <p:cond delay="0"/>
                                  </p:stCondLst>
                                  <p:childTnLst>
                                    <p:animMotion origin="layout" path="M -0.1474 0.36042 L -0.08972 0.28773 C -0.07748 0.27292 -0.06276 0.24514 -0.04987 0.21366 C -0.03529 0.17778 -0.02579 0.1463 -0.02162 0.12083 L -0.00052 0.00093 " pathEditMode="relative" rAng="18360000" ptsTypes="AAAAA">
                                      <p:cBhvr>
                                        <p:cTn id="10" dur="1000" fill="hold"/>
                                        <p:tgtEl>
                                          <p:spTgt spid="14"/>
                                        </p:tgtEl>
                                        <p:attrNameLst>
                                          <p:attrName>ppt_x</p:attrName>
                                          <p:attrName>ppt_y</p:attrName>
                                        </p:attrNameLst>
                                      </p:cBhvr>
                                      <p:rCtr x="8568" y="-16389"/>
                                    </p:animMotion>
                                  </p:childTnLst>
                                </p:cTn>
                              </p:par>
                              <p:par>
                                <p:cTn id="11" presetID="2" presetClass="entr" presetSubtype="4" accel="50000" decel="5000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1000" fill="hold"/>
                                        <p:tgtEl>
                                          <p:spTgt spid="13"/>
                                        </p:tgtEl>
                                        <p:attrNameLst>
                                          <p:attrName>ppt_x</p:attrName>
                                        </p:attrNameLst>
                                      </p:cBhvr>
                                      <p:tavLst>
                                        <p:tav tm="0">
                                          <p:val>
                                            <p:strVal val="#ppt_x"/>
                                          </p:val>
                                        </p:tav>
                                        <p:tav tm="100000">
                                          <p:val>
                                            <p:strVal val="#ppt_x"/>
                                          </p:val>
                                        </p:tav>
                                      </p:tavLst>
                                    </p:anim>
                                    <p:anim calcmode="lin" valueType="num">
                                      <p:cBhvr additive="base">
                                        <p:cTn id="14" dur="10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alf+Half Light Re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012C7A-CEA1-0015-341B-2898453DD733}"/>
              </a:ext>
            </a:extLst>
          </p:cNvPr>
          <p:cNvGraphicFramePr>
            <a:graphicFrameLocks noChangeAspect="1"/>
          </p:cNvGraphicFramePr>
          <p:nvPr userDrawn="1">
            <p:custDataLst>
              <p:tags r:id="rId1"/>
            </p:custDataLst>
            <p:extLst>
              <p:ext uri="{D42A27DB-BD31-4B8C-83A1-F6EECF244321}">
                <p14:modId xmlns:p14="http://schemas.microsoft.com/office/powerpoint/2010/main" val="28633106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2012C7A-CEA1-0015-341B-2898453DD7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F9E803B-7EB8-D980-064A-17548C5E655D}"/>
              </a:ext>
            </a:extLst>
          </p:cNvPr>
          <p:cNvSpPr/>
          <p:nvPr userDrawn="1"/>
        </p:nvSpPr>
        <p:spPr>
          <a:xfrm>
            <a:off x="6096000"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93714" y="368300"/>
            <a:ext cx="4775200" cy="774700"/>
          </a:xfrm>
        </p:spPr>
        <p:txBody>
          <a:bodyPr vert="horz"/>
          <a:lstStyle/>
          <a:p>
            <a:r>
              <a:rPr lang="en-US"/>
              <a:t>Click to edit Master title style</a:t>
            </a:r>
          </a:p>
        </p:txBody>
      </p:sp>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2165350" y="6337300"/>
            <a:ext cx="3103563"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11" name="TextBox 10">
            <a:extLst>
              <a:ext uri="{FF2B5EF4-FFF2-40B4-BE49-F238E27FC236}">
                <a16:creationId xmlns:a16="http://schemas.microsoft.com/office/drawing/2014/main" id="{936DA3A9-F7BE-D57D-1414-DE22A005555B}"/>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solidFill>
                  <a:schemeClr val="tx1"/>
                </a:solidFill>
                <a:latin typeface="+mn-lt"/>
                <a:ea typeface="+mn-lt" charset="0"/>
                <a:cs typeface="+mn-lt" panose="020B0604020202020204" pitchFamily="34" charset="0"/>
              </a:rPr>
              <a:pPr lvl="0" algn="r">
                <a:lnSpc>
                  <a:spcPts val="1000"/>
                </a:lnSpc>
              </a:pPr>
              <a:t>‹#›</a:t>
            </a:fld>
            <a:endParaRPr lang="en-US" sz="800" b="0" i="0">
              <a:solidFill>
                <a:schemeClr val="tx1"/>
              </a:solidFill>
              <a:latin typeface="+mn-lt"/>
              <a:ea typeface="+mn-lt" charset="0"/>
              <a:cs typeface="+mn-lt" panose="020B0604020202020204" pitchFamily="34" charset="0"/>
            </a:endParaRPr>
          </a:p>
        </p:txBody>
      </p:sp>
      <p:sp>
        <p:nvSpPr>
          <p:cNvPr id="6" name="Text Placeholder 5">
            <a:extLst>
              <a:ext uri="{FF2B5EF4-FFF2-40B4-BE49-F238E27FC236}">
                <a16:creationId xmlns:a16="http://schemas.microsoft.com/office/drawing/2014/main" id="{FB6AAF13-2619-350B-A77C-0F334413DD5A}"/>
              </a:ext>
            </a:extLst>
          </p:cNvPr>
          <p:cNvSpPr>
            <a:spLocks noGrp="1"/>
          </p:cNvSpPr>
          <p:nvPr>
            <p:ph type="body" sz="quarter" idx="11"/>
          </p:nvPr>
        </p:nvSpPr>
        <p:spPr>
          <a:xfrm>
            <a:off x="493713" y="1663699"/>
            <a:ext cx="4775199" cy="4432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45420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alf+Half Light Platinum">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012C7A-CEA1-0015-341B-2898453DD733}"/>
              </a:ext>
            </a:extLst>
          </p:cNvPr>
          <p:cNvGraphicFramePr>
            <a:graphicFrameLocks noChangeAspect="1"/>
          </p:cNvGraphicFramePr>
          <p:nvPr userDrawn="1">
            <p:custDataLst>
              <p:tags r:id="rId1"/>
            </p:custDataLst>
            <p:extLst>
              <p:ext uri="{D42A27DB-BD31-4B8C-83A1-F6EECF244321}">
                <p14:modId xmlns:p14="http://schemas.microsoft.com/office/powerpoint/2010/main" val="41989254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2012C7A-CEA1-0015-341B-2898453DD7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F9E803B-7EB8-D980-064A-17548C5E655D}"/>
              </a:ext>
            </a:extLst>
          </p:cNvPr>
          <p:cNvSpPr/>
          <p:nvPr userDrawn="1"/>
        </p:nvSpPr>
        <p:spPr>
          <a:xfrm>
            <a:off x="6096000" y="0"/>
            <a:ext cx="6096000" cy="6858000"/>
          </a:xfrm>
          <a:prstGeom prst="rect">
            <a:avLst/>
          </a:prstGeom>
          <a:solidFill>
            <a:srgbClr val="EFF4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93713" y="368300"/>
            <a:ext cx="4775201" cy="774700"/>
          </a:xfrm>
        </p:spPr>
        <p:txBody>
          <a:bodyPr vert="horz"/>
          <a:lstStyle/>
          <a:p>
            <a:r>
              <a:rPr lang="en-US"/>
              <a:t>Click to edit Master title style</a:t>
            </a:r>
          </a:p>
        </p:txBody>
      </p:sp>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2165350" y="6337300"/>
            <a:ext cx="3103563"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11" name="TextBox 10">
            <a:extLst>
              <a:ext uri="{FF2B5EF4-FFF2-40B4-BE49-F238E27FC236}">
                <a16:creationId xmlns:a16="http://schemas.microsoft.com/office/drawing/2014/main" id="{936DA3A9-F7BE-D57D-1414-DE22A005555B}"/>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solidFill>
                  <a:schemeClr val="tx1"/>
                </a:solidFill>
                <a:latin typeface="+mn-lt"/>
                <a:ea typeface="+mn-lt" charset="0"/>
                <a:cs typeface="+mn-lt" panose="020B0604020202020204" pitchFamily="34" charset="0"/>
              </a:rPr>
              <a:pPr lvl="0" algn="r">
                <a:lnSpc>
                  <a:spcPts val="1000"/>
                </a:lnSpc>
              </a:pPr>
              <a:t>‹#›</a:t>
            </a:fld>
            <a:endParaRPr lang="en-US" sz="800" b="0" i="0">
              <a:solidFill>
                <a:schemeClr val="tx1"/>
              </a:solidFill>
              <a:latin typeface="+mn-lt"/>
              <a:ea typeface="+mn-lt" charset="0"/>
              <a:cs typeface="+mn-lt" panose="020B0604020202020204" pitchFamily="34" charset="0"/>
            </a:endParaRPr>
          </a:p>
        </p:txBody>
      </p:sp>
      <p:sp>
        <p:nvSpPr>
          <p:cNvPr id="6" name="Text Placeholder 5">
            <a:extLst>
              <a:ext uri="{FF2B5EF4-FFF2-40B4-BE49-F238E27FC236}">
                <a16:creationId xmlns:a16="http://schemas.microsoft.com/office/drawing/2014/main" id="{8F6EFB16-F8D5-450B-E782-BE1A714E173A}"/>
              </a:ext>
            </a:extLst>
          </p:cNvPr>
          <p:cNvSpPr>
            <a:spLocks noGrp="1"/>
          </p:cNvSpPr>
          <p:nvPr>
            <p:ph type="body" sz="quarter" idx="11"/>
          </p:nvPr>
        </p:nvSpPr>
        <p:spPr>
          <a:xfrm>
            <a:off x="493713" y="1663700"/>
            <a:ext cx="4775199"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55549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lf+Half Re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012C7A-CEA1-0015-341B-2898453DD733}"/>
              </a:ext>
            </a:extLst>
          </p:cNvPr>
          <p:cNvGraphicFramePr>
            <a:graphicFrameLocks noChangeAspect="1"/>
          </p:cNvGraphicFramePr>
          <p:nvPr userDrawn="1">
            <p:custDataLst>
              <p:tags r:id="rId1"/>
            </p:custDataLst>
            <p:extLst>
              <p:ext uri="{D42A27DB-BD31-4B8C-83A1-F6EECF244321}">
                <p14:modId xmlns:p14="http://schemas.microsoft.com/office/powerpoint/2010/main" val="5360687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2012C7A-CEA1-0015-341B-2898453DD7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F9E803B-7EB8-D980-064A-17548C5E655D}"/>
              </a:ext>
            </a:extLst>
          </p:cNvPr>
          <p:cNvSpPr/>
          <p:nvPr userDrawn="1"/>
        </p:nvSpPr>
        <p:spPr>
          <a:xfrm>
            <a:off x="6096000" y="0"/>
            <a:ext cx="6096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93714" y="368300"/>
            <a:ext cx="4775200" cy="774700"/>
          </a:xfrm>
        </p:spPr>
        <p:txBody>
          <a:bodyPr vert="horz"/>
          <a:lstStyle/>
          <a:p>
            <a:r>
              <a:rPr lang="en-US"/>
              <a:t>Click to edit Master title style</a:t>
            </a:r>
          </a:p>
        </p:txBody>
      </p:sp>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2165350" y="6337300"/>
            <a:ext cx="3103563"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11" name="TextBox 10">
            <a:extLst>
              <a:ext uri="{FF2B5EF4-FFF2-40B4-BE49-F238E27FC236}">
                <a16:creationId xmlns:a16="http://schemas.microsoft.com/office/drawing/2014/main" id="{936DA3A9-F7BE-D57D-1414-DE22A005555B}"/>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solidFill>
                  <a:schemeClr val="bg1"/>
                </a:solidFill>
                <a:latin typeface="+mn-lt"/>
                <a:ea typeface="+mn-lt" charset="0"/>
                <a:cs typeface="+mn-lt" panose="020B0604020202020204" pitchFamily="34" charset="0"/>
              </a:rPr>
              <a:pPr lvl="0" algn="r">
                <a:lnSpc>
                  <a:spcPts val="1000"/>
                </a:lnSpc>
              </a:pPr>
              <a:t>‹#›</a:t>
            </a:fld>
            <a:endParaRPr lang="en-US" sz="800" b="0" i="0">
              <a:solidFill>
                <a:schemeClr val="bg1"/>
              </a:solidFill>
              <a:latin typeface="+mn-lt"/>
              <a:ea typeface="+mn-lt" charset="0"/>
              <a:cs typeface="+mn-lt" panose="020B0604020202020204" pitchFamily="34" charset="0"/>
            </a:endParaRPr>
          </a:p>
        </p:txBody>
      </p:sp>
      <p:sp>
        <p:nvSpPr>
          <p:cNvPr id="6" name="Text Placeholder 5">
            <a:extLst>
              <a:ext uri="{FF2B5EF4-FFF2-40B4-BE49-F238E27FC236}">
                <a16:creationId xmlns:a16="http://schemas.microsoft.com/office/drawing/2014/main" id="{683BFDA5-E4D5-E53A-B93D-6B13AFF82290}"/>
              </a:ext>
            </a:extLst>
          </p:cNvPr>
          <p:cNvSpPr>
            <a:spLocks noGrp="1"/>
          </p:cNvSpPr>
          <p:nvPr>
            <p:ph type="body" sz="quarter" idx="11"/>
          </p:nvPr>
        </p:nvSpPr>
        <p:spPr>
          <a:xfrm>
            <a:off x="493713" y="1663699"/>
            <a:ext cx="4775199" cy="4432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94623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27E9D02-FE6D-4092-5189-9EF460F0F6B0}"/>
              </a:ext>
            </a:extLst>
          </p:cNvPr>
          <p:cNvPicPr>
            <a:picLocks noChangeAspect="1"/>
          </p:cNvPicPr>
          <p:nvPr userDrawn="1"/>
        </p:nvPicPr>
        <p:blipFill rotWithShape="1">
          <a:blip r:embed="rId3"/>
          <a:srcRect t="1951" r="28613" b="1951"/>
          <a:stretch/>
        </p:blipFill>
        <p:spPr>
          <a:xfrm>
            <a:off x="7097495" y="0"/>
            <a:ext cx="5094505" cy="6858000"/>
          </a:xfrm>
          <a:prstGeom prst="rect">
            <a:avLst/>
          </a:prstGeom>
        </p:spPr>
      </p:pic>
      <p:graphicFrame>
        <p:nvGraphicFramePr>
          <p:cNvPr id="6" name="think-cell data - do not delete" hidden="1">
            <a:extLst>
              <a:ext uri="{FF2B5EF4-FFF2-40B4-BE49-F238E27FC236}">
                <a16:creationId xmlns:a16="http://schemas.microsoft.com/office/drawing/2014/main" id="{DE9DB453-028E-3EF2-45D2-00AD8E66B2A0}"/>
              </a:ext>
            </a:extLst>
          </p:cNvPr>
          <p:cNvGraphicFramePr>
            <a:graphicFrameLocks noChangeAspect="1"/>
          </p:cNvGraphicFramePr>
          <p:nvPr userDrawn="1">
            <p:custDataLst>
              <p:tags r:id="rId1"/>
            </p:custDataLst>
            <p:extLst>
              <p:ext uri="{D42A27DB-BD31-4B8C-83A1-F6EECF244321}">
                <p14:modId xmlns:p14="http://schemas.microsoft.com/office/powerpoint/2010/main" val="33725244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DE9DB453-028E-3EF2-45D2-00AD8E66B2A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947168C4-0F7E-F16D-3BB8-BFC5102D0B80}"/>
              </a:ext>
            </a:extLst>
          </p:cNvPr>
          <p:cNvSpPr/>
          <p:nvPr userDrawn="1"/>
        </p:nvSpPr>
        <p:spPr>
          <a:xfrm>
            <a:off x="7886098" y="3171825"/>
            <a:ext cx="514350" cy="514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A3EA02A2-356D-71E7-AA33-38BA28A5189D}"/>
              </a:ext>
            </a:extLst>
          </p:cNvPr>
          <p:cNvSpPr/>
          <p:nvPr userDrawn="1"/>
        </p:nvSpPr>
        <p:spPr>
          <a:xfrm>
            <a:off x="10408582" y="1406525"/>
            <a:ext cx="514350" cy="514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68F6004D-533B-9353-521C-5FC3CFC2A65B}"/>
              </a:ext>
            </a:extLst>
          </p:cNvPr>
          <p:cNvSpPr/>
          <p:nvPr userDrawn="1"/>
        </p:nvSpPr>
        <p:spPr>
          <a:xfrm>
            <a:off x="11523662" y="4930775"/>
            <a:ext cx="514350" cy="514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3">
            <a:extLst>
              <a:ext uri="{FF2B5EF4-FFF2-40B4-BE49-F238E27FC236}">
                <a16:creationId xmlns:a16="http://schemas.microsoft.com/office/drawing/2014/main" id="{DB4ECF2D-62EE-5BCE-A99B-7E7DF19B12B3}"/>
              </a:ext>
            </a:extLst>
          </p:cNvPr>
          <p:cNvSpPr>
            <a:spLocks noGrp="1"/>
          </p:cNvSpPr>
          <p:nvPr>
            <p:ph type="body" sz="half" idx="2" hasCustomPrompt="1"/>
          </p:nvPr>
        </p:nvSpPr>
        <p:spPr>
          <a:xfrm>
            <a:off x="2165350" y="6337300"/>
            <a:ext cx="3103563"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8" name="Title 7">
            <a:extLst>
              <a:ext uri="{FF2B5EF4-FFF2-40B4-BE49-F238E27FC236}">
                <a16:creationId xmlns:a16="http://schemas.microsoft.com/office/drawing/2014/main" id="{82E5A6E0-0524-AE51-12B5-BF8973EFCDC7}"/>
              </a:ext>
            </a:extLst>
          </p:cNvPr>
          <p:cNvSpPr>
            <a:spLocks noGrp="1"/>
          </p:cNvSpPr>
          <p:nvPr>
            <p:ph type="title"/>
          </p:nvPr>
        </p:nvSpPr>
        <p:spPr>
          <a:xfrm>
            <a:off x="493713" y="368300"/>
            <a:ext cx="4775200" cy="774700"/>
          </a:xfrm>
        </p:spPr>
        <p:txBody>
          <a:bodyPr/>
          <a:lstStyle/>
          <a:p>
            <a:r>
              <a:rPr lang="en-US"/>
              <a:t>Click to edit Master title style</a:t>
            </a:r>
            <a:endParaRPr lang="en-US" dirty="0"/>
          </a:p>
        </p:txBody>
      </p:sp>
      <p:sp>
        <p:nvSpPr>
          <p:cNvPr id="12" name="Text Placeholder 9">
            <a:extLst>
              <a:ext uri="{FF2B5EF4-FFF2-40B4-BE49-F238E27FC236}">
                <a16:creationId xmlns:a16="http://schemas.microsoft.com/office/drawing/2014/main" id="{92C7E827-793F-2654-E4E5-2ABAF4B553E2}"/>
              </a:ext>
            </a:extLst>
          </p:cNvPr>
          <p:cNvSpPr>
            <a:spLocks noGrp="1"/>
          </p:cNvSpPr>
          <p:nvPr>
            <p:ph type="body" sz="quarter" idx="10"/>
          </p:nvPr>
        </p:nvSpPr>
        <p:spPr>
          <a:xfrm>
            <a:off x="493713" y="1663700"/>
            <a:ext cx="4775200"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rgb">
            <a:extLst>
              <a:ext uri="{FF2B5EF4-FFF2-40B4-BE49-F238E27FC236}">
                <a16:creationId xmlns:a16="http://schemas.microsoft.com/office/drawing/2014/main" id="{0653F9EC-DEA8-CE43-982E-FE7D05B20B22}"/>
              </a:ext>
            </a:extLst>
          </p:cNvPr>
          <p:cNvPicPr>
            <a:picLocks noChangeAspect="1"/>
          </p:cNvPicPr>
          <p:nvPr userDrawn="1"/>
        </p:nvPicPr>
        <p:blipFill>
          <a:blip r:embed="rId6"/>
          <a:stretch>
            <a:fillRect/>
          </a:stretch>
        </p:blipFill>
        <p:spPr>
          <a:xfrm>
            <a:off x="468737" y="6451600"/>
            <a:ext cx="787254" cy="170376"/>
          </a:xfrm>
          <a:prstGeom prst="rect">
            <a:avLst/>
          </a:prstGeom>
        </p:spPr>
      </p:pic>
    </p:spTree>
    <p:extLst>
      <p:ext uri="{BB962C8B-B14F-4D97-AF65-F5344CB8AC3E}">
        <p14:creationId xmlns:p14="http://schemas.microsoft.com/office/powerpoint/2010/main" val="15225709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14" name="Picture Placeholder 9">
            <a:extLst>
              <a:ext uri="{FF2B5EF4-FFF2-40B4-BE49-F238E27FC236}">
                <a16:creationId xmlns:a16="http://schemas.microsoft.com/office/drawing/2014/main" id="{B23FC50B-B060-6443-81EA-4AD5C3705CAE}"/>
              </a:ext>
            </a:extLst>
          </p:cNvPr>
          <p:cNvSpPr>
            <a:spLocks noGrp="1"/>
          </p:cNvSpPr>
          <p:nvPr>
            <p:ph type="pic" sz="quarter" idx="11"/>
          </p:nvPr>
        </p:nvSpPr>
        <p:spPr>
          <a:xfrm>
            <a:off x="8016781" y="-687575"/>
            <a:ext cx="8230553" cy="8232504"/>
          </a:xfrm>
          <a:prstGeom prst="ellipse">
            <a:avLst/>
          </a:prstGeom>
        </p:spPr>
        <p:txBody>
          <a:bodyPr/>
          <a:lstStyle/>
          <a:p>
            <a:r>
              <a:rPr lang="en-US"/>
              <a:t>Click icon to add picture</a:t>
            </a:r>
          </a:p>
        </p:txBody>
      </p:sp>
      <p:sp>
        <p:nvSpPr>
          <p:cNvPr id="11" name="Text Placeholder 3">
            <a:extLst>
              <a:ext uri="{FF2B5EF4-FFF2-40B4-BE49-F238E27FC236}">
                <a16:creationId xmlns:a16="http://schemas.microsoft.com/office/drawing/2014/main" id="{DDD7B348-8D8A-6CC3-558B-3B2FAB97CEF6}"/>
              </a:ext>
            </a:extLst>
          </p:cNvPr>
          <p:cNvSpPr>
            <a:spLocks noGrp="1"/>
          </p:cNvSpPr>
          <p:nvPr>
            <p:ph type="body" sz="half" idx="2" hasCustomPrompt="1"/>
          </p:nvPr>
        </p:nvSpPr>
        <p:spPr>
          <a:xfrm>
            <a:off x="2165350" y="6337300"/>
            <a:ext cx="3103563"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8" name="Title 7">
            <a:extLst>
              <a:ext uri="{FF2B5EF4-FFF2-40B4-BE49-F238E27FC236}">
                <a16:creationId xmlns:a16="http://schemas.microsoft.com/office/drawing/2014/main" id="{7CB7B1E2-0D9F-F371-A094-C0F64ACBF77A}"/>
              </a:ext>
            </a:extLst>
          </p:cNvPr>
          <p:cNvSpPr>
            <a:spLocks noGrp="1"/>
          </p:cNvSpPr>
          <p:nvPr>
            <p:ph type="title"/>
          </p:nvPr>
        </p:nvSpPr>
        <p:spPr>
          <a:xfrm>
            <a:off x="493713" y="368300"/>
            <a:ext cx="4775200" cy="774700"/>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40E4898-424B-2FA3-2BF1-443B1671FF0A}"/>
              </a:ext>
            </a:extLst>
          </p:cNvPr>
          <p:cNvSpPr>
            <a:spLocks noGrp="1"/>
          </p:cNvSpPr>
          <p:nvPr>
            <p:ph type="body" sz="quarter" idx="10"/>
          </p:nvPr>
        </p:nvSpPr>
        <p:spPr>
          <a:xfrm>
            <a:off x="493713" y="1663700"/>
            <a:ext cx="4775200"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Oval 6">
            <a:extLst>
              <a:ext uri="{FF2B5EF4-FFF2-40B4-BE49-F238E27FC236}">
                <a16:creationId xmlns:a16="http://schemas.microsoft.com/office/drawing/2014/main" id="{98A1FCF0-FCC3-CFCC-38EE-8490D7340E0C}"/>
              </a:ext>
            </a:extLst>
          </p:cNvPr>
          <p:cNvSpPr/>
          <p:nvPr userDrawn="1"/>
        </p:nvSpPr>
        <p:spPr>
          <a:xfrm>
            <a:off x="6422073" y="-2448323"/>
            <a:ext cx="11754643" cy="11754000"/>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BEA2E5F2-4012-C74E-A784-E41EB6E2F64A}"/>
              </a:ext>
            </a:extLst>
          </p:cNvPr>
          <p:cNvSpPr/>
          <p:nvPr userDrawn="1"/>
        </p:nvSpPr>
        <p:spPr>
          <a:xfrm>
            <a:off x="7247101" y="-1623340"/>
            <a:ext cx="10104587" cy="10104034"/>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FE1ED335-C2F7-95E1-67FC-89A69CF50037}"/>
              </a:ext>
            </a:extLst>
          </p:cNvPr>
          <p:cNvSpPr/>
          <p:nvPr userDrawn="1"/>
        </p:nvSpPr>
        <p:spPr>
          <a:xfrm>
            <a:off x="7644331" y="5667600"/>
            <a:ext cx="428400" cy="4284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Oval 1">
            <a:extLst>
              <a:ext uri="{FF2B5EF4-FFF2-40B4-BE49-F238E27FC236}">
                <a16:creationId xmlns:a16="http://schemas.microsoft.com/office/drawing/2014/main" id="{62E72004-9D22-8DCD-FFC2-705F85993F41}"/>
              </a:ext>
            </a:extLst>
          </p:cNvPr>
          <p:cNvSpPr/>
          <p:nvPr userDrawn="1"/>
        </p:nvSpPr>
        <p:spPr>
          <a:xfrm>
            <a:off x="6620387" y="1111020"/>
            <a:ext cx="428400" cy="4284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22938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tatement + Half Light Re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012C7A-CEA1-0015-341B-2898453DD733}"/>
              </a:ext>
            </a:extLst>
          </p:cNvPr>
          <p:cNvGraphicFramePr>
            <a:graphicFrameLocks noChangeAspect="1"/>
          </p:cNvGraphicFramePr>
          <p:nvPr userDrawn="1">
            <p:custDataLst>
              <p:tags r:id="rId1"/>
            </p:custDataLst>
            <p:extLst>
              <p:ext uri="{D42A27DB-BD31-4B8C-83A1-F6EECF244321}">
                <p14:modId xmlns:p14="http://schemas.microsoft.com/office/powerpoint/2010/main" val="2540337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2012C7A-CEA1-0015-341B-2898453DD7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2165350" y="6337300"/>
            <a:ext cx="3103563"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11" name="TextBox 10">
            <a:extLst>
              <a:ext uri="{FF2B5EF4-FFF2-40B4-BE49-F238E27FC236}">
                <a16:creationId xmlns:a16="http://schemas.microsoft.com/office/drawing/2014/main" id="{936DA3A9-F7BE-D57D-1414-DE22A005555B}"/>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solidFill>
                  <a:schemeClr val="tx1"/>
                </a:solidFill>
                <a:latin typeface="+mn-lt"/>
                <a:ea typeface="+mn-lt" charset="0"/>
                <a:cs typeface="+mn-lt" panose="020B0604020202020204" pitchFamily="34" charset="0"/>
              </a:rPr>
              <a:pPr lvl="0" algn="r">
                <a:lnSpc>
                  <a:spcPts val="1000"/>
                </a:lnSpc>
              </a:pPr>
              <a:t>‹#›</a:t>
            </a:fld>
            <a:endParaRPr lang="en-US" sz="800" b="0" i="0">
              <a:solidFill>
                <a:schemeClr val="tx1"/>
              </a:solidFill>
              <a:latin typeface="+mn-lt"/>
              <a:ea typeface="+mn-lt" charset="0"/>
              <a:cs typeface="+mn-lt" panose="020B0604020202020204" pitchFamily="34" charset="0"/>
            </a:endParaRPr>
          </a:p>
        </p:txBody>
      </p:sp>
      <p:sp>
        <p:nvSpPr>
          <p:cNvPr id="6" name="Text Placeholder 5">
            <a:extLst>
              <a:ext uri="{FF2B5EF4-FFF2-40B4-BE49-F238E27FC236}">
                <a16:creationId xmlns:a16="http://schemas.microsoft.com/office/drawing/2014/main" id="{49525F8E-333C-1031-D22E-350C92E28D33}"/>
              </a:ext>
            </a:extLst>
          </p:cNvPr>
          <p:cNvSpPr>
            <a:spLocks noGrp="1"/>
          </p:cNvSpPr>
          <p:nvPr>
            <p:ph type="body" sz="quarter" idx="11"/>
          </p:nvPr>
        </p:nvSpPr>
        <p:spPr>
          <a:xfrm>
            <a:off x="493714" y="1679510"/>
            <a:ext cx="4775199" cy="4416490"/>
          </a:xfrm>
        </p:spPr>
        <p:txBody>
          <a:bodyPr anchor="ctr"/>
          <a:lstStyle>
            <a:lvl1pPr>
              <a:defRPr sz="4000"/>
            </a:lvl1pPr>
            <a:lvl2pPr>
              <a:defRPr sz="3000"/>
            </a:lvl2pPr>
          </a:lstStyle>
          <a:p>
            <a:pPr lvl="0"/>
            <a:r>
              <a:rPr lang="en-US"/>
              <a:t>Click to edit Master text styles</a:t>
            </a:r>
          </a:p>
        </p:txBody>
      </p:sp>
      <p:sp>
        <p:nvSpPr>
          <p:cNvPr id="3" name="Picture Placeholder 2">
            <a:extLst>
              <a:ext uri="{FF2B5EF4-FFF2-40B4-BE49-F238E27FC236}">
                <a16:creationId xmlns:a16="http://schemas.microsoft.com/office/drawing/2014/main" id="{0FE6E7CE-29BA-1688-1745-6D5E761C138F}"/>
              </a:ext>
            </a:extLst>
          </p:cNvPr>
          <p:cNvSpPr>
            <a:spLocks noGrp="1"/>
          </p:cNvSpPr>
          <p:nvPr>
            <p:ph type="pic" sz="quarter" idx="12" hasCustomPrompt="1"/>
          </p:nvPr>
        </p:nvSpPr>
        <p:spPr>
          <a:xfrm>
            <a:off x="6096000" y="0"/>
            <a:ext cx="6096000" cy="6861175"/>
          </a:xfrm>
        </p:spPr>
        <p:txBody>
          <a:bodyPr/>
          <a:lstStyle>
            <a:lvl1pPr>
              <a:defRPr sz="800">
                <a:solidFill>
                  <a:schemeClr val="tx2"/>
                </a:solidFill>
              </a:defRPr>
            </a:lvl1pPr>
          </a:lstStyle>
          <a:p>
            <a:r>
              <a:rPr lang="en-US" dirty="0"/>
              <a:t>Click to add picture</a:t>
            </a:r>
          </a:p>
        </p:txBody>
      </p:sp>
      <p:sp>
        <p:nvSpPr>
          <p:cNvPr id="2" name="Title 7">
            <a:extLst>
              <a:ext uri="{FF2B5EF4-FFF2-40B4-BE49-F238E27FC236}">
                <a16:creationId xmlns:a16="http://schemas.microsoft.com/office/drawing/2014/main" id="{3F8B4D18-846D-DC15-CEF5-3BC8825844BE}"/>
              </a:ext>
            </a:extLst>
          </p:cNvPr>
          <p:cNvSpPr>
            <a:spLocks noGrp="1"/>
          </p:cNvSpPr>
          <p:nvPr>
            <p:ph type="title"/>
          </p:nvPr>
        </p:nvSpPr>
        <p:spPr>
          <a:xfrm>
            <a:off x="493713" y="368300"/>
            <a:ext cx="4775200" cy="774700"/>
          </a:xfrm>
        </p:spPr>
        <p:txBody>
          <a:bodyPr/>
          <a:lstStyle/>
          <a:p>
            <a:r>
              <a:rPr lang="en-US"/>
              <a:t>Click to edit Master title style</a:t>
            </a:r>
            <a:endParaRPr lang="en-US" dirty="0"/>
          </a:p>
        </p:txBody>
      </p:sp>
    </p:spTree>
    <p:extLst>
      <p:ext uri="{BB962C8B-B14F-4D97-AF65-F5344CB8AC3E}">
        <p14:creationId xmlns:p14="http://schemas.microsoft.com/office/powerpoint/2010/main" val="23311058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tement + Half Light Re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012C7A-CEA1-0015-341B-2898453DD733}"/>
              </a:ext>
            </a:extLst>
          </p:cNvPr>
          <p:cNvGraphicFramePr>
            <a:graphicFrameLocks noChangeAspect="1"/>
          </p:cNvGraphicFramePr>
          <p:nvPr userDrawn="1">
            <p:custDataLst>
              <p:tags r:id="rId1"/>
            </p:custDataLst>
            <p:extLst>
              <p:ext uri="{D42A27DB-BD31-4B8C-83A1-F6EECF244321}">
                <p14:modId xmlns:p14="http://schemas.microsoft.com/office/powerpoint/2010/main" val="2540337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2012C7A-CEA1-0015-341B-2898453DD7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F9E803B-7EB8-D980-064A-17548C5E655D}"/>
              </a:ext>
            </a:extLst>
          </p:cNvPr>
          <p:cNvSpPr/>
          <p:nvPr userDrawn="1"/>
        </p:nvSpPr>
        <p:spPr>
          <a:xfrm>
            <a:off x="6096000"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2165350" y="6337300"/>
            <a:ext cx="3103563"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11" name="TextBox 10">
            <a:extLst>
              <a:ext uri="{FF2B5EF4-FFF2-40B4-BE49-F238E27FC236}">
                <a16:creationId xmlns:a16="http://schemas.microsoft.com/office/drawing/2014/main" id="{936DA3A9-F7BE-D57D-1414-DE22A005555B}"/>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solidFill>
                  <a:schemeClr val="tx1"/>
                </a:solidFill>
                <a:latin typeface="+mn-lt"/>
                <a:ea typeface="+mn-lt" charset="0"/>
                <a:cs typeface="+mn-lt" panose="020B0604020202020204" pitchFamily="34" charset="0"/>
              </a:rPr>
              <a:pPr lvl="0" algn="r">
                <a:lnSpc>
                  <a:spcPts val="1000"/>
                </a:lnSpc>
              </a:pPr>
              <a:t>‹#›</a:t>
            </a:fld>
            <a:endParaRPr lang="en-US" sz="800" b="0" i="0">
              <a:solidFill>
                <a:schemeClr val="tx1"/>
              </a:solidFill>
              <a:latin typeface="+mn-lt"/>
              <a:ea typeface="+mn-lt" charset="0"/>
              <a:cs typeface="+mn-lt" panose="020B0604020202020204" pitchFamily="34" charset="0"/>
            </a:endParaRPr>
          </a:p>
        </p:txBody>
      </p:sp>
      <p:sp>
        <p:nvSpPr>
          <p:cNvPr id="6" name="Text Placeholder 5">
            <a:extLst>
              <a:ext uri="{FF2B5EF4-FFF2-40B4-BE49-F238E27FC236}">
                <a16:creationId xmlns:a16="http://schemas.microsoft.com/office/drawing/2014/main" id="{49525F8E-333C-1031-D22E-350C92E28D33}"/>
              </a:ext>
            </a:extLst>
          </p:cNvPr>
          <p:cNvSpPr>
            <a:spLocks noGrp="1"/>
          </p:cNvSpPr>
          <p:nvPr>
            <p:ph type="body" sz="quarter" idx="11"/>
          </p:nvPr>
        </p:nvSpPr>
        <p:spPr>
          <a:xfrm>
            <a:off x="493714" y="368300"/>
            <a:ext cx="4775199" cy="5727700"/>
          </a:xfrm>
        </p:spPr>
        <p:txBody>
          <a:bodyPr anchor="ctr"/>
          <a:lstStyle>
            <a:lvl1pPr>
              <a:defRPr sz="4000"/>
            </a:lvl1pPr>
            <a:lvl2pPr>
              <a:defRPr sz="3000"/>
            </a:lvl2pPr>
          </a:lstStyle>
          <a:p>
            <a:pPr lvl="0"/>
            <a:r>
              <a:rPr lang="en-US"/>
              <a:t>Click to edit Master text styles</a:t>
            </a:r>
          </a:p>
        </p:txBody>
      </p:sp>
    </p:spTree>
    <p:extLst>
      <p:ext uri="{BB962C8B-B14F-4D97-AF65-F5344CB8AC3E}">
        <p14:creationId xmlns:p14="http://schemas.microsoft.com/office/powerpoint/2010/main" val="32804692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tement + Half Light Platinum">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012C7A-CEA1-0015-341B-2898453DD733}"/>
              </a:ext>
            </a:extLst>
          </p:cNvPr>
          <p:cNvGraphicFramePr>
            <a:graphicFrameLocks noChangeAspect="1"/>
          </p:cNvGraphicFramePr>
          <p:nvPr userDrawn="1">
            <p:custDataLst>
              <p:tags r:id="rId1"/>
            </p:custDataLst>
            <p:extLst>
              <p:ext uri="{D42A27DB-BD31-4B8C-83A1-F6EECF244321}">
                <p14:modId xmlns:p14="http://schemas.microsoft.com/office/powerpoint/2010/main" val="2540337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2012C7A-CEA1-0015-341B-2898453DD7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F9E803B-7EB8-D980-064A-17548C5E655D}"/>
              </a:ext>
            </a:extLst>
          </p:cNvPr>
          <p:cNvSpPr/>
          <p:nvPr userDrawn="1"/>
        </p:nvSpPr>
        <p:spPr>
          <a:xfrm>
            <a:off x="6096000" y="0"/>
            <a:ext cx="6096000" cy="6858000"/>
          </a:xfrm>
          <a:prstGeom prst="rect">
            <a:avLst/>
          </a:prstGeom>
          <a:solidFill>
            <a:srgbClr val="EFF4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2165350" y="6337300"/>
            <a:ext cx="3103563"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11" name="TextBox 10">
            <a:extLst>
              <a:ext uri="{FF2B5EF4-FFF2-40B4-BE49-F238E27FC236}">
                <a16:creationId xmlns:a16="http://schemas.microsoft.com/office/drawing/2014/main" id="{936DA3A9-F7BE-D57D-1414-DE22A005555B}"/>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solidFill>
                  <a:schemeClr val="tx1"/>
                </a:solidFill>
                <a:latin typeface="+mn-lt"/>
                <a:ea typeface="+mn-lt" charset="0"/>
                <a:cs typeface="+mn-lt" panose="020B0604020202020204" pitchFamily="34" charset="0"/>
              </a:rPr>
              <a:pPr lvl="0" algn="r">
                <a:lnSpc>
                  <a:spcPts val="1000"/>
                </a:lnSpc>
              </a:pPr>
              <a:t>‹#›</a:t>
            </a:fld>
            <a:endParaRPr lang="en-US" sz="800" b="0" i="0">
              <a:solidFill>
                <a:schemeClr val="tx1"/>
              </a:solidFill>
              <a:latin typeface="+mn-lt"/>
              <a:ea typeface="+mn-lt" charset="0"/>
              <a:cs typeface="+mn-lt" panose="020B0604020202020204" pitchFamily="34" charset="0"/>
            </a:endParaRPr>
          </a:p>
        </p:txBody>
      </p:sp>
      <p:sp>
        <p:nvSpPr>
          <p:cNvPr id="6" name="Text Placeholder 5">
            <a:extLst>
              <a:ext uri="{FF2B5EF4-FFF2-40B4-BE49-F238E27FC236}">
                <a16:creationId xmlns:a16="http://schemas.microsoft.com/office/drawing/2014/main" id="{49525F8E-333C-1031-D22E-350C92E28D33}"/>
              </a:ext>
            </a:extLst>
          </p:cNvPr>
          <p:cNvSpPr>
            <a:spLocks noGrp="1"/>
          </p:cNvSpPr>
          <p:nvPr>
            <p:ph type="body" sz="quarter" idx="11"/>
          </p:nvPr>
        </p:nvSpPr>
        <p:spPr>
          <a:xfrm>
            <a:off x="493714" y="368300"/>
            <a:ext cx="4775199" cy="5727700"/>
          </a:xfrm>
        </p:spPr>
        <p:txBody>
          <a:bodyPr anchor="ctr"/>
          <a:lstStyle>
            <a:lvl1pPr>
              <a:defRPr sz="4000"/>
            </a:lvl1pPr>
            <a:lvl2pPr>
              <a:defRPr sz="3000"/>
            </a:lvl2pPr>
          </a:lstStyle>
          <a:p>
            <a:pPr lvl="0"/>
            <a:r>
              <a:rPr lang="en-US"/>
              <a:t>Click to edit Master text styles</a:t>
            </a:r>
          </a:p>
        </p:txBody>
      </p:sp>
    </p:spTree>
    <p:extLst>
      <p:ext uri="{BB962C8B-B14F-4D97-AF65-F5344CB8AC3E}">
        <p14:creationId xmlns:p14="http://schemas.microsoft.com/office/powerpoint/2010/main" val="3843533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tement + Half Re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012C7A-CEA1-0015-341B-2898453DD733}"/>
              </a:ext>
            </a:extLst>
          </p:cNvPr>
          <p:cNvGraphicFramePr>
            <a:graphicFrameLocks noChangeAspect="1"/>
          </p:cNvGraphicFramePr>
          <p:nvPr userDrawn="1">
            <p:custDataLst>
              <p:tags r:id="rId1"/>
            </p:custDataLst>
            <p:extLst>
              <p:ext uri="{D42A27DB-BD31-4B8C-83A1-F6EECF244321}">
                <p14:modId xmlns:p14="http://schemas.microsoft.com/office/powerpoint/2010/main" val="2540337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2012C7A-CEA1-0015-341B-2898453DD7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F9E803B-7EB8-D980-064A-17548C5E655D}"/>
              </a:ext>
            </a:extLst>
          </p:cNvPr>
          <p:cNvSpPr/>
          <p:nvPr userDrawn="1"/>
        </p:nvSpPr>
        <p:spPr>
          <a:xfrm>
            <a:off x="6096000" y="0"/>
            <a:ext cx="6096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2165350" y="6337300"/>
            <a:ext cx="3103563"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
        <p:nvSpPr>
          <p:cNvPr id="11" name="TextBox 10">
            <a:extLst>
              <a:ext uri="{FF2B5EF4-FFF2-40B4-BE49-F238E27FC236}">
                <a16:creationId xmlns:a16="http://schemas.microsoft.com/office/drawing/2014/main" id="{936DA3A9-F7BE-D57D-1414-DE22A005555B}"/>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solidFill>
                  <a:schemeClr val="bg1"/>
                </a:solidFill>
                <a:latin typeface="+mn-lt"/>
                <a:ea typeface="+mn-lt" charset="0"/>
                <a:cs typeface="+mn-lt" panose="020B0604020202020204" pitchFamily="34" charset="0"/>
              </a:rPr>
              <a:pPr lvl="0" algn="r">
                <a:lnSpc>
                  <a:spcPts val="1000"/>
                </a:lnSpc>
              </a:pPr>
              <a:t>‹#›</a:t>
            </a:fld>
            <a:endParaRPr lang="en-US" sz="800" b="0" i="0">
              <a:solidFill>
                <a:schemeClr val="bg1"/>
              </a:solidFill>
              <a:latin typeface="+mn-lt"/>
              <a:ea typeface="+mn-lt" charset="0"/>
              <a:cs typeface="+mn-lt" panose="020B0604020202020204" pitchFamily="34" charset="0"/>
            </a:endParaRPr>
          </a:p>
        </p:txBody>
      </p:sp>
      <p:sp>
        <p:nvSpPr>
          <p:cNvPr id="6" name="Text Placeholder 5">
            <a:extLst>
              <a:ext uri="{FF2B5EF4-FFF2-40B4-BE49-F238E27FC236}">
                <a16:creationId xmlns:a16="http://schemas.microsoft.com/office/drawing/2014/main" id="{49525F8E-333C-1031-D22E-350C92E28D33}"/>
              </a:ext>
            </a:extLst>
          </p:cNvPr>
          <p:cNvSpPr>
            <a:spLocks noGrp="1"/>
          </p:cNvSpPr>
          <p:nvPr>
            <p:ph type="body" sz="quarter" idx="11"/>
          </p:nvPr>
        </p:nvSpPr>
        <p:spPr>
          <a:xfrm>
            <a:off x="493714" y="368300"/>
            <a:ext cx="4775199" cy="5727700"/>
          </a:xfrm>
        </p:spPr>
        <p:txBody>
          <a:bodyPr anchor="ctr"/>
          <a:lstStyle>
            <a:lvl1pPr>
              <a:defRPr sz="4000"/>
            </a:lvl1pPr>
            <a:lvl2pPr>
              <a:defRPr sz="3000"/>
            </a:lvl2pPr>
          </a:lstStyle>
          <a:p>
            <a:pPr lvl="0"/>
            <a:r>
              <a:rPr lang="en-US"/>
              <a:t>Click to edit Master text styles</a:t>
            </a:r>
          </a:p>
        </p:txBody>
      </p:sp>
    </p:spTree>
    <p:extLst>
      <p:ext uri="{BB962C8B-B14F-4D97-AF65-F5344CB8AC3E}">
        <p14:creationId xmlns:p14="http://schemas.microsoft.com/office/powerpoint/2010/main" val="13624262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Quote Red">
    <p:bg>
      <p:bgPr>
        <a:solidFill>
          <a:schemeClr val="accent1"/>
        </a:solidFill>
        <a:effectLst/>
      </p:bgPr>
    </p:bg>
    <p:spTree>
      <p:nvGrpSpPr>
        <p:cNvPr id="1" name=""/>
        <p:cNvGrpSpPr/>
        <p:nvPr/>
      </p:nvGrpSpPr>
      <p:grpSpPr>
        <a:xfrm>
          <a:off x="0" y="0"/>
          <a:ext cx="0" cy="0"/>
          <a:chOff x="0" y="0"/>
          <a:chExt cx="0" cy="0"/>
        </a:xfrm>
      </p:grpSpPr>
      <p:sp>
        <p:nvSpPr>
          <p:cNvPr id="9" name="Graphic 7">
            <a:extLst>
              <a:ext uri="{FF2B5EF4-FFF2-40B4-BE49-F238E27FC236}">
                <a16:creationId xmlns:a16="http://schemas.microsoft.com/office/drawing/2014/main" id="{379800A8-FF2B-DC6A-328F-68D3F3CD05E8}"/>
              </a:ext>
            </a:extLst>
          </p:cNvPr>
          <p:cNvSpPr/>
          <p:nvPr/>
        </p:nvSpPr>
        <p:spPr>
          <a:xfrm>
            <a:off x="486450" y="461635"/>
            <a:ext cx="2905335" cy="2192706"/>
          </a:xfrm>
          <a:custGeom>
            <a:avLst/>
            <a:gdLst>
              <a:gd name="connsiteX0" fmla="*/ 877083 w 2905335"/>
              <a:gd name="connsiteY0" fmla="*/ 2192707 h 2192706"/>
              <a:gd name="connsiteX1" fmla="*/ 0 w 2905335"/>
              <a:gd name="connsiteY1" fmla="*/ 2192707 h 2192706"/>
              <a:gd name="connsiteX2" fmla="*/ 657812 w 2905335"/>
              <a:gd name="connsiteY2" fmla="*/ 0 h 2192706"/>
              <a:gd name="connsiteX3" fmla="*/ 1315624 w 2905335"/>
              <a:gd name="connsiteY3" fmla="*/ 0 h 2192706"/>
              <a:gd name="connsiteX4" fmla="*/ 877083 w 2905335"/>
              <a:gd name="connsiteY4" fmla="*/ 2192707 h 2192706"/>
              <a:gd name="connsiteX5" fmla="*/ 2466795 w 2905335"/>
              <a:gd name="connsiteY5" fmla="*/ 2192707 h 2192706"/>
              <a:gd name="connsiteX6" fmla="*/ 1589712 w 2905335"/>
              <a:gd name="connsiteY6" fmla="*/ 2192707 h 2192706"/>
              <a:gd name="connsiteX7" fmla="*/ 2247524 w 2905335"/>
              <a:gd name="connsiteY7" fmla="*/ 0 h 2192706"/>
              <a:gd name="connsiteX8" fmla="*/ 2905336 w 2905335"/>
              <a:gd name="connsiteY8" fmla="*/ 0 h 2192706"/>
              <a:gd name="connsiteX9" fmla="*/ 2466795 w 2905335"/>
              <a:gd name="connsiteY9" fmla="*/ 2192707 h 2192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5335" h="2192706">
                <a:moveTo>
                  <a:pt x="877083" y="2192707"/>
                </a:moveTo>
                <a:lnTo>
                  <a:pt x="0" y="2192707"/>
                </a:lnTo>
                <a:lnTo>
                  <a:pt x="657812" y="0"/>
                </a:lnTo>
                <a:lnTo>
                  <a:pt x="1315624" y="0"/>
                </a:lnTo>
                <a:lnTo>
                  <a:pt x="877083" y="2192707"/>
                </a:lnTo>
                <a:close/>
                <a:moveTo>
                  <a:pt x="2466795" y="2192707"/>
                </a:moveTo>
                <a:lnTo>
                  <a:pt x="1589712" y="2192707"/>
                </a:lnTo>
                <a:lnTo>
                  <a:pt x="2247524" y="0"/>
                </a:lnTo>
                <a:lnTo>
                  <a:pt x="2905336" y="0"/>
                </a:lnTo>
                <a:lnTo>
                  <a:pt x="2466795" y="2192707"/>
                </a:lnTo>
                <a:close/>
              </a:path>
            </a:pathLst>
          </a:custGeom>
          <a:solidFill>
            <a:schemeClr val="tx2"/>
          </a:solidFill>
          <a:ln w="0" cap="flat">
            <a:noFill/>
            <a:prstDash val="solid"/>
            <a:miter/>
          </a:ln>
        </p:spPr>
        <p:txBody>
          <a:bodyPr rtlCol="0" anchor="ctr"/>
          <a:lstStyle/>
          <a:p>
            <a:endParaRPr lang="en-US"/>
          </a:p>
        </p:txBody>
      </p:sp>
      <p:sp>
        <p:nvSpPr>
          <p:cNvPr id="12" name="Text Placeholder 3">
            <a:extLst>
              <a:ext uri="{FF2B5EF4-FFF2-40B4-BE49-F238E27FC236}">
                <a16:creationId xmlns:a16="http://schemas.microsoft.com/office/drawing/2014/main" id="{DE46E90D-B073-B0B6-A3ED-8B40BFFC22FB}"/>
              </a:ext>
            </a:extLst>
          </p:cNvPr>
          <p:cNvSpPr>
            <a:spLocks noGrp="1"/>
          </p:cNvSpPr>
          <p:nvPr>
            <p:ph type="body" sz="half" idx="2" hasCustomPrompt="1"/>
          </p:nvPr>
        </p:nvSpPr>
        <p:spPr>
          <a:xfrm>
            <a:off x="1449388" y="1511300"/>
            <a:ext cx="9312275" cy="2835232"/>
          </a:xfrm>
        </p:spPr>
        <p:txBody>
          <a:bodyPr/>
          <a:lstStyle>
            <a:lvl1pPr marL="0" indent="0" algn="l">
              <a:spcBef>
                <a:spcPts val="0"/>
              </a:spcBef>
              <a:buNone/>
              <a:defRPr sz="4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Quotation text set in 44 </a:t>
            </a:r>
            <a:r>
              <a:rPr lang="en-US" dirty="0" err="1"/>
              <a:t>pt</a:t>
            </a:r>
            <a:r>
              <a:rPr lang="en-US" dirty="0"/>
              <a:t> Arial font, sentence case, center-justified.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ip</a:t>
            </a:r>
            <a:r>
              <a:rPr lang="en-US" dirty="0"/>
              <a:t> ex </a:t>
            </a:r>
            <a:r>
              <a:rPr lang="en-US" dirty="0" err="1"/>
              <a:t>aliquam</a:t>
            </a:r>
            <a:r>
              <a:rPr lang="en-US" dirty="0"/>
              <a:t>.</a:t>
            </a:r>
          </a:p>
        </p:txBody>
      </p:sp>
      <p:sp>
        <p:nvSpPr>
          <p:cNvPr id="13" name="Text Placeholder 3">
            <a:extLst>
              <a:ext uri="{FF2B5EF4-FFF2-40B4-BE49-F238E27FC236}">
                <a16:creationId xmlns:a16="http://schemas.microsoft.com/office/drawing/2014/main" id="{4F96468E-7E8D-054E-1298-324D5A8D9DF3}"/>
              </a:ext>
            </a:extLst>
          </p:cNvPr>
          <p:cNvSpPr>
            <a:spLocks noGrp="1"/>
          </p:cNvSpPr>
          <p:nvPr>
            <p:ph type="body" sz="half" idx="10" hasCustomPrompt="1"/>
          </p:nvPr>
        </p:nvSpPr>
        <p:spPr>
          <a:xfrm>
            <a:off x="1449388" y="4954044"/>
            <a:ext cx="5491163" cy="1141956"/>
          </a:xfrm>
        </p:spPr>
        <p:txBody>
          <a:bodyPr/>
          <a:lstStyle>
            <a:lvl1pPr marL="0" indent="0" algn="l">
              <a:spcBef>
                <a:spcPts val="0"/>
              </a:spcBef>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Quote attribution</a:t>
            </a:r>
          </a:p>
        </p:txBody>
      </p:sp>
      <p:sp>
        <p:nvSpPr>
          <p:cNvPr id="3" name="TextBox 2">
            <a:extLst>
              <a:ext uri="{FF2B5EF4-FFF2-40B4-BE49-F238E27FC236}">
                <a16:creationId xmlns:a16="http://schemas.microsoft.com/office/drawing/2014/main" id="{055ABD13-876B-3F2C-7F29-29D736F93DCE}"/>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solidFill>
                  <a:schemeClr val="bg1"/>
                </a:solidFill>
                <a:latin typeface="+mn-lt"/>
                <a:ea typeface="+mn-lt" charset="0"/>
                <a:cs typeface="+mn-lt" panose="020B0604020202020204" pitchFamily="34" charset="0"/>
              </a:rPr>
              <a:pPr lvl="0" algn="r">
                <a:lnSpc>
                  <a:spcPts val="1000"/>
                </a:lnSpc>
              </a:pPr>
              <a:t>‹#›</a:t>
            </a:fld>
            <a:endParaRPr lang="en-US" sz="800" b="0" i="0">
              <a:solidFill>
                <a:schemeClr val="bg1"/>
              </a:solidFill>
              <a:latin typeface="+mn-lt"/>
              <a:ea typeface="+mn-lt" charset="0"/>
              <a:cs typeface="+mn-lt" panose="020B0604020202020204" pitchFamily="34" charset="0"/>
            </a:endParaRPr>
          </a:p>
        </p:txBody>
      </p:sp>
      <p:pic>
        <p:nvPicPr>
          <p:cNvPr id="2" name="Logo rgb">
            <a:extLst>
              <a:ext uri="{FF2B5EF4-FFF2-40B4-BE49-F238E27FC236}">
                <a16:creationId xmlns:a16="http://schemas.microsoft.com/office/drawing/2014/main" id="{F6239402-FC5F-EE0E-37F8-5220F0F6384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67223" y="6451600"/>
            <a:ext cx="790282" cy="170376"/>
          </a:xfrm>
          <a:prstGeom prst="rect">
            <a:avLst/>
          </a:prstGeom>
        </p:spPr>
      </p:pic>
    </p:spTree>
    <p:extLst>
      <p:ext uri="{BB962C8B-B14F-4D97-AF65-F5344CB8AC3E}">
        <p14:creationId xmlns:p14="http://schemas.microsoft.com/office/powerpoint/2010/main" val="31229079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6_Title Slide Image Static">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A1A95D22-3D1A-B6A1-EDB9-42477AA46F29}"/>
              </a:ext>
            </a:extLst>
          </p:cNvPr>
          <p:cNvSpPr/>
          <p:nvPr userDrawn="1"/>
        </p:nvSpPr>
        <p:spPr>
          <a:xfrm>
            <a:off x="7247101" y="-1623340"/>
            <a:ext cx="10104587" cy="10104034"/>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3E73C7B9-E2DC-B271-7679-9A8F2CB538EF}"/>
              </a:ext>
            </a:extLst>
          </p:cNvPr>
          <p:cNvSpPr/>
          <p:nvPr userDrawn="1"/>
        </p:nvSpPr>
        <p:spPr>
          <a:xfrm>
            <a:off x="7563942" y="928800"/>
            <a:ext cx="428400" cy="4284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think-cell data - do not delete" hidden="1">
            <a:extLst>
              <a:ext uri="{FF2B5EF4-FFF2-40B4-BE49-F238E27FC236}">
                <a16:creationId xmlns:a16="http://schemas.microsoft.com/office/drawing/2014/main" id="{DE9DB453-028E-3EF2-45D2-00AD8E66B2A0}"/>
              </a:ext>
            </a:extLst>
          </p:cNvPr>
          <p:cNvGraphicFramePr>
            <a:graphicFrameLocks noChangeAspect="1"/>
          </p:cNvGraphicFramePr>
          <p:nvPr userDrawn="1">
            <p:custDataLst>
              <p:tags r:id="rId1"/>
            </p:custDataLst>
            <p:extLst>
              <p:ext uri="{D42A27DB-BD31-4B8C-83A1-F6EECF244321}">
                <p14:modId xmlns:p14="http://schemas.microsoft.com/office/powerpoint/2010/main" val="33725244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E9DB453-028E-3EF2-45D2-00AD8E66B2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p:nvPr>
        </p:nvSpPr>
        <p:spPr>
          <a:xfrm>
            <a:off x="493714" y="4377847"/>
            <a:ext cx="5492750" cy="836112"/>
          </a:xfrm>
        </p:spPr>
        <p:txBody>
          <a:bodyPr/>
          <a:lstStyle>
            <a:lvl1pPr marL="0" indent="0" algn="l">
              <a:spcBef>
                <a:spcPts val="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p:cNvSpPr>
            <a:spLocks noGrp="1"/>
          </p:cNvSpPr>
          <p:nvPr>
            <p:ph type="ctrTitle"/>
          </p:nvPr>
        </p:nvSpPr>
        <p:spPr>
          <a:xfrm>
            <a:off x="493714" y="1143000"/>
            <a:ext cx="5492750" cy="2984325"/>
          </a:xfrm>
        </p:spPr>
        <p:txBody>
          <a:bodyPr vert="horz" anchor="b"/>
          <a:lstStyle>
            <a:lvl1pPr algn="l">
              <a:defRPr sz="5600"/>
            </a:lvl1pPr>
          </a:lstStyle>
          <a:p>
            <a:r>
              <a:rPr lang="en-US"/>
              <a:t>Click to edit Master title style</a:t>
            </a:r>
            <a:endParaRPr lang="en-US" dirty="0"/>
          </a:p>
        </p:txBody>
      </p:sp>
      <p:sp>
        <p:nvSpPr>
          <p:cNvPr id="15" name="Text Placeholder 3">
            <a:extLst>
              <a:ext uri="{FF2B5EF4-FFF2-40B4-BE49-F238E27FC236}">
                <a16:creationId xmlns:a16="http://schemas.microsoft.com/office/drawing/2014/main" id="{9268547D-8226-DF8B-B63B-9888C9C029CD}"/>
              </a:ext>
            </a:extLst>
          </p:cNvPr>
          <p:cNvSpPr>
            <a:spLocks noGrp="1"/>
          </p:cNvSpPr>
          <p:nvPr>
            <p:ph type="body" sz="half" idx="2" hasCustomPrompt="1"/>
          </p:nvPr>
        </p:nvSpPr>
        <p:spPr>
          <a:xfrm>
            <a:off x="493714" y="6162263"/>
            <a:ext cx="4278311" cy="237841"/>
          </a:xfrm>
        </p:spPr>
        <p:txBody>
          <a:bodyPr/>
          <a:lstStyle>
            <a:lvl1pPr marL="0" indent="0">
              <a:spcBef>
                <a:spcPts val="0"/>
              </a:spcBef>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Day, Year</a:t>
            </a:r>
          </a:p>
        </p:txBody>
      </p:sp>
      <p:sp>
        <p:nvSpPr>
          <p:cNvPr id="10" name="Oval 9">
            <a:extLst>
              <a:ext uri="{FF2B5EF4-FFF2-40B4-BE49-F238E27FC236}">
                <a16:creationId xmlns:a16="http://schemas.microsoft.com/office/drawing/2014/main" id="{05C55B9D-5F0D-59EF-F42B-043365AFDB48}"/>
              </a:ext>
            </a:extLst>
          </p:cNvPr>
          <p:cNvSpPr/>
          <p:nvPr userDrawn="1"/>
        </p:nvSpPr>
        <p:spPr>
          <a:xfrm>
            <a:off x="6422073" y="-2448323"/>
            <a:ext cx="11754643" cy="11754000"/>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5A07CCEB-1BCB-67FE-5EBE-B0045EA2B7FE}"/>
              </a:ext>
            </a:extLst>
          </p:cNvPr>
          <p:cNvSpPr/>
          <p:nvPr userDrawn="1"/>
        </p:nvSpPr>
        <p:spPr>
          <a:xfrm>
            <a:off x="6436901" y="4787239"/>
            <a:ext cx="426720" cy="42672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Graphic 7">
            <a:extLst>
              <a:ext uri="{FF2B5EF4-FFF2-40B4-BE49-F238E27FC236}">
                <a16:creationId xmlns:a16="http://schemas.microsoft.com/office/drawing/2014/main" id="{4FB09283-AE75-C394-2E09-5A14AD7A935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1056" y="-68094"/>
            <a:ext cx="12313056" cy="6926094"/>
          </a:xfrm>
          <a:prstGeom prst="rect">
            <a:avLst/>
          </a:prstGeom>
        </p:spPr>
      </p:pic>
      <p:sp>
        <p:nvSpPr>
          <p:cNvPr id="20" name="Picture Placeholder 19">
            <a:extLst>
              <a:ext uri="{FF2B5EF4-FFF2-40B4-BE49-F238E27FC236}">
                <a16:creationId xmlns:a16="http://schemas.microsoft.com/office/drawing/2014/main" id="{9A973BB8-B845-99C5-CCAE-51BFF7450D21}"/>
              </a:ext>
            </a:extLst>
          </p:cNvPr>
          <p:cNvSpPr>
            <a:spLocks noGrp="1"/>
          </p:cNvSpPr>
          <p:nvPr>
            <p:ph type="pic" sz="quarter" idx="10"/>
          </p:nvPr>
        </p:nvSpPr>
        <p:spPr>
          <a:xfrm>
            <a:off x="7988164" y="-14061"/>
            <a:ext cx="4211303" cy="6881788"/>
          </a:xfrm>
          <a:custGeom>
            <a:avLst/>
            <a:gdLst>
              <a:gd name="connsiteX0" fmla="*/ 1840548 w 4668502"/>
              <a:gd name="connsiteY0" fmla="*/ 0 h 6872060"/>
              <a:gd name="connsiteX1" fmla="*/ 4668502 w 4668502"/>
              <a:gd name="connsiteY1" fmla="*/ 0 h 6872060"/>
              <a:gd name="connsiteX2" fmla="*/ 4668502 w 4668502"/>
              <a:gd name="connsiteY2" fmla="*/ 6872060 h 6872060"/>
              <a:gd name="connsiteX3" fmla="*/ 1840547 w 4668502"/>
              <a:gd name="connsiteY3" fmla="*/ 6872060 h 6872060"/>
              <a:gd name="connsiteX4" fmla="*/ 1637065 w 4668502"/>
              <a:gd name="connsiteY4" fmla="*/ 6727402 h 6872060"/>
              <a:gd name="connsiteX5" fmla="*/ 0 w 4668502"/>
              <a:gd name="connsiteY5" fmla="*/ 3436031 h 6872060"/>
              <a:gd name="connsiteX6" fmla="*/ 1840548 w 4668502"/>
              <a:gd name="connsiteY6" fmla="*/ 0 h 6872060"/>
              <a:gd name="connsiteX0" fmla="*/ 1840548 w 4668502"/>
              <a:gd name="connsiteY0" fmla="*/ 0 h 6872060"/>
              <a:gd name="connsiteX1" fmla="*/ 4162664 w 4668502"/>
              <a:gd name="connsiteY1" fmla="*/ 0 h 6872060"/>
              <a:gd name="connsiteX2" fmla="*/ 4668502 w 4668502"/>
              <a:gd name="connsiteY2" fmla="*/ 6872060 h 6872060"/>
              <a:gd name="connsiteX3" fmla="*/ 1840547 w 4668502"/>
              <a:gd name="connsiteY3" fmla="*/ 6872060 h 6872060"/>
              <a:gd name="connsiteX4" fmla="*/ 1637065 w 4668502"/>
              <a:gd name="connsiteY4" fmla="*/ 6727402 h 6872060"/>
              <a:gd name="connsiteX5" fmla="*/ 0 w 4668502"/>
              <a:gd name="connsiteY5" fmla="*/ 3436031 h 6872060"/>
              <a:gd name="connsiteX6" fmla="*/ 1840548 w 4668502"/>
              <a:gd name="connsiteY6" fmla="*/ 0 h 6872060"/>
              <a:gd name="connsiteX0" fmla="*/ 1840548 w 4668502"/>
              <a:gd name="connsiteY0" fmla="*/ 0 h 6872060"/>
              <a:gd name="connsiteX1" fmla="*/ 4211303 w 4668502"/>
              <a:gd name="connsiteY1" fmla="*/ 9728 h 6872060"/>
              <a:gd name="connsiteX2" fmla="*/ 4668502 w 4668502"/>
              <a:gd name="connsiteY2" fmla="*/ 6872060 h 6872060"/>
              <a:gd name="connsiteX3" fmla="*/ 1840547 w 4668502"/>
              <a:gd name="connsiteY3" fmla="*/ 6872060 h 6872060"/>
              <a:gd name="connsiteX4" fmla="*/ 1637065 w 4668502"/>
              <a:gd name="connsiteY4" fmla="*/ 6727402 h 6872060"/>
              <a:gd name="connsiteX5" fmla="*/ 0 w 4668502"/>
              <a:gd name="connsiteY5" fmla="*/ 3436031 h 6872060"/>
              <a:gd name="connsiteX6" fmla="*/ 1840548 w 4668502"/>
              <a:gd name="connsiteY6" fmla="*/ 0 h 6872060"/>
              <a:gd name="connsiteX0" fmla="*/ 1840548 w 4211303"/>
              <a:gd name="connsiteY0" fmla="*/ 0 h 6881788"/>
              <a:gd name="connsiteX1" fmla="*/ 4211303 w 4211303"/>
              <a:gd name="connsiteY1" fmla="*/ 9728 h 6881788"/>
              <a:gd name="connsiteX2" fmla="*/ 4211302 w 4211303"/>
              <a:gd name="connsiteY2" fmla="*/ 6881788 h 6881788"/>
              <a:gd name="connsiteX3" fmla="*/ 1840547 w 4211303"/>
              <a:gd name="connsiteY3" fmla="*/ 6872060 h 6881788"/>
              <a:gd name="connsiteX4" fmla="*/ 1637065 w 4211303"/>
              <a:gd name="connsiteY4" fmla="*/ 6727402 h 6881788"/>
              <a:gd name="connsiteX5" fmla="*/ 0 w 4211303"/>
              <a:gd name="connsiteY5" fmla="*/ 3436031 h 6881788"/>
              <a:gd name="connsiteX6" fmla="*/ 1840548 w 4211303"/>
              <a:gd name="connsiteY6" fmla="*/ 0 h 688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1303" h="6881788">
                <a:moveTo>
                  <a:pt x="1840548" y="0"/>
                </a:moveTo>
                <a:lnTo>
                  <a:pt x="4211303" y="9728"/>
                </a:lnTo>
                <a:cubicBezTo>
                  <a:pt x="4211303" y="2300415"/>
                  <a:pt x="4211302" y="4591101"/>
                  <a:pt x="4211302" y="6881788"/>
                </a:cubicBezTo>
                <a:lnTo>
                  <a:pt x="1840547" y="6872060"/>
                </a:lnTo>
                <a:lnTo>
                  <a:pt x="1637065" y="6727402"/>
                </a:lnTo>
                <a:cubicBezTo>
                  <a:pt x="642665" y="5974287"/>
                  <a:pt x="0" y="4780378"/>
                  <a:pt x="0" y="3436031"/>
                </a:cubicBezTo>
                <a:cubicBezTo>
                  <a:pt x="0" y="2002061"/>
                  <a:pt x="731210" y="739256"/>
                  <a:pt x="1840548" y="0"/>
                </a:cubicBezTo>
                <a:close/>
              </a:path>
            </a:pathLst>
          </a:custGeom>
          <a:noFill/>
        </p:spPr>
        <p:txBody>
          <a:bodyPr wrap="square">
            <a:noAutofit/>
          </a:bodyPr>
          <a:lstStyle>
            <a:lvl1pPr algn="r">
              <a:defRPr/>
            </a:lvl1pPr>
          </a:lstStyle>
          <a:p>
            <a:r>
              <a:rPr lang="en-US"/>
              <a:t>Click icon to add picture</a:t>
            </a:r>
            <a:endParaRPr lang="en-US" dirty="0"/>
          </a:p>
        </p:txBody>
      </p:sp>
      <p:pic>
        <p:nvPicPr>
          <p:cNvPr id="14" name="Logo rgb">
            <a:extLst>
              <a:ext uri="{FF2B5EF4-FFF2-40B4-BE49-F238E27FC236}">
                <a16:creationId xmlns:a16="http://schemas.microsoft.com/office/drawing/2014/main" id="{5B013ABC-3486-F14B-85F3-9AEE75209A31}"/>
              </a:ext>
            </a:extLst>
          </p:cNvPr>
          <p:cNvPicPr>
            <a:picLocks noChangeAspect="1"/>
          </p:cNvPicPr>
          <p:nvPr userDrawn="1"/>
        </p:nvPicPr>
        <p:blipFill>
          <a:blip r:embed="rId7"/>
          <a:stretch>
            <a:fillRect/>
          </a:stretch>
        </p:blipFill>
        <p:spPr>
          <a:xfrm>
            <a:off x="470222" y="457895"/>
            <a:ext cx="1559515" cy="337507"/>
          </a:xfrm>
          <a:prstGeom prst="rect">
            <a:avLst/>
          </a:prstGeom>
        </p:spPr>
      </p:pic>
    </p:spTree>
    <p:extLst>
      <p:ext uri="{BB962C8B-B14F-4D97-AF65-F5344CB8AC3E}">
        <p14:creationId xmlns:p14="http://schemas.microsoft.com/office/powerpoint/2010/main" val="24114968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Or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62D82-9F8D-82C6-305B-62CDCD686811}"/>
              </a:ext>
            </a:extLst>
          </p:cNvPr>
          <p:cNvSpPr>
            <a:spLocks noGrp="1"/>
          </p:cNvSpPr>
          <p:nvPr>
            <p:ph type="title"/>
          </p:nvPr>
        </p:nvSpPr>
        <p:spPr/>
        <p:txBody>
          <a:bodyPr/>
          <a:lstStyle/>
          <a:p>
            <a:r>
              <a:rPr lang="en-US"/>
              <a:t>Click to edit Master title style</a:t>
            </a:r>
          </a:p>
        </p:txBody>
      </p:sp>
      <p:sp>
        <p:nvSpPr>
          <p:cNvPr id="30" name="Picture Placeholder 29">
            <a:extLst>
              <a:ext uri="{FF2B5EF4-FFF2-40B4-BE49-F238E27FC236}">
                <a16:creationId xmlns:a16="http://schemas.microsoft.com/office/drawing/2014/main" id="{3C8AFBF0-EF55-D346-D4DB-9FB90EAE0022}"/>
              </a:ext>
            </a:extLst>
          </p:cNvPr>
          <p:cNvSpPr>
            <a:spLocks noGrp="1" noChangeAspect="1"/>
          </p:cNvSpPr>
          <p:nvPr>
            <p:ph type="pic" sz="quarter" idx="10"/>
          </p:nvPr>
        </p:nvSpPr>
        <p:spPr>
          <a:xfrm>
            <a:off x="4783092" y="1149521"/>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35" name="Text Placeholder 34">
            <a:extLst>
              <a:ext uri="{FF2B5EF4-FFF2-40B4-BE49-F238E27FC236}">
                <a16:creationId xmlns:a16="http://schemas.microsoft.com/office/drawing/2014/main" id="{61C1CDA3-B606-524C-01FB-7F7F12DE4862}"/>
              </a:ext>
            </a:extLst>
          </p:cNvPr>
          <p:cNvSpPr>
            <a:spLocks noGrp="1"/>
          </p:cNvSpPr>
          <p:nvPr>
            <p:ph type="body" sz="quarter" idx="11" hasCustomPrompt="1"/>
          </p:nvPr>
        </p:nvSpPr>
        <p:spPr>
          <a:xfrm>
            <a:off x="5651491" y="1149521"/>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37" name="Picture Placeholder 29">
            <a:extLst>
              <a:ext uri="{FF2B5EF4-FFF2-40B4-BE49-F238E27FC236}">
                <a16:creationId xmlns:a16="http://schemas.microsoft.com/office/drawing/2014/main" id="{8BD3B19A-75D9-AD9F-7C39-B39E9AC25B9E}"/>
              </a:ext>
            </a:extLst>
          </p:cNvPr>
          <p:cNvSpPr>
            <a:spLocks noGrp="1" noChangeAspect="1"/>
          </p:cNvSpPr>
          <p:nvPr>
            <p:ph type="pic" sz="quarter" idx="12"/>
          </p:nvPr>
        </p:nvSpPr>
        <p:spPr>
          <a:xfrm>
            <a:off x="499191" y="2521121"/>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38" name="Text Placeholder 34">
            <a:extLst>
              <a:ext uri="{FF2B5EF4-FFF2-40B4-BE49-F238E27FC236}">
                <a16:creationId xmlns:a16="http://schemas.microsoft.com/office/drawing/2014/main" id="{EBE3BF31-F950-67FF-2C47-C90208E3BF54}"/>
              </a:ext>
            </a:extLst>
          </p:cNvPr>
          <p:cNvSpPr>
            <a:spLocks noGrp="1"/>
          </p:cNvSpPr>
          <p:nvPr>
            <p:ph type="body" sz="quarter" idx="13" hasCustomPrompt="1"/>
          </p:nvPr>
        </p:nvSpPr>
        <p:spPr>
          <a:xfrm>
            <a:off x="1367590" y="2521121"/>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39" name="Picture Placeholder 29">
            <a:extLst>
              <a:ext uri="{FF2B5EF4-FFF2-40B4-BE49-F238E27FC236}">
                <a16:creationId xmlns:a16="http://schemas.microsoft.com/office/drawing/2014/main" id="{6C16D7C1-99D5-56AD-EDC8-EB5EB6A086EE}"/>
              </a:ext>
            </a:extLst>
          </p:cNvPr>
          <p:cNvSpPr>
            <a:spLocks noGrp="1" noChangeAspect="1"/>
          </p:cNvSpPr>
          <p:nvPr>
            <p:ph type="pic" sz="quarter" idx="14"/>
          </p:nvPr>
        </p:nvSpPr>
        <p:spPr>
          <a:xfrm>
            <a:off x="499191" y="3905247"/>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40" name="Text Placeholder 34">
            <a:extLst>
              <a:ext uri="{FF2B5EF4-FFF2-40B4-BE49-F238E27FC236}">
                <a16:creationId xmlns:a16="http://schemas.microsoft.com/office/drawing/2014/main" id="{A50840BD-D863-B70D-ED2E-FD2028DF57A2}"/>
              </a:ext>
            </a:extLst>
          </p:cNvPr>
          <p:cNvSpPr>
            <a:spLocks noGrp="1"/>
          </p:cNvSpPr>
          <p:nvPr>
            <p:ph type="body" sz="quarter" idx="15" hasCustomPrompt="1"/>
          </p:nvPr>
        </p:nvSpPr>
        <p:spPr>
          <a:xfrm>
            <a:off x="1367590" y="3905247"/>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41" name="Picture Placeholder 29">
            <a:extLst>
              <a:ext uri="{FF2B5EF4-FFF2-40B4-BE49-F238E27FC236}">
                <a16:creationId xmlns:a16="http://schemas.microsoft.com/office/drawing/2014/main" id="{77ED110A-6EA1-6714-4B05-CBD096C695A7}"/>
              </a:ext>
            </a:extLst>
          </p:cNvPr>
          <p:cNvSpPr>
            <a:spLocks noGrp="1" noChangeAspect="1"/>
          </p:cNvSpPr>
          <p:nvPr>
            <p:ph type="pic" sz="quarter" idx="16"/>
          </p:nvPr>
        </p:nvSpPr>
        <p:spPr>
          <a:xfrm>
            <a:off x="499191" y="5289373"/>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42" name="Text Placeholder 34">
            <a:extLst>
              <a:ext uri="{FF2B5EF4-FFF2-40B4-BE49-F238E27FC236}">
                <a16:creationId xmlns:a16="http://schemas.microsoft.com/office/drawing/2014/main" id="{33415C87-818D-4931-9741-98B0E60264FC}"/>
              </a:ext>
            </a:extLst>
          </p:cNvPr>
          <p:cNvSpPr>
            <a:spLocks noGrp="1"/>
          </p:cNvSpPr>
          <p:nvPr>
            <p:ph type="body" sz="quarter" idx="17" hasCustomPrompt="1"/>
          </p:nvPr>
        </p:nvSpPr>
        <p:spPr>
          <a:xfrm>
            <a:off x="1367590" y="5289373"/>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43" name="Picture Placeholder 29">
            <a:extLst>
              <a:ext uri="{FF2B5EF4-FFF2-40B4-BE49-F238E27FC236}">
                <a16:creationId xmlns:a16="http://schemas.microsoft.com/office/drawing/2014/main" id="{595340C3-F3F2-2A1E-D5E0-16D7C5313325}"/>
              </a:ext>
            </a:extLst>
          </p:cNvPr>
          <p:cNvSpPr>
            <a:spLocks noGrp="1" noChangeAspect="1"/>
          </p:cNvSpPr>
          <p:nvPr>
            <p:ph type="pic" sz="quarter" idx="18"/>
          </p:nvPr>
        </p:nvSpPr>
        <p:spPr>
          <a:xfrm>
            <a:off x="3361389" y="2521121"/>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44" name="Text Placeholder 34">
            <a:extLst>
              <a:ext uri="{FF2B5EF4-FFF2-40B4-BE49-F238E27FC236}">
                <a16:creationId xmlns:a16="http://schemas.microsoft.com/office/drawing/2014/main" id="{FC595283-E22C-51D0-6AD8-926B9FFB0CD7}"/>
              </a:ext>
            </a:extLst>
          </p:cNvPr>
          <p:cNvSpPr>
            <a:spLocks noGrp="1"/>
          </p:cNvSpPr>
          <p:nvPr>
            <p:ph type="body" sz="quarter" idx="19" hasCustomPrompt="1"/>
          </p:nvPr>
        </p:nvSpPr>
        <p:spPr>
          <a:xfrm>
            <a:off x="4229788" y="2521121"/>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45" name="Picture Placeholder 29">
            <a:extLst>
              <a:ext uri="{FF2B5EF4-FFF2-40B4-BE49-F238E27FC236}">
                <a16:creationId xmlns:a16="http://schemas.microsoft.com/office/drawing/2014/main" id="{911DB9F9-6FA8-26AE-5685-F0F5CEA5614A}"/>
              </a:ext>
            </a:extLst>
          </p:cNvPr>
          <p:cNvSpPr>
            <a:spLocks noGrp="1" noChangeAspect="1"/>
          </p:cNvSpPr>
          <p:nvPr>
            <p:ph type="pic" sz="quarter" idx="20"/>
          </p:nvPr>
        </p:nvSpPr>
        <p:spPr>
          <a:xfrm>
            <a:off x="3361389" y="3905247"/>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46" name="Text Placeholder 34">
            <a:extLst>
              <a:ext uri="{FF2B5EF4-FFF2-40B4-BE49-F238E27FC236}">
                <a16:creationId xmlns:a16="http://schemas.microsoft.com/office/drawing/2014/main" id="{9380A346-B055-92B2-BC6C-BF87D339A500}"/>
              </a:ext>
            </a:extLst>
          </p:cNvPr>
          <p:cNvSpPr>
            <a:spLocks noGrp="1"/>
          </p:cNvSpPr>
          <p:nvPr>
            <p:ph type="body" sz="quarter" idx="21" hasCustomPrompt="1"/>
          </p:nvPr>
        </p:nvSpPr>
        <p:spPr>
          <a:xfrm>
            <a:off x="4229788" y="3905247"/>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47" name="Picture Placeholder 29">
            <a:extLst>
              <a:ext uri="{FF2B5EF4-FFF2-40B4-BE49-F238E27FC236}">
                <a16:creationId xmlns:a16="http://schemas.microsoft.com/office/drawing/2014/main" id="{9AE2D828-AB13-861C-2C28-AC7660715EBD}"/>
              </a:ext>
            </a:extLst>
          </p:cNvPr>
          <p:cNvSpPr>
            <a:spLocks noGrp="1" noChangeAspect="1"/>
          </p:cNvSpPr>
          <p:nvPr>
            <p:ph type="pic" sz="quarter" idx="22"/>
          </p:nvPr>
        </p:nvSpPr>
        <p:spPr>
          <a:xfrm>
            <a:off x="3361389" y="5289373"/>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48" name="Text Placeholder 34">
            <a:extLst>
              <a:ext uri="{FF2B5EF4-FFF2-40B4-BE49-F238E27FC236}">
                <a16:creationId xmlns:a16="http://schemas.microsoft.com/office/drawing/2014/main" id="{A6F95E90-855B-6B7E-5E94-58B0F0B65327}"/>
              </a:ext>
            </a:extLst>
          </p:cNvPr>
          <p:cNvSpPr>
            <a:spLocks noGrp="1"/>
          </p:cNvSpPr>
          <p:nvPr>
            <p:ph type="body" sz="quarter" idx="23" hasCustomPrompt="1"/>
          </p:nvPr>
        </p:nvSpPr>
        <p:spPr>
          <a:xfrm>
            <a:off x="4229788" y="5289373"/>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49" name="Picture Placeholder 29">
            <a:extLst>
              <a:ext uri="{FF2B5EF4-FFF2-40B4-BE49-F238E27FC236}">
                <a16:creationId xmlns:a16="http://schemas.microsoft.com/office/drawing/2014/main" id="{BDD00BB4-F661-21A0-1830-F75DCCA256B0}"/>
              </a:ext>
            </a:extLst>
          </p:cNvPr>
          <p:cNvSpPr>
            <a:spLocks noGrp="1" noChangeAspect="1"/>
          </p:cNvSpPr>
          <p:nvPr>
            <p:ph type="pic" sz="quarter" idx="24"/>
          </p:nvPr>
        </p:nvSpPr>
        <p:spPr>
          <a:xfrm>
            <a:off x="6229849" y="2521121"/>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50" name="Text Placeholder 34">
            <a:extLst>
              <a:ext uri="{FF2B5EF4-FFF2-40B4-BE49-F238E27FC236}">
                <a16:creationId xmlns:a16="http://schemas.microsoft.com/office/drawing/2014/main" id="{919BF6F5-F78E-7F87-1F91-6DAB39B0434E}"/>
              </a:ext>
            </a:extLst>
          </p:cNvPr>
          <p:cNvSpPr>
            <a:spLocks noGrp="1"/>
          </p:cNvSpPr>
          <p:nvPr>
            <p:ph type="body" sz="quarter" idx="25" hasCustomPrompt="1"/>
          </p:nvPr>
        </p:nvSpPr>
        <p:spPr>
          <a:xfrm>
            <a:off x="7098248" y="2521121"/>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51" name="Picture Placeholder 29">
            <a:extLst>
              <a:ext uri="{FF2B5EF4-FFF2-40B4-BE49-F238E27FC236}">
                <a16:creationId xmlns:a16="http://schemas.microsoft.com/office/drawing/2014/main" id="{DD2FE0D7-5884-504D-4E0F-3A29F3E9048F}"/>
              </a:ext>
            </a:extLst>
          </p:cNvPr>
          <p:cNvSpPr>
            <a:spLocks noGrp="1" noChangeAspect="1"/>
          </p:cNvSpPr>
          <p:nvPr>
            <p:ph type="pic" sz="quarter" idx="26"/>
          </p:nvPr>
        </p:nvSpPr>
        <p:spPr>
          <a:xfrm>
            <a:off x="6229849" y="3905247"/>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52" name="Text Placeholder 34">
            <a:extLst>
              <a:ext uri="{FF2B5EF4-FFF2-40B4-BE49-F238E27FC236}">
                <a16:creationId xmlns:a16="http://schemas.microsoft.com/office/drawing/2014/main" id="{6FFD9043-B516-A236-9264-374EB785A667}"/>
              </a:ext>
            </a:extLst>
          </p:cNvPr>
          <p:cNvSpPr>
            <a:spLocks noGrp="1"/>
          </p:cNvSpPr>
          <p:nvPr>
            <p:ph type="body" sz="quarter" idx="27" hasCustomPrompt="1"/>
          </p:nvPr>
        </p:nvSpPr>
        <p:spPr>
          <a:xfrm>
            <a:off x="7098248" y="3905247"/>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53" name="Picture Placeholder 29">
            <a:extLst>
              <a:ext uri="{FF2B5EF4-FFF2-40B4-BE49-F238E27FC236}">
                <a16:creationId xmlns:a16="http://schemas.microsoft.com/office/drawing/2014/main" id="{BD29A7E5-1CCF-81FD-CF35-F3FC4DE0BD33}"/>
              </a:ext>
            </a:extLst>
          </p:cNvPr>
          <p:cNvSpPr>
            <a:spLocks noGrp="1" noChangeAspect="1"/>
          </p:cNvSpPr>
          <p:nvPr>
            <p:ph type="pic" sz="quarter" idx="28"/>
          </p:nvPr>
        </p:nvSpPr>
        <p:spPr>
          <a:xfrm>
            <a:off x="6229849" y="5289373"/>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54" name="Text Placeholder 34">
            <a:extLst>
              <a:ext uri="{FF2B5EF4-FFF2-40B4-BE49-F238E27FC236}">
                <a16:creationId xmlns:a16="http://schemas.microsoft.com/office/drawing/2014/main" id="{B1F2609E-93D2-9B7F-E103-16F00A8774DB}"/>
              </a:ext>
            </a:extLst>
          </p:cNvPr>
          <p:cNvSpPr>
            <a:spLocks noGrp="1"/>
          </p:cNvSpPr>
          <p:nvPr>
            <p:ph type="body" sz="quarter" idx="29" hasCustomPrompt="1"/>
          </p:nvPr>
        </p:nvSpPr>
        <p:spPr>
          <a:xfrm>
            <a:off x="7098248" y="5289373"/>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55" name="Picture Placeholder 29">
            <a:extLst>
              <a:ext uri="{FF2B5EF4-FFF2-40B4-BE49-F238E27FC236}">
                <a16:creationId xmlns:a16="http://schemas.microsoft.com/office/drawing/2014/main" id="{1C38CC36-1E83-015A-C776-CD17EBCD4139}"/>
              </a:ext>
            </a:extLst>
          </p:cNvPr>
          <p:cNvSpPr>
            <a:spLocks noGrp="1" noChangeAspect="1"/>
          </p:cNvSpPr>
          <p:nvPr>
            <p:ph type="pic" sz="quarter" idx="30"/>
          </p:nvPr>
        </p:nvSpPr>
        <p:spPr>
          <a:xfrm>
            <a:off x="9092047" y="2521121"/>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56" name="Text Placeholder 34">
            <a:extLst>
              <a:ext uri="{FF2B5EF4-FFF2-40B4-BE49-F238E27FC236}">
                <a16:creationId xmlns:a16="http://schemas.microsoft.com/office/drawing/2014/main" id="{81B4B105-EC5A-5230-E83A-1461C56C777C}"/>
              </a:ext>
            </a:extLst>
          </p:cNvPr>
          <p:cNvSpPr>
            <a:spLocks noGrp="1"/>
          </p:cNvSpPr>
          <p:nvPr>
            <p:ph type="body" sz="quarter" idx="31" hasCustomPrompt="1"/>
          </p:nvPr>
        </p:nvSpPr>
        <p:spPr>
          <a:xfrm>
            <a:off x="9960446" y="2521121"/>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57" name="Picture Placeholder 29">
            <a:extLst>
              <a:ext uri="{FF2B5EF4-FFF2-40B4-BE49-F238E27FC236}">
                <a16:creationId xmlns:a16="http://schemas.microsoft.com/office/drawing/2014/main" id="{1639FEB5-956B-B1DB-CD14-CD494176D840}"/>
              </a:ext>
            </a:extLst>
          </p:cNvPr>
          <p:cNvSpPr>
            <a:spLocks noGrp="1" noChangeAspect="1"/>
          </p:cNvSpPr>
          <p:nvPr>
            <p:ph type="pic" sz="quarter" idx="32"/>
          </p:nvPr>
        </p:nvSpPr>
        <p:spPr>
          <a:xfrm>
            <a:off x="9092047" y="3905247"/>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58" name="Text Placeholder 34">
            <a:extLst>
              <a:ext uri="{FF2B5EF4-FFF2-40B4-BE49-F238E27FC236}">
                <a16:creationId xmlns:a16="http://schemas.microsoft.com/office/drawing/2014/main" id="{426749D3-19B6-855C-AC23-CEF4C663A93E}"/>
              </a:ext>
            </a:extLst>
          </p:cNvPr>
          <p:cNvSpPr>
            <a:spLocks noGrp="1"/>
          </p:cNvSpPr>
          <p:nvPr>
            <p:ph type="body" sz="quarter" idx="33" hasCustomPrompt="1"/>
          </p:nvPr>
        </p:nvSpPr>
        <p:spPr>
          <a:xfrm>
            <a:off x="9960446" y="3905247"/>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
        <p:nvSpPr>
          <p:cNvPr id="59" name="Picture Placeholder 29">
            <a:extLst>
              <a:ext uri="{FF2B5EF4-FFF2-40B4-BE49-F238E27FC236}">
                <a16:creationId xmlns:a16="http://schemas.microsoft.com/office/drawing/2014/main" id="{E10147A1-6E1D-8E62-0570-1F6BA6D96808}"/>
              </a:ext>
            </a:extLst>
          </p:cNvPr>
          <p:cNvSpPr>
            <a:spLocks noGrp="1" noChangeAspect="1"/>
          </p:cNvSpPr>
          <p:nvPr>
            <p:ph type="pic" sz="quarter" idx="34"/>
          </p:nvPr>
        </p:nvSpPr>
        <p:spPr>
          <a:xfrm>
            <a:off x="9092047" y="5289373"/>
            <a:ext cx="804672" cy="804672"/>
          </a:xfrm>
          <a:prstGeom prst="ellipse">
            <a:avLst/>
          </a:prstGeom>
          <a:blipFill>
            <a:blip r:embed="rId2">
              <a:extLst>
                <a:ext uri="{96DAC541-7B7A-43D3-8B79-37D633B846F1}">
                  <asvg:svgBlip xmlns:asvg="http://schemas.microsoft.com/office/drawing/2016/SVG/main" r:embed="rId3"/>
                </a:ext>
              </a:extLst>
            </a:blip>
            <a:stretch>
              <a:fillRect/>
            </a:stretch>
          </a:blipFill>
        </p:spPr>
        <p:txBody>
          <a:bodyPr anchor="b"/>
          <a:lstStyle>
            <a:lvl1pPr algn="ctr">
              <a:defRPr sz="700">
                <a:solidFill>
                  <a:schemeClr val="bg1"/>
                </a:solidFill>
              </a:defRPr>
            </a:lvl1pPr>
          </a:lstStyle>
          <a:p>
            <a:r>
              <a:rPr lang="en-US"/>
              <a:t>Click icon to add picture</a:t>
            </a:r>
          </a:p>
        </p:txBody>
      </p:sp>
      <p:sp>
        <p:nvSpPr>
          <p:cNvPr id="60" name="Text Placeholder 34">
            <a:extLst>
              <a:ext uri="{FF2B5EF4-FFF2-40B4-BE49-F238E27FC236}">
                <a16:creationId xmlns:a16="http://schemas.microsoft.com/office/drawing/2014/main" id="{398ED5C5-FF5B-572C-63AE-409CC69F3BE4}"/>
              </a:ext>
            </a:extLst>
          </p:cNvPr>
          <p:cNvSpPr>
            <a:spLocks noGrp="1"/>
          </p:cNvSpPr>
          <p:nvPr>
            <p:ph type="body" sz="quarter" idx="35" hasCustomPrompt="1"/>
          </p:nvPr>
        </p:nvSpPr>
        <p:spPr>
          <a:xfrm>
            <a:off x="9960446" y="5289373"/>
            <a:ext cx="1746504" cy="804672"/>
          </a:xfrm>
        </p:spPr>
        <p:txBody>
          <a:bodyPr lIns="91440" tIns="45720" rIns="91440" bIns="45720"/>
          <a:lstStyle>
            <a:lvl1pPr>
              <a:spcBef>
                <a:spcPts val="0"/>
              </a:spcBef>
              <a:defRPr sz="900" b="1">
                <a:solidFill>
                  <a:schemeClr val="tx2"/>
                </a:solidFill>
              </a:defRPr>
            </a:lvl1pPr>
            <a:lvl2pPr marL="4763" indent="0">
              <a:spcBef>
                <a:spcPts val="0"/>
              </a:spcBef>
              <a:buNone/>
              <a:defRPr sz="900"/>
            </a:lvl2pPr>
            <a:lvl3pPr>
              <a:defRPr sz="900"/>
            </a:lvl3pPr>
            <a:lvl4pPr>
              <a:defRPr sz="900"/>
            </a:lvl4pPr>
            <a:lvl5pPr>
              <a:defRPr sz="900"/>
            </a:lvl5pPr>
          </a:lstStyle>
          <a:p>
            <a:pPr lvl="0"/>
            <a:r>
              <a:rPr lang="en-US"/>
              <a:t>First </a:t>
            </a:r>
            <a:r>
              <a:rPr lang="en-US" err="1"/>
              <a:t>Lastname</a:t>
            </a:r>
            <a:endParaRPr lang="en-US"/>
          </a:p>
          <a:p>
            <a:pPr lvl="1"/>
            <a:r>
              <a:rPr lang="en-US"/>
              <a:t>Title and location</a:t>
            </a:r>
          </a:p>
        </p:txBody>
      </p:sp>
    </p:spTree>
    <p:extLst>
      <p:ext uri="{BB962C8B-B14F-4D97-AF65-F5344CB8AC3E}">
        <p14:creationId xmlns:p14="http://schemas.microsoft.com/office/powerpoint/2010/main" val="23842025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orl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1D1DD-0A9B-120D-5A58-9366F66BDBBF}"/>
              </a:ext>
            </a:extLst>
          </p:cNvPr>
          <p:cNvSpPr>
            <a:spLocks noGrp="1"/>
          </p:cNvSpPr>
          <p:nvPr>
            <p:ph type="title"/>
          </p:nvPr>
        </p:nvSpPr>
        <p:spPr>
          <a:xfrm>
            <a:off x="493713" y="368300"/>
            <a:ext cx="11218100" cy="774700"/>
          </a:xfrm>
        </p:spPr>
        <p:txBody>
          <a:bodyPr vert="horz"/>
          <a:lstStyle/>
          <a:p>
            <a:r>
              <a:rPr lang="en-US"/>
              <a:t>Click to edit Master title style</a:t>
            </a:r>
            <a:endParaRPr lang="en-US" dirty="0"/>
          </a:p>
        </p:txBody>
      </p:sp>
      <p:grpSp>
        <p:nvGrpSpPr>
          <p:cNvPr id="3" name="World Map">
            <a:extLst>
              <a:ext uri="{FF2B5EF4-FFF2-40B4-BE49-F238E27FC236}">
                <a16:creationId xmlns:a16="http://schemas.microsoft.com/office/drawing/2014/main" id="{588FC796-31E0-2A76-B776-73D716E798D6}"/>
              </a:ext>
            </a:extLst>
          </p:cNvPr>
          <p:cNvGrpSpPr>
            <a:grpSpLocks/>
          </p:cNvGrpSpPr>
          <p:nvPr userDrawn="1"/>
        </p:nvGrpSpPr>
        <p:grpSpPr>
          <a:xfrm>
            <a:off x="797243" y="1276653"/>
            <a:ext cx="10378439" cy="5063822"/>
            <a:chOff x="399011" y="834814"/>
            <a:chExt cx="8342794" cy="4070611"/>
          </a:xfrm>
          <a:solidFill>
            <a:schemeClr val="accent5"/>
          </a:solidFill>
        </p:grpSpPr>
        <p:sp>
          <p:nvSpPr>
            <p:cNvPr id="4" name="Zimbabwe" descr="© INSCALE GmbH, 05.05.2010&#10;http://www.presentationload.com/">
              <a:extLst>
                <a:ext uri="{FF2B5EF4-FFF2-40B4-BE49-F238E27FC236}">
                  <a16:creationId xmlns:a16="http://schemas.microsoft.com/office/drawing/2014/main" id="{F54CD6EB-AB56-DF28-E112-666D23E07B90}"/>
                </a:ext>
              </a:extLst>
            </p:cNvPr>
            <p:cNvSpPr>
              <a:spLocks/>
            </p:cNvSpPr>
            <p:nvPr/>
          </p:nvSpPr>
          <p:spPr bwMode="gray">
            <a:xfrm>
              <a:off x="4909872" y="3695804"/>
              <a:ext cx="209015" cy="209016"/>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 name="Zambia" descr="© INSCALE GmbH, 05.05.2010&#10;http://www.presentationload.com/">
              <a:extLst>
                <a:ext uri="{FF2B5EF4-FFF2-40B4-BE49-F238E27FC236}">
                  <a16:creationId xmlns:a16="http://schemas.microsoft.com/office/drawing/2014/main" id="{D3B6A6CB-DCC8-6E14-DAF6-89E201571872}"/>
                </a:ext>
              </a:extLst>
            </p:cNvPr>
            <p:cNvSpPr>
              <a:spLocks/>
            </p:cNvSpPr>
            <p:nvPr/>
          </p:nvSpPr>
          <p:spPr bwMode="gray">
            <a:xfrm>
              <a:off x="4825375" y="3467518"/>
              <a:ext cx="315746" cy="302405"/>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 name="Yemen" descr="© INSCALE GmbH, 05.05.2010&#10;http://www.presentationload.com/">
              <a:extLst>
                <a:ext uri="{FF2B5EF4-FFF2-40B4-BE49-F238E27FC236}">
                  <a16:creationId xmlns:a16="http://schemas.microsoft.com/office/drawing/2014/main" id="{35D943FD-4B59-9E7A-3D1B-EF96B009D4DD}"/>
                </a:ext>
              </a:extLst>
            </p:cNvPr>
            <p:cNvSpPr>
              <a:spLocks/>
            </p:cNvSpPr>
            <p:nvPr/>
          </p:nvSpPr>
          <p:spPr bwMode="gray">
            <a:xfrm>
              <a:off x="5375336" y="2637386"/>
              <a:ext cx="277203" cy="189744"/>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 name="Western Sahara" descr="© INSCALE GmbH, 05.05.2010&#10;http://www.presentationload.com/">
              <a:extLst>
                <a:ext uri="{FF2B5EF4-FFF2-40B4-BE49-F238E27FC236}">
                  <a16:creationId xmlns:a16="http://schemas.microsoft.com/office/drawing/2014/main" id="{7D99E0F2-8FB1-F2FA-BABD-46ECD71BB3F4}"/>
                </a:ext>
              </a:extLst>
            </p:cNvPr>
            <p:cNvSpPr>
              <a:spLocks/>
            </p:cNvSpPr>
            <p:nvPr/>
          </p:nvSpPr>
          <p:spPr bwMode="gray">
            <a:xfrm>
              <a:off x="3790679" y="2373523"/>
              <a:ext cx="226803" cy="194192"/>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 name="West Bank" descr="© INSCALE GmbH, 05.05.2010&#10;http://www.presentationload.com/">
              <a:extLst>
                <a:ext uri="{FF2B5EF4-FFF2-40B4-BE49-F238E27FC236}">
                  <a16:creationId xmlns:a16="http://schemas.microsoft.com/office/drawing/2014/main" id="{A7890A60-2F24-31DC-1B81-E4FDBE1A1ADF}"/>
                </a:ext>
              </a:extLst>
            </p:cNvPr>
            <p:cNvSpPr>
              <a:spLocks/>
            </p:cNvSpPr>
            <p:nvPr/>
          </p:nvSpPr>
          <p:spPr bwMode="gray">
            <a:xfrm>
              <a:off x="5148532" y="2226767"/>
              <a:ext cx="16307" cy="35577"/>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 name="Uzbekistan" descr="© INSCALE GmbH, 05.05.2010&#10;http://www.presentationload.com/">
              <a:extLst>
                <a:ext uri="{FF2B5EF4-FFF2-40B4-BE49-F238E27FC236}">
                  <a16:creationId xmlns:a16="http://schemas.microsoft.com/office/drawing/2014/main" id="{B15D5F50-0A2F-A9E5-44AC-25E2484B836D}"/>
                </a:ext>
              </a:extLst>
            </p:cNvPr>
            <p:cNvSpPr>
              <a:spLocks/>
            </p:cNvSpPr>
            <p:nvPr/>
          </p:nvSpPr>
          <p:spPr bwMode="gray">
            <a:xfrm>
              <a:off x="5618445" y="1830973"/>
              <a:ext cx="449160" cy="252004"/>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 name="Vietnam" descr="© INSCALE GmbH, 05.05.2010&#10;http://www.presentationload.com/">
              <a:extLst>
                <a:ext uri="{FF2B5EF4-FFF2-40B4-BE49-F238E27FC236}">
                  <a16:creationId xmlns:a16="http://schemas.microsoft.com/office/drawing/2014/main" id="{53E597D7-BB91-2922-75EB-CDA2A2C252C8}"/>
                </a:ext>
              </a:extLst>
            </p:cNvPr>
            <p:cNvSpPr>
              <a:spLocks/>
            </p:cNvSpPr>
            <p:nvPr/>
          </p:nvSpPr>
          <p:spPr bwMode="gray">
            <a:xfrm>
              <a:off x="6940722" y="2503972"/>
              <a:ext cx="229767" cy="452126"/>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 name="Venezuela" descr="© INSCALE GmbH, 05.05.2010&#10;http://www.presentationload.com/">
              <a:extLst>
                <a:ext uri="{FF2B5EF4-FFF2-40B4-BE49-F238E27FC236}">
                  <a16:creationId xmlns:a16="http://schemas.microsoft.com/office/drawing/2014/main" id="{A1B91BEE-8C5E-D9C2-2904-9C212CEDAA25}"/>
                </a:ext>
              </a:extLst>
            </p:cNvPr>
            <p:cNvSpPr>
              <a:spLocks/>
            </p:cNvSpPr>
            <p:nvPr/>
          </p:nvSpPr>
          <p:spPr bwMode="gray">
            <a:xfrm>
              <a:off x="2263836" y="2846402"/>
              <a:ext cx="361698" cy="352806"/>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 name="USA (Alaska)" descr="© INSCALE GmbH, 05.05.2010&#10;http://www.presentationload.com/">
              <a:extLst>
                <a:ext uri="{FF2B5EF4-FFF2-40B4-BE49-F238E27FC236}">
                  <a16:creationId xmlns:a16="http://schemas.microsoft.com/office/drawing/2014/main" id="{995DE5E5-ACA5-7446-D830-AEBBE2D251B7}"/>
                </a:ext>
              </a:extLst>
            </p:cNvPr>
            <p:cNvSpPr>
              <a:spLocks/>
            </p:cNvSpPr>
            <p:nvPr/>
          </p:nvSpPr>
          <p:spPr bwMode="gray">
            <a:xfrm>
              <a:off x="399011" y="1107572"/>
              <a:ext cx="1165144" cy="504009"/>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 name="USA" descr="© INSCALE GmbH, 05.05.2010&#10;http://www.presentationload.com/">
              <a:extLst>
                <a:ext uri="{FF2B5EF4-FFF2-40B4-BE49-F238E27FC236}">
                  <a16:creationId xmlns:a16="http://schemas.microsoft.com/office/drawing/2014/main" id="{D29B182D-3C56-1A47-F96C-7392CB51E5A6}"/>
                </a:ext>
              </a:extLst>
            </p:cNvPr>
            <p:cNvSpPr>
              <a:spLocks/>
            </p:cNvSpPr>
            <p:nvPr/>
          </p:nvSpPr>
          <p:spPr bwMode="gray">
            <a:xfrm>
              <a:off x="1160950" y="1713865"/>
              <a:ext cx="1485337" cy="736743"/>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endParaRPr>
            </a:p>
          </p:txBody>
        </p:sp>
        <p:sp>
          <p:nvSpPr>
            <p:cNvPr id="14" name="Uruguay" descr="© INSCALE GmbH, 05.05.2010&#10;http://www.presentationload.com/">
              <a:extLst>
                <a:ext uri="{FF2B5EF4-FFF2-40B4-BE49-F238E27FC236}">
                  <a16:creationId xmlns:a16="http://schemas.microsoft.com/office/drawing/2014/main" id="{7EA474D8-7864-9EEE-34AC-EFF5C0436A2D}"/>
                </a:ext>
              </a:extLst>
            </p:cNvPr>
            <p:cNvSpPr>
              <a:spLocks/>
            </p:cNvSpPr>
            <p:nvPr/>
          </p:nvSpPr>
          <p:spPr bwMode="gray">
            <a:xfrm>
              <a:off x="2745607" y="4139036"/>
              <a:ext cx="139343" cy="145273"/>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 name="United Kingdom" descr="© INSCALE GmbH, 05.05.2010&#10;http://www.presentationload.com/">
              <a:extLst>
                <a:ext uri="{FF2B5EF4-FFF2-40B4-BE49-F238E27FC236}">
                  <a16:creationId xmlns:a16="http://schemas.microsoft.com/office/drawing/2014/main" id="{05A1C74C-4DA2-426D-E6B8-A67F8290C1D7}"/>
                </a:ext>
              </a:extLst>
            </p:cNvPr>
            <p:cNvSpPr>
              <a:spLocks/>
            </p:cNvSpPr>
            <p:nvPr/>
          </p:nvSpPr>
          <p:spPr bwMode="gray">
            <a:xfrm>
              <a:off x="4094566" y="1386258"/>
              <a:ext cx="219391" cy="312783"/>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 name="United Arab Emirates" descr="© INSCALE GmbH, 05.05.2010&#10;http://www.presentationload.com/">
              <a:extLst>
                <a:ext uri="{FF2B5EF4-FFF2-40B4-BE49-F238E27FC236}">
                  <a16:creationId xmlns:a16="http://schemas.microsoft.com/office/drawing/2014/main" id="{33968AC1-2A79-083F-B7D5-728266180618}"/>
                </a:ext>
              </a:extLst>
            </p:cNvPr>
            <p:cNvSpPr>
              <a:spLocks/>
            </p:cNvSpPr>
            <p:nvPr/>
          </p:nvSpPr>
          <p:spPr bwMode="gray">
            <a:xfrm>
              <a:off x="5599173" y="2407618"/>
              <a:ext cx="127484" cy="121556"/>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 name="Ukraine" descr="© INSCALE GmbH, 05.05.2010&#10;http://www.presentationload.com/">
              <a:extLst>
                <a:ext uri="{FF2B5EF4-FFF2-40B4-BE49-F238E27FC236}">
                  <a16:creationId xmlns:a16="http://schemas.microsoft.com/office/drawing/2014/main" id="{6623D052-8F81-8CCC-7090-A0A8CEAD0B14}"/>
                </a:ext>
              </a:extLst>
            </p:cNvPr>
            <p:cNvSpPr>
              <a:spLocks/>
            </p:cNvSpPr>
            <p:nvPr/>
          </p:nvSpPr>
          <p:spPr bwMode="gray">
            <a:xfrm>
              <a:off x="4792763" y="1627887"/>
              <a:ext cx="423959" cy="237181"/>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8" name="Uganda" descr="© INSCALE GmbH, 05.05.2010&#10;http://www.presentationload.com/">
              <a:extLst>
                <a:ext uri="{FF2B5EF4-FFF2-40B4-BE49-F238E27FC236}">
                  <a16:creationId xmlns:a16="http://schemas.microsoft.com/office/drawing/2014/main" id="{2E8FEDAF-45CC-C511-3E91-A061558475A1}"/>
                </a:ext>
              </a:extLst>
            </p:cNvPr>
            <p:cNvSpPr>
              <a:spLocks/>
            </p:cNvSpPr>
            <p:nvPr/>
          </p:nvSpPr>
          <p:spPr bwMode="gray">
            <a:xfrm>
              <a:off x="5034390" y="3090993"/>
              <a:ext cx="148236" cy="174920"/>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9" name="Turkmenistan" descr="© INSCALE GmbH, 05.05.2010&#10;http://www.presentationload.com/">
              <a:extLst>
                <a:ext uri="{FF2B5EF4-FFF2-40B4-BE49-F238E27FC236}">
                  <a16:creationId xmlns:a16="http://schemas.microsoft.com/office/drawing/2014/main" id="{C03DC43D-0A3D-1E3A-DB04-2F5B3F82F240}"/>
                </a:ext>
              </a:extLst>
            </p:cNvPr>
            <p:cNvSpPr>
              <a:spLocks/>
            </p:cNvSpPr>
            <p:nvPr/>
          </p:nvSpPr>
          <p:spPr bwMode="gray">
            <a:xfrm>
              <a:off x="5550255" y="1912504"/>
              <a:ext cx="382452" cy="229770"/>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20" name="Turkey" descr="© INSCALE GmbH, 05.05.2010&#10;http://www.presentationload.com/">
              <a:extLst>
                <a:ext uri="{FF2B5EF4-FFF2-40B4-BE49-F238E27FC236}">
                  <a16:creationId xmlns:a16="http://schemas.microsoft.com/office/drawing/2014/main" id="{61355AB3-9A0A-3D68-A1E8-56845E7E1941}"/>
                </a:ext>
              </a:extLst>
            </p:cNvPr>
            <p:cNvSpPr>
              <a:spLocks/>
            </p:cNvSpPr>
            <p:nvPr/>
          </p:nvSpPr>
          <p:spPr bwMode="gray">
            <a:xfrm>
              <a:off x="4880223" y="1930291"/>
              <a:ext cx="504007" cy="192709"/>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21" name="Tunisia" descr="© INSCALE GmbH, 05.05.2010&#10;http://www.presentationload.com/">
              <a:extLst>
                <a:ext uri="{FF2B5EF4-FFF2-40B4-BE49-F238E27FC236}">
                  <a16:creationId xmlns:a16="http://schemas.microsoft.com/office/drawing/2014/main" id="{B7B71A4C-9D3C-766D-3900-92D2EC27B7B9}"/>
                </a:ext>
              </a:extLst>
            </p:cNvPr>
            <p:cNvSpPr>
              <a:spLocks/>
            </p:cNvSpPr>
            <p:nvPr/>
          </p:nvSpPr>
          <p:spPr bwMode="gray">
            <a:xfrm>
              <a:off x="4441441" y="2078530"/>
              <a:ext cx="103766" cy="216428"/>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22" name="Togo" descr="© INSCALE GmbH, 05.05.2010&#10;http://www.presentationload.com/">
              <a:extLst>
                <a:ext uri="{FF2B5EF4-FFF2-40B4-BE49-F238E27FC236}">
                  <a16:creationId xmlns:a16="http://schemas.microsoft.com/office/drawing/2014/main" id="{1EA89374-77D4-F2C3-CAFE-7F776C0F01C3}"/>
                </a:ext>
              </a:extLst>
            </p:cNvPr>
            <p:cNvSpPr>
              <a:spLocks/>
            </p:cNvSpPr>
            <p:nvPr/>
          </p:nvSpPr>
          <p:spPr bwMode="gray">
            <a:xfrm>
              <a:off x="4230944" y="2880496"/>
              <a:ext cx="53365" cy="152686"/>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23" name="Thailand" descr="© INSCALE GmbH, 05.05.2010&#10;http://www.presentationload.com/">
              <a:extLst>
                <a:ext uri="{FF2B5EF4-FFF2-40B4-BE49-F238E27FC236}">
                  <a16:creationId xmlns:a16="http://schemas.microsoft.com/office/drawing/2014/main" id="{A6BD2542-712B-35DD-A759-63B94593B65F}"/>
                </a:ext>
              </a:extLst>
            </p:cNvPr>
            <p:cNvSpPr>
              <a:spLocks/>
            </p:cNvSpPr>
            <p:nvPr/>
          </p:nvSpPr>
          <p:spPr bwMode="gray">
            <a:xfrm>
              <a:off x="6829542" y="2594397"/>
              <a:ext cx="234215" cy="450643"/>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24" name="Tanzania" descr="© INSCALE GmbH, 05.05.2010&#10;http://www.presentationload.com/">
              <a:extLst>
                <a:ext uri="{FF2B5EF4-FFF2-40B4-BE49-F238E27FC236}">
                  <a16:creationId xmlns:a16="http://schemas.microsoft.com/office/drawing/2014/main" id="{F04B645C-5011-531C-52C5-C64505FBCF93}"/>
                </a:ext>
              </a:extLst>
            </p:cNvPr>
            <p:cNvSpPr>
              <a:spLocks/>
            </p:cNvSpPr>
            <p:nvPr/>
          </p:nvSpPr>
          <p:spPr bwMode="gray">
            <a:xfrm>
              <a:off x="5032907" y="3249609"/>
              <a:ext cx="290545" cy="329088"/>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25" name="Tajikistan" descr="© INSCALE GmbH, 05.05.2010&#10;http://www.presentationload.com/">
              <a:extLst>
                <a:ext uri="{FF2B5EF4-FFF2-40B4-BE49-F238E27FC236}">
                  <a16:creationId xmlns:a16="http://schemas.microsoft.com/office/drawing/2014/main" id="{BF2A13DE-4B66-BCDC-6C0A-B91351515934}"/>
                </a:ext>
              </a:extLst>
            </p:cNvPr>
            <p:cNvSpPr>
              <a:spLocks/>
            </p:cNvSpPr>
            <p:nvPr/>
          </p:nvSpPr>
          <p:spPr bwMode="gray">
            <a:xfrm>
              <a:off x="5937154" y="1967351"/>
              <a:ext cx="209015" cy="131932"/>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26" name="Taiwan" descr="© INSCALE GmbH, 05.05.2010&#10;http://www.presentationload.com/">
              <a:extLst>
                <a:ext uri="{FF2B5EF4-FFF2-40B4-BE49-F238E27FC236}">
                  <a16:creationId xmlns:a16="http://schemas.microsoft.com/office/drawing/2014/main" id="{F51218F1-1A51-EAB9-B311-2F08866EF549}"/>
                </a:ext>
              </a:extLst>
            </p:cNvPr>
            <p:cNvSpPr>
              <a:spLocks/>
            </p:cNvSpPr>
            <p:nvPr/>
          </p:nvSpPr>
          <p:spPr bwMode="gray">
            <a:xfrm>
              <a:off x="7401738" y="2444677"/>
              <a:ext cx="45954" cy="102284"/>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27" name="Syria" descr="© INSCALE GmbH, 05.05.2010&#10;http://www.presentationload.com/">
              <a:extLst>
                <a:ext uri="{FF2B5EF4-FFF2-40B4-BE49-F238E27FC236}">
                  <a16:creationId xmlns:a16="http://schemas.microsoft.com/office/drawing/2014/main" id="{49E36611-7D62-B160-2377-B37296526018}"/>
                </a:ext>
              </a:extLst>
            </p:cNvPr>
            <p:cNvSpPr>
              <a:spLocks/>
            </p:cNvSpPr>
            <p:nvPr/>
          </p:nvSpPr>
          <p:spPr bwMode="gray">
            <a:xfrm>
              <a:off x="5152979" y="2075565"/>
              <a:ext cx="170473" cy="157133"/>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28" name="Switzerland" descr="© INSCALE GmbH, 05.05.2010&#10;http://www.presentationload.com/">
              <a:extLst>
                <a:ext uri="{FF2B5EF4-FFF2-40B4-BE49-F238E27FC236}">
                  <a16:creationId xmlns:a16="http://schemas.microsoft.com/office/drawing/2014/main" id="{A8D593D8-DE12-178B-CDE8-3B3426C081B6}"/>
                </a:ext>
              </a:extLst>
            </p:cNvPr>
            <p:cNvSpPr>
              <a:spLocks/>
            </p:cNvSpPr>
            <p:nvPr/>
          </p:nvSpPr>
          <p:spPr bwMode="gray">
            <a:xfrm>
              <a:off x="4408829" y="1759818"/>
              <a:ext cx="109696" cy="60778"/>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29" name="Sweden" descr="© INSCALE GmbH, 05.05.2010&#10;http://www.presentationload.com/">
              <a:extLst>
                <a:ext uri="{FF2B5EF4-FFF2-40B4-BE49-F238E27FC236}">
                  <a16:creationId xmlns:a16="http://schemas.microsoft.com/office/drawing/2014/main" id="{93FE7BD5-9444-29EE-4040-9DCC1B8C44B4}"/>
                </a:ext>
              </a:extLst>
            </p:cNvPr>
            <p:cNvSpPr>
              <a:spLocks/>
            </p:cNvSpPr>
            <p:nvPr/>
          </p:nvSpPr>
          <p:spPr bwMode="gray">
            <a:xfrm>
              <a:off x="4533349" y="1163902"/>
              <a:ext cx="262381" cy="37504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30" name="Swaziland" descr="© INSCALE GmbH, 05.05.2010&#10;http://www.presentationload.com/">
              <a:extLst>
                <a:ext uri="{FF2B5EF4-FFF2-40B4-BE49-F238E27FC236}">
                  <a16:creationId xmlns:a16="http://schemas.microsoft.com/office/drawing/2014/main" id="{A1D5A8B8-9DA1-9D12-BC77-111116BB2E07}"/>
                </a:ext>
              </a:extLst>
            </p:cNvPr>
            <p:cNvSpPr>
              <a:spLocks/>
            </p:cNvSpPr>
            <p:nvPr/>
          </p:nvSpPr>
          <p:spPr bwMode="gray">
            <a:xfrm>
              <a:off x="5050696" y="4004139"/>
              <a:ext cx="38542" cy="50401"/>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31" name="Suriname" descr="© INSCALE GmbH, 05.05.2010&#10;http://www.presentationload.com/">
              <a:extLst>
                <a:ext uri="{FF2B5EF4-FFF2-40B4-BE49-F238E27FC236}">
                  <a16:creationId xmlns:a16="http://schemas.microsoft.com/office/drawing/2014/main" id="{EFEB2317-8886-5631-2A84-4C7BE74DDAB3}"/>
                </a:ext>
              </a:extLst>
            </p:cNvPr>
            <p:cNvSpPr>
              <a:spLocks/>
            </p:cNvSpPr>
            <p:nvPr/>
          </p:nvSpPr>
          <p:spPr bwMode="gray">
            <a:xfrm>
              <a:off x="2668524" y="3036146"/>
              <a:ext cx="111179" cy="127485"/>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32" name="Sudan">
              <a:extLst>
                <a:ext uri="{FF2B5EF4-FFF2-40B4-BE49-F238E27FC236}">
                  <a16:creationId xmlns:a16="http://schemas.microsoft.com/office/drawing/2014/main" id="{6B2E830C-DA72-B605-E6B6-CE6AAA8AED00}"/>
                </a:ext>
              </a:extLst>
            </p:cNvPr>
            <p:cNvSpPr>
              <a:spLocks/>
            </p:cNvSpPr>
            <p:nvPr/>
          </p:nvSpPr>
          <p:spPr bwMode="auto">
            <a:xfrm>
              <a:off x="4814919" y="2510265"/>
              <a:ext cx="452944" cy="444363"/>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33" name="South Sudan">
              <a:extLst>
                <a:ext uri="{FF2B5EF4-FFF2-40B4-BE49-F238E27FC236}">
                  <a16:creationId xmlns:a16="http://schemas.microsoft.com/office/drawing/2014/main" id="{472479B6-27BB-9B64-3DFE-DC4E63603880}"/>
                </a:ext>
              </a:extLst>
            </p:cNvPr>
            <p:cNvSpPr>
              <a:spLocks/>
            </p:cNvSpPr>
            <p:nvPr/>
          </p:nvSpPr>
          <p:spPr bwMode="auto">
            <a:xfrm>
              <a:off x="4877854" y="2841153"/>
              <a:ext cx="326120" cy="272722"/>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34" name="Sri Lanka" descr="© INSCALE GmbH, 05.05.2010&#10;http://www.presentationload.com/">
              <a:extLst>
                <a:ext uri="{FF2B5EF4-FFF2-40B4-BE49-F238E27FC236}">
                  <a16:creationId xmlns:a16="http://schemas.microsoft.com/office/drawing/2014/main" id="{115015AD-6682-0E91-51DD-83103A5E9360}"/>
                </a:ext>
              </a:extLst>
            </p:cNvPr>
            <p:cNvSpPr>
              <a:spLocks/>
            </p:cNvSpPr>
            <p:nvPr/>
          </p:nvSpPr>
          <p:spPr bwMode="gray">
            <a:xfrm>
              <a:off x="6378902" y="2924967"/>
              <a:ext cx="65224" cy="115625"/>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35" name="Spain" descr="© INSCALE GmbH, 05.05.2010&#10;http://www.presentationload.com/">
              <a:extLst>
                <a:ext uri="{FF2B5EF4-FFF2-40B4-BE49-F238E27FC236}">
                  <a16:creationId xmlns:a16="http://schemas.microsoft.com/office/drawing/2014/main" id="{5DCEBE68-48B1-5B60-450B-6D80AF233776}"/>
                </a:ext>
              </a:extLst>
            </p:cNvPr>
            <p:cNvSpPr>
              <a:spLocks/>
            </p:cNvSpPr>
            <p:nvPr/>
          </p:nvSpPr>
          <p:spPr bwMode="gray">
            <a:xfrm>
              <a:off x="4030823" y="1882856"/>
              <a:ext cx="332051" cy="234216"/>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36" name="South Africa" descr="© INSCALE GmbH, 05.05.2010&#10;http://www.presentationload.com/">
              <a:extLst>
                <a:ext uri="{FF2B5EF4-FFF2-40B4-BE49-F238E27FC236}">
                  <a16:creationId xmlns:a16="http://schemas.microsoft.com/office/drawing/2014/main" id="{6D49CC70-A167-B751-DA39-6EE0A3E6C64A}"/>
                </a:ext>
              </a:extLst>
            </p:cNvPr>
            <p:cNvSpPr>
              <a:spLocks/>
            </p:cNvSpPr>
            <p:nvPr/>
          </p:nvSpPr>
          <p:spPr bwMode="gray">
            <a:xfrm>
              <a:off x="4672692" y="3895926"/>
              <a:ext cx="429889" cy="386901"/>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37" name="Somalia" descr="© INSCALE GmbH, 05.05.2010&#10;http://www.presentationload.com/">
              <a:extLst>
                <a:ext uri="{FF2B5EF4-FFF2-40B4-BE49-F238E27FC236}">
                  <a16:creationId xmlns:a16="http://schemas.microsoft.com/office/drawing/2014/main" id="{4F4212AB-E83E-35AC-6D74-5A458A86BFE3}"/>
                </a:ext>
              </a:extLst>
            </p:cNvPr>
            <p:cNvSpPr>
              <a:spLocks/>
            </p:cNvSpPr>
            <p:nvPr/>
          </p:nvSpPr>
          <p:spPr bwMode="gray">
            <a:xfrm>
              <a:off x="5341240" y="2850849"/>
              <a:ext cx="271275" cy="419514"/>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38" name="Solomon Islands" descr="© INSCALE GmbH, 05.05.2010&#10;http://www.presentationload.com/">
              <a:extLst>
                <a:ext uri="{FF2B5EF4-FFF2-40B4-BE49-F238E27FC236}">
                  <a16:creationId xmlns:a16="http://schemas.microsoft.com/office/drawing/2014/main" id="{E6DA32E7-E94E-12CD-8AC5-6C25209F2365}"/>
                </a:ext>
              </a:extLst>
            </p:cNvPr>
            <p:cNvSpPr>
              <a:spLocks/>
            </p:cNvSpPr>
            <p:nvPr/>
          </p:nvSpPr>
          <p:spPr bwMode="gray">
            <a:xfrm>
              <a:off x="8452741" y="3423046"/>
              <a:ext cx="140826" cy="131932"/>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39" name="Slovenia" descr="© INSCALE GmbH, 05.05.2010&#10;http://www.presentationload.com/">
              <a:extLst>
                <a:ext uri="{FF2B5EF4-FFF2-40B4-BE49-F238E27FC236}">
                  <a16:creationId xmlns:a16="http://schemas.microsoft.com/office/drawing/2014/main" id="{0C6D9602-267F-34D1-28BF-F1A4586C23F1}"/>
                </a:ext>
              </a:extLst>
            </p:cNvPr>
            <p:cNvSpPr>
              <a:spLocks/>
            </p:cNvSpPr>
            <p:nvPr/>
          </p:nvSpPr>
          <p:spPr bwMode="gray">
            <a:xfrm>
              <a:off x="4583748" y="1786501"/>
              <a:ext cx="80048" cy="45954"/>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0" name="Slovakia" descr="© INSCALE GmbH, 05.05.2010&#10;http://www.presentationload.com/">
              <a:extLst>
                <a:ext uri="{FF2B5EF4-FFF2-40B4-BE49-F238E27FC236}">
                  <a16:creationId xmlns:a16="http://schemas.microsoft.com/office/drawing/2014/main" id="{2988DA61-FBF5-43B8-A668-3CB74DFBC981}"/>
                </a:ext>
              </a:extLst>
            </p:cNvPr>
            <p:cNvSpPr>
              <a:spLocks/>
            </p:cNvSpPr>
            <p:nvPr/>
          </p:nvSpPr>
          <p:spPr bwMode="gray">
            <a:xfrm>
              <a:off x="4665278" y="1709417"/>
              <a:ext cx="134897" cy="54848"/>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1" name="Sierra Leone" descr="© INSCALE GmbH, 05.05.2010&#10;http://www.presentationload.com/">
              <a:extLst>
                <a:ext uri="{FF2B5EF4-FFF2-40B4-BE49-F238E27FC236}">
                  <a16:creationId xmlns:a16="http://schemas.microsoft.com/office/drawing/2014/main" id="{500C4CDB-6F53-7F88-5F7B-3C63C3813A09}"/>
                </a:ext>
              </a:extLst>
            </p:cNvPr>
            <p:cNvSpPr>
              <a:spLocks/>
            </p:cNvSpPr>
            <p:nvPr/>
          </p:nvSpPr>
          <p:spPr bwMode="gray">
            <a:xfrm>
              <a:off x="3879621" y="2910144"/>
              <a:ext cx="78566" cy="102284"/>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2" name="Serbia" descr="© INSCALE GmbH, 05.05.2010&#10;http://www.presentationload.com/">
              <a:extLst>
                <a:ext uri="{FF2B5EF4-FFF2-40B4-BE49-F238E27FC236}">
                  <a16:creationId xmlns:a16="http://schemas.microsoft.com/office/drawing/2014/main" id="{8759007F-A4D8-A548-8FF2-0C6DED1B77CB}"/>
                </a:ext>
              </a:extLst>
            </p:cNvPr>
            <p:cNvSpPr>
              <a:spLocks/>
            </p:cNvSpPr>
            <p:nvPr/>
          </p:nvSpPr>
          <p:spPr bwMode="gray">
            <a:xfrm>
              <a:off x="4717162" y="1810219"/>
              <a:ext cx="103766" cy="113769"/>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3" name="Senegal" descr="© INSCALE GmbH, 05.05.2010&#10;http://www.presentationload.com/">
              <a:extLst>
                <a:ext uri="{FF2B5EF4-FFF2-40B4-BE49-F238E27FC236}">
                  <a16:creationId xmlns:a16="http://schemas.microsoft.com/office/drawing/2014/main" id="{A050BAE9-FE02-E8D6-E92B-AED380856B4A}"/>
                </a:ext>
              </a:extLst>
            </p:cNvPr>
            <p:cNvSpPr>
              <a:spLocks/>
            </p:cNvSpPr>
            <p:nvPr/>
          </p:nvSpPr>
          <p:spPr bwMode="gray">
            <a:xfrm>
              <a:off x="3801057" y="2704094"/>
              <a:ext cx="157132" cy="139343"/>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4" name="Saudi Arabia" descr="© INSCALE GmbH, 05.05.2010&#10;http://www.presentationload.com/">
              <a:extLst>
                <a:ext uri="{FF2B5EF4-FFF2-40B4-BE49-F238E27FC236}">
                  <a16:creationId xmlns:a16="http://schemas.microsoft.com/office/drawing/2014/main" id="{B031ECE0-743F-DEE1-0F2A-E9B47A3A74BE}"/>
                </a:ext>
              </a:extLst>
            </p:cNvPr>
            <p:cNvSpPr>
              <a:spLocks/>
            </p:cNvSpPr>
            <p:nvPr/>
          </p:nvSpPr>
          <p:spPr bwMode="gray">
            <a:xfrm>
              <a:off x="5148533" y="2235663"/>
              <a:ext cx="563301" cy="483255"/>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5" name="Rwanda" descr="© INSCALE GmbH, 05.05.2010&#10;http://www.presentationload.com/">
              <a:extLst>
                <a:ext uri="{FF2B5EF4-FFF2-40B4-BE49-F238E27FC236}">
                  <a16:creationId xmlns:a16="http://schemas.microsoft.com/office/drawing/2014/main" id="{EA46D094-4AE1-F861-0033-78D927967B2E}"/>
                </a:ext>
              </a:extLst>
            </p:cNvPr>
            <p:cNvSpPr>
              <a:spLocks/>
            </p:cNvSpPr>
            <p:nvPr/>
          </p:nvSpPr>
          <p:spPr bwMode="gray">
            <a:xfrm>
              <a:off x="5012154" y="3249609"/>
              <a:ext cx="56330" cy="56330"/>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6" name="Russia (Urup,Simushir)" descr="© INSCALE GmbH, 05.05.2010&#10;http://www.presentationload.com/">
              <a:extLst>
                <a:ext uri="{FF2B5EF4-FFF2-40B4-BE49-F238E27FC236}">
                  <a16:creationId xmlns:a16="http://schemas.microsoft.com/office/drawing/2014/main" id="{04808BFF-51E4-710C-12BB-D44E9BBCFEC5}"/>
                </a:ext>
              </a:extLst>
            </p:cNvPr>
            <p:cNvSpPr>
              <a:spLocks/>
            </p:cNvSpPr>
            <p:nvPr/>
          </p:nvSpPr>
          <p:spPr bwMode="gray">
            <a:xfrm>
              <a:off x="7804943" y="1429248"/>
              <a:ext cx="114143" cy="453608"/>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7" name="Russia" descr="© INSCALE GmbH, 05.05.2010&#10;http://www.presentationload.com/">
              <a:extLst>
                <a:ext uri="{FF2B5EF4-FFF2-40B4-BE49-F238E27FC236}">
                  <a16:creationId xmlns:a16="http://schemas.microsoft.com/office/drawing/2014/main" id="{99E6F0C2-2597-B27F-EEBD-C39E698482A7}"/>
                </a:ext>
              </a:extLst>
            </p:cNvPr>
            <p:cNvSpPr>
              <a:spLocks/>
            </p:cNvSpPr>
            <p:nvPr/>
          </p:nvSpPr>
          <p:spPr bwMode="gray">
            <a:xfrm>
              <a:off x="4727539" y="867426"/>
              <a:ext cx="3430210" cy="1092513"/>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8" name="Romania" descr="© INSCALE GmbH, 05.05.2010&#10;http://www.presentationload.com/">
              <a:extLst>
                <a:ext uri="{FF2B5EF4-FFF2-40B4-BE49-F238E27FC236}">
                  <a16:creationId xmlns:a16="http://schemas.microsoft.com/office/drawing/2014/main" id="{27BB4749-3052-0922-CA62-4E33046AD583}"/>
                </a:ext>
              </a:extLst>
            </p:cNvPr>
            <p:cNvSpPr>
              <a:spLocks/>
            </p:cNvSpPr>
            <p:nvPr/>
          </p:nvSpPr>
          <p:spPr bwMode="gray">
            <a:xfrm>
              <a:off x="4749775" y="1747960"/>
              <a:ext cx="232733" cy="139343"/>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9" name="Qatar" descr="© INSCALE GmbH, 05.05.2010&#10;http://www.presentationload.com/">
              <a:extLst>
                <a:ext uri="{FF2B5EF4-FFF2-40B4-BE49-F238E27FC236}">
                  <a16:creationId xmlns:a16="http://schemas.microsoft.com/office/drawing/2014/main" id="{829E7B1D-E771-5BE3-ED3D-6E9703620229}"/>
                </a:ext>
              </a:extLst>
            </p:cNvPr>
            <p:cNvSpPr>
              <a:spLocks/>
            </p:cNvSpPr>
            <p:nvPr/>
          </p:nvSpPr>
          <p:spPr bwMode="gray">
            <a:xfrm>
              <a:off x="5579903" y="2416512"/>
              <a:ext cx="25201" cy="54848"/>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0" name="Puerto Rico" descr="© INSCALE GmbH, 05.05.2010&#10;http://www.presentationload.com/">
              <a:extLst>
                <a:ext uri="{FF2B5EF4-FFF2-40B4-BE49-F238E27FC236}">
                  <a16:creationId xmlns:a16="http://schemas.microsoft.com/office/drawing/2014/main" id="{96E83B13-C3D3-D4AA-7519-82802E4C2313}"/>
                </a:ext>
              </a:extLst>
            </p:cNvPr>
            <p:cNvSpPr>
              <a:spLocks/>
            </p:cNvSpPr>
            <p:nvPr/>
          </p:nvSpPr>
          <p:spPr bwMode="gray">
            <a:xfrm>
              <a:off x="2453580" y="2656657"/>
              <a:ext cx="51884" cy="22236"/>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1" name="Portugal" descr="© INSCALE GmbH, 05.05.2010&#10;http://www.presentationload.com/">
              <a:extLst>
                <a:ext uri="{FF2B5EF4-FFF2-40B4-BE49-F238E27FC236}">
                  <a16:creationId xmlns:a16="http://schemas.microsoft.com/office/drawing/2014/main" id="{0BDC7ACA-CC52-1BE4-1918-5B08E5F5004F}"/>
                </a:ext>
              </a:extLst>
            </p:cNvPr>
            <p:cNvSpPr>
              <a:spLocks/>
            </p:cNvSpPr>
            <p:nvPr/>
          </p:nvSpPr>
          <p:spPr bwMode="gray">
            <a:xfrm>
              <a:off x="4017483" y="1933256"/>
              <a:ext cx="85978" cy="155651"/>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2" name="Poland" descr="© INSCALE GmbH, 05.05.2010&#10;http://www.presentationload.com/">
              <a:extLst>
                <a:ext uri="{FF2B5EF4-FFF2-40B4-BE49-F238E27FC236}">
                  <a16:creationId xmlns:a16="http://schemas.microsoft.com/office/drawing/2014/main" id="{BF60351A-920B-6043-F1DC-179E24BB111C}"/>
                </a:ext>
              </a:extLst>
            </p:cNvPr>
            <p:cNvSpPr>
              <a:spLocks/>
            </p:cNvSpPr>
            <p:nvPr/>
          </p:nvSpPr>
          <p:spPr bwMode="gray">
            <a:xfrm>
              <a:off x="4600055" y="1555250"/>
              <a:ext cx="237180" cy="170474"/>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3" name="Philippines" descr="© INSCALE GmbH, 05.05.2010&#10;http://www.presentationload.com/">
              <a:extLst>
                <a:ext uri="{FF2B5EF4-FFF2-40B4-BE49-F238E27FC236}">
                  <a16:creationId xmlns:a16="http://schemas.microsoft.com/office/drawing/2014/main" id="{C2D5D699-5169-5A8B-8153-5DAB14AEF651}"/>
                </a:ext>
              </a:extLst>
            </p:cNvPr>
            <p:cNvSpPr>
              <a:spLocks/>
            </p:cNvSpPr>
            <p:nvPr/>
          </p:nvSpPr>
          <p:spPr bwMode="gray">
            <a:xfrm>
              <a:off x="7388398" y="2646281"/>
              <a:ext cx="271275" cy="455091"/>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4" name="Peru" descr="© INSCALE GmbH, 05.05.2010&#10;http://www.presentationload.com/">
              <a:extLst>
                <a:ext uri="{FF2B5EF4-FFF2-40B4-BE49-F238E27FC236}">
                  <a16:creationId xmlns:a16="http://schemas.microsoft.com/office/drawing/2014/main" id="{FE231B1F-C922-4061-9846-B5DED5B49AAC}"/>
                </a:ext>
              </a:extLst>
            </p:cNvPr>
            <p:cNvSpPr>
              <a:spLocks/>
            </p:cNvSpPr>
            <p:nvPr/>
          </p:nvSpPr>
          <p:spPr bwMode="gray">
            <a:xfrm>
              <a:off x="2041480" y="3216997"/>
              <a:ext cx="357252" cy="564787"/>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5" name="Paraguay" descr="© INSCALE GmbH, 05.05.2010&#10;http://www.presentationload.com/">
              <a:extLst>
                <a:ext uri="{FF2B5EF4-FFF2-40B4-BE49-F238E27FC236}">
                  <a16:creationId xmlns:a16="http://schemas.microsoft.com/office/drawing/2014/main" id="{88632045-7579-B6EA-1252-3D6A6901A2FC}"/>
                </a:ext>
              </a:extLst>
            </p:cNvPr>
            <p:cNvSpPr>
              <a:spLocks/>
            </p:cNvSpPr>
            <p:nvPr/>
          </p:nvSpPr>
          <p:spPr bwMode="gray">
            <a:xfrm>
              <a:off x="2586993" y="3806984"/>
              <a:ext cx="226803" cy="256451"/>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6" name="Papua New Guinea" descr="© INSCALE GmbH, 05.05.2010&#10;http://www.presentationload.com/">
              <a:extLst>
                <a:ext uri="{FF2B5EF4-FFF2-40B4-BE49-F238E27FC236}">
                  <a16:creationId xmlns:a16="http://schemas.microsoft.com/office/drawing/2014/main" id="{C3B608BA-983F-EB55-2BF1-3111DFA4F720}"/>
                </a:ext>
              </a:extLst>
            </p:cNvPr>
            <p:cNvSpPr>
              <a:spLocks/>
            </p:cNvSpPr>
            <p:nvPr/>
          </p:nvSpPr>
          <p:spPr bwMode="gray">
            <a:xfrm>
              <a:off x="8022853" y="3274809"/>
              <a:ext cx="412099" cy="275723"/>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7" name="Panama" descr="© INSCALE GmbH, 05.05.2010&#10;http://www.presentationload.com/">
              <a:extLst>
                <a:ext uri="{FF2B5EF4-FFF2-40B4-BE49-F238E27FC236}">
                  <a16:creationId xmlns:a16="http://schemas.microsoft.com/office/drawing/2014/main" id="{9C327D5D-911A-4004-D2AC-EEAEE01AA289}"/>
                </a:ext>
              </a:extLst>
            </p:cNvPr>
            <p:cNvSpPr>
              <a:spLocks/>
            </p:cNvSpPr>
            <p:nvPr/>
          </p:nvSpPr>
          <p:spPr bwMode="gray">
            <a:xfrm>
              <a:off x="2002938" y="2924967"/>
              <a:ext cx="154167" cy="74119"/>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8" name="Pakistan" descr="© INSCALE GmbH, 05.05.2010&#10;http://www.presentationload.com/">
              <a:extLst>
                <a:ext uri="{FF2B5EF4-FFF2-40B4-BE49-F238E27FC236}">
                  <a16:creationId xmlns:a16="http://schemas.microsoft.com/office/drawing/2014/main" id="{B8AFBCA4-9EF3-89D8-415C-8EA670BD909C}"/>
                </a:ext>
              </a:extLst>
            </p:cNvPr>
            <p:cNvSpPr>
              <a:spLocks/>
            </p:cNvSpPr>
            <p:nvPr/>
          </p:nvSpPr>
          <p:spPr bwMode="gray">
            <a:xfrm>
              <a:off x="5825977" y="2087424"/>
              <a:ext cx="398759" cy="400242"/>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59" name="Parcel Islands" descr="© INSCALE GmbH, 05.05.2010&#10;http://www.presentationload.com/">
              <a:extLst>
                <a:ext uri="{FF2B5EF4-FFF2-40B4-BE49-F238E27FC236}">
                  <a16:creationId xmlns:a16="http://schemas.microsoft.com/office/drawing/2014/main" id="{7778D06E-02B3-32EF-A85A-E6EE76632F5C}"/>
                </a:ext>
              </a:extLst>
            </p:cNvPr>
            <p:cNvSpPr>
              <a:spLocks/>
            </p:cNvSpPr>
            <p:nvPr/>
          </p:nvSpPr>
          <p:spPr bwMode="gray">
            <a:xfrm>
              <a:off x="7204583" y="2690751"/>
              <a:ext cx="35577" cy="23718"/>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0" name="Oman" descr="© INSCALE GmbH, 05.05.2010&#10;http://www.presentationload.com/">
              <a:extLst>
                <a:ext uri="{FF2B5EF4-FFF2-40B4-BE49-F238E27FC236}">
                  <a16:creationId xmlns:a16="http://schemas.microsoft.com/office/drawing/2014/main" id="{16DDCB3B-C65D-BDBF-C34A-F1F4ACC47C09}"/>
                </a:ext>
              </a:extLst>
            </p:cNvPr>
            <p:cNvSpPr>
              <a:spLocks/>
            </p:cNvSpPr>
            <p:nvPr/>
          </p:nvSpPr>
          <p:spPr bwMode="gray">
            <a:xfrm>
              <a:off x="5621409" y="2453571"/>
              <a:ext cx="204568" cy="254968"/>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1" name="Norway" descr="© INSCALE GmbH, 05.05.2010&#10;http://www.presentationload.com/">
              <a:extLst>
                <a:ext uri="{FF2B5EF4-FFF2-40B4-BE49-F238E27FC236}">
                  <a16:creationId xmlns:a16="http://schemas.microsoft.com/office/drawing/2014/main" id="{51305560-CD87-A3A5-B8A6-8CED95B94A8C}"/>
                </a:ext>
              </a:extLst>
            </p:cNvPr>
            <p:cNvSpPr>
              <a:spLocks/>
            </p:cNvSpPr>
            <p:nvPr/>
          </p:nvSpPr>
          <p:spPr bwMode="gray">
            <a:xfrm>
              <a:off x="4399935" y="895592"/>
              <a:ext cx="515865" cy="567751"/>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2" name="Nigeria" descr="© INSCALE GmbH, 05.05.2010&#10;http://www.presentationload.com/">
              <a:extLst>
                <a:ext uri="{FF2B5EF4-FFF2-40B4-BE49-F238E27FC236}">
                  <a16:creationId xmlns:a16="http://schemas.microsoft.com/office/drawing/2014/main" id="{A580BBFE-4E2C-66FD-2388-58E3D0417548}"/>
                </a:ext>
              </a:extLst>
            </p:cNvPr>
            <p:cNvSpPr>
              <a:spLocks/>
            </p:cNvSpPr>
            <p:nvPr/>
          </p:nvSpPr>
          <p:spPr bwMode="gray">
            <a:xfrm>
              <a:off x="4309510" y="2794518"/>
              <a:ext cx="317228" cy="292029"/>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3" name="Niger" descr="© INSCALE GmbH, 05.05.2010&#10;http://www.presentationload.com/">
              <a:extLst>
                <a:ext uri="{FF2B5EF4-FFF2-40B4-BE49-F238E27FC236}">
                  <a16:creationId xmlns:a16="http://schemas.microsoft.com/office/drawing/2014/main" id="{915EE52E-9F12-B3C4-F005-CF1D96CD8C7B}"/>
                </a:ext>
              </a:extLst>
            </p:cNvPr>
            <p:cNvSpPr>
              <a:spLocks/>
            </p:cNvSpPr>
            <p:nvPr/>
          </p:nvSpPr>
          <p:spPr bwMode="gray">
            <a:xfrm>
              <a:off x="4242803" y="2501007"/>
              <a:ext cx="420993" cy="357254"/>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4" name="Nicaragua" descr="© INSCALE GmbH, 05.05.2010&#10;http://www.presentationload.com/">
              <a:extLst>
                <a:ext uri="{FF2B5EF4-FFF2-40B4-BE49-F238E27FC236}">
                  <a16:creationId xmlns:a16="http://schemas.microsoft.com/office/drawing/2014/main" id="{EA7C278B-E9B7-F5E9-5A14-C94CF804AA24}"/>
                </a:ext>
              </a:extLst>
            </p:cNvPr>
            <p:cNvSpPr>
              <a:spLocks/>
            </p:cNvSpPr>
            <p:nvPr/>
          </p:nvSpPr>
          <p:spPr bwMode="gray">
            <a:xfrm>
              <a:off x="1888796" y="2764871"/>
              <a:ext cx="123038" cy="126003"/>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5" name="New Zealand" descr="© INSCALE GmbH, 05.05.2010&#10;http://www.presentationload.com/">
              <a:extLst>
                <a:ext uri="{FF2B5EF4-FFF2-40B4-BE49-F238E27FC236}">
                  <a16:creationId xmlns:a16="http://schemas.microsoft.com/office/drawing/2014/main" id="{7796D719-8D11-DB68-2FA9-280CD06576EA}"/>
                </a:ext>
              </a:extLst>
            </p:cNvPr>
            <p:cNvSpPr>
              <a:spLocks/>
            </p:cNvSpPr>
            <p:nvPr/>
          </p:nvSpPr>
          <p:spPr bwMode="gray">
            <a:xfrm>
              <a:off x="8260033" y="4266520"/>
              <a:ext cx="481772" cy="372078"/>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6" name="Newfoundland" descr="© INSCALE GmbH, 05.05.2010&#10;http://www.presentationload.com/">
              <a:extLst>
                <a:ext uri="{FF2B5EF4-FFF2-40B4-BE49-F238E27FC236}">
                  <a16:creationId xmlns:a16="http://schemas.microsoft.com/office/drawing/2014/main" id="{5EB74E3A-BB08-7208-2CAD-CA0476D77E16}"/>
                </a:ext>
              </a:extLst>
            </p:cNvPr>
            <p:cNvSpPr>
              <a:spLocks/>
            </p:cNvSpPr>
            <p:nvPr/>
          </p:nvSpPr>
          <p:spPr bwMode="gray">
            <a:xfrm>
              <a:off x="2855303" y="1653087"/>
              <a:ext cx="161579" cy="145273"/>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7" name="Netherlands" descr="© INSCALE GmbH, 05.05.2010&#10;http://www.presentationload.com/">
              <a:extLst>
                <a:ext uri="{FF2B5EF4-FFF2-40B4-BE49-F238E27FC236}">
                  <a16:creationId xmlns:a16="http://schemas.microsoft.com/office/drawing/2014/main" id="{8578443E-6EE2-8D9F-F41C-15FAFBC9BD76}"/>
                </a:ext>
              </a:extLst>
            </p:cNvPr>
            <p:cNvSpPr>
              <a:spLocks/>
            </p:cNvSpPr>
            <p:nvPr/>
          </p:nvSpPr>
          <p:spPr bwMode="gray">
            <a:xfrm>
              <a:off x="4340640" y="1595275"/>
              <a:ext cx="102284" cy="80048"/>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8" name="Nepal" descr="© INSCALE GmbH, 05.05.2010&#10;http://www.presentationload.com/">
              <a:extLst>
                <a:ext uri="{FF2B5EF4-FFF2-40B4-BE49-F238E27FC236}">
                  <a16:creationId xmlns:a16="http://schemas.microsoft.com/office/drawing/2014/main" id="{81ABE1F9-7FF7-D2A9-FF02-D1B9950A9E7C}"/>
                </a:ext>
              </a:extLst>
            </p:cNvPr>
            <p:cNvSpPr>
              <a:spLocks/>
            </p:cNvSpPr>
            <p:nvPr/>
          </p:nvSpPr>
          <p:spPr bwMode="gray">
            <a:xfrm>
              <a:off x="6327019" y="2287544"/>
              <a:ext cx="222356" cy="124520"/>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69" name="Namibia" descr="© INSCALE GmbH, 05.05.2010&#10;http://www.presentationload.com/">
              <a:extLst>
                <a:ext uri="{FF2B5EF4-FFF2-40B4-BE49-F238E27FC236}">
                  <a16:creationId xmlns:a16="http://schemas.microsoft.com/office/drawing/2014/main" id="{0EDC9E43-543B-A956-0A20-F27740563A09}"/>
                </a:ext>
              </a:extLst>
            </p:cNvPr>
            <p:cNvSpPr>
              <a:spLocks/>
            </p:cNvSpPr>
            <p:nvPr/>
          </p:nvSpPr>
          <p:spPr bwMode="gray">
            <a:xfrm>
              <a:off x="4548172" y="3735829"/>
              <a:ext cx="361698" cy="369113"/>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0" name="Myanmar" descr="© INSCALE GmbH, 05.05.2010&#10;http://www.presentationload.com/">
              <a:extLst>
                <a:ext uri="{FF2B5EF4-FFF2-40B4-BE49-F238E27FC236}">
                  <a16:creationId xmlns:a16="http://schemas.microsoft.com/office/drawing/2014/main" id="{D95F534A-A14A-B86C-DA99-A648AC97A4F9}"/>
                </a:ext>
              </a:extLst>
            </p:cNvPr>
            <p:cNvSpPr>
              <a:spLocks/>
            </p:cNvSpPr>
            <p:nvPr/>
          </p:nvSpPr>
          <p:spPr bwMode="gray">
            <a:xfrm>
              <a:off x="6676859" y="2346840"/>
              <a:ext cx="241627" cy="567751"/>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1" name="Mozambique" descr="© INSCALE GmbH, 05.05.2010&#10;http://www.presentationload.com/">
              <a:extLst>
                <a:ext uri="{FF2B5EF4-FFF2-40B4-BE49-F238E27FC236}">
                  <a16:creationId xmlns:a16="http://schemas.microsoft.com/office/drawing/2014/main" id="{179A2F30-C99B-7182-39DA-7348F9AF677A}"/>
                </a:ext>
              </a:extLst>
            </p:cNvPr>
            <p:cNvSpPr>
              <a:spLocks/>
            </p:cNvSpPr>
            <p:nvPr/>
          </p:nvSpPr>
          <p:spPr bwMode="gray">
            <a:xfrm>
              <a:off x="5041802" y="3538673"/>
              <a:ext cx="289063" cy="506974"/>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2" name="Morocco" descr="© INSCALE GmbH, 05.05.2010&#10;http://www.presentationload.com/">
              <a:extLst>
                <a:ext uri="{FF2B5EF4-FFF2-40B4-BE49-F238E27FC236}">
                  <a16:creationId xmlns:a16="http://schemas.microsoft.com/office/drawing/2014/main" id="{5EBA09EC-B71D-2479-9C55-30F988C26C93}"/>
                </a:ext>
              </a:extLst>
            </p:cNvPr>
            <p:cNvSpPr>
              <a:spLocks/>
            </p:cNvSpPr>
            <p:nvPr/>
          </p:nvSpPr>
          <p:spPr bwMode="gray">
            <a:xfrm>
              <a:off x="3898892" y="2123001"/>
              <a:ext cx="321676" cy="250522"/>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3" name="Montenegro" descr="© INSCALE GmbH, 05.05.2010&#10;http://www.presentationload.com/">
              <a:extLst>
                <a:ext uri="{FF2B5EF4-FFF2-40B4-BE49-F238E27FC236}">
                  <a16:creationId xmlns:a16="http://schemas.microsoft.com/office/drawing/2014/main" id="{CAFAD23E-1803-1651-73BA-BB83CC27DAA6}"/>
                </a:ext>
              </a:extLst>
            </p:cNvPr>
            <p:cNvSpPr>
              <a:spLocks/>
            </p:cNvSpPr>
            <p:nvPr/>
          </p:nvSpPr>
          <p:spPr bwMode="gray">
            <a:xfrm>
              <a:off x="4709750" y="1887303"/>
              <a:ext cx="42989" cy="51884"/>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4" name="Mongolia" descr="© INSCALE GmbH, 05.05.2010&#10;http://www.presentationload.com/">
              <a:extLst>
                <a:ext uri="{FF2B5EF4-FFF2-40B4-BE49-F238E27FC236}">
                  <a16:creationId xmlns:a16="http://schemas.microsoft.com/office/drawing/2014/main" id="{2559594A-22C1-D548-0FBB-68090C35339B}"/>
                </a:ext>
              </a:extLst>
            </p:cNvPr>
            <p:cNvSpPr>
              <a:spLocks/>
            </p:cNvSpPr>
            <p:nvPr/>
          </p:nvSpPr>
          <p:spPr bwMode="gray">
            <a:xfrm>
              <a:off x="6340360" y="1632334"/>
              <a:ext cx="796035" cy="315747"/>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5" name="Moldova" descr="© INSCALE GmbH, 05.05.2010&#10;http://www.presentationload.com/">
              <a:extLst>
                <a:ext uri="{FF2B5EF4-FFF2-40B4-BE49-F238E27FC236}">
                  <a16:creationId xmlns:a16="http://schemas.microsoft.com/office/drawing/2014/main" id="{8FFB5842-903D-F89A-5BF8-796D2275C0B2}"/>
                </a:ext>
              </a:extLst>
            </p:cNvPr>
            <p:cNvSpPr>
              <a:spLocks/>
            </p:cNvSpPr>
            <p:nvPr/>
          </p:nvSpPr>
          <p:spPr bwMode="gray">
            <a:xfrm>
              <a:off x="4900976" y="1742029"/>
              <a:ext cx="81531" cy="90425"/>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6" name="Mexico" descr="© INSCALE GmbH, 05.05.2010&#10;http://www.presentationload.com/">
              <a:extLst>
                <a:ext uri="{FF2B5EF4-FFF2-40B4-BE49-F238E27FC236}">
                  <a16:creationId xmlns:a16="http://schemas.microsoft.com/office/drawing/2014/main" id="{B2A6970A-0488-C36A-9CE6-42C394116D35}"/>
                </a:ext>
              </a:extLst>
            </p:cNvPr>
            <p:cNvSpPr>
              <a:spLocks/>
            </p:cNvSpPr>
            <p:nvPr/>
          </p:nvSpPr>
          <p:spPr bwMode="gray">
            <a:xfrm>
              <a:off x="1238034" y="2220838"/>
              <a:ext cx="705609" cy="552927"/>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7" name="Malta" descr="© INSCALE GmbH, 05.05.2010&#10;http://www.presentationload.com/">
              <a:extLst>
                <a:ext uri="{FF2B5EF4-FFF2-40B4-BE49-F238E27FC236}">
                  <a16:creationId xmlns:a16="http://schemas.microsoft.com/office/drawing/2014/main" id="{6D0B1B95-0E58-2F4C-CEF9-ED8CAD03FE57}"/>
                </a:ext>
              </a:extLst>
            </p:cNvPr>
            <p:cNvSpPr>
              <a:spLocks/>
            </p:cNvSpPr>
            <p:nvPr/>
          </p:nvSpPr>
          <p:spPr bwMode="gray">
            <a:xfrm>
              <a:off x="4608948" y="2112624"/>
              <a:ext cx="11859" cy="10377"/>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8" name="Mauritania" descr="© INSCALE GmbH, 05.05.2010&#10;http://www.presentationload.com/">
              <a:extLst>
                <a:ext uri="{FF2B5EF4-FFF2-40B4-BE49-F238E27FC236}">
                  <a16:creationId xmlns:a16="http://schemas.microsoft.com/office/drawing/2014/main" id="{C9FEE793-736C-BE38-C7CE-F14E8E1ECFD7}"/>
                </a:ext>
              </a:extLst>
            </p:cNvPr>
            <p:cNvSpPr>
              <a:spLocks/>
            </p:cNvSpPr>
            <p:nvPr/>
          </p:nvSpPr>
          <p:spPr bwMode="gray">
            <a:xfrm>
              <a:off x="3790680" y="2386865"/>
              <a:ext cx="324640" cy="380972"/>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79" name="Mali" descr="© INSCALE GmbH, 05.05.2010&#10;http://www.presentationload.com/">
              <a:extLst>
                <a:ext uri="{FF2B5EF4-FFF2-40B4-BE49-F238E27FC236}">
                  <a16:creationId xmlns:a16="http://schemas.microsoft.com/office/drawing/2014/main" id="{26839A4E-385B-EA81-65DB-D53B53E0B07F}"/>
                </a:ext>
              </a:extLst>
            </p:cNvPr>
            <p:cNvSpPr>
              <a:spLocks/>
            </p:cNvSpPr>
            <p:nvPr/>
          </p:nvSpPr>
          <p:spPr bwMode="gray">
            <a:xfrm>
              <a:off x="3909270" y="2453571"/>
              <a:ext cx="440265" cy="455091"/>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0" name="Malaysia" descr="© INSCALE GmbH, 05.05.2010&#10;http://www.presentationload.com/">
              <a:extLst>
                <a:ext uri="{FF2B5EF4-FFF2-40B4-BE49-F238E27FC236}">
                  <a16:creationId xmlns:a16="http://schemas.microsoft.com/office/drawing/2014/main" id="{59D4AD1F-826E-9092-0C27-33EC1B32A8D4}"/>
                </a:ext>
              </a:extLst>
            </p:cNvPr>
            <p:cNvSpPr>
              <a:spLocks/>
            </p:cNvSpPr>
            <p:nvPr/>
          </p:nvSpPr>
          <p:spPr bwMode="gray">
            <a:xfrm>
              <a:off x="6928863" y="3012428"/>
              <a:ext cx="115625" cy="166026"/>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1" name="Malaysia" descr="© INSCALE GmbH, 05.05.2010&#10;http://www.presentationload.com/">
              <a:extLst>
                <a:ext uri="{FF2B5EF4-FFF2-40B4-BE49-F238E27FC236}">
                  <a16:creationId xmlns:a16="http://schemas.microsoft.com/office/drawing/2014/main" id="{A7E44F68-11E5-2965-0BD1-5A71D371388F}"/>
                </a:ext>
              </a:extLst>
            </p:cNvPr>
            <p:cNvSpPr>
              <a:spLocks/>
            </p:cNvSpPr>
            <p:nvPr/>
          </p:nvSpPr>
          <p:spPr bwMode="gray">
            <a:xfrm>
              <a:off x="7200136" y="2993158"/>
              <a:ext cx="260898" cy="200121"/>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2" name="Malawi" descr="© INSCALE GmbH, 05.05.2010&#10;http://www.presentationload.com/">
              <a:extLst>
                <a:ext uri="{FF2B5EF4-FFF2-40B4-BE49-F238E27FC236}">
                  <a16:creationId xmlns:a16="http://schemas.microsoft.com/office/drawing/2014/main" id="{92107D59-813A-85D1-098B-16877ECBD78D}"/>
                </a:ext>
              </a:extLst>
            </p:cNvPr>
            <p:cNvSpPr>
              <a:spLocks/>
            </p:cNvSpPr>
            <p:nvPr/>
          </p:nvSpPr>
          <p:spPr bwMode="gray">
            <a:xfrm>
              <a:off x="5111474" y="3506059"/>
              <a:ext cx="88942" cy="237181"/>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3" name="Madagascar" descr="© INSCALE GmbH, 05.05.2010&#10;http://www.presentationload.com/">
              <a:extLst>
                <a:ext uri="{FF2B5EF4-FFF2-40B4-BE49-F238E27FC236}">
                  <a16:creationId xmlns:a16="http://schemas.microsoft.com/office/drawing/2014/main" id="{1CBBC39D-75BA-2420-378C-8C6487956650}"/>
                </a:ext>
              </a:extLst>
            </p:cNvPr>
            <p:cNvSpPr>
              <a:spLocks/>
            </p:cNvSpPr>
            <p:nvPr/>
          </p:nvSpPr>
          <p:spPr bwMode="gray">
            <a:xfrm>
              <a:off x="5370889" y="3593521"/>
              <a:ext cx="225320" cy="413584"/>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4" name="Macedonia" descr="© INSCALE GmbH, 05.05.2010&#10;http://www.presentationload.com/">
              <a:extLst>
                <a:ext uri="{FF2B5EF4-FFF2-40B4-BE49-F238E27FC236}">
                  <a16:creationId xmlns:a16="http://schemas.microsoft.com/office/drawing/2014/main" id="{6B484B25-A61C-007D-6B7A-4BEEED75E04F}"/>
                </a:ext>
              </a:extLst>
            </p:cNvPr>
            <p:cNvSpPr>
              <a:spLocks/>
            </p:cNvSpPr>
            <p:nvPr/>
          </p:nvSpPr>
          <p:spPr bwMode="gray">
            <a:xfrm>
              <a:off x="4763115" y="1922880"/>
              <a:ext cx="62260" cy="48919"/>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5" name="Luxembourg" descr="© INSCALE GmbH, 05.05.2010&#10;http://www.presentationload.com/">
              <a:extLst>
                <a:ext uri="{FF2B5EF4-FFF2-40B4-BE49-F238E27FC236}">
                  <a16:creationId xmlns:a16="http://schemas.microsoft.com/office/drawing/2014/main" id="{684B6C93-EEF2-9D55-8F02-D689DB0557A3}"/>
                </a:ext>
              </a:extLst>
            </p:cNvPr>
            <p:cNvSpPr>
              <a:spLocks/>
            </p:cNvSpPr>
            <p:nvPr/>
          </p:nvSpPr>
          <p:spPr bwMode="gray">
            <a:xfrm>
              <a:off x="4402900" y="1693111"/>
              <a:ext cx="19271" cy="16307"/>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6" name="Lithuania" descr="© INSCALE GmbH, 05.05.2010&#10;http://www.presentationload.com/">
              <a:extLst>
                <a:ext uri="{FF2B5EF4-FFF2-40B4-BE49-F238E27FC236}">
                  <a16:creationId xmlns:a16="http://schemas.microsoft.com/office/drawing/2014/main" id="{9BFDFF58-09EB-09FE-F3BF-984CADA2C5F5}"/>
                </a:ext>
              </a:extLst>
            </p:cNvPr>
            <p:cNvSpPr>
              <a:spLocks/>
            </p:cNvSpPr>
            <p:nvPr/>
          </p:nvSpPr>
          <p:spPr bwMode="gray">
            <a:xfrm>
              <a:off x="4752740" y="1507814"/>
              <a:ext cx="128967" cy="74119"/>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7" name="Liechtenstein" descr="© INSCALE GmbH, 05.05.2010&#10;http://www.presentationload.com/">
              <a:extLst>
                <a:ext uri="{FF2B5EF4-FFF2-40B4-BE49-F238E27FC236}">
                  <a16:creationId xmlns:a16="http://schemas.microsoft.com/office/drawing/2014/main" id="{0C832F5F-4DF6-E609-1712-BCAE4EE4B381}"/>
                </a:ext>
              </a:extLst>
            </p:cNvPr>
            <p:cNvSpPr>
              <a:spLocks/>
            </p:cNvSpPr>
            <p:nvPr/>
          </p:nvSpPr>
          <p:spPr bwMode="gray">
            <a:xfrm>
              <a:off x="4488877" y="1776125"/>
              <a:ext cx="5929" cy="8894"/>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8" name="Libya" descr="© INSCALE GmbH, 05.05.2010&#10;http://www.presentationload.com/">
              <a:extLst>
                <a:ext uri="{FF2B5EF4-FFF2-40B4-BE49-F238E27FC236}">
                  <a16:creationId xmlns:a16="http://schemas.microsoft.com/office/drawing/2014/main" id="{FBEF6409-27CB-8D2B-4E72-83127F6EA357}"/>
                </a:ext>
              </a:extLst>
            </p:cNvPr>
            <p:cNvSpPr>
              <a:spLocks/>
            </p:cNvSpPr>
            <p:nvPr/>
          </p:nvSpPr>
          <p:spPr bwMode="gray">
            <a:xfrm>
              <a:off x="4485913" y="2203049"/>
              <a:ext cx="416547" cy="420995"/>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89" name="Liberia" descr="© INSCALE GmbH, 05.05.2010&#10;http://www.presentationload.com/">
              <a:extLst>
                <a:ext uri="{FF2B5EF4-FFF2-40B4-BE49-F238E27FC236}">
                  <a16:creationId xmlns:a16="http://schemas.microsoft.com/office/drawing/2014/main" id="{EE3561DC-BC4D-4EF0-D3B6-3C5BFE5253CC}"/>
                </a:ext>
              </a:extLst>
            </p:cNvPr>
            <p:cNvSpPr>
              <a:spLocks/>
            </p:cNvSpPr>
            <p:nvPr/>
          </p:nvSpPr>
          <p:spPr bwMode="gray">
            <a:xfrm>
              <a:off x="3918164" y="2956098"/>
              <a:ext cx="117108" cy="130449"/>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0" name="Lesotho" descr="© INSCALE GmbH, 05.05.2010&#10;http://www.presentationload.com/">
              <a:extLst>
                <a:ext uri="{FF2B5EF4-FFF2-40B4-BE49-F238E27FC236}">
                  <a16:creationId xmlns:a16="http://schemas.microsoft.com/office/drawing/2014/main" id="{6F424EF4-3954-AB23-B4EE-424A8042FE47}"/>
                </a:ext>
              </a:extLst>
            </p:cNvPr>
            <p:cNvSpPr>
              <a:spLocks/>
            </p:cNvSpPr>
            <p:nvPr/>
          </p:nvSpPr>
          <p:spPr bwMode="gray">
            <a:xfrm>
              <a:off x="4945448" y="4093082"/>
              <a:ext cx="63743" cy="62260"/>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1" name="Lebanon" descr="© INSCALE GmbH, 05.05.2010&#10;http://www.presentationload.com/">
              <a:extLst>
                <a:ext uri="{FF2B5EF4-FFF2-40B4-BE49-F238E27FC236}">
                  <a16:creationId xmlns:a16="http://schemas.microsoft.com/office/drawing/2014/main" id="{90F76054-C0BC-E9A9-B0F2-27C104377B72}"/>
                </a:ext>
              </a:extLst>
            </p:cNvPr>
            <p:cNvSpPr>
              <a:spLocks/>
            </p:cNvSpPr>
            <p:nvPr/>
          </p:nvSpPr>
          <p:spPr bwMode="gray">
            <a:xfrm>
              <a:off x="5141121" y="2160060"/>
              <a:ext cx="41506" cy="59295"/>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2" name="Latvia" descr="© INSCALE GmbH, 05.05.2010&#10;http://www.presentationload.com/">
              <a:extLst>
                <a:ext uri="{FF2B5EF4-FFF2-40B4-BE49-F238E27FC236}">
                  <a16:creationId xmlns:a16="http://schemas.microsoft.com/office/drawing/2014/main" id="{394F05D5-B0EC-7C9D-DF78-EAABC98DEA96}"/>
                </a:ext>
              </a:extLst>
            </p:cNvPr>
            <p:cNvSpPr>
              <a:spLocks/>
            </p:cNvSpPr>
            <p:nvPr/>
          </p:nvSpPr>
          <p:spPr bwMode="gray">
            <a:xfrm>
              <a:off x="4749775" y="1461860"/>
              <a:ext cx="161579" cy="68189"/>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3" name="Laos" descr="© INSCALE GmbH, 05.05.2010&#10;http://www.presentationload.com/">
              <a:extLst>
                <a:ext uri="{FF2B5EF4-FFF2-40B4-BE49-F238E27FC236}">
                  <a16:creationId xmlns:a16="http://schemas.microsoft.com/office/drawing/2014/main" id="{2A1BFF36-3B5A-33D5-CE10-B04B49967D28}"/>
                </a:ext>
              </a:extLst>
            </p:cNvPr>
            <p:cNvSpPr>
              <a:spLocks/>
            </p:cNvSpPr>
            <p:nvPr/>
          </p:nvSpPr>
          <p:spPr bwMode="gray">
            <a:xfrm>
              <a:off x="6890321" y="2530655"/>
              <a:ext cx="228285" cy="263864"/>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4" name="Kyrgyzstan" descr="© INSCALE GmbH, 05.05.2010&#10;http://www.presentationload.com/">
              <a:extLst>
                <a:ext uri="{FF2B5EF4-FFF2-40B4-BE49-F238E27FC236}">
                  <a16:creationId xmlns:a16="http://schemas.microsoft.com/office/drawing/2014/main" id="{A0BD4C0A-0359-C07A-E01F-00CD714DF6C8}"/>
                </a:ext>
              </a:extLst>
            </p:cNvPr>
            <p:cNvSpPr>
              <a:spLocks/>
            </p:cNvSpPr>
            <p:nvPr/>
          </p:nvSpPr>
          <p:spPr bwMode="gray">
            <a:xfrm>
              <a:off x="5980144" y="1900644"/>
              <a:ext cx="254967" cy="118590"/>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5" name="Kuwait" descr="© INSCALE GmbH, 05.05.2010&#10;http://www.presentationload.com/">
              <a:extLst>
                <a:ext uri="{FF2B5EF4-FFF2-40B4-BE49-F238E27FC236}">
                  <a16:creationId xmlns:a16="http://schemas.microsoft.com/office/drawing/2014/main" id="{5E10A5E3-5264-8728-414A-BA0067DF856B}"/>
                </a:ext>
              </a:extLst>
            </p:cNvPr>
            <p:cNvSpPr>
              <a:spLocks/>
            </p:cNvSpPr>
            <p:nvPr/>
          </p:nvSpPr>
          <p:spPr bwMode="gray">
            <a:xfrm>
              <a:off x="5455385" y="2300887"/>
              <a:ext cx="51884" cy="45954"/>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6" name="Kosovo" descr="© INSCALE GmbH, 05.05.2010&#10;http://www.presentationload.com/">
              <a:extLst>
                <a:ext uri="{FF2B5EF4-FFF2-40B4-BE49-F238E27FC236}">
                  <a16:creationId xmlns:a16="http://schemas.microsoft.com/office/drawing/2014/main" id="{C4C163A6-FBE3-B1CA-610A-6C88B5762E2A}"/>
                </a:ext>
              </a:extLst>
            </p:cNvPr>
            <p:cNvSpPr>
              <a:spLocks/>
            </p:cNvSpPr>
            <p:nvPr/>
          </p:nvSpPr>
          <p:spPr bwMode="gray">
            <a:xfrm>
              <a:off x="4751078" y="1888485"/>
              <a:ext cx="48855" cy="49219"/>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7" name="Korea, South" descr="© INSCALE GmbH, 05.05.2010&#10;http://www.presentationload.com/">
              <a:extLst>
                <a:ext uri="{FF2B5EF4-FFF2-40B4-BE49-F238E27FC236}">
                  <a16:creationId xmlns:a16="http://schemas.microsoft.com/office/drawing/2014/main" id="{CA623A02-16B1-1100-055B-6EFBA217557E}"/>
                </a:ext>
              </a:extLst>
            </p:cNvPr>
            <p:cNvSpPr>
              <a:spLocks/>
            </p:cNvSpPr>
            <p:nvPr/>
          </p:nvSpPr>
          <p:spPr bwMode="gray">
            <a:xfrm>
              <a:off x="7434351" y="2041470"/>
              <a:ext cx="103766" cy="161579"/>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8" name="Korea, North" descr="© INSCALE GmbH, 05.05.2010&#10;http://www.presentationload.com/">
              <a:extLst>
                <a:ext uri="{FF2B5EF4-FFF2-40B4-BE49-F238E27FC236}">
                  <a16:creationId xmlns:a16="http://schemas.microsoft.com/office/drawing/2014/main" id="{E8046605-3561-32C8-1040-87F4E27D26EC}"/>
                </a:ext>
              </a:extLst>
            </p:cNvPr>
            <p:cNvSpPr>
              <a:spLocks/>
            </p:cNvSpPr>
            <p:nvPr/>
          </p:nvSpPr>
          <p:spPr bwMode="gray">
            <a:xfrm>
              <a:off x="7348373" y="1908055"/>
              <a:ext cx="124519" cy="158615"/>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99" name="Kenya" descr="© INSCALE GmbH, 05.05.2010&#10;http://www.presentationload.com/">
              <a:extLst>
                <a:ext uri="{FF2B5EF4-FFF2-40B4-BE49-F238E27FC236}">
                  <a16:creationId xmlns:a16="http://schemas.microsoft.com/office/drawing/2014/main" id="{F7EFA837-2D9D-E82E-8098-EF9C49C92622}"/>
                </a:ext>
              </a:extLst>
            </p:cNvPr>
            <p:cNvSpPr>
              <a:spLocks/>
            </p:cNvSpPr>
            <p:nvPr/>
          </p:nvSpPr>
          <p:spPr bwMode="gray">
            <a:xfrm>
              <a:off x="5152980" y="3074689"/>
              <a:ext cx="213462" cy="289065"/>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0" name="Kazakhstan" descr="© INSCALE GmbH, 05.05.2010&#10;http://www.presentationload.com/">
              <a:extLst>
                <a:ext uri="{FF2B5EF4-FFF2-40B4-BE49-F238E27FC236}">
                  <a16:creationId xmlns:a16="http://schemas.microsoft.com/office/drawing/2014/main" id="{E95E5AFB-766A-22C0-FA85-6332415670B0}"/>
                </a:ext>
              </a:extLst>
            </p:cNvPr>
            <p:cNvSpPr>
              <a:spLocks/>
            </p:cNvSpPr>
            <p:nvPr/>
          </p:nvSpPr>
          <p:spPr bwMode="gray">
            <a:xfrm>
              <a:off x="5370889" y="1538944"/>
              <a:ext cx="953166" cy="441749"/>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1" name="Jordan" descr="© INSCALE GmbH, 05.05.2010&#10;http://www.presentationload.com/">
              <a:extLst>
                <a:ext uri="{FF2B5EF4-FFF2-40B4-BE49-F238E27FC236}">
                  <a16:creationId xmlns:a16="http://schemas.microsoft.com/office/drawing/2014/main" id="{946535DD-FE72-C9D9-E58D-7F7F526A9E51}"/>
                </a:ext>
              </a:extLst>
            </p:cNvPr>
            <p:cNvSpPr>
              <a:spLocks/>
            </p:cNvSpPr>
            <p:nvPr/>
          </p:nvSpPr>
          <p:spPr bwMode="gray">
            <a:xfrm>
              <a:off x="5152980" y="2201567"/>
              <a:ext cx="106731" cy="127485"/>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2" name="Jamaica" descr="© INSCALE GmbH, 05.05.2010&#10;http://www.presentationload.com/">
              <a:extLst>
                <a:ext uri="{FF2B5EF4-FFF2-40B4-BE49-F238E27FC236}">
                  <a16:creationId xmlns:a16="http://schemas.microsoft.com/office/drawing/2014/main" id="{FCBF0E32-CA5F-FAD6-A791-8BA693C75B95}"/>
                </a:ext>
              </a:extLst>
            </p:cNvPr>
            <p:cNvSpPr>
              <a:spLocks/>
            </p:cNvSpPr>
            <p:nvPr/>
          </p:nvSpPr>
          <p:spPr bwMode="gray">
            <a:xfrm>
              <a:off x="2149694" y="2656657"/>
              <a:ext cx="59295" cy="19271"/>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3" name="Japan" descr="© INSCALE GmbH, 05.05.2010&#10;http://www.presentationload.com/">
              <a:extLst>
                <a:ext uri="{FF2B5EF4-FFF2-40B4-BE49-F238E27FC236}">
                  <a16:creationId xmlns:a16="http://schemas.microsoft.com/office/drawing/2014/main" id="{01CE4AE8-3682-4C03-FC26-AF6DE510540F}"/>
                </a:ext>
              </a:extLst>
            </p:cNvPr>
            <p:cNvSpPr>
              <a:spLocks/>
            </p:cNvSpPr>
            <p:nvPr/>
          </p:nvSpPr>
          <p:spPr bwMode="gray">
            <a:xfrm>
              <a:off x="7493646" y="1830973"/>
              <a:ext cx="332051" cy="647800"/>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4" name="Italy" descr="© INSCALE GmbH, 05.05.2010&#10;http://www.presentationload.com/">
              <a:extLst>
                <a:ext uri="{FF2B5EF4-FFF2-40B4-BE49-F238E27FC236}">
                  <a16:creationId xmlns:a16="http://schemas.microsoft.com/office/drawing/2014/main" id="{AE94A01D-C8B8-4DBC-2486-76B598B5F4A0}"/>
                </a:ext>
              </a:extLst>
            </p:cNvPr>
            <p:cNvSpPr>
              <a:spLocks/>
            </p:cNvSpPr>
            <p:nvPr/>
          </p:nvSpPr>
          <p:spPr bwMode="gray">
            <a:xfrm>
              <a:off x="4420688" y="1782054"/>
              <a:ext cx="294993" cy="314264"/>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5" name="Israel" descr="© INSCALE GmbH, 05.05.2010&#10;http://www.presentationload.com/">
              <a:extLst>
                <a:ext uri="{FF2B5EF4-FFF2-40B4-BE49-F238E27FC236}">
                  <a16:creationId xmlns:a16="http://schemas.microsoft.com/office/drawing/2014/main" id="{203FBD7C-DB02-3AE3-12B8-8F3E19708465}"/>
                </a:ext>
              </a:extLst>
            </p:cNvPr>
            <p:cNvSpPr>
              <a:spLocks/>
            </p:cNvSpPr>
            <p:nvPr/>
          </p:nvSpPr>
          <p:spPr bwMode="gray">
            <a:xfrm>
              <a:off x="5130744" y="2197120"/>
              <a:ext cx="38542" cy="121556"/>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6" name="Ireland" descr="© INSCALE GmbH, 05.05.2010&#10;http://www.presentationload.com/">
              <a:extLst>
                <a:ext uri="{FF2B5EF4-FFF2-40B4-BE49-F238E27FC236}">
                  <a16:creationId xmlns:a16="http://schemas.microsoft.com/office/drawing/2014/main" id="{EE205B4C-0E82-5910-8DE7-8FA836E2008B}"/>
                </a:ext>
              </a:extLst>
            </p:cNvPr>
            <p:cNvSpPr>
              <a:spLocks/>
            </p:cNvSpPr>
            <p:nvPr/>
          </p:nvSpPr>
          <p:spPr bwMode="gray">
            <a:xfrm>
              <a:off x="4033788" y="1541909"/>
              <a:ext cx="106731" cy="112660"/>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7" name="Iraq" descr="© INSCALE GmbH, 05.05.2010&#10;http://www.presentationload.com/">
              <a:extLst>
                <a:ext uri="{FF2B5EF4-FFF2-40B4-BE49-F238E27FC236}">
                  <a16:creationId xmlns:a16="http://schemas.microsoft.com/office/drawing/2014/main" id="{FB299998-DECF-90B4-E2D8-60F34E480FFF}"/>
                </a:ext>
              </a:extLst>
            </p:cNvPr>
            <p:cNvSpPr>
              <a:spLocks/>
            </p:cNvSpPr>
            <p:nvPr/>
          </p:nvSpPr>
          <p:spPr bwMode="gray">
            <a:xfrm>
              <a:off x="5241923" y="2078530"/>
              <a:ext cx="259416" cy="250522"/>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8" name="Iran" descr="© INSCALE GmbH, 05.05.2010&#10;http://www.presentationload.com/">
              <a:extLst>
                <a:ext uri="{FF2B5EF4-FFF2-40B4-BE49-F238E27FC236}">
                  <a16:creationId xmlns:a16="http://schemas.microsoft.com/office/drawing/2014/main" id="{904485FE-1153-F4FF-BE2D-E63D82151C5B}"/>
                </a:ext>
              </a:extLst>
            </p:cNvPr>
            <p:cNvSpPr>
              <a:spLocks/>
            </p:cNvSpPr>
            <p:nvPr/>
          </p:nvSpPr>
          <p:spPr bwMode="gray">
            <a:xfrm>
              <a:off x="5353100" y="2002928"/>
              <a:ext cx="545513" cy="447678"/>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09" name="Indonesia" descr="© INSCALE GmbH, 05.05.2010&#10;http://www.presentationload.com/">
              <a:extLst>
                <a:ext uri="{FF2B5EF4-FFF2-40B4-BE49-F238E27FC236}">
                  <a16:creationId xmlns:a16="http://schemas.microsoft.com/office/drawing/2014/main" id="{B7743B6B-2087-D6E4-7315-BC32B5C5D795}"/>
                </a:ext>
              </a:extLst>
            </p:cNvPr>
            <p:cNvSpPr>
              <a:spLocks/>
            </p:cNvSpPr>
            <p:nvPr/>
          </p:nvSpPr>
          <p:spPr bwMode="gray">
            <a:xfrm>
              <a:off x="6801378" y="3045040"/>
              <a:ext cx="1237782" cy="493632"/>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0" name="India" descr="© INSCALE GmbH, 05.05.2010&#10;http://www.presentationload.com/">
              <a:extLst>
                <a:ext uri="{FF2B5EF4-FFF2-40B4-BE49-F238E27FC236}">
                  <a16:creationId xmlns:a16="http://schemas.microsoft.com/office/drawing/2014/main" id="{2D6CF2F0-774E-0032-B121-96973BEB884A}"/>
                </a:ext>
              </a:extLst>
            </p:cNvPr>
            <p:cNvSpPr>
              <a:spLocks/>
            </p:cNvSpPr>
            <p:nvPr/>
          </p:nvSpPr>
          <p:spPr bwMode="gray">
            <a:xfrm>
              <a:off x="6042403" y="2118554"/>
              <a:ext cx="741186" cy="893874"/>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1" name="Iceland" descr="© INSCALE GmbH, 05.05.2010&#10;http://www.presentationload.com/">
              <a:extLst>
                <a:ext uri="{FF2B5EF4-FFF2-40B4-BE49-F238E27FC236}">
                  <a16:creationId xmlns:a16="http://schemas.microsoft.com/office/drawing/2014/main" id="{6E520174-569A-ED5C-C683-1E4A056D3C14}"/>
                </a:ext>
              </a:extLst>
            </p:cNvPr>
            <p:cNvSpPr>
              <a:spLocks/>
            </p:cNvSpPr>
            <p:nvPr/>
          </p:nvSpPr>
          <p:spPr bwMode="gray">
            <a:xfrm>
              <a:off x="3805503" y="1229127"/>
              <a:ext cx="216427" cy="84496"/>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2" name="Hungary" descr="© INSCALE GmbH, 05.05.2010&#10;http://www.presentationload.com/">
              <a:extLst>
                <a:ext uri="{FF2B5EF4-FFF2-40B4-BE49-F238E27FC236}">
                  <a16:creationId xmlns:a16="http://schemas.microsoft.com/office/drawing/2014/main" id="{B5105044-A379-C3B9-56C3-7F994120C102}"/>
                </a:ext>
              </a:extLst>
            </p:cNvPr>
            <p:cNvSpPr>
              <a:spLocks/>
            </p:cNvSpPr>
            <p:nvPr/>
          </p:nvSpPr>
          <p:spPr bwMode="gray">
            <a:xfrm>
              <a:off x="4651939" y="1739065"/>
              <a:ext cx="161579" cy="84496"/>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3" name="Honduras" descr="© INSCALE GmbH, 05.05.2010&#10;http://www.presentationload.com/">
              <a:extLst>
                <a:ext uri="{FF2B5EF4-FFF2-40B4-BE49-F238E27FC236}">
                  <a16:creationId xmlns:a16="http://schemas.microsoft.com/office/drawing/2014/main" id="{AD2F1041-9F78-12CA-AC4E-09A7EC77274D}"/>
                </a:ext>
              </a:extLst>
            </p:cNvPr>
            <p:cNvSpPr>
              <a:spLocks/>
            </p:cNvSpPr>
            <p:nvPr/>
          </p:nvSpPr>
          <p:spPr bwMode="gray">
            <a:xfrm>
              <a:off x="1847289" y="2729294"/>
              <a:ext cx="168991" cy="93390"/>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4" name="Haiti" descr="© INSCALE GmbH, 05.05.2010&#10;http://www.presentationload.com/">
              <a:extLst>
                <a:ext uri="{FF2B5EF4-FFF2-40B4-BE49-F238E27FC236}">
                  <a16:creationId xmlns:a16="http://schemas.microsoft.com/office/drawing/2014/main" id="{0C256214-AC56-1039-23F4-32332A25C896}"/>
                </a:ext>
              </a:extLst>
            </p:cNvPr>
            <p:cNvSpPr>
              <a:spLocks/>
            </p:cNvSpPr>
            <p:nvPr/>
          </p:nvSpPr>
          <p:spPr bwMode="gray">
            <a:xfrm>
              <a:off x="2262354" y="2610703"/>
              <a:ext cx="74119" cy="59295"/>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5" name="Guyane (French Guiana)" descr="© INSCALE GmbH, 05.05.2010&#10;http://www.presentationload.com/">
              <a:extLst>
                <a:ext uri="{FF2B5EF4-FFF2-40B4-BE49-F238E27FC236}">
                  <a16:creationId xmlns:a16="http://schemas.microsoft.com/office/drawing/2014/main" id="{499059BE-CF83-1C2D-48A2-B09BDFCF05AF}"/>
                </a:ext>
              </a:extLst>
            </p:cNvPr>
            <p:cNvSpPr>
              <a:spLocks/>
            </p:cNvSpPr>
            <p:nvPr/>
          </p:nvSpPr>
          <p:spPr bwMode="gray">
            <a:xfrm>
              <a:off x="2760431" y="3042075"/>
              <a:ext cx="77083" cy="112660"/>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6" name="Guyana" descr="© INSCALE GmbH, 05.05.2010&#10;http://www.presentationload.com/">
              <a:extLst>
                <a:ext uri="{FF2B5EF4-FFF2-40B4-BE49-F238E27FC236}">
                  <a16:creationId xmlns:a16="http://schemas.microsoft.com/office/drawing/2014/main" id="{3047586F-1045-CF8C-9E22-6ECF6B494D51}"/>
                </a:ext>
              </a:extLst>
            </p:cNvPr>
            <p:cNvSpPr>
              <a:spLocks/>
            </p:cNvSpPr>
            <p:nvPr/>
          </p:nvSpPr>
          <p:spPr bwMode="gray">
            <a:xfrm>
              <a:off x="2579582" y="2960544"/>
              <a:ext cx="123038" cy="220874"/>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7" name="Guinea-Bissau" descr="© INSCALE GmbH, 05.05.2010&#10;http://www.presentationload.com/">
              <a:extLst>
                <a:ext uri="{FF2B5EF4-FFF2-40B4-BE49-F238E27FC236}">
                  <a16:creationId xmlns:a16="http://schemas.microsoft.com/office/drawing/2014/main" id="{CA324087-1379-0741-E9BE-A37115F3BABC}"/>
                </a:ext>
              </a:extLst>
            </p:cNvPr>
            <p:cNvSpPr>
              <a:spLocks/>
            </p:cNvSpPr>
            <p:nvPr/>
          </p:nvSpPr>
          <p:spPr bwMode="gray">
            <a:xfrm>
              <a:off x="3799574" y="2828614"/>
              <a:ext cx="69672" cy="59295"/>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8" name="Guinea" descr="© INSCALE GmbH, 05.05.2010&#10;http://www.presentationload.com/">
              <a:extLst>
                <a:ext uri="{FF2B5EF4-FFF2-40B4-BE49-F238E27FC236}">
                  <a16:creationId xmlns:a16="http://schemas.microsoft.com/office/drawing/2014/main" id="{B3E9A92A-B9E7-2536-DA2D-AA28750B0F1A}"/>
                </a:ext>
              </a:extLst>
            </p:cNvPr>
            <p:cNvSpPr>
              <a:spLocks/>
            </p:cNvSpPr>
            <p:nvPr/>
          </p:nvSpPr>
          <p:spPr bwMode="gray">
            <a:xfrm>
              <a:off x="3833669" y="2831578"/>
              <a:ext cx="197155" cy="167509"/>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19" name="Guatemala" descr="© INSCALE GmbH, 05.05.2010&#10;http://www.presentationload.com/">
              <a:extLst>
                <a:ext uri="{FF2B5EF4-FFF2-40B4-BE49-F238E27FC236}">
                  <a16:creationId xmlns:a16="http://schemas.microsoft.com/office/drawing/2014/main" id="{AA4A0F3A-AAD4-4009-99BA-FC4CBF178FD8}"/>
                </a:ext>
              </a:extLst>
            </p:cNvPr>
            <p:cNvSpPr>
              <a:spLocks/>
            </p:cNvSpPr>
            <p:nvPr/>
          </p:nvSpPr>
          <p:spPr bwMode="gray">
            <a:xfrm>
              <a:off x="1768724" y="2671482"/>
              <a:ext cx="112660" cy="127485"/>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0" name="Greenland" descr="© INSCALE GmbH, 05.05.2010&#10;http://www.presentationload.com/">
              <a:extLst>
                <a:ext uri="{FF2B5EF4-FFF2-40B4-BE49-F238E27FC236}">
                  <a16:creationId xmlns:a16="http://schemas.microsoft.com/office/drawing/2014/main" id="{C9DE6BDD-3E6C-7735-2802-A145820E10D3}"/>
                </a:ext>
              </a:extLst>
            </p:cNvPr>
            <p:cNvSpPr>
              <a:spLocks/>
            </p:cNvSpPr>
            <p:nvPr/>
          </p:nvSpPr>
          <p:spPr bwMode="gray">
            <a:xfrm>
              <a:off x="3076176" y="834814"/>
              <a:ext cx="1062861" cy="578127"/>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1" name="Greece" descr="© INSCALE GmbH, 05.05.2010&#10;http://www.presentationload.com/">
              <a:extLst>
                <a:ext uri="{FF2B5EF4-FFF2-40B4-BE49-F238E27FC236}">
                  <a16:creationId xmlns:a16="http://schemas.microsoft.com/office/drawing/2014/main" id="{5AACDCBB-BF4D-9972-F549-655FF1E41292}"/>
                </a:ext>
              </a:extLst>
            </p:cNvPr>
            <p:cNvSpPr>
              <a:spLocks/>
            </p:cNvSpPr>
            <p:nvPr/>
          </p:nvSpPr>
          <p:spPr bwMode="gray">
            <a:xfrm>
              <a:off x="4761633" y="1943633"/>
              <a:ext cx="201602" cy="209016"/>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2" name="Ghana" descr="© INSCALE GmbH, 05.05.2010&#10;http://www.presentationload.com/">
              <a:extLst>
                <a:ext uri="{FF2B5EF4-FFF2-40B4-BE49-F238E27FC236}">
                  <a16:creationId xmlns:a16="http://schemas.microsoft.com/office/drawing/2014/main" id="{59D2CED5-61B8-0839-7D40-C9CB17ECAAB9}"/>
                </a:ext>
              </a:extLst>
            </p:cNvPr>
            <p:cNvSpPr>
              <a:spLocks/>
            </p:cNvSpPr>
            <p:nvPr/>
          </p:nvSpPr>
          <p:spPr bwMode="gray">
            <a:xfrm>
              <a:off x="4144967" y="2879014"/>
              <a:ext cx="123038" cy="195673"/>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3" name="Germany" descr="© INSCALE GmbH, 05.05.2010&#10;http://www.presentationload.com/">
              <a:extLst>
                <a:ext uri="{FF2B5EF4-FFF2-40B4-BE49-F238E27FC236}">
                  <a16:creationId xmlns:a16="http://schemas.microsoft.com/office/drawing/2014/main" id="{637FDDC3-943B-5011-D344-CA379C331D96}"/>
                </a:ext>
              </a:extLst>
            </p:cNvPr>
            <p:cNvSpPr>
              <a:spLocks/>
            </p:cNvSpPr>
            <p:nvPr/>
          </p:nvSpPr>
          <p:spPr bwMode="gray">
            <a:xfrm>
              <a:off x="4408829" y="1552285"/>
              <a:ext cx="213462" cy="223839"/>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4" name="Georgia" descr="© INSCALE GmbH, 05.05.2010&#10;http://www.presentationload.com/">
              <a:extLst>
                <a:ext uri="{FF2B5EF4-FFF2-40B4-BE49-F238E27FC236}">
                  <a16:creationId xmlns:a16="http://schemas.microsoft.com/office/drawing/2014/main" id="{C9002740-46C5-91D2-B98F-03D82F6D3158}"/>
                </a:ext>
              </a:extLst>
            </p:cNvPr>
            <p:cNvSpPr>
              <a:spLocks/>
            </p:cNvSpPr>
            <p:nvPr/>
          </p:nvSpPr>
          <p:spPr bwMode="gray">
            <a:xfrm>
              <a:off x="5237475" y="1887303"/>
              <a:ext cx="174919" cy="80048"/>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5" name="The Gambia" descr="© INSCALE GmbH, 05.05.2010&#10;http://www.presentationload.com/">
              <a:extLst>
                <a:ext uri="{FF2B5EF4-FFF2-40B4-BE49-F238E27FC236}">
                  <a16:creationId xmlns:a16="http://schemas.microsoft.com/office/drawing/2014/main" id="{31F25C8C-B416-AEAD-2D0F-A6BB133EAC53}"/>
                </a:ext>
              </a:extLst>
            </p:cNvPr>
            <p:cNvSpPr>
              <a:spLocks/>
            </p:cNvSpPr>
            <p:nvPr/>
          </p:nvSpPr>
          <p:spPr bwMode="gray">
            <a:xfrm>
              <a:off x="3786233" y="2797483"/>
              <a:ext cx="81531" cy="19271"/>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6" name="Gabon" descr="© INSCALE GmbH, 05.05.2010&#10;http://www.presentationload.com/">
              <a:extLst>
                <a:ext uri="{FF2B5EF4-FFF2-40B4-BE49-F238E27FC236}">
                  <a16:creationId xmlns:a16="http://schemas.microsoft.com/office/drawing/2014/main" id="{65CE5938-393D-1B1F-BD4C-7A6977AE5F78}"/>
                </a:ext>
              </a:extLst>
            </p:cNvPr>
            <p:cNvSpPr>
              <a:spLocks/>
            </p:cNvSpPr>
            <p:nvPr/>
          </p:nvSpPr>
          <p:spPr bwMode="gray">
            <a:xfrm>
              <a:off x="4468124" y="3144360"/>
              <a:ext cx="158615" cy="194192"/>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7" name="France" descr="© INSCALE GmbH, 05.05.2010&#10;http://www.presentationload.com/">
              <a:extLst>
                <a:ext uri="{FF2B5EF4-FFF2-40B4-BE49-F238E27FC236}">
                  <a16:creationId xmlns:a16="http://schemas.microsoft.com/office/drawing/2014/main" id="{C7B7904E-B441-524C-F9A2-34F5521A1935}"/>
                </a:ext>
              </a:extLst>
            </p:cNvPr>
            <p:cNvSpPr>
              <a:spLocks/>
            </p:cNvSpPr>
            <p:nvPr/>
          </p:nvSpPr>
          <p:spPr bwMode="gray">
            <a:xfrm>
              <a:off x="4149413" y="1660499"/>
              <a:ext cx="345394" cy="297959"/>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8" name="Finland" descr="© INSCALE GmbH, 05.05.2010&#10;http://www.presentationload.com/">
              <a:extLst>
                <a:ext uri="{FF2B5EF4-FFF2-40B4-BE49-F238E27FC236}">
                  <a16:creationId xmlns:a16="http://schemas.microsoft.com/office/drawing/2014/main" id="{A24CEE02-D837-D392-44C9-4FB34D51FB87}"/>
                </a:ext>
              </a:extLst>
            </p:cNvPr>
            <p:cNvSpPr>
              <a:spLocks/>
            </p:cNvSpPr>
            <p:nvPr/>
          </p:nvSpPr>
          <p:spPr bwMode="gray">
            <a:xfrm>
              <a:off x="4715679" y="1138702"/>
              <a:ext cx="238663" cy="271276"/>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29" name="Ethiopia" descr="© INSCALE GmbH, 05.05.2010&#10;http://www.presentationload.com/">
              <a:extLst>
                <a:ext uri="{FF2B5EF4-FFF2-40B4-BE49-F238E27FC236}">
                  <a16:creationId xmlns:a16="http://schemas.microsoft.com/office/drawing/2014/main" id="{8A447BAF-E217-EFB2-26CF-FA269649155C}"/>
                </a:ext>
              </a:extLst>
            </p:cNvPr>
            <p:cNvSpPr>
              <a:spLocks/>
            </p:cNvSpPr>
            <p:nvPr/>
          </p:nvSpPr>
          <p:spPr bwMode="gray">
            <a:xfrm>
              <a:off x="5124815" y="2763389"/>
              <a:ext cx="400241" cy="349841"/>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0" name="Estonia" descr="© INSCALE GmbH, 05.05.2010&#10;http://www.presentationload.com/">
              <a:extLst>
                <a:ext uri="{FF2B5EF4-FFF2-40B4-BE49-F238E27FC236}">
                  <a16:creationId xmlns:a16="http://schemas.microsoft.com/office/drawing/2014/main" id="{C992FC49-BCF7-5436-8FF0-E59D2266CDCE}"/>
                </a:ext>
              </a:extLst>
            </p:cNvPr>
            <p:cNvSpPr>
              <a:spLocks/>
            </p:cNvSpPr>
            <p:nvPr/>
          </p:nvSpPr>
          <p:spPr bwMode="gray">
            <a:xfrm>
              <a:off x="4763115" y="1418872"/>
              <a:ext cx="131932" cy="59295"/>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1" name="Eritrea" descr="© INSCALE GmbH, 05.05.2010&#10;http://www.presentationload.com/">
              <a:extLst>
                <a:ext uri="{FF2B5EF4-FFF2-40B4-BE49-F238E27FC236}">
                  <a16:creationId xmlns:a16="http://schemas.microsoft.com/office/drawing/2014/main" id="{66A531AD-1967-30E4-A4AF-BA90BA018597}"/>
                </a:ext>
              </a:extLst>
            </p:cNvPr>
            <p:cNvSpPr>
              <a:spLocks/>
            </p:cNvSpPr>
            <p:nvPr/>
          </p:nvSpPr>
          <p:spPr bwMode="gray">
            <a:xfrm>
              <a:off x="5209310" y="2667033"/>
              <a:ext cx="182333" cy="173438"/>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2" name="Equatorial Guinea" descr="© INSCALE GmbH, 05.05.2010&#10;http://www.presentationload.com/">
              <a:extLst>
                <a:ext uri="{FF2B5EF4-FFF2-40B4-BE49-F238E27FC236}">
                  <a16:creationId xmlns:a16="http://schemas.microsoft.com/office/drawing/2014/main" id="{0E46FA51-79C5-823D-E57F-20FCE36B95B4}"/>
                </a:ext>
              </a:extLst>
            </p:cNvPr>
            <p:cNvSpPr>
              <a:spLocks/>
            </p:cNvSpPr>
            <p:nvPr/>
          </p:nvSpPr>
          <p:spPr bwMode="gray">
            <a:xfrm>
              <a:off x="4485913" y="3147325"/>
              <a:ext cx="54848" cy="41506"/>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3" name="El Salvador" descr="© INSCALE GmbH, 05.05.2010&#10;http://www.presentationload.com/">
              <a:extLst>
                <a:ext uri="{FF2B5EF4-FFF2-40B4-BE49-F238E27FC236}">
                  <a16:creationId xmlns:a16="http://schemas.microsoft.com/office/drawing/2014/main" id="{AE8586D9-2C28-BAEC-7C6F-15CC901C58D1}"/>
                </a:ext>
              </a:extLst>
            </p:cNvPr>
            <p:cNvSpPr>
              <a:spLocks/>
            </p:cNvSpPr>
            <p:nvPr/>
          </p:nvSpPr>
          <p:spPr bwMode="gray">
            <a:xfrm>
              <a:off x="1820608" y="2776730"/>
              <a:ext cx="65224" cy="42989"/>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4" name="Egypt" descr="© INSCALE GmbH, 05.05.2010&#10;http://www.presentationload.com/">
              <a:extLst>
                <a:ext uri="{FF2B5EF4-FFF2-40B4-BE49-F238E27FC236}">
                  <a16:creationId xmlns:a16="http://schemas.microsoft.com/office/drawing/2014/main" id="{5BB82E56-E223-0150-9FDB-1116D7869B56}"/>
                </a:ext>
              </a:extLst>
            </p:cNvPr>
            <p:cNvSpPr>
              <a:spLocks/>
            </p:cNvSpPr>
            <p:nvPr/>
          </p:nvSpPr>
          <p:spPr bwMode="gray">
            <a:xfrm>
              <a:off x="4884671" y="2250485"/>
              <a:ext cx="299440" cy="305370"/>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5" name="Ecuador" descr="© INSCALE GmbH, 05.05.2010&#10;http://www.presentationload.com/">
              <a:extLst>
                <a:ext uri="{FF2B5EF4-FFF2-40B4-BE49-F238E27FC236}">
                  <a16:creationId xmlns:a16="http://schemas.microsoft.com/office/drawing/2014/main" id="{4D768024-47C9-B7F9-76D6-99C8604B3687}"/>
                </a:ext>
              </a:extLst>
            </p:cNvPr>
            <p:cNvSpPr>
              <a:spLocks/>
            </p:cNvSpPr>
            <p:nvPr/>
          </p:nvSpPr>
          <p:spPr bwMode="gray">
            <a:xfrm>
              <a:off x="2045927" y="3169561"/>
              <a:ext cx="157132" cy="200121"/>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6" name="East Timor" descr="© INSCALE GmbH, 05.05.2010&#10;http://www.presentationload.com/">
              <a:extLst>
                <a:ext uri="{FF2B5EF4-FFF2-40B4-BE49-F238E27FC236}">
                  <a16:creationId xmlns:a16="http://schemas.microsoft.com/office/drawing/2014/main" id="{6950B564-B59B-5EBE-FDDC-9775180E468E}"/>
                </a:ext>
              </a:extLst>
            </p:cNvPr>
            <p:cNvSpPr>
              <a:spLocks/>
            </p:cNvSpPr>
            <p:nvPr/>
          </p:nvSpPr>
          <p:spPr bwMode="gray">
            <a:xfrm>
              <a:off x="7570729" y="3470482"/>
              <a:ext cx="94872" cy="44471"/>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7" name="Dominican Republic" descr="© INSCALE GmbH, 05.05.2010&#10;http://www.presentationload.com/">
              <a:extLst>
                <a:ext uri="{FF2B5EF4-FFF2-40B4-BE49-F238E27FC236}">
                  <a16:creationId xmlns:a16="http://schemas.microsoft.com/office/drawing/2014/main" id="{9BDE7F0B-EB0A-810F-7385-646DBE2C5AAB}"/>
                </a:ext>
              </a:extLst>
            </p:cNvPr>
            <p:cNvSpPr>
              <a:spLocks/>
            </p:cNvSpPr>
            <p:nvPr/>
          </p:nvSpPr>
          <p:spPr bwMode="gray">
            <a:xfrm>
              <a:off x="2326096" y="2610703"/>
              <a:ext cx="94872" cy="63743"/>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8" name="Djibouti" descr="© INSCALE GmbH, 05.05.2010&#10;http://www.presentationload.com/">
              <a:extLst>
                <a:ext uri="{FF2B5EF4-FFF2-40B4-BE49-F238E27FC236}">
                  <a16:creationId xmlns:a16="http://schemas.microsoft.com/office/drawing/2014/main" id="{11E3C94E-E765-47FF-D259-ED878709B161}"/>
                </a:ext>
              </a:extLst>
            </p:cNvPr>
            <p:cNvSpPr>
              <a:spLocks/>
            </p:cNvSpPr>
            <p:nvPr/>
          </p:nvSpPr>
          <p:spPr bwMode="gray">
            <a:xfrm>
              <a:off x="5354583" y="2831578"/>
              <a:ext cx="44471" cy="51884"/>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39" name="Denmark" descr="© INSCALE GmbH, 05.05.2010&#10;http://www.presentationload.com/">
              <a:extLst>
                <a:ext uri="{FF2B5EF4-FFF2-40B4-BE49-F238E27FC236}">
                  <a16:creationId xmlns:a16="http://schemas.microsoft.com/office/drawing/2014/main" id="{BA3ACA52-B706-388E-ADD1-291EA380DD6F}"/>
                </a:ext>
              </a:extLst>
            </p:cNvPr>
            <p:cNvSpPr>
              <a:spLocks/>
            </p:cNvSpPr>
            <p:nvPr/>
          </p:nvSpPr>
          <p:spPr bwMode="gray">
            <a:xfrm>
              <a:off x="4460712" y="1475202"/>
              <a:ext cx="105249" cy="88942"/>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40" name="Czech Republic" descr="© INSCALE GmbH, 05.05.2010&#10;http://www.presentationload.com/">
              <a:extLst>
                <a:ext uri="{FF2B5EF4-FFF2-40B4-BE49-F238E27FC236}">
                  <a16:creationId xmlns:a16="http://schemas.microsoft.com/office/drawing/2014/main" id="{8B51FC01-FD04-6CC5-B623-D7C28A9A170B}"/>
                </a:ext>
              </a:extLst>
            </p:cNvPr>
            <p:cNvSpPr>
              <a:spLocks/>
            </p:cNvSpPr>
            <p:nvPr/>
          </p:nvSpPr>
          <p:spPr bwMode="gray">
            <a:xfrm>
              <a:off x="4554101" y="1666429"/>
              <a:ext cx="160096" cy="72637"/>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41" name="Cyprus" descr="© INSCALE GmbH, 05.05.2010&#10;http://www.presentationload.com/">
              <a:extLst>
                <a:ext uri="{FF2B5EF4-FFF2-40B4-BE49-F238E27FC236}">
                  <a16:creationId xmlns:a16="http://schemas.microsoft.com/office/drawing/2014/main" id="{11D9640B-1274-788E-C81A-4F4178E9D4F2}"/>
                </a:ext>
              </a:extLst>
            </p:cNvPr>
            <p:cNvSpPr>
              <a:spLocks/>
            </p:cNvSpPr>
            <p:nvPr/>
          </p:nvSpPr>
          <p:spPr bwMode="gray">
            <a:xfrm>
              <a:off x="5068484" y="2130414"/>
              <a:ext cx="56330" cy="32612"/>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42" name="Cuba" descr="© INSCALE GmbH, 05.05.2010&#10;http://www.presentationload.com/">
              <a:extLst>
                <a:ext uri="{FF2B5EF4-FFF2-40B4-BE49-F238E27FC236}">
                  <a16:creationId xmlns:a16="http://schemas.microsoft.com/office/drawing/2014/main" id="{890CC8FA-BA35-F517-1D6C-BD95FA10F803}"/>
                </a:ext>
              </a:extLst>
            </p:cNvPr>
            <p:cNvSpPr>
              <a:spLocks/>
            </p:cNvSpPr>
            <p:nvPr/>
          </p:nvSpPr>
          <p:spPr bwMode="gray">
            <a:xfrm>
              <a:off x="1995527" y="2508420"/>
              <a:ext cx="280168" cy="102284"/>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43" name="Croatia" descr="© INSCALE GmbH, 05.05.2010&#10;http://www.presentationload.com/">
              <a:extLst>
                <a:ext uri="{FF2B5EF4-FFF2-40B4-BE49-F238E27FC236}">
                  <a16:creationId xmlns:a16="http://schemas.microsoft.com/office/drawing/2014/main" id="{C97A636C-DF77-359A-7BF2-116328C8442E}"/>
                </a:ext>
              </a:extLst>
            </p:cNvPr>
            <p:cNvSpPr>
              <a:spLocks/>
            </p:cNvSpPr>
            <p:nvPr/>
          </p:nvSpPr>
          <p:spPr bwMode="gray">
            <a:xfrm>
              <a:off x="4592644" y="1801325"/>
              <a:ext cx="139343" cy="103766"/>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44" name="Côte d'Ivoire" descr="© INSCALE GmbH, 05.05.2010&#10;http://www.presentationload.com/">
              <a:extLst>
                <a:ext uri="{FF2B5EF4-FFF2-40B4-BE49-F238E27FC236}">
                  <a16:creationId xmlns:a16="http://schemas.microsoft.com/office/drawing/2014/main" id="{C9A21E0E-98EF-E918-FF79-E77F05CCC4C6}"/>
                </a:ext>
              </a:extLst>
            </p:cNvPr>
            <p:cNvSpPr>
              <a:spLocks/>
            </p:cNvSpPr>
            <p:nvPr/>
          </p:nvSpPr>
          <p:spPr bwMode="gray">
            <a:xfrm>
              <a:off x="4001177" y="2890873"/>
              <a:ext cx="166026" cy="195673"/>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45" name="Costa Rica" descr="© INSCALE GmbH, 05.05.2010&#10;http://www.presentationload.com/">
              <a:extLst>
                <a:ext uri="{FF2B5EF4-FFF2-40B4-BE49-F238E27FC236}">
                  <a16:creationId xmlns:a16="http://schemas.microsoft.com/office/drawing/2014/main" id="{6E07B427-E3E4-E6F4-2E24-A62067F91C90}"/>
                </a:ext>
              </a:extLst>
            </p:cNvPr>
            <p:cNvSpPr>
              <a:spLocks/>
            </p:cNvSpPr>
            <p:nvPr/>
          </p:nvSpPr>
          <p:spPr bwMode="gray">
            <a:xfrm>
              <a:off x="1925855" y="2876049"/>
              <a:ext cx="90425" cy="87461"/>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46" name="Congo" descr="© INSCALE GmbH, 05.05.2010&#10;http://www.presentationload.com/">
              <a:extLst>
                <a:ext uri="{FF2B5EF4-FFF2-40B4-BE49-F238E27FC236}">
                  <a16:creationId xmlns:a16="http://schemas.microsoft.com/office/drawing/2014/main" id="{52F51545-801D-0AD4-2949-CEF320C3DFFA}"/>
                </a:ext>
              </a:extLst>
            </p:cNvPr>
            <p:cNvSpPr>
              <a:spLocks/>
            </p:cNvSpPr>
            <p:nvPr/>
          </p:nvSpPr>
          <p:spPr bwMode="gray">
            <a:xfrm>
              <a:off x="4565961" y="3053935"/>
              <a:ext cx="511419" cy="575162"/>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47" name="Congo (Brazzaville)" descr="© INSCALE GmbH, 05.05.2010&#10;http://www.presentationload.com/">
              <a:extLst>
                <a:ext uri="{FF2B5EF4-FFF2-40B4-BE49-F238E27FC236}">
                  <a16:creationId xmlns:a16="http://schemas.microsoft.com/office/drawing/2014/main" id="{AF5C5BF9-F850-DB80-3EDE-DA9A239DA658}"/>
                </a:ext>
              </a:extLst>
            </p:cNvPr>
            <p:cNvSpPr>
              <a:spLocks/>
            </p:cNvSpPr>
            <p:nvPr/>
          </p:nvSpPr>
          <p:spPr bwMode="gray">
            <a:xfrm>
              <a:off x="4533349" y="3104336"/>
              <a:ext cx="203086" cy="265347"/>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48" name="Colombia" descr="© INSCALE GmbH, 05.05.2010&#10;http://www.presentationload.com/">
              <a:extLst>
                <a:ext uri="{FF2B5EF4-FFF2-40B4-BE49-F238E27FC236}">
                  <a16:creationId xmlns:a16="http://schemas.microsoft.com/office/drawing/2014/main" id="{DB441FEF-455B-A199-D828-47424846B80B}"/>
                </a:ext>
              </a:extLst>
            </p:cNvPr>
            <p:cNvSpPr>
              <a:spLocks/>
            </p:cNvSpPr>
            <p:nvPr/>
          </p:nvSpPr>
          <p:spPr bwMode="gray">
            <a:xfrm>
              <a:off x="2100775" y="2837508"/>
              <a:ext cx="329086" cy="509938"/>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49" name="Chile" descr="© INSCALE GmbH, 05.05.2010&#10;http://www.presentationload.com/">
              <a:extLst>
                <a:ext uri="{FF2B5EF4-FFF2-40B4-BE49-F238E27FC236}">
                  <a16:creationId xmlns:a16="http://schemas.microsoft.com/office/drawing/2014/main" id="{2787E4FC-4EEB-A546-4D33-6F5728504690}"/>
                </a:ext>
              </a:extLst>
            </p:cNvPr>
            <p:cNvSpPr>
              <a:spLocks/>
            </p:cNvSpPr>
            <p:nvPr/>
          </p:nvSpPr>
          <p:spPr bwMode="gray">
            <a:xfrm>
              <a:off x="2366120" y="3756582"/>
              <a:ext cx="438782" cy="1148843"/>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0" name="China" descr="© INSCALE GmbH, 05.05.2010&#10;http://www.presentationload.com/">
              <a:extLst>
                <a:ext uri="{FF2B5EF4-FFF2-40B4-BE49-F238E27FC236}">
                  <a16:creationId xmlns:a16="http://schemas.microsoft.com/office/drawing/2014/main" id="{A3ABA84B-284A-12C1-528A-990C5DC7CF67}"/>
                </a:ext>
              </a:extLst>
            </p:cNvPr>
            <p:cNvSpPr>
              <a:spLocks/>
            </p:cNvSpPr>
            <p:nvPr/>
          </p:nvSpPr>
          <p:spPr bwMode="gray">
            <a:xfrm>
              <a:off x="6094286" y="1589345"/>
              <a:ext cx="1387500" cy="1071759"/>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1" name="Chad" descr="© INSCALE GmbH, 05.05.2010&#10;http://www.presentationload.com/">
              <a:extLst>
                <a:ext uri="{FF2B5EF4-FFF2-40B4-BE49-F238E27FC236}">
                  <a16:creationId xmlns:a16="http://schemas.microsoft.com/office/drawing/2014/main" id="{D2442771-7EA0-F5F1-E519-419998A255AA}"/>
                </a:ext>
              </a:extLst>
            </p:cNvPr>
            <p:cNvSpPr>
              <a:spLocks/>
            </p:cNvSpPr>
            <p:nvPr/>
          </p:nvSpPr>
          <p:spPr bwMode="gray">
            <a:xfrm>
              <a:off x="4595608" y="2501007"/>
              <a:ext cx="281650" cy="489185"/>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2" name="Central African Republic" descr="© INSCALE GmbH, 05.05.2010&#10;http://www.presentationload.com/">
              <a:extLst>
                <a:ext uri="{FF2B5EF4-FFF2-40B4-BE49-F238E27FC236}">
                  <a16:creationId xmlns:a16="http://schemas.microsoft.com/office/drawing/2014/main" id="{9833FECC-0FE6-D620-513E-C67D19094E68}"/>
                </a:ext>
              </a:extLst>
            </p:cNvPr>
            <p:cNvSpPr>
              <a:spLocks/>
            </p:cNvSpPr>
            <p:nvPr/>
          </p:nvSpPr>
          <p:spPr bwMode="gray">
            <a:xfrm>
              <a:off x="4622291" y="2883461"/>
              <a:ext cx="346876" cy="265347"/>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3" name="Canada" descr="© INSCALE GmbH, 05.05.2010&#10;http://www.presentationload.com/">
              <a:extLst>
                <a:ext uri="{FF2B5EF4-FFF2-40B4-BE49-F238E27FC236}">
                  <a16:creationId xmlns:a16="http://schemas.microsoft.com/office/drawing/2014/main" id="{69E01B84-CDF3-8D01-164A-DD06F59F01E6}"/>
                </a:ext>
              </a:extLst>
            </p:cNvPr>
            <p:cNvSpPr>
              <a:spLocks/>
            </p:cNvSpPr>
            <p:nvPr/>
          </p:nvSpPr>
          <p:spPr bwMode="gray">
            <a:xfrm>
              <a:off x="1241000" y="843708"/>
              <a:ext cx="2112381" cy="1093995"/>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4" name="Cameroon" descr="© INSCALE GmbH, 05.05.2010&#10;http://www.presentationload.com/">
              <a:extLst>
                <a:ext uri="{FF2B5EF4-FFF2-40B4-BE49-F238E27FC236}">
                  <a16:creationId xmlns:a16="http://schemas.microsoft.com/office/drawing/2014/main" id="{B3AD18EB-07EA-E6E3-8F3E-E36BC7032201}"/>
                </a:ext>
              </a:extLst>
            </p:cNvPr>
            <p:cNvSpPr>
              <a:spLocks/>
            </p:cNvSpPr>
            <p:nvPr/>
          </p:nvSpPr>
          <p:spPr bwMode="gray">
            <a:xfrm>
              <a:off x="4465160" y="2816755"/>
              <a:ext cx="207532" cy="351324"/>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5" name="Cambodia" descr="© INSCALE GmbH, 05.05.2010&#10;http://www.presentationload.com/">
              <a:extLst>
                <a:ext uri="{FF2B5EF4-FFF2-40B4-BE49-F238E27FC236}">
                  <a16:creationId xmlns:a16="http://schemas.microsoft.com/office/drawing/2014/main" id="{D09126C1-4559-248A-1B78-7324A9219AAE}"/>
                </a:ext>
              </a:extLst>
            </p:cNvPr>
            <p:cNvSpPr>
              <a:spLocks/>
            </p:cNvSpPr>
            <p:nvPr/>
          </p:nvSpPr>
          <p:spPr bwMode="gray">
            <a:xfrm>
              <a:off x="6979264" y="2773765"/>
              <a:ext cx="143790" cy="127485"/>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6" name="Burundi" descr="© INSCALE GmbH, 05.05.2010&#10;http://www.presentationload.com/">
              <a:extLst>
                <a:ext uri="{FF2B5EF4-FFF2-40B4-BE49-F238E27FC236}">
                  <a16:creationId xmlns:a16="http://schemas.microsoft.com/office/drawing/2014/main" id="{7F78DBEA-B1B6-1521-5CE6-87A590962EB4}"/>
                </a:ext>
              </a:extLst>
            </p:cNvPr>
            <p:cNvSpPr>
              <a:spLocks/>
            </p:cNvSpPr>
            <p:nvPr/>
          </p:nvSpPr>
          <p:spPr bwMode="gray">
            <a:xfrm>
              <a:off x="5016603" y="3292597"/>
              <a:ext cx="50401" cy="63743"/>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7" name="Burkina Faso" descr="© INSCALE GmbH, 05.05.2010&#10;http://www.presentationload.com/">
              <a:extLst>
                <a:ext uri="{FF2B5EF4-FFF2-40B4-BE49-F238E27FC236}">
                  <a16:creationId xmlns:a16="http://schemas.microsoft.com/office/drawing/2014/main" id="{F52DEBB4-EDF1-EC08-F593-FCE41276BB43}"/>
                </a:ext>
              </a:extLst>
            </p:cNvPr>
            <p:cNvSpPr>
              <a:spLocks/>
            </p:cNvSpPr>
            <p:nvPr/>
          </p:nvSpPr>
          <p:spPr bwMode="gray">
            <a:xfrm>
              <a:off x="4085673" y="2758941"/>
              <a:ext cx="216427" cy="170474"/>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8" name="Bulgaria" descr="© INSCALE GmbH, 05.05.2010&#10;http://www.presentationload.com/">
              <a:extLst>
                <a:ext uri="{FF2B5EF4-FFF2-40B4-BE49-F238E27FC236}">
                  <a16:creationId xmlns:a16="http://schemas.microsoft.com/office/drawing/2014/main" id="{E96465E5-E96B-2EE4-7200-99879323DD1C}"/>
                </a:ext>
              </a:extLst>
            </p:cNvPr>
            <p:cNvSpPr>
              <a:spLocks/>
            </p:cNvSpPr>
            <p:nvPr/>
          </p:nvSpPr>
          <p:spPr bwMode="gray">
            <a:xfrm>
              <a:off x="4807587" y="1870997"/>
              <a:ext cx="149720" cy="8597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59" name="Brazil" descr="© INSCALE GmbH, 05.05.2010&#10;http://www.presentationload.com/">
              <a:extLst>
                <a:ext uri="{FF2B5EF4-FFF2-40B4-BE49-F238E27FC236}">
                  <a16:creationId xmlns:a16="http://schemas.microsoft.com/office/drawing/2014/main" id="{8AF20A5B-1817-DDD6-B54D-BA9749A4F886}"/>
                </a:ext>
              </a:extLst>
            </p:cNvPr>
            <p:cNvSpPr>
              <a:spLocks/>
            </p:cNvSpPr>
            <p:nvPr/>
          </p:nvSpPr>
          <p:spPr bwMode="gray">
            <a:xfrm>
              <a:off x="2243083" y="3056900"/>
              <a:ext cx="1055450" cy="1193315"/>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0" name="Botswana" descr="© INSCALE GmbH, 05.05.2010&#10;http://www.presentationload.com/">
              <a:extLst>
                <a:ext uri="{FF2B5EF4-FFF2-40B4-BE49-F238E27FC236}">
                  <a16:creationId xmlns:a16="http://schemas.microsoft.com/office/drawing/2014/main" id="{536BBDAF-895A-67B8-DBE4-69D53B71ED1A}"/>
                </a:ext>
              </a:extLst>
            </p:cNvPr>
            <p:cNvSpPr>
              <a:spLocks/>
            </p:cNvSpPr>
            <p:nvPr/>
          </p:nvSpPr>
          <p:spPr bwMode="gray">
            <a:xfrm>
              <a:off x="4766081" y="3761029"/>
              <a:ext cx="246074" cy="277205"/>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1" name="Bosnia and Herzegovina" descr="© INSCALE GmbH, 05.05.2010&#10;http://www.presentationload.com/">
              <a:extLst>
                <a:ext uri="{FF2B5EF4-FFF2-40B4-BE49-F238E27FC236}">
                  <a16:creationId xmlns:a16="http://schemas.microsoft.com/office/drawing/2014/main" id="{DDDD4349-7F44-54CF-B35F-CE37A7D65E8A}"/>
                </a:ext>
              </a:extLst>
            </p:cNvPr>
            <p:cNvSpPr>
              <a:spLocks/>
            </p:cNvSpPr>
            <p:nvPr/>
          </p:nvSpPr>
          <p:spPr bwMode="gray">
            <a:xfrm>
              <a:off x="4638597" y="1836902"/>
              <a:ext cx="100801" cy="88942"/>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2" name="Bolivia" descr="© INSCALE GmbH, 05.05.2010&#10;http://www.presentationload.com/">
              <a:extLst>
                <a:ext uri="{FF2B5EF4-FFF2-40B4-BE49-F238E27FC236}">
                  <a16:creationId xmlns:a16="http://schemas.microsoft.com/office/drawing/2014/main" id="{1FF84CFD-80BF-AA16-9780-B16E4F4D981F}"/>
                </a:ext>
              </a:extLst>
            </p:cNvPr>
            <p:cNvSpPr>
              <a:spLocks/>
            </p:cNvSpPr>
            <p:nvPr/>
          </p:nvSpPr>
          <p:spPr bwMode="gray">
            <a:xfrm>
              <a:off x="2369085" y="3514955"/>
              <a:ext cx="337980" cy="401725"/>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3" name="Bhutan" descr="© INSCALE GmbH, 05.05.2010&#10;http://www.presentationload.com/">
              <a:extLst>
                <a:ext uri="{FF2B5EF4-FFF2-40B4-BE49-F238E27FC236}">
                  <a16:creationId xmlns:a16="http://schemas.microsoft.com/office/drawing/2014/main" id="{6843F7B6-5CC4-E2C6-0CCE-94EB86EDD48E}"/>
                </a:ext>
              </a:extLst>
            </p:cNvPr>
            <p:cNvSpPr>
              <a:spLocks/>
            </p:cNvSpPr>
            <p:nvPr/>
          </p:nvSpPr>
          <p:spPr bwMode="gray">
            <a:xfrm>
              <a:off x="6562717" y="2352770"/>
              <a:ext cx="88942" cy="50401"/>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4" name="Benin" descr="© INSCALE GmbH, 05.05.2010&#10;http://www.presentationload.com/">
              <a:extLst>
                <a:ext uri="{FF2B5EF4-FFF2-40B4-BE49-F238E27FC236}">
                  <a16:creationId xmlns:a16="http://schemas.microsoft.com/office/drawing/2014/main" id="{E19F0A43-B3E9-9389-8D19-4F90F6F0F01A}"/>
                </a:ext>
              </a:extLst>
            </p:cNvPr>
            <p:cNvSpPr>
              <a:spLocks/>
            </p:cNvSpPr>
            <p:nvPr/>
          </p:nvSpPr>
          <p:spPr bwMode="gray">
            <a:xfrm>
              <a:off x="4256145" y="2840473"/>
              <a:ext cx="84496" cy="188262"/>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5" name="Belize" descr="© INSCALE GmbH, 05.05.2010&#10;http://www.presentationload.com/">
              <a:extLst>
                <a:ext uri="{FF2B5EF4-FFF2-40B4-BE49-F238E27FC236}">
                  <a16:creationId xmlns:a16="http://schemas.microsoft.com/office/drawing/2014/main" id="{33D6E5C7-5DFF-96FA-BEEB-658E974D66AF}"/>
                </a:ext>
              </a:extLst>
            </p:cNvPr>
            <p:cNvSpPr>
              <a:spLocks/>
            </p:cNvSpPr>
            <p:nvPr/>
          </p:nvSpPr>
          <p:spPr bwMode="gray">
            <a:xfrm>
              <a:off x="1854703" y="2653693"/>
              <a:ext cx="41506" cy="80048"/>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6" name="Belgium" descr="© INSCALE GmbH, 05.05.2010&#10;http://www.presentationload.com/">
              <a:extLst>
                <a:ext uri="{FF2B5EF4-FFF2-40B4-BE49-F238E27FC236}">
                  <a16:creationId xmlns:a16="http://schemas.microsoft.com/office/drawing/2014/main" id="{9E84B6A4-10F5-C238-DE9A-975701E8CBD7}"/>
                </a:ext>
              </a:extLst>
            </p:cNvPr>
            <p:cNvSpPr>
              <a:spLocks/>
            </p:cNvSpPr>
            <p:nvPr/>
          </p:nvSpPr>
          <p:spPr bwMode="gray">
            <a:xfrm>
              <a:off x="4336193" y="1654570"/>
              <a:ext cx="84496" cy="57813"/>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7" name="Bangladesh" descr="© INSCALE GmbH, 05.05.2010&#10;http://www.presentationload.com/">
              <a:extLst>
                <a:ext uri="{FF2B5EF4-FFF2-40B4-BE49-F238E27FC236}">
                  <a16:creationId xmlns:a16="http://schemas.microsoft.com/office/drawing/2014/main" id="{0A1E033B-8975-CD48-0EF4-8F63ADDE691A}"/>
                </a:ext>
              </a:extLst>
            </p:cNvPr>
            <p:cNvSpPr>
              <a:spLocks/>
            </p:cNvSpPr>
            <p:nvPr/>
          </p:nvSpPr>
          <p:spPr bwMode="gray">
            <a:xfrm>
              <a:off x="6550859" y="2407618"/>
              <a:ext cx="142308" cy="161579"/>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8" name="Bahrain" descr="© INSCALE GmbH, 05.05.2010&#10;http://www.presentationload.com/">
              <a:extLst>
                <a:ext uri="{FF2B5EF4-FFF2-40B4-BE49-F238E27FC236}">
                  <a16:creationId xmlns:a16="http://schemas.microsoft.com/office/drawing/2014/main" id="{C7BA545E-3345-0426-B8A6-28BB77E1A022}"/>
                </a:ext>
              </a:extLst>
            </p:cNvPr>
            <p:cNvSpPr>
              <a:spLocks/>
            </p:cNvSpPr>
            <p:nvPr/>
          </p:nvSpPr>
          <p:spPr bwMode="gray">
            <a:xfrm>
              <a:off x="5569528" y="2413548"/>
              <a:ext cx="10377" cy="20753"/>
            </a:xfrm>
            <a:custGeom>
              <a:avLst/>
              <a:gdLst>
                <a:gd name="T0" fmla="*/ 2147483647 w 15"/>
                <a:gd name="T1" fmla="*/ 0 h 28"/>
                <a:gd name="T2" fmla="*/ 2147483647 w 15"/>
                <a:gd name="T3" fmla="*/ 2147483647 h 28"/>
                <a:gd name="T4" fmla="*/ 2147483647 w 15"/>
                <a:gd name="T5" fmla="*/ 2147483647 h 28"/>
                <a:gd name="T6" fmla="*/ 2032697641 w 15"/>
                <a:gd name="T7" fmla="*/ 2147483647 h 28"/>
                <a:gd name="T8" fmla="*/ 813299296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69" name="Belarus" descr="© INSCALE GmbH, 05.05.2010&#10;http://www.presentationload.com/">
              <a:extLst>
                <a:ext uri="{FF2B5EF4-FFF2-40B4-BE49-F238E27FC236}">
                  <a16:creationId xmlns:a16="http://schemas.microsoft.com/office/drawing/2014/main" id="{1508DB2D-7D01-E259-EB04-2FE0EAA73182}"/>
                </a:ext>
              </a:extLst>
            </p:cNvPr>
            <p:cNvSpPr>
              <a:spLocks/>
            </p:cNvSpPr>
            <p:nvPr/>
          </p:nvSpPr>
          <p:spPr bwMode="gray">
            <a:xfrm>
              <a:off x="4809071" y="1516708"/>
              <a:ext cx="216427" cy="140826"/>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0" name="Azerbaijan" descr="© INSCALE GmbH, 05.05.2010&#10;http://www.presentationload.com/">
              <a:extLst>
                <a:ext uri="{FF2B5EF4-FFF2-40B4-BE49-F238E27FC236}">
                  <a16:creationId xmlns:a16="http://schemas.microsoft.com/office/drawing/2014/main" id="{E5E9F487-09AA-AB8E-91B4-ECB8DF1BDB56}"/>
                </a:ext>
              </a:extLst>
            </p:cNvPr>
            <p:cNvSpPr>
              <a:spLocks/>
            </p:cNvSpPr>
            <p:nvPr/>
          </p:nvSpPr>
          <p:spPr bwMode="gray">
            <a:xfrm>
              <a:off x="5370891" y="1939187"/>
              <a:ext cx="136378" cy="109696"/>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1" name="Austria" descr="© INSCALE GmbH, 05.05.2010&#10;http://www.presentationload.com/">
              <a:extLst>
                <a:ext uri="{FF2B5EF4-FFF2-40B4-BE49-F238E27FC236}">
                  <a16:creationId xmlns:a16="http://schemas.microsoft.com/office/drawing/2014/main" id="{FA873274-BEC3-5695-E0AA-5DF4C8F0AF82}"/>
                </a:ext>
              </a:extLst>
            </p:cNvPr>
            <p:cNvSpPr>
              <a:spLocks/>
            </p:cNvSpPr>
            <p:nvPr/>
          </p:nvSpPr>
          <p:spPr bwMode="gray">
            <a:xfrm>
              <a:off x="4494808" y="1725724"/>
              <a:ext cx="173437" cy="77083"/>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2" name="Australia" descr="© INSCALE GmbH, 05.05.2010&#10;http://www.presentationload.com/">
              <a:extLst>
                <a:ext uri="{FF2B5EF4-FFF2-40B4-BE49-F238E27FC236}">
                  <a16:creationId xmlns:a16="http://schemas.microsoft.com/office/drawing/2014/main" id="{7CB0CA4E-7683-F6AE-3233-0BCBAACEE39C}"/>
                </a:ext>
              </a:extLst>
            </p:cNvPr>
            <p:cNvSpPr>
              <a:spLocks/>
            </p:cNvSpPr>
            <p:nvPr/>
          </p:nvSpPr>
          <p:spPr bwMode="gray">
            <a:xfrm>
              <a:off x="7170490" y="3543119"/>
              <a:ext cx="1076203" cy="1009500"/>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3" name="Armenia" descr="© INSCALE GmbH, 05.05.2010&#10;http://www.presentationload.com/">
              <a:extLst>
                <a:ext uri="{FF2B5EF4-FFF2-40B4-BE49-F238E27FC236}">
                  <a16:creationId xmlns:a16="http://schemas.microsoft.com/office/drawing/2014/main" id="{C7E0447B-E801-F429-4243-F1BDB22FF409}"/>
                </a:ext>
              </a:extLst>
            </p:cNvPr>
            <p:cNvSpPr>
              <a:spLocks/>
            </p:cNvSpPr>
            <p:nvPr/>
          </p:nvSpPr>
          <p:spPr bwMode="gray">
            <a:xfrm>
              <a:off x="5332348" y="1955492"/>
              <a:ext cx="84496" cy="80048"/>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4" name="Argentina" descr="© INSCALE GmbH, 05.05.2010&#10;http://www.presentationload.com/">
              <a:extLst>
                <a:ext uri="{FF2B5EF4-FFF2-40B4-BE49-F238E27FC236}">
                  <a16:creationId xmlns:a16="http://schemas.microsoft.com/office/drawing/2014/main" id="{3F897683-B317-49A5-252B-6E6382C25DE4}"/>
                </a:ext>
              </a:extLst>
            </p:cNvPr>
            <p:cNvSpPr>
              <a:spLocks/>
            </p:cNvSpPr>
            <p:nvPr/>
          </p:nvSpPr>
          <p:spPr bwMode="gray">
            <a:xfrm>
              <a:off x="2423933" y="3887030"/>
              <a:ext cx="413582" cy="925004"/>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5" name="Angola" descr="© INSCALE GmbH, 05.05.2010&#10;http://www.presentationload.com/">
              <a:extLst>
                <a:ext uri="{FF2B5EF4-FFF2-40B4-BE49-F238E27FC236}">
                  <a16:creationId xmlns:a16="http://schemas.microsoft.com/office/drawing/2014/main" id="{33680609-757A-3C9F-C542-3E9F9FE9D51C}"/>
                </a:ext>
              </a:extLst>
            </p:cNvPr>
            <p:cNvSpPr>
              <a:spLocks/>
            </p:cNvSpPr>
            <p:nvPr/>
          </p:nvSpPr>
          <p:spPr bwMode="gray">
            <a:xfrm>
              <a:off x="4548173" y="3348928"/>
              <a:ext cx="336498" cy="419514"/>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6" name="Andorra" descr="© INSCALE GmbH, 05.05.2010&#10;http://www.presentationload.com/">
              <a:extLst>
                <a:ext uri="{FF2B5EF4-FFF2-40B4-BE49-F238E27FC236}">
                  <a16:creationId xmlns:a16="http://schemas.microsoft.com/office/drawing/2014/main" id="{E4782A8E-CDE3-D084-FE83-09E5408B92DB}"/>
                </a:ext>
              </a:extLst>
            </p:cNvPr>
            <p:cNvSpPr>
              <a:spLocks/>
            </p:cNvSpPr>
            <p:nvPr/>
          </p:nvSpPr>
          <p:spPr bwMode="gray">
            <a:xfrm>
              <a:off x="4293206" y="1916951"/>
              <a:ext cx="11859" cy="5929"/>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7" name="Algeria" descr="© INSCALE GmbH, 05.05.2010&#10;http://www.presentationload.com/">
              <a:extLst>
                <a:ext uri="{FF2B5EF4-FFF2-40B4-BE49-F238E27FC236}">
                  <a16:creationId xmlns:a16="http://schemas.microsoft.com/office/drawing/2014/main" id="{5A9BBE08-4868-3271-D8EC-ED9AD9D8F1E2}"/>
                </a:ext>
              </a:extLst>
            </p:cNvPr>
            <p:cNvSpPr>
              <a:spLocks/>
            </p:cNvSpPr>
            <p:nvPr/>
          </p:nvSpPr>
          <p:spPr bwMode="gray">
            <a:xfrm>
              <a:off x="3996732" y="2082976"/>
              <a:ext cx="560338" cy="554408"/>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8" name="Albania" descr="© INSCALE GmbH, 05.05.2010&#10;http://www.presentationload.com/">
              <a:extLst>
                <a:ext uri="{FF2B5EF4-FFF2-40B4-BE49-F238E27FC236}">
                  <a16:creationId xmlns:a16="http://schemas.microsoft.com/office/drawing/2014/main" id="{1F3239AF-A3F6-CDDC-D67B-2E6E33F2A931}"/>
                </a:ext>
              </a:extLst>
            </p:cNvPr>
            <p:cNvSpPr>
              <a:spLocks/>
            </p:cNvSpPr>
            <p:nvPr/>
          </p:nvSpPr>
          <p:spPr bwMode="gray">
            <a:xfrm>
              <a:off x="4724577" y="1916949"/>
              <a:ext cx="54848" cy="93390"/>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179" name="Afghanistan" descr="© INSCALE GmbH, 05.05.2010&#10;http://www.presentationload.com/">
              <a:extLst>
                <a:ext uri="{FF2B5EF4-FFF2-40B4-BE49-F238E27FC236}">
                  <a16:creationId xmlns:a16="http://schemas.microsoft.com/office/drawing/2014/main" id="{C5099E88-B8DC-8654-5F5F-658F3107FC42}"/>
                </a:ext>
              </a:extLst>
            </p:cNvPr>
            <p:cNvSpPr>
              <a:spLocks/>
            </p:cNvSpPr>
            <p:nvPr/>
          </p:nvSpPr>
          <p:spPr bwMode="gray">
            <a:xfrm>
              <a:off x="5791890" y="2041466"/>
              <a:ext cx="343911" cy="280169"/>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grpSp>
    </p:spTree>
    <p:extLst>
      <p:ext uri="{BB962C8B-B14F-4D97-AF65-F5344CB8AC3E}">
        <p14:creationId xmlns:p14="http://schemas.microsoft.com/office/powerpoint/2010/main" val="42335449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orth America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34DBF-111E-BDA6-231C-277F07A17657}"/>
              </a:ext>
            </a:extLst>
          </p:cNvPr>
          <p:cNvSpPr>
            <a:spLocks noGrp="1"/>
          </p:cNvSpPr>
          <p:nvPr>
            <p:ph type="title"/>
          </p:nvPr>
        </p:nvSpPr>
        <p:spPr>
          <a:xfrm>
            <a:off x="493713" y="368300"/>
            <a:ext cx="11218100" cy="774700"/>
          </a:xfrm>
        </p:spPr>
        <p:txBody>
          <a:bodyPr vert="horz"/>
          <a:lstStyle/>
          <a:p>
            <a:r>
              <a:rPr lang="en-US"/>
              <a:t>Click to edit Master title style</a:t>
            </a:r>
            <a:endParaRPr lang="en-US" dirty="0"/>
          </a:p>
        </p:txBody>
      </p:sp>
      <p:grpSp>
        <p:nvGrpSpPr>
          <p:cNvPr id="3" name="Group 4">
            <a:extLst>
              <a:ext uri="{FF2B5EF4-FFF2-40B4-BE49-F238E27FC236}">
                <a16:creationId xmlns:a16="http://schemas.microsoft.com/office/drawing/2014/main" id="{108377D9-506E-A738-790B-4D41E25C177C}"/>
              </a:ext>
            </a:extLst>
          </p:cNvPr>
          <p:cNvGrpSpPr>
            <a:grpSpLocks noChangeAspect="1"/>
          </p:cNvGrpSpPr>
          <p:nvPr userDrawn="1"/>
        </p:nvGrpSpPr>
        <p:grpSpPr bwMode="auto">
          <a:xfrm>
            <a:off x="1731555" y="70066"/>
            <a:ext cx="7377445" cy="6787934"/>
            <a:chOff x="1625" y="210"/>
            <a:chExt cx="4387" cy="4184"/>
          </a:xfrm>
          <a:solidFill>
            <a:schemeClr val="accent5"/>
          </a:solidFill>
        </p:grpSpPr>
        <p:sp>
          <p:nvSpPr>
            <p:cNvPr id="4" name="USA">
              <a:extLst>
                <a:ext uri="{FF2B5EF4-FFF2-40B4-BE49-F238E27FC236}">
                  <a16:creationId xmlns:a16="http://schemas.microsoft.com/office/drawing/2014/main" id="{DCC54D23-FCFD-BB5C-D728-FD6F91B62CFE}"/>
                </a:ext>
              </a:extLst>
            </p:cNvPr>
            <p:cNvSpPr>
              <a:spLocks noEditPoints="1"/>
            </p:cNvSpPr>
            <p:nvPr/>
          </p:nvSpPr>
          <p:spPr bwMode="auto">
            <a:xfrm>
              <a:off x="1625" y="967"/>
              <a:ext cx="3945" cy="2860"/>
            </a:xfrm>
            <a:custGeom>
              <a:avLst/>
              <a:gdLst>
                <a:gd name="T0" fmla="*/ 1112 w 3945"/>
                <a:gd name="T1" fmla="*/ 844 h 2860"/>
                <a:gd name="T2" fmla="*/ 1179 w 3945"/>
                <a:gd name="T3" fmla="*/ 780 h 2860"/>
                <a:gd name="T4" fmla="*/ 717 w 3945"/>
                <a:gd name="T5" fmla="*/ 771 h 2860"/>
                <a:gd name="T6" fmla="*/ 906 w 3945"/>
                <a:gd name="T7" fmla="*/ 830 h 2860"/>
                <a:gd name="T8" fmla="*/ 1711 w 3945"/>
                <a:gd name="T9" fmla="*/ 1097 h 2860"/>
                <a:gd name="T10" fmla="*/ 1657 w 3945"/>
                <a:gd name="T11" fmla="*/ 1000 h 2860"/>
                <a:gd name="T12" fmla="*/ 1678 w 3945"/>
                <a:gd name="T13" fmla="*/ 1085 h 2860"/>
                <a:gd name="T14" fmla="*/ 1245 w 3945"/>
                <a:gd name="T15" fmla="*/ 757 h 2860"/>
                <a:gd name="T16" fmla="*/ 1420 w 3945"/>
                <a:gd name="T17" fmla="*/ 757 h 2860"/>
                <a:gd name="T18" fmla="*/ 885 w 3945"/>
                <a:gd name="T19" fmla="*/ 234 h 2860"/>
                <a:gd name="T20" fmla="*/ 1623 w 3945"/>
                <a:gd name="T21" fmla="*/ 139 h 2860"/>
                <a:gd name="T22" fmla="*/ 435 w 3945"/>
                <a:gd name="T23" fmla="*/ 712 h 2860"/>
                <a:gd name="T24" fmla="*/ 665 w 3945"/>
                <a:gd name="T25" fmla="*/ 775 h 2860"/>
                <a:gd name="T26" fmla="*/ 516 w 3945"/>
                <a:gd name="T27" fmla="*/ 745 h 2860"/>
                <a:gd name="T28" fmla="*/ 118 w 3945"/>
                <a:gd name="T29" fmla="*/ 2415 h 2860"/>
                <a:gd name="T30" fmla="*/ 111 w 3945"/>
                <a:gd name="T31" fmla="*/ 2531 h 2860"/>
                <a:gd name="T32" fmla="*/ 3860 w 3945"/>
                <a:gd name="T33" fmla="*/ 1788 h 2860"/>
                <a:gd name="T34" fmla="*/ 3514 w 3945"/>
                <a:gd name="T35" fmla="*/ 1949 h 2860"/>
                <a:gd name="T36" fmla="*/ 3242 w 3945"/>
                <a:gd name="T37" fmla="*/ 1909 h 2860"/>
                <a:gd name="T38" fmla="*/ 3211 w 3945"/>
                <a:gd name="T39" fmla="*/ 1778 h 2860"/>
                <a:gd name="T40" fmla="*/ 1940 w 3945"/>
                <a:gd name="T41" fmla="*/ 1596 h 2860"/>
                <a:gd name="T42" fmla="*/ 1893 w 3945"/>
                <a:gd name="T43" fmla="*/ 1627 h 2860"/>
                <a:gd name="T44" fmla="*/ 1827 w 3945"/>
                <a:gd name="T45" fmla="*/ 1866 h 2860"/>
                <a:gd name="T46" fmla="*/ 1867 w 3945"/>
                <a:gd name="T47" fmla="*/ 2157 h 2860"/>
                <a:gd name="T48" fmla="*/ 1936 w 3945"/>
                <a:gd name="T49" fmla="*/ 2375 h 2860"/>
                <a:gd name="T50" fmla="*/ 2568 w 3945"/>
                <a:gd name="T51" fmla="*/ 2687 h 2860"/>
                <a:gd name="T52" fmla="*/ 2852 w 3945"/>
                <a:gd name="T53" fmla="*/ 2826 h 2860"/>
                <a:gd name="T54" fmla="*/ 2975 w 3945"/>
                <a:gd name="T55" fmla="*/ 2668 h 2860"/>
                <a:gd name="T56" fmla="*/ 3221 w 3945"/>
                <a:gd name="T57" fmla="*/ 2668 h 2860"/>
                <a:gd name="T58" fmla="*/ 3282 w 3945"/>
                <a:gd name="T59" fmla="*/ 2602 h 2860"/>
                <a:gd name="T60" fmla="*/ 3505 w 3945"/>
                <a:gd name="T61" fmla="*/ 2675 h 2860"/>
                <a:gd name="T62" fmla="*/ 3640 w 3945"/>
                <a:gd name="T63" fmla="*/ 2786 h 2860"/>
                <a:gd name="T64" fmla="*/ 3597 w 3945"/>
                <a:gd name="T65" fmla="*/ 2427 h 2860"/>
                <a:gd name="T66" fmla="*/ 3732 w 3945"/>
                <a:gd name="T67" fmla="*/ 2256 h 2860"/>
                <a:gd name="T68" fmla="*/ 3670 w 3945"/>
                <a:gd name="T69" fmla="*/ 2171 h 2860"/>
                <a:gd name="T70" fmla="*/ 3668 w 3945"/>
                <a:gd name="T71" fmla="*/ 2098 h 2860"/>
                <a:gd name="T72" fmla="*/ 3703 w 3945"/>
                <a:gd name="T73" fmla="*/ 2169 h 2860"/>
                <a:gd name="T74" fmla="*/ 3746 w 3945"/>
                <a:gd name="T75" fmla="*/ 1982 h 2860"/>
                <a:gd name="T76" fmla="*/ 3834 w 3945"/>
                <a:gd name="T77" fmla="*/ 1840 h 2860"/>
                <a:gd name="T78" fmla="*/ 3921 w 3945"/>
                <a:gd name="T79" fmla="*/ 1734 h 2860"/>
                <a:gd name="T80" fmla="*/ 3808 w 3945"/>
                <a:gd name="T81" fmla="*/ 1951 h 2860"/>
                <a:gd name="T82" fmla="*/ 3857 w 3945"/>
                <a:gd name="T83" fmla="*/ 1916 h 2860"/>
                <a:gd name="T84" fmla="*/ 1933 w 3945"/>
                <a:gd name="T85" fmla="*/ 1679 h 2860"/>
                <a:gd name="T86" fmla="*/ 2856 w 3945"/>
                <a:gd name="T87" fmla="*/ 2786 h 2860"/>
                <a:gd name="T88" fmla="*/ 1720 w 3945"/>
                <a:gd name="T89" fmla="*/ 1180 h 2860"/>
                <a:gd name="T90" fmla="*/ 1718 w 3945"/>
                <a:gd name="T91" fmla="*/ 1194 h 2860"/>
                <a:gd name="T92" fmla="*/ 1787 w 3945"/>
                <a:gd name="T93" fmla="*/ 1147 h 2860"/>
                <a:gd name="T94" fmla="*/ 1548 w 3945"/>
                <a:gd name="T95" fmla="*/ 97 h 2860"/>
                <a:gd name="T96" fmla="*/ 1328 w 3945"/>
                <a:gd name="T97" fmla="*/ 11 h 2860"/>
                <a:gd name="T98" fmla="*/ 1164 w 3945"/>
                <a:gd name="T99" fmla="*/ 203 h 2860"/>
                <a:gd name="T100" fmla="*/ 1074 w 3945"/>
                <a:gd name="T101" fmla="*/ 385 h 2860"/>
                <a:gd name="T102" fmla="*/ 961 w 3945"/>
                <a:gd name="T103" fmla="*/ 489 h 2860"/>
                <a:gd name="T104" fmla="*/ 1013 w 3945"/>
                <a:gd name="T105" fmla="*/ 645 h 2860"/>
                <a:gd name="T106" fmla="*/ 895 w 3945"/>
                <a:gd name="T107" fmla="*/ 766 h 2860"/>
                <a:gd name="T108" fmla="*/ 966 w 3945"/>
                <a:gd name="T109" fmla="*/ 806 h 2860"/>
                <a:gd name="T110" fmla="*/ 1152 w 3945"/>
                <a:gd name="T111" fmla="*/ 759 h 2860"/>
                <a:gd name="T112" fmla="*/ 1261 w 3945"/>
                <a:gd name="T113" fmla="*/ 738 h 2860"/>
                <a:gd name="T114" fmla="*/ 1368 w 3945"/>
                <a:gd name="T115" fmla="*/ 716 h 2860"/>
                <a:gd name="T116" fmla="*/ 1460 w 3945"/>
                <a:gd name="T117" fmla="*/ 761 h 2860"/>
                <a:gd name="T118" fmla="*/ 1652 w 3945"/>
                <a:gd name="T119" fmla="*/ 960 h 2860"/>
                <a:gd name="T120" fmla="*/ 1716 w 3945"/>
                <a:gd name="T121" fmla="*/ 1031 h 2860"/>
                <a:gd name="T122" fmla="*/ 1761 w 3945"/>
                <a:gd name="T123" fmla="*/ 1218 h 2860"/>
                <a:gd name="T124" fmla="*/ 3597 w 3945"/>
                <a:gd name="T125" fmla="*/ 2845 h 2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45" h="2860">
                  <a:moveTo>
                    <a:pt x="1020" y="837"/>
                  </a:moveTo>
                  <a:lnTo>
                    <a:pt x="1020" y="837"/>
                  </a:lnTo>
                  <a:lnTo>
                    <a:pt x="1020" y="837"/>
                  </a:lnTo>
                  <a:lnTo>
                    <a:pt x="1018" y="837"/>
                  </a:lnTo>
                  <a:lnTo>
                    <a:pt x="1018" y="837"/>
                  </a:lnTo>
                  <a:lnTo>
                    <a:pt x="1018" y="837"/>
                  </a:lnTo>
                  <a:lnTo>
                    <a:pt x="1018" y="837"/>
                  </a:lnTo>
                  <a:lnTo>
                    <a:pt x="1018" y="837"/>
                  </a:lnTo>
                  <a:lnTo>
                    <a:pt x="1018" y="837"/>
                  </a:lnTo>
                  <a:lnTo>
                    <a:pt x="1018" y="839"/>
                  </a:lnTo>
                  <a:lnTo>
                    <a:pt x="1018" y="839"/>
                  </a:lnTo>
                  <a:lnTo>
                    <a:pt x="1020" y="839"/>
                  </a:lnTo>
                  <a:lnTo>
                    <a:pt x="1020" y="839"/>
                  </a:lnTo>
                  <a:lnTo>
                    <a:pt x="1020" y="839"/>
                  </a:lnTo>
                  <a:lnTo>
                    <a:pt x="1020" y="839"/>
                  </a:lnTo>
                  <a:lnTo>
                    <a:pt x="1020" y="839"/>
                  </a:lnTo>
                  <a:lnTo>
                    <a:pt x="1020" y="837"/>
                  </a:lnTo>
                  <a:lnTo>
                    <a:pt x="1020" y="837"/>
                  </a:lnTo>
                  <a:lnTo>
                    <a:pt x="1020" y="837"/>
                  </a:lnTo>
                  <a:lnTo>
                    <a:pt x="1020" y="837"/>
                  </a:lnTo>
                  <a:lnTo>
                    <a:pt x="1020" y="837"/>
                  </a:lnTo>
                  <a:lnTo>
                    <a:pt x="1020" y="837"/>
                  </a:lnTo>
                  <a:lnTo>
                    <a:pt x="1020" y="837"/>
                  </a:lnTo>
                  <a:lnTo>
                    <a:pt x="1020" y="837"/>
                  </a:lnTo>
                  <a:lnTo>
                    <a:pt x="1020" y="837"/>
                  </a:lnTo>
                  <a:close/>
                  <a:moveTo>
                    <a:pt x="1103" y="851"/>
                  </a:moveTo>
                  <a:lnTo>
                    <a:pt x="1105" y="851"/>
                  </a:lnTo>
                  <a:lnTo>
                    <a:pt x="1105" y="851"/>
                  </a:lnTo>
                  <a:lnTo>
                    <a:pt x="1105" y="851"/>
                  </a:lnTo>
                  <a:lnTo>
                    <a:pt x="1105" y="851"/>
                  </a:lnTo>
                  <a:lnTo>
                    <a:pt x="1105" y="851"/>
                  </a:lnTo>
                  <a:lnTo>
                    <a:pt x="1105" y="851"/>
                  </a:lnTo>
                  <a:lnTo>
                    <a:pt x="1105" y="851"/>
                  </a:lnTo>
                  <a:lnTo>
                    <a:pt x="1108" y="851"/>
                  </a:lnTo>
                  <a:lnTo>
                    <a:pt x="1108" y="851"/>
                  </a:lnTo>
                  <a:lnTo>
                    <a:pt x="1108" y="851"/>
                  </a:lnTo>
                  <a:lnTo>
                    <a:pt x="1108" y="849"/>
                  </a:lnTo>
                  <a:lnTo>
                    <a:pt x="1108" y="849"/>
                  </a:lnTo>
                  <a:lnTo>
                    <a:pt x="1108" y="849"/>
                  </a:lnTo>
                  <a:lnTo>
                    <a:pt x="1105" y="849"/>
                  </a:lnTo>
                  <a:lnTo>
                    <a:pt x="1105" y="846"/>
                  </a:lnTo>
                  <a:lnTo>
                    <a:pt x="1103" y="846"/>
                  </a:lnTo>
                  <a:lnTo>
                    <a:pt x="1103" y="846"/>
                  </a:lnTo>
                  <a:lnTo>
                    <a:pt x="1100" y="846"/>
                  </a:lnTo>
                  <a:lnTo>
                    <a:pt x="1100" y="846"/>
                  </a:lnTo>
                  <a:lnTo>
                    <a:pt x="1098" y="846"/>
                  </a:lnTo>
                  <a:lnTo>
                    <a:pt x="1098" y="849"/>
                  </a:lnTo>
                  <a:lnTo>
                    <a:pt x="1098" y="849"/>
                  </a:lnTo>
                  <a:lnTo>
                    <a:pt x="1098" y="849"/>
                  </a:lnTo>
                  <a:lnTo>
                    <a:pt x="1098" y="849"/>
                  </a:lnTo>
                  <a:lnTo>
                    <a:pt x="1098" y="851"/>
                  </a:lnTo>
                  <a:lnTo>
                    <a:pt x="1100" y="851"/>
                  </a:lnTo>
                  <a:lnTo>
                    <a:pt x="1100" y="851"/>
                  </a:lnTo>
                  <a:lnTo>
                    <a:pt x="1103" y="851"/>
                  </a:lnTo>
                  <a:lnTo>
                    <a:pt x="1103" y="851"/>
                  </a:lnTo>
                  <a:lnTo>
                    <a:pt x="1103" y="851"/>
                  </a:lnTo>
                  <a:close/>
                  <a:moveTo>
                    <a:pt x="1155" y="837"/>
                  </a:moveTo>
                  <a:lnTo>
                    <a:pt x="1155" y="837"/>
                  </a:lnTo>
                  <a:lnTo>
                    <a:pt x="1152" y="837"/>
                  </a:lnTo>
                  <a:lnTo>
                    <a:pt x="1152" y="837"/>
                  </a:lnTo>
                  <a:lnTo>
                    <a:pt x="1152" y="837"/>
                  </a:lnTo>
                  <a:lnTo>
                    <a:pt x="1150" y="835"/>
                  </a:lnTo>
                  <a:lnTo>
                    <a:pt x="1150" y="835"/>
                  </a:lnTo>
                  <a:lnTo>
                    <a:pt x="1150" y="835"/>
                  </a:lnTo>
                  <a:lnTo>
                    <a:pt x="1150" y="835"/>
                  </a:lnTo>
                  <a:lnTo>
                    <a:pt x="1150" y="835"/>
                  </a:lnTo>
                  <a:lnTo>
                    <a:pt x="1148" y="835"/>
                  </a:lnTo>
                  <a:lnTo>
                    <a:pt x="1148" y="835"/>
                  </a:lnTo>
                  <a:lnTo>
                    <a:pt x="1145" y="835"/>
                  </a:lnTo>
                  <a:lnTo>
                    <a:pt x="1148" y="832"/>
                  </a:lnTo>
                  <a:lnTo>
                    <a:pt x="1148" y="832"/>
                  </a:lnTo>
                  <a:lnTo>
                    <a:pt x="1145" y="832"/>
                  </a:lnTo>
                  <a:lnTo>
                    <a:pt x="1148" y="832"/>
                  </a:lnTo>
                  <a:lnTo>
                    <a:pt x="1148" y="830"/>
                  </a:lnTo>
                  <a:lnTo>
                    <a:pt x="1145" y="830"/>
                  </a:lnTo>
                  <a:lnTo>
                    <a:pt x="1145" y="830"/>
                  </a:lnTo>
                  <a:lnTo>
                    <a:pt x="1145" y="830"/>
                  </a:lnTo>
                  <a:lnTo>
                    <a:pt x="1143" y="832"/>
                  </a:lnTo>
                  <a:lnTo>
                    <a:pt x="1143" y="832"/>
                  </a:lnTo>
                  <a:lnTo>
                    <a:pt x="1143" y="832"/>
                  </a:lnTo>
                  <a:lnTo>
                    <a:pt x="1141" y="832"/>
                  </a:lnTo>
                  <a:lnTo>
                    <a:pt x="1141" y="832"/>
                  </a:lnTo>
                  <a:lnTo>
                    <a:pt x="1138" y="835"/>
                  </a:lnTo>
                  <a:lnTo>
                    <a:pt x="1141" y="835"/>
                  </a:lnTo>
                  <a:lnTo>
                    <a:pt x="1141" y="835"/>
                  </a:lnTo>
                  <a:lnTo>
                    <a:pt x="1141" y="835"/>
                  </a:lnTo>
                  <a:lnTo>
                    <a:pt x="1141" y="835"/>
                  </a:lnTo>
                  <a:lnTo>
                    <a:pt x="1141" y="835"/>
                  </a:lnTo>
                  <a:lnTo>
                    <a:pt x="1141" y="835"/>
                  </a:lnTo>
                  <a:lnTo>
                    <a:pt x="1141" y="835"/>
                  </a:lnTo>
                  <a:lnTo>
                    <a:pt x="1138" y="835"/>
                  </a:lnTo>
                  <a:lnTo>
                    <a:pt x="1138" y="835"/>
                  </a:lnTo>
                  <a:lnTo>
                    <a:pt x="1138" y="837"/>
                  </a:lnTo>
                  <a:lnTo>
                    <a:pt x="1138" y="837"/>
                  </a:lnTo>
                  <a:lnTo>
                    <a:pt x="1141" y="837"/>
                  </a:lnTo>
                  <a:lnTo>
                    <a:pt x="1141" y="837"/>
                  </a:lnTo>
                  <a:lnTo>
                    <a:pt x="1141" y="837"/>
                  </a:lnTo>
                  <a:lnTo>
                    <a:pt x="1141" y="837"/>
                  </a:lnTo>
                  <a:lnTo>
                    <a:pt x="1138" y="837"/>
                  </a:lnTo>
                  <a:lnTo>
                    <a:pt x="1138" y="837"/>
                  </a:lnTo>
                  <a:lnTo>
                    <a:pt x="1138" y="837"/>
                  </a:lnTo>
                  <a:lnTo>
                    <a:pt x="1138" y="839"/>
                  </a:lnTo>
                  <a:lnTo>
                    <a:pt x="1138" y="839"/>
                  </a:lnTo>
                  <a:lnTo>
                    <a:pt x="1138" y="839"/>
                  </a:lnTo>
                  <a:lnTo>
                    <a:pt x="1138" y="839"/>
                  </a:lnTo>
                  <a:lnTo>
                    <a:pt x="1138" y="839"/>
                  </a:lnTo>
                  <a:lnTo>
                    <a:pt x="1141" y="842"/>
                  </a:lnTo>
                  <a:lnTo>
                    <a:pt x="1141" y="842"/>
                  </a:lnTo>
                  <a:lnTo>
                    <a:pt x="1143" y="839"/>
                  </a:lnTo>
                  <a:lnTo>
                    <a:pt x="1143" y="839"/>
                  </a:lnTo>
                  <a:lnTo>
                    <a:pt x="1143" y="837"/>
                  </a:lnTo>
                  <a:lnTo>
                    <a:pt x="1143" y="837"/>
                  </a:lnTo>
                  <a:lnTo>
                    <a:pt x="1145" y="837"/>
                  </a:lnTo>
                  <a:lnTo>
                    <a:pt x="1145" y="837"/>
                  </a:lnTo>
                  <a:lnTo>
                    <a:pt x="1145" y="837"/>
                  </a:lnTo>
                  <a:lnTo>
                    <a:pt x="1148" y="839"/>
                  </a:lnTo>
                  <a:lnTo>
                    <a:pt x="1148" y="839"/>
                  </a:lnTo>
                  <a:lnTo>
                    <a:pt x="1148" y="837"/>
                  </a:lnTo>
                  <a:lnTo>
                    <a:pt x="1150" y="837"/>
                  </a:lnTo>
                  <a:lnTo>
                    <a:pt x="1150" y="837"/>
                  </a:lnTo>
                  <a:lnTo>
                    <a:pt x="1150" y="839"/>
                  </a:lnTo>
                  <a:lnTo>
                    <a:pt x="1150" y="839"/>
                  </a:lnTo>
                  <a:lnTo>
                    <a:pt x="1150" y="839"/>
                  </a:lnTo>
                  <a:lnTo>
                    <a:pt x="1152" y="839"/>
                  </a:lnTo>
                  <a:lnTo>
                    <a:pt x="1152" y="839"/>
                  </a:lnTo>
                  <a:lnTo>
                    <a:pt x="1155" y="839"/>
                  </a:lnTo>
                  <a:lnTo>
                    <a:pt x="1155" y="839"/>
                  </a:lnTo>
                  <a:lnTo>
                    <a:pt x="1155" y="837"/>
                  </a:lnTo>
                  <a:lnTo>
                    <a:pt x="1155" y="837"/>
                  </a:lnTo>
                  <a:close/>
                  <a:moveTo>
                    <a:pt x="1179" y="835"/>
                  </a:moveTo>
                  <a:lnTo>
                    <a:pt x="1176" y="835"/>
                  </a:lnTo>
                  <a:lnTo>
                    <a:pt x="1176" y="837"/>
                  </a:lnTo>
                  <a:lnTo>
                    <a:pt x="1176" y="837"/>
                  </a:lnTo>
                  <a:lnTo>
                    <a:pt x="1179" y="837"/>
                  </a:lnTo>
                  <a:lnTo>
                    <a:pt x="1179" y="837"/>
                  </a:lnTo>
                  <a:lnTo>
                    <a:pt x="1179" y="835"/>
                  </a:lnTo>
                  <a:lnTo>
                    <a:pt x="1179" y="835"/>
                  </a:lnTo>
                  <a:close/>
                  <a:moveTo>
                    <a:pt x="1181" y="813"/>
                  </a:moveTo>
                  <a:lnTo>
                    <a:pt x="1183" y="813"/>
                  </a:lnTo>
                  <a:lnTo>
                    <a:pt x="1186" y="813"/>
                  </a:lnTo>
                  <a:lnTo>
                    <a:pt x="1188" y="813"/>
                  </a:lnTo>
                  <a:lnTo>
                    <a:pt x="1188" y="811"/>
                  </a:lnTo>
                  <a:lnTo>
                    <a:pt x="1188" y="811"/>
                  </a:lnTo>
                  <a:lnTo>
                    <a:pt x="1188" y="811"/>
                  </a:lnTo>
                  <a:lnTo>
                    <a:pt x="1188" y="811"/>
                  </a:lnTo>
                  <a:lnTo>
                    <a:pt x="1186" y="811"/>
                  </a:lnTo>
                  <a:lnTo>
                    <a:pt x="1186" y="811"/>
                  </a:lnTo>
                  <a:lnTo>
                    <a:pt x="1186" y="811"/>
                  </a:lnTo>
                  <a:lnTo>
                    <a:pt x="1186" y="811"/>
                  </a:lnTo>
                  <a:lnTo>
                    <a:pt x="1186" y="809"/>
                  </a:lnTo>
                  <a:lnTo>
                    <a:pt x="1186" y="809"/>
                  </a:lnTo>
                  <a:lnTo>
                    <a:pt x="1186" y="809"/>
                  </a:lnTo>
                  <a:lnTo>
                    <a:pt x="1186" y="809"/>
                  </a:lnTo>
                  <a:lnTo>
                    <a:pt x="1186" y="806"/>
                  </a:lnTo>
                  <a:lnTo>
                    <a:pt x="1186" y="806"/>
                  </a:lnTo>
                  <a:lnTo>
                    <a:pt x="1186" y="806"/>
                  </a:lnTo>
                  <a:lnTo>
                    <a:pt x="1186" y="806"/>
                  </a:lnTo>
                  <a:lnTo>
                    <a:pt x="1183" y="804"/>
                  </a:lnTo>
                  <a:lnTo>
                    <a:pt x="1183" y="804"/>
                  </a:lnTo>
                  <a:lnTo>
                    <a:pt x="1183" y="804"/>
                  </a:lnTo>
                  <a:lnTo>
                    <a:pt x="1183" y="804"/>
                  </a:lnTo>
                  <a:lnTo>
                    <a:pt x="1183" y="804"/>
                  </a:lnTo>
                  <a:lnTo>
                    <a:pt x="1183" y="804"/>
                  </a:lnTo>
                  <a:lnTo>
                    <a:pt x="1183" y="804"/>
                  </a:lnTo>
                  <a:lnTo>
                    <a:pt x="1183" y="804"/>
                  </a:lnTo>
                  <a:lnTo>
                    <a:pt x="1183" y="804"/>
                  </a:lnTo>
                  <a:lnTo>
                    <a:pt x="1183" y="802"/>
                  </a:lnTo>
                  <a:lnTo>
                    <a:pt x="1181" y="804"/>
                  </a:lnTo>
                  <a:lnTo>
                    <a:pt x="1181" y="804"/>
                  </a:lnTo>
                  <a:lnTo>
                    <a:pt x="1181" y="804"/>
                  </a:lnTo>
                  <a:lnTo>
                    <a:pt x="1181" y="806"/>
                  </a:lnTo>
                  <a:lnTo>
                    <a:pt x="1181" y="806"/>
                  </a:lnTo>
                  <a:lnTo>
                    <a:pt x="1181" y="806"/>
                  </a:lnTo>
                  <a:lnTo>
                    <a:pt x="1181" y="804"/>
                  </a:lnTo>
                  <a:lnTo>
                    <a:pt x="1179" y="804"/>
                  </a:lnTo>
                  <a:lnTo>
                    <a:pt x="1179" y="804"/>
                  </a:lnTo>
                  <a:lnTo>
                    <a:pt x="1179" y="806"/>
                  </a:lnTo>
                  <a:lnTo>
                    <a:pt x="1176" y="806"/>
                  </a:lnTo>
                  <a:lnTo>
                    <a:pt x="1176" y="806"/>
                  </a:lnTo>
                  <a:lnTo>
                    <a:pt x="1176" y="806"/>
                  </a:lnTo>
                  <a:lnTo>
                    <a:pt x="1176" y="806"/>
                  </a:lnTo>
                  <a:lnTo>
                    <a:pt x="1176" y="804"/>
                  </a:lnTo>
                  <a:lnTo>
                    <a:pt x="1176" y="804"/>
                  </a:lnTo>
                  <a:lnTo>
                    <a:pt x="1174" y="804"/>
                  </a:lnTo>
                  <a:lnTo>
                    <a:pt x="1174" y="806"/>
                  </a:lnTo>
                  <a:lnTo>
                    <a:pt x="1171" y="806"/>
                  </a:lnTo>
                  <a:lnTo>
                    <a:pt x="1171" y="809"/>
                  </a:lnTo>
                  <a:lnTo>
                    <a:pt x="1171" y="809"/>
                  </a:lnTo>
                  <a:lnTo>
                    <a:pt x="1171" y="809"/>
                  </a:lnTo>
                  <a:lnTo>
                    <a:pt x="1171" y="809"/>
                  </a:lnTo>
                  <a:lnTo>
                    <a:pt x="1169" y="809"/>
                  </a:lnTo>
                  <a:lnTo>
                    <a:pt x="1169" y="809"/>
                  </a:lnTo>
                  <a:lnTo>
                    <a:pt x="1169" y="809"/>
                  </a:lnTo>
                  <a:lnTo>
                    <a:pt x="1169" y="809"/>
                  </a:lnTo>
                  <a:lnTo>
                    <a:pt x="1169" y="809"/>
                  </a:lnTo>
                  <a:lnTo>
                    <a:pt x="1169" y="806"/>
                  </a:lnTo>
                  <a:lnTo>
                    <a:pt x="1171" y="804"/>
                  </a:lnTo>
                  <a:lnTo>
                    <a:pt x="1171" y="804"/>
                  </a:lnTo>
                  <a:lnTo>
                    <a:pt x="1174" y="802"/>
                  </a:lnTo>
                  <a:lnTo>
                    <a:pt x="1174" y="802"/>
                  </a:lnTo>
                  <a:lnTo>
                    <a:pt x="1174" y="802"/>
                  </a:lnTo>
                  <a:lnTo>
                    <a:pt x="1174" y="802"/>
                  </a:lnTo>
                  <a:lnTo>
                    <a:pt x="1174" y="802"/>
                  </a:lnTo>
                  <a:lnTo>
                    <a:pt x="1174" y="802"/>
                  </a:lnTo>
                  <a:lnTo>
                    <a:pt x="1176" y="802"/>
                  </a:lnTo>
                  <a:lnTo>
                    <a:pt x="1176" y="802"/>
                  </a:lnTo>
                  <a:lnTo>
                    <a:pt x="1176" y="799"/>
                  </a:lnTo>
                  <a:lnTo>
                    <a:pt x="1176" y="799"/>
                  </a:lnTo>
                  <a:lnTo>
                    <a:pt x="1174" y="797"/>
                  </a:lnTo>
                  <a:lnTo>
                    <a:pt x="1171" y="797"/>
                  </a:lnTo>
                  <a:lnTo>
                    <a:pt x="1171" y="797"/>
                  </a:lnTo>
                  <a:lnTo>
                    <a:pt x="1171" y="797"/>
                  </a:lnTo>
                  <a:lnTo>
                    <a:pt x="1171" y="797"/>
                  </a:lnTo>
                  <a:lnTo>
                    <a:pt x="1169" y="794"/>
                  </a:lnTo>
                  <a:lnTo>
                    <a:pt x="1169" y="794"/>
                  </a:lnTo>
                  <a:lnTo>
                    <a:pt x="1169" y="792"/>
                  </a:lnTo>
                  <a:lnTo>
                    <a:pt x="1167" y="790"/>
                  </a:lnTo>
                  <a:lnTo>
                    <a:pt x="1167" y="790"/>
                  </a:lnTo>
                  <a:lnTo>
                    <a:pt x="1167" y="790"/>
                  </a:lnTo>
                  <a:lnTo>
                    <a:pt x="1167" y="790"/>
                  </a:lnTo>
                  <a:lnTo>
                    <a:pt x="1167" y="790"/>
                  </a:lnTo>
                  <a:lnTo>
                    <a:pt x="1167" y="790"/>
                  </a:lnTo>
                  <a:lnTo>
                    <a:pt x="1167" y="790"/>
                  </a:lnTo>
                  <a:lnTo>
                    <a:pt x="1167" y="790"/>
                  </a:lnTo>
                  <a:lnTo>
                    <a:pt x="1167" y="792"/>
                  </a:lnTo>
                  <a:lnTo>
                    <a:pt x="1167" y="792"/>
                  </a:lnTo>
                  <a:lnTo>
                    <a:pt x="1167" y="794"/>
                  </a:lnTo>
                  <a:lnTo>
                    <a:pt x="1167" y="797"/>
                  </a:lnTo>
                  <a:lnTo>
                    <a:pt x="1167" y="797"/>
                  </a:lnTo>
                  <a:lnTo>
                    <a:pt x="1167" y="799"/>
                  </a:lnTo>
                  <a:lnTo>
                    <a:pt x="1167" y="799"/>
                  </a:lnTo>
                  <a:lnTo>
                    <a:pt x="1167" y="799"/>
                  </a:lnTo>
                  <a:lnTo>
                    <a:pt x="1167" y="799"/>
                  </a:lnTo>
                  <a:lnTo>
                    <a:pt x="1169" y="802"/>
                  </a:lnTo>
                  <a:lnTo>
                    <a:pt x="1169" y="802"/>
                  </a:lnTo>
                  <a:lnTo>
                    <a:pt x="1167" y="802"/>
                  </a:lnTo>
                  <a:lnTo>
                    <a:pt x="1167" y="802"/>
                  </a:lnTo>
                  <a:lnTo>
                    <a:pt x="1167" y="799"/>
                  </a:lnTo>
                  <a:lnTo>
                    <a:pt x="1167" y="797"/>
                  </a:lnTo>
                  <a:lnTo>
                    <a:pt x="1167" y="797"/>
                  </a:lnTo>
                  <a:lnTo>
                    <a:pt x="1164" y="794"/>
                  </a:lnTo>
                  <a:lnTo>
                    <a:pt x="1164" y="797"/>
                  </a:lnTo>
                  <a:lnTo>
                    <a:pt x="1164" y="797"/>
                  </a:lnTo>
                  <a:lnTo>
                    <a:pt x="1164" y="799"/>
                  </a:lnTo>
                  <a:lnTo>
                    <a:pt x="1164" y="802"/>
                  </a:lnTo>
                  <a:lnTo>
                    <a:pt x="1162" y="804"/>
                  </a:lnTo>
                  <a:lnTo>
                    <a:pt x="1162" y="804"/>
                  </a:lnTo>
                  <a:lnTo>
                    <a:pt x="1162" y="806"/>
                  </a:lnTo>
                  <a:lnTo>
                    <a:pt x="1162" y="806"/>
                  </a:lnTo>
                  <a:lnTo>
                    <a:pt x="1162" y="806"/>
                  </a:lnTo>
                  <a:lnTo>
                    <a:pt x="1162" y="806"/>
                  </a:lnTo>
                  <a:lnTo>
                    <a:pt x="1162" y="804"/>
                  </a:lnTo>
                  <a:lnTo>
                    <a:pt x="1162" y="804"/>
                  </a:lnTo>
                  <a:lnTo>
                    <a:pt x="1162" y="802"/>
                  </a:lnTo>
                  <a:lnTo>
                    <a:pt x="1162" y="802"/>
                  </a:lnTo>
                  <a:lnTo>
                    <a:pt x="1162" y="802"/>
                  </a:lnTo>
                  <a:lnTo>
                    <a:pt x="1160" y="799"/>
                  </a:lnTo>
                  <a:lnTo>
                    <a:pt x="1160" y="799"/>
                  </a:lnTo>
                  <a:lnTo>
                    <a:pt x="1157" y="797"/>
                  </a:lnTo>
                  <a:lnTo>
                    <a:pt x="1157" y="794"/>
                  </a:lnTo>
                  <a:lnTo>
                    <a:pt x="1157" y="794"/>
                  </a:lnTo>
                  <a:lnTo>
                    <a:pt x="1157" y="797"/>
                  </a:lnTo>
                  <a:lnTo>
                    <a:pt x="1157" y="797"/>
                  </a:lnTo>
                  <a:lnTo>
                    <a:pt x="1157" y="799"/>
                  </a:lnTo>
                  <a:lnTo>
                    <a:pt x="1157" y="799"/>
                  </a:lnTo>
                  <a:lnTo>
                    <a:pt x="1157" y="799"/>
                  </a:lnTo>
                  <a:lnTo>
                    <a:pt x="1157" y="799"/>
                  </a:lnTo>
                  <a:lnTo>
                    <a:pt x="1157" y="799"/>
                  </a:lnTo>
                  <a:lnTo>
                    <a:pt x="1157" y="799"/>
                  </a:lnTo>
                  <a:lnTo>
                    <a:pt x="1157" y="802"/>
                  </a:lnTo>
                  <a:lnTo>
                    <a:pt x="1157" y="802"/>
                  </a:lnTo>
                  <a:lnTo>
                    <a:pt x="1157" y="802"/>
                  </a:lnTo>
                  <a:lnTo>
                    <a:pt x="1157" y="804"/>
                  </a:lnTo>
                  <a:lnTo>
                    <a:pt x="1157" y="804"/>
                  </a:lnTo>
                  <a:lnTo>
                    <a:pt x="1157" y="804"/>
                  </a:lnTo>
                  <a:lnTo>
                    <a:pt x="1155" y="804"/>
                  </a:lnTo>
                  <a:lnTo>
                    <a:pt x="1155" y="802"/>
                  </a:lnTo>
                  <a:lnTo>
                    <a:pt x="1157" y="802"/>
                  </a:lnTo>
                  <a:lnTo>
                    <a:pt x="1157" y="799"/>
                  </a:lnTo>
                  <a:lnTo>
                    <a:pt x="1155" y="799"/>
                  </a:lnTo>
                  <a:lnTo>
                    <a:pt x="1155" y="799"/>
                  </a:lnTo>
                  <a:lnTo>
                    <a:pt x="1155" y="799"/>
                  </a:lnTo>
                  <a:lnTo>
                    <a:pt x="1152" y="799"/>
                  </a:lnTo>
                  <a:lnTo>
                    <a:pt x="1155" y="802"/>
                  </a:lnTo>
                  <a:lnTo>
                    <a:pt x="1155" y="802"/>
                  </a:lnTo>
                  <a:lnTo>
                    <a:pt x="1155" y="804"/>
                  </a:lnTo>
                  <a:lnTo>
                    <a:pt x="1152" y="804"/>
                  </a:lnTo>
                  <a:lnTo>
                    <a:pt x="1152" y="802"/>
                  </a:lnTo>
                  <a:lnTo>
                    <a:pt x="1152" y="802"/>
                  </a:lnTo>
                  <a:lnTo>
                    <a:pt x="1152" y="802"/>
                  </a:lnTo>
                  <a:lnTo>
                    <a:pt x="1150" y="804"/>
                  </a:lnTo>
                  <a:lnTo>
                    <a:pt x="1150" y="806"/>
                  </a:lnTo>
                  <a:lnTo>
                    <a:pt x="1150" y="804"/>
                  </a:lnTo>
                  <a:lnTo>
                    <a:pt x="1150" y="802"/>
                  </a:lnTo>
                  <a:lnTo>
                    <a:pt x="1152" y="799"/>
                  </a:lnTo>
                  <a:lnTo>
                    <a:pt x="1152" y="797"/>
                  </a:lnTo>
                  <a:lnTo>
                    <a:pt x="1152" y="797"/>
                  </a:lnTo>
                  <a:lnTo>
                    <a:pt x="1155" y="794"/>
                  </a:lnTo>
                  <a:lnTo>
                    <a:pt x="1155" y="794"/>
                  </a:lnTo>
                  <a:lnTo>
                    <a:pt x="1152" y="792"/>
                  </a:lnTo>
                  <a:lnTo>
                    <a:pt x="1152" y="792"/>
                  </a:lnTo>
                  <a:lnTo>
                    <a:pt x="1152" y="792"/>
                  </a:lnTo>
                  <a:lnTo>
                    <a:pt x="1152" y="790"/>
                  </a:lnTo>
                  <a:lnTo>
                    <a:pt x="1152" y="790"/>
                  </a:lnTo>
                  <a:lnTo>
                    <a:pt x="1152" y="790"/>
                  </a:lnTo>
                  <a:lnTo>
                    <a:pt x="1152" y="790"/>
                  </a:lnTo>
                  <a:lnTo>
                    <a:pt x="1152" y="790"/>
                  </a:lnTo>
                  <a:lnTo>
                    <a:pt x="1152" y="790"/>
                  </a:lnTo>
                  <a:lnTo>
                    <a:pt x="1152" y="790"/>
                  </a:lnTo>
                  <a:lnTo>
                    <a:pt x="1152" y="790"/>
                  </a:lnTo>
                  <a:lnTo>
                    <a:pt x="1150" y="787"/>
                  </a:lnTo>
                  <a:lnTo>
                    <a:pt x="1150" y="790"/>
                  </a:lnTo>
                  <a:lnTo>
                    <a:pt x="1148" y="790"/>
                  </a:lnTo>
                  <a:lnTo>
                    <a:pt x="1148" y="790"/>
                  </a:lnTo>
                  <a:lnTo>
                    <a:pt x="1148" y="787"/>
                  </a:lnTo>
                  <a:lnTo>
                    <a:pt x="1148" y="787"/>
                  </a:lnTo>
                  <a:lnTo>
                    <a:pt x="1148" y="787"/>
                  </a:lnTo>
                  <a:lnTo>
                    <a:pt x="1145" y="790"/>
                  </a:lnTo>
                  <a:lnTo>
                    <a:pt x="1143" y="790"/>
                  </a:lnTo>
                  <a:lnTo>
                    <a:pt x="1143" y="792"/>
                  </a:lnTo>
                  <a:lnTo>
                    <a:pt x="1141" y="794"/>
                  </a:lnTo>
                  <a:lnTo>
                    <a:pt x="1141" y="797"/>
                  </a:lnTo>
                  <a:lnTo>
                    <a:pt x="1143" y="797"/>
                  </a:lnTo>
                  <a:lnTo>
                    <a:pt x="1145" y="799"/>
                  </a:lnTo>
                  <a:lnTo>
                    <a:pt x="1145" y="799"/>
                  </a:lnTo>
                  <a:lnTo>
                    <a:pt x="1148" y="804"/>
                  </a:lnTo>
                  <a:lnTo>
                    <a:pt x="1148" y="804"/>
                  </a:lnTo>
                  <a:lnTo>
                    <a:pt x="1148" y="804"/>
                  </a:lnTo>
                  <a:lnTo>
                    <a:pt x="1148" y="804"/>
                  </a:lnTo>
                  <a:lnTo>
                    <a:pt x="1148" y="806"/>
                  </a:lnTo>
                  <a:lnTo>
                    <a:pt x="1148" y="806"/>
                  </a:lnTo>
                  <a:lnTo>
                    <a:pt x="1145" y="806"/>
                  </a:lnTo>
                  <a:lnTo>
                    <a:pt x="1145" y="806"/>
                  </a:lnTo>
                  <a:lnTo>
                    <a:pt x="1145" y="804"/>
                  </a:lnTo>
                  <a:lnTo>
                    <a:pt x="1145" y="802"/>
                  </a:lnTo>
                  <a:lnTo>
                    <a:pt x="1143" y="799"/>
                  </a:lnTo>
                  <a:lnTo>
                    <a:pt x="1141" y="799"/>
                  </a:lnTo>
                  <a:lnTo>
                    <a:pt x="1141" y="799"/>
                  </a:lnTo>
                  <a:lnTo>
                    <a:pt x="1141" y="802"/>
                  </a:lnTo>
                  <a:lnTo>
                    <a:pt x="1141" y="806"/>
                  </a:lnTo>
                  <a:lnTo>
                    <a:pt x="1143" y="806"/>
                  </a:lnTo>
                  <a:lnTo>
                    <a:pt x="1143" y="806"/>
                  </a:lnTo>
                  <a:lnTo>
                    <a:pt x="1143" y="806"/>
                  </a:lnTo>
                  <a:lnTo>
                    <a:pt x="1143" y="806"/>
                  </a:lnTo>
                  <a:lnTo>
                    <a:pt x="1143" y="806"/>
                  </a:lnTo>
                  <a:lnTo>
                    <a:pt x="1141" y="806"/>
                  </a:lnTo>
                  <a:lnTo>
                    <a:pt x="1141" y="806"/>
                  </a:lnTo>
                  <a:lnTo>
                    <a:pt x="1141" y="804"/>
                  </a:lnTo>
                  <a:lnTo>
                    <a:pt x="1141" y="804"/>
                  </a:lnTo>
                  <a:lnTo>
                    <a:pt x="1141" y="804"/>
                  </a:lnTo>
                  <a:lnTo>
                    <a:pt x="1138" y="804"/>
                  </a:lnTo>
                  <a:lnTo>
                    <a:pt x="1138" y="804"/>
                  </a:lnTo>
                  <a:lnTo>
                    <a:pt x="1138" y="804"/>
                  </a:lnTo>
                  <a:lnTo>
                    <a:pt x="1138" y="806"/>
                  </a:lnTo>
                  <a:lnTo>
                    <a:pt x="1138" y="806"/>
                  </a:lnTo>
                  <a:lnTo>
                    <a:pt x="1138" y="809"/>
                  </a:lnTo>
                  <a:lnTo>
                    <a:pt x="1136" y="813"/>
                  </a:lnTo>
                  <a:lnTo>
                    <a:pt x="1136" y="813"/>
                  </a:lnTo>
                  <a:lnTo>
                    <a:pt x="1136" y="813"/>
                  </a:lnTo>
                  <a:lnTo>
                    <a:pt x="1136" y="813"/>
                  </a:lnTo>
                  <a:lnTo>
                    <a:pt x="1136" y="816"/>
                  </a:lnTo>
                  <a:lnTo>
                    <a:pt x="1136" y="816"/>
                  </a:lnTo>
                  <a:lnTo>
                    <a:pt x="1136" y="818"/>
                  </a:lnTo>
                  <a:lnTo>
                    <a:pt x="1136" y="818"/>
                  </a:lnTo>
                  <a:lnTo>
                    <a:pt x="1136" y="820"/>
                  </a:lnTo>
                  <a:lnTo>
                    <a:pt x="1138" y="820"/>
                  </a:lnTo>
                  <a:lnTo>
                    <a:pt x="1138" y="823"/>
                  </a:lnTo>
                  <a:lnTo>
                    <a:pt x="1136" y="818"/>
                  </a:lnTo>
                  <a:lnTo>
                    <a:pt x="1134" y="818"/>
                  </a:lnTo>
                  <a:lnTo>
                    <a:pt x="1136" y="813"/>
                  </a:lnTo>
                  <a:lnTo>
                    <a:pt x="1134" y="813"/>
                  </a:lnTo>
                  <a:lnTo>
                    <a:pt x="1134" y="811"/>
                  </a:lnTo>
                  <a:lnTo>
                    <a:pt x="1134" y="811"/>
                  </a:lnTo>
                  <a:lnTo>
                    <a:pt x="1134" y="809"/>
                  </a:lnTo>
                  <a:lnTo>
                    <a:pt x="1136" y="806"/>
                  </a:lnTo>
                  <a:lnTo>
                    <a:pt x="1136" y="804"/>
                  </a:lnTo>
                  <a:lnTo>
                    <a:pt x="1136" y="804"/>
                  </a:lnTo>
                  <a:lnTo>
                    <a:pt x="1134" y="802"/>
                  </a:lnTo>
                  <a:lnTo>
                    <a:pt x="1131" y="802"/>
                  </a:lnTo>
                  <a:lnTo>
                    <a:pt x="1136" y="802"/>
                  </a:lnTo>
                  <a:lnTo>
                    <a:pt x="1136" y="802"/>
                  </a:lnTo>
                  <a:lnTo>
                    <a:pt x="1136" y="799"/>
                  </a:lnTo>
                  <a:lnTo>
                    <a:pt x="1136" y="797"/>
                  </a:lnTo>
                  <a:lnTo>
                    <a:pt x="1136" y="797"/>
                  </a:lnTo>
                  <a:lnTo>
                    <a:pt x="1134" y="794"/>
                  </a:lnTo>
                  <a:lnTo>
                    <a:pt x="1134" y="794"/>
                  </a:lnTo>
                  <a:lnTo>
                    <a:pt x="1134" y="794"/>
                  </a:lnTo>
                  <a:lnTo>
                    <a:pt x="1131" y="792"/>
                  </a:lnTo>
                  <a:lnTo>
                    <a:pt x="1131" y="792"/>
                  </a:lnTo>
                  <a:lnTo>
                    <a:pt x="1131" y="792"/>
                  </a:lnTo>
                  <a:lnTo>
                    <a:pt x="1131" y="792"/>
                  </a:lnTo>
                  <a:lnTo>
                    <a:pt x="1129" y="794"/>
                  </a:lnTo>
                  <a:lnTo>
                    <a:pt x="1129" y="794"/>
                  </a:lnTo>
                  <a:lnTo>
                    <a:pt x="1129" y="792"/>
                  </a:lnTo>
                  <a:lnTo>
                    <a:pt x="1126" y="792"/>
                  </a:lnTo>
                  <a:lnTo>
                    <a:pt x="1126" y="792"/>
                  </a:lnTo>
                  <a:lnTo>
                    <a:pt x="1126" y="792"/>
                  </a:lnTo>
                  <a:lnTo>
                    <a:pt x="1126" y="794"/>
                  </a:lnTo>
                  <a:lnTo>
                    <a:pt x="1126" y="794"/>
                  </a:lnTo>
                  <a:lnTo>
                    <a:pt x="1124" y="794"/>
                  </a:lnTo>
                  <a:lnTo>
                    <a:pt x="1124" y="794"/>
                  </a:lnTo>
                  <a:lnTo>
                    <a:pt x="1124" y="797"/>
                  </a:lnTo>
                  <a:lnTo>
                    <a:pt x="1124" y="794"/>
                  </a:lnTo>
                  <a:lnTo>
                    <a:pt x="1122" y="794"/>
                  </a:lnTo>
                  <a:lnTo>
                    <a:pt x="1122" y="794"/>
                  </a:lnTo>
                  <a:lnTo>
                    <a:pt x="1119" y="797"/>
                  </a:lnTo>
                  <a:lnTo>
                    <a:pt x="1119" y="797"/>
                  </a:lnTo>
                  <a:lnTo>
                    <a:pt x="1119" y="794"/>
                  </a:lnTo>
                  <a:lnTo>
                    <a:pt x="1119" y="794"/>
                  </a:lnTo>
                  <a:lnTo>
                    <a:pt x="1119" y="794"/>
                  </a:lnTo>
                  <a:lnTo>
                    <a:pt x="1119" y="794"/>
                  </a:lnTo>
                  <a:lnTo>
                    <a:pt x="1117" y="794"/>
                  </a:lnTo>
                  <a:lnTo>
                    <a:pt x="1117" y="794"/>
                  </a:lnTo>
                  <a:lnTo>
                    <a:pt x="1115" y="797"/>
                  </a:lnTo>
                  <a:lnTo>
                    <a:pt x="1115" y="797"/>
                  </a:lnTo>
                  <a:lnTo>
                    <a:pt x="1115" y="797"/>
                  </a:lnTo>
                  <a:lnTo>
                    <a:pt x="1115" y="797"/>
                  </a:lnTo>
                  <a:lnTo>
                    <a:pt x="1112" y="797"/>
                  </a:lnTo>
                  <a:lnTo>
                    <a:pt x="1112" y="799"/>
                  </a:lnTo>
                  <a:lnTo>
                    <a:pt x="1112" y="799"/>
                  </a:lnTo>
                  <a:lnTo>
                    <a:pt x="1112" y="799"/>
                  </a:lnTo>
                  <a:lnTo>
                    <a:pt x="1110" y="802"/>
                  </a:lnTo>
                  <a:lnTo>
                    <a:pt x="1110" y="802"/>
                  </a:lnTo>
                  <a:lnTo>
                    <a:pt x="1110" y="802"/>
                  </a:lnTo>
                  <a:lnTo>
                    <a:pt x="1110" y="802"/>
                  </a:lnTo>
                  <a:lnTo>
                    <a:pt x="1110" y="802"/>
                  </a:lnTo>
                  <a:lnTo>
                    <a:pt x="1110" y="802"/>
                  </a:lnTo>
                  <a:lnTo>
                    <a:pt x="1110" y="804"/>
                  </a:lnTo>
                  <a:lnTo>
                    <a:pt x="1110" y="802"/>
                  </a:lnTo>
                  <a:lnTo>
                    <a:pt x="1108" y="802"/>
                  </a:lnTo>
                  <a:lnTo>
                    <a:pt x="1108" y="802"/>
                  </a:lnTo>
                  <a:lnTo>
                    <a:pt x="1108" y="802"/>
                  </a:lnTo>
                  <a:lnTo>
                    <a:pt x="1108" y="802"/>
                  </a:lnTo>
                  <a:lnTo>
                    <a:pt x="1108" y="802"/>
                  </a:lnTo>
                  <a:lnTo>
                    <a:pt x="1108" y="804"/>
                  </a:lnTo>
                  <a:lnTo>
                    <a:pt x="1108" y="804"/>
                  </a:lnTo>
                  <a:lnTo>
                    <a:pt x="1108" y="804"/>
                  </a:lnTo>
                  <a:lnTo>
                    <a:pt x="1105" y="804"/>
                  </a:lnTo>
                  <a:lnTo>
                    <a:pt x="1105" y="804"/>
                  </a:lnTo>
                  <a:lnTo>
                    <a:pt x="1105" y="804"/>
                  </a:lnTo>
                  <a:lnTo>
                    <a:pt x="1108" y="806"/>
                  </a:lnTo>
                  <a:lnTo>
                    <a:pt x="1108" y="806"/>
                  </a:lnTo>
                  <a:lnTo>
                    <a:pt x="1110" y="806"/>
                  </a:lnTo>
                  <a:lnTo>
                    <a:pt x="1110" y="806"/>
                  </a:lnTo>
                  <a:lnTo>
                    <a:pt x="1108" y="806"/>
                  </a:lnTo>
                  <a:lnTo>
                    <a:pt x="1108" y="806"/>
                  </a:lnTo>
                  <a:lnTo>
                    <a:pt x="1110" y="806"/>
                  </a:lnTo>
                  <a:lnTo>
                    <a:pt x="1110" y="809"/>
                  </a:lnTo>
                  <a:lnTo>
                    <a:pt x="1110" y="809"/>
                  </a:lnTo>
                  <a:lnTo>
                    <a:pt x="1110" y="809"/>
                  </a:lnTo>
                  <a:lnTo>
                    <a:pt x="1110" y="809"/>
                  </a:lnTo>
                  <a:lnTo>
                    <a:pt x="1110" y="811"/>
                  </a:lnTo>
                  <a:lnTo>
                    <a:pt x="1110" y="813"/>
                  </a:lnTo>
                  <a:lnTo>
                    <a:pt x="1110" y="813"/>
                  </a:lnTo>
                  <a:lnTo>
                    <a:pt x="1110" y="816"/>
                  </a:lnTo>
                  <a:lnTo>
                    <a:pt x="1108" y="816"/>
                  </a:lnTo>
                  <a:lnTo>
                    <a:pt x="1108" y="818"/>
                  </a:lnTo>
                  <a:lnTo>
                    <a:pt x="1108" y="820"/>
                  </a:lnTo>
                  <a:lnTo>
                    <a:pt x="1105" y="820"/>
                  </a:lnTo>
                  <a:lnTo>
                    <a:pt x="1105" y="823"/>
                  </a:lnTo>
                  <a:lnTo>
                    <a:pt x="1105" y="823"/>
                  </a:lnTo>
                  <a:lnTo>
                    <a:pt x="1105" y="823"/>
                  </a:lnTo>
                  <a:lnTo>
                    <a:pt x="1105" y="823"/>
                  </a:lnTo>
                  <a:lnTo>
                    <a:pt x="1105" y="823"/>
                  </a:lnTo>
                  <a:lnTo>
                    <a:pt x="1108" y="823"/>
                  </a:lnTo>
                  <a:lnTo>
                    <a:pt x="1108" y="825"/>
                  </a:lnTo>
                  <a:lnTo>
                    <a:pt x="1108" y="825"/>
                  </a:lnTo>
                  <a:lnTo>
                    <a:pt x="1108" y="825"/>
                  </a:lnTo>
                  <a:lnTo>
                    <a:pt x="1110" y="830"/>
                  </a:lnTo>
                  <a:lnTo>
                    <a:pt x="1110" y="830"/>
                  </a:lnTo>
                  <a:lnTo>
                    <a:pt x="1110" y="830"/>
                  </a:lnTo>
                  <a:lnTo>
                    <a:pt x="1108" y="832"/>
                  </a:lnTo>
                  <a:lnTo>
                    <a:pt x="1108" y="832"/>
                  </a:lnTo>
                  <a:lnTo>
                    <a:pt x="1108" y="832"/>
                  </a:lnTo>
                  <a:lnTo>
                    <a:pt x="1108" y="832"/>
                  </a:lnTo>
                  <a:lnTo>
                    <a:pt x="1110" y="832"/>
                  </a:lnTo>
                  <a:lnTo>
                    <a:pt x="1110" y="832"/>
                  </a:lnTo>
                  <a:lnTo>
                    <a:pt x="1110" y="832"/>
                  </a:lnTo>
                  <a:lnTo>
                    <a:pt x="1110" y="832"/>
                  </a:lnTo>
                  <a:lnTo>
                    <a:pt x="1108" y="832"/>
                  </a:lnTo>
                  <a:lnTo>
                    <a:pt x="1108" y="832"/>
                  </a:lnTo>
                  <a:lnTo>
                    <a:pt x="1108" y="832"/>
                  </a:lnTo>
                  <a:lnTo>
                    <a:pt x="1110" y="830"/>
                  </a:lnTo>
                  <a:lnTo>
                    <a:pt x="1110" y="830"/>
                  </a:lnTo>
                  <a:lnTo>
                    <a:pt x="1110" y="830"/>
                  </a:lnTo>
                  <a:lnTo>
                    <a:pt x="1110" y="832"/>
                  </a:lnTo>
                  <a:lnTo>
                    <a:pt x="1110" y="832"/>
                  </a:lnTo>
                  <a:lnTo>
                    <a:pt x="1110" y="830"/>
                  </a:lnTo>
                  <a:lnTo>
                    <a:pt x="1110" y="832"/>
                  </a:lnTo>
                  <a:lnTo>
                    <a:pt x="1110" y="832"/>
                  </a:lnTo>
                  <a:lnTo>
                    <a:pt x="1110" y="832"/>
                  </a:lnTo>
                  <a:lnTo>
                    <a:pt x="1110" y="832"/>
                  </a:lnTo>
                  <a:lnTo>
                    <a:pt x="1112" y="832"/>
                  </a:lnTo>
                  <a:lnTo>
                    <a:pt x="1112" y="830"/>
                  </a:lnTo>
                  <a:lnTo>
                    <a:pt x="1112" y="830"/>
                  </a:lnTo>
                  <a:lnTo>
                    <a:pt x="1112" y="830"/>
                  </a:lnTo>
                  <a:lnTo>
                    <a:pt x="1112" y="830"/>
                  </a:lnTo>
                  <a:lnTo>
                    <a:pt x="1115" y="830"/>
                  </a:lnTo>
                  <a:lnTo>
                    <a:pt x="1115" y="830"/>
                  </a:lnTo>
                  <a:lnTo>
                    <a:pt x="1115" y="830"/>
                  </a:lnTo>
                  <a:lnTo>
                    <a:pt x="1115" y="828"/>
                  </a:lnTo>
                  <a:lnTo>
                    <a:pt x="1115" y="828"/>
                  </a:lnTo>
                  <a:lnTo>
                    <a:pt x="1117" y="828"/>
                  </a:lnTo>
                  <a:lnTo>
                    <a:pt x="1117" y="825"/>
                  </a:lnTo>
                  <a:lnTo>
                    <a:pt x="1119" y="825"/>
                  </a:lnTo>
                  <a:lnTo>
                    <a:pt x="1119" y="823"/>
                  </a:lnTo>
                  <a:lnTo>
                    <a:pt x="1119" y="823"/>
                  </a:lnTo>
                  <a:lnTo>
                    <a:pt x="1119" y="823"/>
                  </a:lnTo>
                  <a:lnTo>
                    <a:pt x="1115" y="820"/>
                  </a:lnTo>
                  <a:lnTo>
                    <a:pt x="1115" y="820"/>
                  </a:lnTo>
                  <a:lnTo>
                    <a:pt x="1115" y="820"/>
                  </a:lnTo>
                  <a:lnTo>
                    <a:pt x="1112" y="823"/>
                  </a:lnTo>
                  <a:lnTo>
                    <a:pt x="1112" y="823"/>
                  </a:lnTo>
                  <a:lnTo>
                    <a:pt x="1110" y="823"/>
                  </a:lnTo>
                  <a:lnTo>
                    <a:pt x="1110" y="823"/>
                  </a:lnTo>
                  <a:lnTo>
                    <a:pt x="1110" y="820"/>
                  </a:lnTo>
                  <a:lnTo>
                    <a:pt x="1110" y="820"/>
                  </a:lnTo>
                  <a:lnTo>
                    <a:pt x="1110" y="818"/>
                  </a:lnTo>
                  <a:lnTo>
                    <a:pt x="1110" y="818"/>
                  </a:lnTo>
                  <a:lnTo>
                    <a:pt x="1110" y="818"/>
                  </a:lnTo>
                  <a:lnTo>
                    <a:pt x="1112" y="818"/>
                  </a:lnTo>
                  <a:lnTo>
                    <a:pt x="1112" y="818"/>
                  </a:lnTo>
                  <a:lnTo>
                    <a:pt x="1115" y="818"/>
                  </a:lnTo>
                  <a:lnTo>
                    <a:pt x="1115" y="818"/>
                  </a:lnTo>
                  <a:lnTo>
                    <a:pt x="1115" y="818"/>
                  </a:lnTo>
                  <a:lnTo>
                    <a:pt x="1117" y="818"/>
                  </a:lnTo>
                  <a:lnTo>
                    <a:pt x="1119" y="820"/>
                  </a:lnTo>
                  <a:lnTo>
                    <a:pt x="1119" y="820"/>
                  </a:lnTo>
                  <a:lnTo>
                    <a:pt x="1122" y="820"/>
                  </a:lnTo>
                  <a:lnTo>
                    <a:pt x="1122" y="823"/>
                  </a:lnTo>
                  <a:lnTo>
                    <a:pt x="1122" y="823"/>
                  </a:lnTo>
                  <a:lnTo>
                    <a:pt x="1124" y="825"/>
                  </a:lnTo>
                  <a:lnTo>
                    <a:pt x="1119" y="825"/>
                  </a:lnTo>
                  <a:lnTo>
                    <a:pt x="1117" y="828"/>
                  </a:lnTo>
                  <a:lnTo>
                    <a:pt x="1117" y="828"/>
                  </a:lnTo>
                  <a:lnTo>
                    <a:pt x="1117" y="828"/>
                  </a:lnTo>
                  <a:lnTo>
                    <a:pt x="1117" y="828"/>
                  </a:lnTo>
                  <a:lnTo>
                    <a:pt x="1117" y="828"/>
                  </a:lnTo>
                  <a:lnTo>
                    <a:pt x="1117" y="828"/>
                  </a:lnTo>
                  <a:lnTo>
                    <a:pt x="1117" y="830"/>
                  </a:lnTo>
                  <a:lnTo>
                    <a:pt x="1117" y="830"/>
                  </a:lnTo>
                  <a:lnTo>
                    <a:pt x="1117" y="830"/>
                  </a:lnTo>
                  <a:lnTo>
                    <a:pt x="1119" y="830"/>
                  </a:lnTo>
                  <a:lnTo>
                    <a:pt x="1122" y="828"/>
                  </a:lnTo>
                  <a:lnTo>
                    <a:pt x="1122" y="828"/>
                  </a:lnTo>
                  <a:lnTo>
                    <a:pt x="1126" y="825"/>
                  </a:lnTo>
                  <a:lnTo>
                    <a:pt x="1129" y="825"/>
                  </a:lnTo>
                  <a:lnTo>
                    <a:pt x="1129" y="825"/>
                  </a:lnTo>
                  <a:lnTo>
                    <a:pt x="1129" y="825"/>
                  </a:lnTo>
                  <a:lnTo>
                    <a:pt x="1129" y="825"/>
                  </a:lnTo>
                  <a:lnTo>
                    <a:pt x="1129" y="825"/>
                  </a:lnTo>
                  <a:lnTo>
                    <a:pt x="1131" y="828"/>
                  </a:lnTo>
                  <a:lnTo>
                    <a:pt x="1131" y="828"/>
                  </a:lnTo>
                  <a:lnTo>
                    <a:pt x="1129" y="828"/>
                  </a:lnTo>
                  <a:lnTo>
                    <a:pt x="1129" y="828"/>
                  </a:lnTo>
                  <a:lnTo>
                    <a:pt x="1129" y="828"/>
                  </a:lnTo>
                  <a:lnTo>
                    <a:pt x="1129" y="828"/>
                  </a:lnTo>
                  <a:lnTo>
                    <a:pt x="1129" y="828"/>
                  </a:lnTo>
                  <a:lnTo>
                    <a:pt x="1126" y="828"/>
                  </a:lnTo>
                  <a:lnTo>
                    <a:pt x="1126" y="828"/>
                  </a:lnTo>
                  <a:lnTo>
                    <a:pt x="1124" y="828"/>
                  </a:lnTo>
                  <a:lnTo>
                    <a:pt x="1124" y="828"/>
                  </a:lnTo>
                  <a:lnTo>
                    <a:pt x="1124" y="828"/>
                  </a:lnTo>
                  <a:lnTo>
                    <a:pt x="1122" y="830"/>
                  </a:lnTo>
                  <a:lnTo>
                    <a:pt x="1122" y="830"/>
                  </a:lnTo>
                  <a:lnTo>
                    <a:pt x="1122" y="830"/>
                  </a:lnTo>
                  <a:lnTo>
                    <a:pt x="1119" y="832"/>
                  </a:lnTo>
                  <a:lnTo>
                    <a:pt x="1119" y="832"/>
                  </a:lnTo>
                  <a:lnTo>
                    <a:pt x="1122" y="832"/>
                  </a:lnTo>
                  <a:lnTo>
                    <a:pt x="1122" y="835"/>
                  </a:lnTo>
                  <a:lnTo>
                    <a:pt x="1122" y="832"/>
                  </a:lnTo>
                  <a:lnTo>
                    <a:pt x="1124" y="832"/>
                  </a:lnTo>
                  <a:lnTo>
                    <a:pt x="1124" y="832"/>
                  </a:lnTo>
                  <a:lnTo>
                    <a:pt x="1124" y="832"/>
                  </a:lnTo>
                  <a:lnTo>
                    <a:pt x="1124" y="832"/>
                  </a:lnTo>
                  <a:lnTo>
                    <a:pt x="1124" y="832"/>
                  </a:lnTo>
                  <a:lnTo>
                    <a:pt x="1124" y="835"/>
                  </a:lnTo>
                  <a:lnTo>
                    <a:pt x="1124" y="835"/>
                  </a:lnTo>
                  <a:lnTo>
                    <a:pt x="1124" y="835"/>
                  </a:lnTo>
                  <a:lnTo>
                    <a:pt x="1126" y="832"/>
                  </a:lnTo>
                  <a:lnTo>
                    <a:pt x="1126" y="835"/>
                  </a:lnTo>
                  <a:lnTo>
                    <a:pt x="1124" y="835"/>
                  </a:lnTo>
                  <a:lnTo>
                    <a:pt x="1122" y="835"/>
                  </a:lnTo>
                  <a:lnTo>
                    <a:pt x="1119" y="835"/>
                  </a:lnTo>
                  <a:lnTo>
                    <a:pt x="1119" y="835"/>
                  </a:lnTo>
                  <a:lnTo>
                    <a:pt x="1119" y="835"/>
                  </a:lnTo>
                  <a:lnTo>
                    <a:pt x="1117" y="837"/>
                  </a:lnTo>
                  <a:lnTo>
                    <a:pt x="1117" y="837"/>
                  </a:lnTo>
                  <a:lnTo>
                    <a:pt x="1115" y="837"/>
                  </a:lnTo>
                  <a:lnTo>
                    <a:pt x="1110" y="839"/>
                  </a:lnTo>
                  <a:lnTo>
                    <a:pt x="1110" y="839"/>
                  </a:lnTo>
                  <a:lnTo>
                    <a:pt x="1110" y="839"/>
                  </a:lnTo>
                  <a:lnTo>
                    <a:pt x="1110" y="839"/>
                  </a:lnTo>
                  <a:lnTo>
                    <a:pt x="1110" y="842"/>
                  </a:lnTo>
                  <a:lnTo>
                    <a:pt x="1110" y="842"/>
                  </a:lnTo>
                  <a:lnTo>
                    <a:pt x="1110" y="842"/>
                  </a:lnTo>
                  <a:lnTo>
                    <a:pt x="1110" y="842"/>
                  </a:lnTo>
                  <a:lnTo>
                    <a:pt x="1112" y="842"/>
                  </a:lnTo>
                  <a:lnTo>
                    <a:pt x="1112" y="842"/>
                  </a:lnTo>
                  <a:lnTo>
                    <a:pt x="1112" y="842"/>
                  </a:lnTo>
                  <a:lnTo>
                    <a:pt x="1112" y="842"/>
                  </a:lnTo>
                  <a:lnTo>
                    <a:pt x="1112" y="844"/>
                  </a:lnTo>
                  <a:lnTo>
                    <a:pt x="1115" y="844"/>
                  </a:lnTo>
                  <a:lnTo>
                    <a:pt x="1115" y="844"/>
                  </a:lnTo>
                  <a:lnTo>
                    <a:pt x="1117" y="842"/>
                  </a:lnTo>
                  <a:lnTo>
                    <a:pt x="1119" y="842"/>
                  </a:lnTo>
                  <a:lnTo>
                    <a:pt x="1119" y="842"/>
                  </a:lnTo>
                  <a:lnTo>
                    <a:pt x="1119" y="842"/>
                  </a:lnTo>
                  <a:lnTo>
                    <a:pt x="1119" y="839"/>
                  </a:lnTo>
                  <a:lnTo>
                    <a:pt x="1122" y="839"/>
                  </a:lnTo>
                  <a:lnTo>
                    <a:pt x="1122" y="842"/>
                  </a:lnTo>
                  <a:lnTo>
                    <a:pt x="1122" y="842"/>
                  </a:lnTo>
                  <a:lnTo>
                    <a:pt x="1122" y="842"/>
                  </a:lnTo>
                  <a:lnTo>
                    <a:pt x="1122" y="842"/>
                  </a:lnTo>
                  <a:lnTo>
                    <a:pt x="1122" y="842"/>
                  </a:lnTo>
                  <a:lnTo>
                    <a:pt x="1122" y="842"/>
                  </a:lnTo>
                  <a:lnTo>
                    <a:pt x="1124" y="842"/>
                  </a:lnTo>
                  <a:lnTo>
                    <a:pt x="1124" y="842"/>
                  </a:lnTo>
                  <a:lnTo>
                    <a:pt x="1124" y="842"/>
                  </a:lnTo>
                  <a:lnTo>
                    <a:pt x="1124" y="842"/>
                  </a:lnTo>
                  <a:lnTo>
                    <a:pt x="1124" y="839"/>
                  </a:lnTo>
                  <a:lnTo>
                    <a:pt x="1124" y="839"/>
                  </a:lnTo>
                  <a:lnTo>
                    <a:pt x="1122" y="839"/>
                  </a:lnTo>
                  <a:lnTo>
                    <a:pt x="1124" y="839"/>
                  </a:lnTo>
                  <a:lnTo>
                    <a:pt x="1124" y="839"/>
                  </a:lnTo>
                  <a:lnTo>
                    <a:pt x="1126" y="839"/>
                  </a:lnTo>
                  <a:lnTo>
                    <a:pt x="1129" y="837"/>
                  </a:lnTo>
                  <a:lnTo>
                    <a:pt x="1129" y="837"/>
                  </a:lnTo>
                  <a:lnTo>
                    <a:pt x="1126" y="837"/>
                  </a:lnTo>
                  <a:lnTo>
                    <a:pt x="1126" y="839"/>
                  </a:lnTo>
                  <a:lnTo>
                    <a:pt x="1129" y="839"/>
                  </a:lnTo>
                  <a:lnTo>
                    <a:pt x="1129" y="839"/>
                  </a:lnTo>
                  <a:lnTo>
                    <a:pt x="1129" y="839"/>
                  </a:lnTo>
                  <a:lnTo>
                    <a:pt x="1129" y="839"/>
                  </a:lnTo>
                  <a:lnTo>
                    <a:pt x="1129" y="839"/>
                  </a:lnTo>
                  <a:lnTo>
                    <a:pt x="1129" y="837"/>
                  </a:lnTo>
                  <a:lnTo>
                    <a:pt x="1129" y="837"/>
                  </a:lnTo>
                  <a:lnTo>
                    <a:pt x="1129" y="837"/>
                  </a:lnTo>
                  <a:lnTo>
                    <a:pt x="1131" y="837"/>
                  </a:lnTo>
                  <a:lnTo>
                    <a:pt x="1131" y="837"/>
                  </a:lnTo>
                  <a:lnTo>
                    <a:pt x="1131" y="837"/>
                  </a:lnTo>
                  <a:lnTo>
                    <a:pt x="1131" y="837"/>
                  </a:lnTo>
                  <a:lnTo>
                    <a:pt x="1131" y="837"/>
                  </a:lnTo>
                  <a:lnTo>
                    <a:pt x="1129" y="835"/>
                  </a:lnTo>
                  <a:lnTo>
                    <a:pt x="1129" y="835"/>
                  </a:lnTo>
                  <a:lnTo>
                    <a:pt x="1131" y="835"/>
                  </a:lnTo>
                  <a:lnTo>
                    <a:pt x="1131" y="835"/>
                  </a:lnTo>
                  <a:lnTo>
                    <a:pt x="1131" y="835"/>
                  </a:lnTo>
                  <a:lnTo>
                    <a:pt x="1131" y="835"/>
                  </a:lnTo>
                  <a:lnTo>
                    <a:pt x="1131" y="835"/>
                  </a:lnTo>
                  <a:lnTo>
                    <a:pt x="1134" y="835"/>
                  </a:lnTo>
                  <a:lnTo>
                    <a:pt x="1131" y="832"/>
                  </a:lnTo>
                  <a:lnTo>
                    <a:pt x="1126" y="832"/>
                  </a:lnTo>
                  <a:lnTo>
                    <a:pt x="1129" y="832"/>
                  </a:lnTo>
                  <a:lnTo>
                    <a:pt x="1129" y="830"/>
                  </a:lnTo>
                  <a:lnTo>
                    <a:pt x="1134" y="832"/>
                  </a:lnTo>
                  <a:lnTo>
                    <a:pt x="1136" y="835"/>
                  </a:lnTo>
                  <a:lnTo>
                    <a:pt x="1136" y="835"/>
                  </a:lnTo>
                  <a:lnTo>
                    <a:pt x="1136" y="832"/>
                  </a:lnTo>
                  <a:lnTo>
                    <a:pt x="1136" y="832"/>
                  </a:lnTo>
                  <a:lnTo>
                    <a:pt x="1136" y="832"/>
                  </a:lnTo>
                  <a:lnTo>
                    <a:pt x="1136" y="830"/>
                  </a:lnTo>
                  <a:lnTo>
                    <a:pt x="1136" y="830"/>
                  </a:lnTo>
                  <a:lnTo>
                    <a:pt x="1138" y="830"/>
                  </a:lnTo>
                  <a:lnTo>
                    <a:pt x="1138" y="830"/>
                  </a:lnTo>
                  <a:lnTo>
                    <a:pt x="1136" y="828"/>
                  </a:lnTo>
                  <a:lnTo>
                    <a:pt x="1136" y="828"/>
                  </a:lnTo>
                  <a:lnTo>
                    <a:pt x="1138" y="828"/>
                  </a:lnTo>
                  <a:lnTo>
                    <a:pt x="1138" y="828"/>
                  </a:lnTo>
                  <a:lnTo>
                    <a:pt x="1138" y="828"/>
                  </a:lnTo>
                  <a:lnTo>
                    <a:pt x="1138" y="830"/>
                  </a:lnTo>
                  <a:lnTo>
                    <a:pt x="1138" y="830"/>
                  </a:lnTo>
                  <a:lnTo>
                    <a:pt x="1138" y="830"/>
                  </a:lnTo>
                  <a:lnTo>
                    <a:pt x="1138" y="832"/>
                  </a:lnTo>
                  <a:lnTo>
                    <a:pt x="1138" y="832"/>
                  </a:lnTo>
                  <a:lnTo>
                    <a:pt x="1138" y="832"/>
                  </a:lnTo>
                  <a:lnTo>
                    <a:pt x="1138" y="832"/>
                  </a:lnTo>
                  <a:lnTo>
                    <a:pt x="1141" y="832"/>
                  </a:lnTo>
                  <a:lnTo>
                    <a:pt x="1141" y="830"/>
                  </a:lnTo>
                  <a:lnTo>
                    <a:pt x="1143" y="830"/>
                  </a:lnTo>
                  <a:lnTo>
                    <a:pt x="1143" y="830"/>
                  </a:lnTo>
                  <a:lnTo>
                    <a:pt x="1143" y="828"/>
                  </a:lnTo>
                  <a:lnTo>
                    <a:pt x="1143" y="830"/>
                  </a:lnTo>
                  <a:lnTo>
                    <a:pt x="1143" y="830"/>
                  </a:lnTo>
                  <a:lnTo>
                    <a:pt x="1143" y="830"/>
                  </a:lnTo>
                  <a:lnTo>
                    <a:pt x="1143" y="830"/>
                  </a:lnTo>
                  <a:lnTo>
                    <a:pt x="1145" y="830"/>
                  </a:lnTo>
                  <a:lnTo>
                    <a:pt x="1145" y="830"/>
                  </a:lnTo>
                  <a:lnTo>
                    <a:pt x="1145" y="830"/>
                  </a:lnTo>
                  <a:lnTo>
                    <a:pt x="1145" y="830"/>
                  </a:lnTo>
                  <a:lnTo>
                    <a:pt x="1148" y="830"/>
                  </a:lnTo>
                  <a:lnTo>
                    <a:pt x="1148" y="830"/>
                  </a:lnTo>
                  <a:lnTo>
                    <a:pt x="1148" y="830"/>
                  </a:lnTo>
                  <a:lnTo>
                    <a:pt x="1148" y="830"/>
                  </a:lnTo>
                  <a:lnTo>
                    <a:pt x="1148" y="830"/>
                  </a:lnTo>
                  <a:lnTo>
                    <a:pt x="1148" y="830"/>
                  </a:lnTo>
                  <a:lnTo>
                    <a:pt x="1150" y="832"/>
                  </a:lnTo>
                  <a:lnTo>
                    <a:pt x="1152" y="832"/>
                  </a:lnTo>
                  <a:lnTo>
                    <a:pt x="1155" y="832"/>
                  </a:lnTo>
                  <a:lnTo>
                    <a:pt x="1155" y="832"/>
                  </a:lnTo>
                  <a:lnTo>
                    <a:pt x="1155" y="830"/>
                  </a:lnTo>
                  <a:lnTo>
                    <a:pt x="1155" y="830"/>
                  </a:lnTo>
                  <a:lnTo>
                    <a:pt x="1152" y="830"/>
                  </a:lnTo>
                  <a:lnTo>
                    <a:pt x="1152" y="828"/>
                  </a:lnTo>
                  <a:lnTo>
                    <a:pt x="1150" y="828"/>
                  </a:lnTo>
                  <a:lnTo>
                    <a:pt x="1150" y="825"/>
                  </a:lnTo>
                  <a:lnTo>
                    <a:pt x="1150" y="825"/>
                  </a:lnTo>
                  <a:lnTo>
                    <a:pt x="1150" y="825"/>
                  </a:lnTo>
                  <a:lnTo>
                    <a:pt x="1152" y="825"/>
                  </a:lnTo>
                  <a:lnTo>
                    <a:pt x="1152" y="825"/>
                  </a:lnTo>
                  <a:lnTo>
                    <a:pt x="1152" y="825"/>
                  </a:lnTo>
                  <a:lnTo>
                    <a:pt x="1152" y="825"/>
                  </a:lnTo>
                  <a:lnTo>
                    <a:pt x="1152" y="825"/>
                  </a:lnTo>
                  <a:lnTo>
                    <a:pt x="1152" y="828"/>
                  </a:lnTo>
                  <a:lnTo>
                    <a:pt x="1152" y="828"/>
                  </a:lnTo>
                  <a:lnTo>
                    <a:pt x="1152" y="828"/>
                  </a:lnTo>
                  <a:lnTo>
                    <a:pt x="1155" y="828"/>
                  </a:lnTo>
                  <a:lnTo>
                    <a:pt x="1155" y="828"/>
                  </a:lnTo>
                  <a:lnTo>
                    <a:pt x="1157" y="828"/>
                  </a:lnTo>
                  <a:lnTo>
                    <a:pt x="1157" y="828"/>
                  </a:lnTo>
                  <a:lnTo>
                    <a:pt x="1160" y="830"/>
                  </a:lnTo>
                  <a:lnTo>
                    <a:pt x="1160" y="828"/>
                  </a:lnTo>
                  <a:lnTo>
                    <a:pt x="1160" y="828"/>
                  </a:lnTo>
                  <a:lnTo>
                    <a:pt x="1160" y="830"/>
                  </a:lnTo>
                  <a:lnTo>
                    <a:pt x="1160" y="830"/>
                  </a:lnTo>
                  <a:lnTo>
                    <a:pt x="1160" y="830"/>
                  </a:lnTo>
                  <a:lnTo>
                    <a:pt x="1160" y="830"/>
                  </a:lnTo>
                  <a:lnTo>
                    <a:pt x="1160" y="832"/>
                  </a:lnTo>
                  <a:lnTo>
                    <a:pt x="1160" y="832"/>
                  </a:lnTo>
                  <a:lnTo>
                    <a:pt x="1160" y="832"/>
                  </a:lnTo>
                  <a:lnTo>
                    <a:pt x="1160" y="832"/>
                  </a:lnTo>
                  <a:lnTo>
                    <a:pt x="1160" y="832"/>
                  </a:lnTo>
                  <a:lnTo>
                    <a:pt x="1160" y="832"/>
                  </a:lnTo>
                  <a:lnTo>
                    <a:pt x="1162" y="832"/>
                  </a:lnTo>
                  <a:lnTo>
                    <a:pt x="1164" y="835"/>
                  </a:lnTo>
                  <a:lnTo>
                    <a:pt x="1162" y="835"/>
                  </a:lnTo>
                  <a:lnTo>
                    <a:pt x="1164" y="835"/>
                  </a:lnTo>
                  <a:lnTo>
                    <a:pt x="1164" y="835"/>
                  </a:lnTo>
                  <a:lnTo>
                    <a:pt x="1167" y="835"/>
                  </a:lnTo>
                  <a:lnTo>
                    <a:pt x="1167" y="832"/>
                  </a:lnTo>
                  <a:lnTo>
                    <a:pt x="1167" y="832"/>
                  </a:lnTo>
                  <a:lnTo>
                    <a:pt x="1167" y="832"/>
                  </a:lnTo>
                  <a:lnTo>
                    <a:pt x="1169" y="832"/>
                  </a:lnTo>
                  <a:lnTo>
                    <a:pt x="1169" y="830"/>
                  </a:lnTo>
                  <a:lnTo>
                    <a:pt x="1169" y="830"/>
                  </a:lnTo>
                  <a:lnTo>
                    <a:pt x="1169" y="830"/>
                  </a:lnTo>
                  <a:lnTo>
                    <a:pt x="1169" y="830"/>
                  </a:lnTo>
                  <a:lnTo>
                    <a:pt x="1169" y="830"/>
                  </a:lnTo>
                  <a:lnTo>
                    <a:pt x="1167" y="828"/>
                  </a:lnTo>
                  <a:lnTo>
                    <a:pt x="1164" y="823"/>
                  </a:lnTo>
                  <a:lnTo>
                    <a:pt x="1164" y="823"/>
                  </a:lnTo>
                  <a:lnTo>
                    <a:pt x="1160" y="823"/>
                  </a:lnTo>
                  <a:lnTo>
                    <a:pt x="1160" y="823"/>
                  </a:lnTo>
                  <a:lnTo>
                    <a:pt x="1157" y="823"/>
                  </a:lnTo>
                  <a:lnTo>
                    <a:pt x="1157" y="823"/>
                  </a:lnTo>
                  <a:lnTo>
                    <a:pt x="1157" y="823"/>
                  </a:lnTo>
                  <a:lnTo>
                    <a:pt x="1157" y="820"/>
                  </a:lnTo>
                  <a:lnTo>
                    <a:pt x="1160" y="820"/>
                  </a:lnTo>
                  <a:lnTo>
                    <a:pt x="1160" y="820"/>
                  </a:lnTo>
                  <a:lnTo>
                    <a:pt x="1160" y="820"/>
                  </a:lnTo>
                  <a:lnTo>
                    <a:pt x="1160" y="820"/>
                  </a:lnTo>
                  <a:lnTo>
                    <a:pt x="1160" y="820"/>
                  </a:lnTo>
                  <a:lnTo>
                    <a:pt x="1162" y="820"/>
                  </a:lnTo>
                  <a:lnTo>
                    <a:pt x="1162" y="820"/>
                  </a:lnTo>
                  <a:lnTo>
                    <a:pt x="1162" y="820"/>
                  </a:lnTo>
                  <a:lnTo>
                    <a:pt x="1162" y="820"/>
                  </a:lnTo>
                  <a:lnTo>
                    <a:pt x="1162" y="818"/>
                  </a:lnTo>
                  <a:lnTo>
                    <a:pt x="1162" y="818"/>
                  </a:lnTo>
                  <a:lnTo>
                    <a:pt x="1162" y="818"/>
                  </a:lnTo>
                  <a:lnTo>
                    <a:pt x="1164" y="820"/>
                  </a:lnTo>
                  <a:lnTo>
                    <a:pt x="1164" y="820"/>
                  </a:lnTo>
                  <a:lnTo>
                    <a:pt x="1164" y="820"/>
                  </a:lnTo>
                  <a:lnTo>
                    <a:pt x="1164" y="820"/>
                  </a:lnTo>
                  <a:lnTo>
                    <a:pt x="1167" y="820"/>
                  </a:lnTo>
                  <a:lnTo>
                    <a:pt x="1167" y="823"/>
                  </a:lnTo>
                  <a:lnTo>
                    <a:pt x="1167" y="823"/>
                  </a:lnTo>
                  <a:lnTo>
                    <a:pt x="1167" y="823"/>
                  </a:lnTo>
                  <a:lnTo>
                    <a:pt x="1169" y="823"/>
                  </a:lnTo>
                  <a:lnTo>
                    <a:pt x="1169" y="823"/>
                  </a:lnTo>
                  <a:lnTo>
                    <a:pt x="1169" y="823"/>
                  </a:lnTo>
                  <a:lnTo>
                    <a:pt x="1169" y="823"/>
                  </a:lnTo>
                  <a:lnTo>
                    <a:pt x="1169" y="823"/>
                  </a:lnTo>
                  <a:lnTo>
                    <a:pt x="1169" y="825"/>
                  </a:lnTo>
                  <a:lnTo>
                    <a:pt x="1169" y="825"/>
                  </a:lnTo>
                  <a:lnTo>
                    <a:pt x="1169" y="825"/>
                  </a:lnTo>
                  <a:lnTo>
                    <a:pt x="1169" y="825"/>
                  </a:lnTo>
                  <a:lnTo>
                    <a:pt x="1169" y="825"/>
                  </a:lnTo>
                  <a:lnTo>
                    <a:pt x="1169" y="825"/>
                  </a:lnTo>
                  <a:lnTo>
                    <a:pt x="1171" y="825"/>
                  </a:lnTo>
                  <a:lnTo>
                    <a:pt x="1171" y="825"/>
                  </a:lnTo>
                  <a:lnTo>
                    <a:pt x="1171" y="825"/>
                  </a:lnTo>
                  <a:lnTo>
                    <a:pt x="1171" y="828"/>
                  </a:lnTo>
                  <a:lnTo>
                    <a:pt x="1171" y="828"/>
                  </a:lnTo>
                  <a:lnTo>
                    <a:pt x="1171" y="828"/>
                  </a:lnTo>
                  <a:lnTo>
                    <a:pt x="1171" y="828"/>
                  </a:lnTo>
                  <a:lnTo>
                    <a:pt x="1171" y="828"/>
                  </a:lnTo>
                  <a:lnTo>
                    <a:pt x="1171" y="828"/>
                  </a:lnTo>
                  <a:lnTo>
                    <a:pt x="1171" y="828"/>
                  </a:lnTo>
                  <a:lnTo>
                    <a:pt x="1171" y="828"/>
                  </a:lnTo>
                  <a:lnTo>
                    <a:pt x="1171" y="828"/>
                  </a:lnTo>
                  <a:lnTo>
                    <a:pt x="1171" y="828"/>
                  </a:lnTo>
                  <a:lnTo>
                    <a:pt x="1171" y="828"/>
                  </a:lnTo>
                  <a:lnTo>
                    <a:pt x="1171" y="830"/>
                  </a:lnTo>
                  <a:lnTo>
                    <a:pt x="1171" y="830"/>
                  </a:lnTo>
                  <a:lnTo>
                    <a:pt x="1171" y="830"/>
                  </a:lnTo>
                  <a:lnTo>
                    <a:pt x="1171" y="830"/>
                  </a:lnTo>
                  <a:lnTo>
                    <a:pt x="1174" y="830"/>
                  </a:lnTo>
                  <a:lnTo>
                    <a:pt x="1174" y="828"/>
                  </a:lnTo>
                  <a:lnTo>
                    <a:pt x="1174" y="828"/>
                  </a:lnTo>
                  <a:lnTo>
                    <a:pt x="1174" y="828"/>
                  </a:lnTo>
                  <a:lnTo>
                    <a:pt x="1174" y="828"/>
                  </a:lnTo>
                  <a:lnTo>
                    <a:pt x="1174" y="830"/>
                  </a:lnTo>
                  <a:lnTo>
                    <a:pt x="1174" y="830"/>
                  </a:lnTo>
                  <a:lnTo>
                    <a:pt x="1174" y="830"/>
                  </a:lnTo>
                  <a:lnTo>
                    <a:pt x="1174" y="830"/>
                  </a:lnTo>
                  <a:lnTo>
                    <a:pt x="1174" y="830"/>
                  </a:lnTo>
                  <a:lnTo>
                    <a:pt x="1174" y="830"/>
                  </a:lnTo>
                  <a:lnTo>
                    <a:pt x="1174" y="830"/>
                  </a:lnTo>
                  <a:lnTo>
                    <a:pt x="1174" y="830"/>
                  </a:lnTo>
                  <a:lnTo>
                    <a:pt x="1174" y="830"/>
                  </a:lnTo>
                  <a:lnTo>
                    <a:pt x="1174" y="830"/>
                  </a:lnTo>
                  <a:lnTo>
                    <a:pt x="1174" y="830"/>
                  </a:lnTo>
                  <a:lnTo>
                    <a:pt x="1174" y="830"/>
                  </a:lnTo>
                  <a:lnTo>
                    <a:pt x="1174" y="830"/>
                  </a:lnTo>
                  <a:lnTo>
                    <a:pt x="1176" y="832"/>
                  </a:lnTo>
                  <a:lnTo>
                    <a:pt x="1176" y="832"/>
                  </a:lnTo>
                  <a:lnTo>
                    <a:pt x="1179" y="832"/>
                  </a:lnTo>
                  <a:lnTo>
                    <a:pt x="1179" y="830"/>
                  </a:lnTo>
                  <a:lnTo>
                    <a:pt x="1179" y="830"/>
                  </a:lnTo>
                  <a:lnTo>
                    <a:pt x="1181" y="830"/>
                  </a:lnTo>
                  <a:lnTo>
                    <a:pt x="1181" y="828"/>
                  </a:lnTo>
                  <a:lnTo>
                    <a:pt x="1181" y="828"/>
                  </a:lnTo>
                  <a:lnTo>
                    <a:pt x="1183" y="828"/>
                  </a:lnTo>
                  <a:lnTo>
                    <a:pt x="1186" y="825"/>
                  </a:lnTo>
                  <a:lnTo>
                    <a:pt x="1186" y="825"/>
                  </a:lnTo>
                  <a:lnTo>
                    <a:pt x="1188" y="825"/>
                  </a:lnTo>
                  <a:lnTo>
                    <a:pt x="1188" y="825"/>
                  </a:lnTo>
                  <a:lnTo>
                    <a:pt x="1183" y="823"/>
                  </a:lnTo>
                  <a:lnTo>
                    <a:pt x="1179" y="823"/>
                  </a:lnTo>
                  <a:lnTo>
                    <a:pt x="1179" y="820"/>
                  </a:lnTo>
                  <a:lnTo>
                    <a:pt x="1179" y="820"/>
                  </a:lnTo>
                  <a:lnTo>
                    <a:pt x="1181" y="820"/>
                  </a:lnTo>
                  <a:lnTo>
                    <a:pt x="1181" y="818"/>
                  </a:lnTo>
                  <a:lnTo>
                    <a:pt x="1183" y="818"/>
                  </a:lnTo>
                  <a:lnTo>
                    <a:pt x="1181" y="818"/>
                  </a:lnTo>
                  <a:lnTo>
                    <a:pt x="1179" y="818"/>
                  </a:lnTo>
                  <a:lnTo>
                    <a:pt x="1179" y="818"/>
                  </a:lnTo>
                  <a:lnTo>
                    <a:pt x="1179" y="818"/>
                  </a:lnTo>
                  <a:lnTo>
                    <a:pt x="1179" y="818"/>
                  </a:lnTo>
                  <a:lnTo>
                    <a:pt x="1181" y="818"/>
                  </a:lnTo>
                  <a:lnTo>
                    <a:pt x="1181" y="818"/>
                  </a:lnTo>
                  <a:lnTo>
                    <a:pt x="1181" y="816"/>
                  </a:lnTo>
                  <a:lnTo>
                    <a:pt x="1181" y="816"/>
                  </a:lnTo>
                  <a:lnTo>
                    <a:pt x="1181" y="816"/>
                  </a:lnTo>
                  <a:lnTo>
                    <a:pt x="1181" y="816"/>
                  </a:lnTo>
                  <a:lnTo>
                    <a:pt x="1179" y="816"/>
                  </a:lnTo>
                  <a:lnTo>
                    <a:pt x="1179" y="816"/>
                  </a:lnTo>
                  <a:lnTo>
                    <a:pt x="1179" y="816"/>
                  </a:lnTo>
                  <a:lnTo>
                    <a:pt x="1179" y="816"/>
                  </a:lnTo>
                  <a:lnTo>
                    <a:pt x="1181" y="813"/>
                  </a:lnTo>
                  <a:close/>
                  <a:moveTo>
                    <a:pt x="1108" y="851"/>
                  </a:moveTo>
                  <a:lnTo>
                    <a:pt x="1105" y="854"/>
                  </a:lnTo>
                  <a:lnTo>
                    <a:pt x="1105" y="851"/>
                  </a:lnTo>
                  <a:lnTo>
                    <a:pt x="1105" y="851"/>
                  </a:lnTo>
                  <a:lnTo>
                    <a:pt x="1103" y="854"/>
                  </a:lnTo>
                  <a:lnTo>
                    <a:pt x="1103" y="854"/>
                  </a:lnTo>
                  <a:lnTo>
                    <a:pt x="1103" y="854"/>
                  </a:lnTo>
                  <a:lnTo>
                    <a:pt x="1103" y="854"/>
                  </a:lnTo>
                  <a:lnTo>
                    <a:pt x="1105" y="854"/>
                  </a:lnTo>
                  <a:lnTo>
                    <a:pt x="1105" y="854"/>
                  </a:lnTo>
                  <a:lnTo>
                    <a:pt x="1108" y="854"/>
                  </a:lnTo>
                  <a:lnTo>
                    <a:pt x="1108" y="856"/>
                  </a:lnTo>
                  <a:lnTo>
                    <a:pt x="1108" y="856"/>
                  </a:lnTo>
                  <a:lnTo>
                    <a:pt x="1110" y="856"/>
                  </a:lnTo>
                  <a:lnTo>
                    <a:pt x="1110" y="856"/>
                  </a:lnTo>
                  <a:lnTo>
                    <a:pt x="1112" y="854"/>
                  </a:lnTo>
                  <a:lnTo>
                    <a:pt x="1112" y="854"/>
                  </a:lnTo>
                  <a:lnTo>
                    <a:pt x="1108" y="851"/>
                  </a:lnTo>
                  <a:lnTo>
                    <a:pt x="1108" y="851"/>
                  </a:lnTo>
                  <a:close/>
                  <a:moveTo>
                    <a:pt x="1022" y="828"/>
                  </a:moveTo>
                  <a:lnTo>
                    <a:pt x="1022" y="828"/>
                  </a:lnTo>
                  <a:lnTo>
                    <a:pt x="1022" y="828"/>
                  </a:lnTo>
                  <a:lnTo>
                    <a:pt x="1020" y="828"/>
                  </a:lnTo>
                  <a:lnTo>
                    <a:pt x="1020" y="828"/>
                  </a:lnTo>
                  <a:lnTo>
                    <a:pt x="1020" y="828"/>
                  </a:lnTo>
                  <a:lnTo>
                    <a:pt x="1020" y="830"/>
                  </a:lnTo>
                  <a:lnTo>
                    <a:pt x="1020" y="830"/>
                  </a:lnTo>
                  <a:lnTo>
                    <a:pt x="1020" y="830"/>
                  </a:lnTo>
                  <a:lnTo>
                    <a:pt x="1020" y="830"/>
                  </a:lnTo>
                  <a:lnTo>
                    <a:pt x="1020" y="830"/>
                  </a:lnTo>
                  <a:lnTo>
                    <a:pt x="1022" y="830"/>
                  </a:lnTo>
                  <a:lnTo>
                    <a:pt x="1022" y="828"/>
                  </a:lnTo>
                  <a:lnTo>
                    <a:pt x="1022" y="828"/>
                  </a:lnTo>
                  <a:lnTo>
                    <a:pt x="1022" y="828"/>
                  </a:lnTo>
                  <a:lnTo>
                    <a:pt x="1022" y="828"/>
                  </a:lnTo>
                  <a:lnTo>
                    <a:pt x="1022" y="828"/>
                  </a:lnTo>
                  <a:lnTo>
                    <a:pt x="1022" y="828"/>
                  </a:lnTo>
                  <a:lnTo>
                    <a:pt x="1022" y="828"/>
                  </a:lnTo>
                  <a:close/>
                  <a:moveTo>
                    <a:pt x="1025" y="806"/>
                  </a:moveTo>
                  <a:lnTo>
                    <a:pt x="1025" y="804"/>
                  </a:lnTo>
                  <a:lnTo>
                    <a:pt x="1025" y="804"/>
                  </a:lnTo>
                  <a:lnTo>
                    <a:pt x="1020" y="804"/>
                  </a:lnTo>
                  <a:lnTo>
                    <a:pt x="1020" y="802"/>
                  </a:lnTo>
                  <a:lnTo>
                    <a:pt x="1020" y="802"/>
                  </a:lnTo>
                  <a:lnTo>
                    <a:pt x="1018" y="802"/>
                  </a:lnTo>
                  <a:lnTo>
                    <a:pt x="1018" y="802"/>
                  </a:lnTo>
                  <a:lnTo>
                    <a:pt x="1018" y="802"/>
                  </a:lnTo>
                  <a:lnTo>
                    <a:pt x="1018" y="802"/>
                  </a:lnTo>
                  <a:lnTo>
                    <a:pt x="1015" y="804"/>
                  </a:lnTo>
                  <a:lnTo>
                    <a:pt x="1015" y="804"/>
                  </a:lnTo>
                  <a:lnTo>
                    <a:pt x="1015" y="804"/>
                  </a:lnTo>
                  <a:lnTo>
                    <a:pt x="1020" y="806"/>
                  </a:lnTo>
                  <a:lnTo>
                    <a:pt x="1020" y="806"/>
                  </a:lnTo>
                  <a:lnTo>
                    <a:pt x="1020" y="806"/>
                  </a:lnTo>
                  <a:lnTo>
                    <a:pt x="1020" y="806"/>
                  </a:lnTo>
                  <a:lnTo>
                    <a:pt x="1020" y="806"/>
                  </a:lnTo>
                  <a:lnTo>
                    <a:pt x="1020" y="806"/>
                  </a:lnTo>
                  <a:lnTo>
                    <a:pt x="1022" y="806"/>
                  </a:lnTo>
                  <a:lnTo>
                    <a:pt x="1022" y="806"/>
                  </a:lnTo>
                  <a:lnTo>
                    <a:pt x="1025" y="806"/>
                  </a:lnTo>
                  <a:lnTo>
                    <a:pt x="1025" y="806"/>
                  </a:lnTo>
                  <a:lnTo>
                    <a:pt x="1025" y="809"/>
                  </a:lnTo>
                  <a:lnTo>
                    <a:pt x="1025" y="809"/>
                  </a:lnTo>
                  <a:lnTo>
                    <a:pt x="1025" y="809"/>
                  </a:lnTo>
                  <a:lnTo>
                    <a:pt x="1025" y="806"/>
                  </a:lnTo>
                  <a:lnTo>
                    <a:pt x="1025" y="806"/>
                  </a:lnTo>
                  <a:lnTo>
                    <a:pt x="1025" y="806"/>
                  </a:lnTo>
                  <a:close/>
                  <a:moveTo>
                    <a:pt x="1098" y="844"/>
                  </a:moveTo>
                  <a:lnTo>
                    <a:pt x="1096" y="844"/>
                  </a:lnTo>
                  <a:lnTo>
                    <a:pt x="1096" y="842"/>
                  </a:lnTo>
                  <a:lnTo>
                    <a:pt x="1093" y="842"/>
                  </a:lnTo>
                  <a:lnTo>
                    <a:pt x="1089" y="844"/>
                  </a:lnTo>
                  <a:lnTo>
                    <a:pt x="1086" y="844"/>
                  </a:lnTo>
                  <a:lnTo>
                    <a:pt x="1084" y="846"/>
                  </a:lnTo>
                  <a:lnTo>
                    <a:pt x="1084" y="846"/>
                  </a:lnTo>
                  <a:lnTo>
                    <a:pt x="1081" y="849"/>
                  </a:lnTo>
                  <a:lnTo>
                    <a:pt x="1084" y="849"/>
                  </a:lnTo>
                  <a:lnTo>
                    <a:pt x="1084" y="849"/>
                  </a:lnTo>
                  <a:lnTo>
                    <a:pt x="1086" y="849"/>
                  </a:lnTo>
                  <a:lnTo>
                    <a:pt x="1086" y="849"/>
                  </a:lnTo>
                  <a:lnTo>
                    <a:pt x="1089" y="846"/>
                  </a:lnTo>
                  <a:lnTo>
                    <a:pt x="1091" y="846"/>
                  </a:lnTo>
                  <a:lnTo>
                    <a:pt x="1091" y="846"/>
                  </a:lnTo>
                  <a:lnTo>
                    <a:pt x="1093" y="846"/>
                  </a:lnTo>
                  <a:lnTo>
                    <a:pt x="1093" y="846"/>
                  </a:lnTo>
                  <a:lnTo>
                    <a:pt x="1093" y="846"/>
                  </a:lnTo>
                  <a:lnTo>
                    <a:pt x="1093" y="844"/>
                  </a:lnTo>
                  <a:lnTo>
                    <a:pt x="1096" y="844"/>
                  </a:lnTo>
                  <a:lnTo>
                    <a:pt x="1096" y="844"/>
                  </a:lnTo>
                  <a:lnTo>
                    <a:pt x="1096" y="844"/>
                  </a:lnTo>
                  <a:lnTo>
                    <a:pt x="1096" y="846"/>
                  </a:lnTo>
                  <a:lnTo>
                    <a:pt x="1096" y="846"/>
                  </a:lnTo>
                  <a:lnTo>
                    <a:pt x="1096" y="846"/>
                  </a:lnTo>
                  <a:lnTo>
                    <a:pt x="1096" y="846"/>
                  </a:lnTo>
                  <a:lnTo>
                    <a:pt x="1096" y="846"/>
                  </a:lnTo>
                  <a:lnTo>
                    <a:pt x="1096" y="846"/>
                  </a:lnTo>
                  <a:lnTo>
                    <a:pt x="1096" y="846"/>
                  </a:lnTo>
                  <a:lnTo>
                    <a:pt x="1096" y="846"/>
                  </a:lnTo>
                  <a:lnTo>
                    <a:pt x="1096" y="846"/>
                  </a:lnTo>
                  <a:lnTo>
                    <a:pt x="1096" y="846"/>
                  </a:lnTo>
                  <a:lnTo>
                    <a:pt x="1096" y="846"/>
                  </a:lnTo>
                  <a:lnTo>
                    <a:pt x="1098" y="846"/>
                  </a:lnTo>
                  <a:lnTo>
                    <a:pt x="1098" y="846"/>
                  </a:lnTo>
                  <a:lnTo>
                    <a:pt x="1098" y="846"/>
                  </a:lnTo>
                  <a:lnTo>
                    <a:pt x="1098" y="844"/>
                  </a:lnTo>
                  <a:lnTo>
                    <a:pt x="1098" y="844"/>
                  </a:lnTo>
                  <a:lnTo>
                    <a:pt x="1098" y="844"/>
                  </a:lnTo>
                  <a:close/>
                  <a:moveTo>
                    <a:pt x="1046" y="861"/>
                  </a:moveTo>
                  <a:lnTo>
                    <a:pt x="1044" y="861"/>
                  </a:lnTo>
                  <a:lnTo>
                    <a:pt x="1044" y="861"/>
                  </a:lnTo>
                  <a:lnTo>
                    <a:pt x="1044" y="863"/>
                  </a:lnTo>
                  <a:lnTo>
                    <a:pt x="1041" y="863"/>
                  </a:lnTo>
                  <a:lnTo>
                    <a:pt x="1041" y="863"/>
                  </a:lnTo>
                  <a:lnTo>
                    <a:pt x="1039" y="863"/>
                  </a:lnTo>
                  <a:lnTo>
                    <a:pt x="1039" y="863"/>
                  </a:lnTo>
                  <a:lnTo>
                    <a:pt x="1039" y="865"/>
                  </a:lnTo>
                  <a:lnTo>
                    <a:pt x="1039" y="865"/>
                  </a:lnTo>
                  <a:lnTo>
                    <a:pt x="1041" y="865"/>
                  </a:lnTo>
                  <a:lnTo>
                    <a:pt x="1041" y="868"/>
                  </a:lnTo>
                  <a:lnTo>
                    <a:pt x="1041" y="868"/>
                  </a:lnTo>
                  <a:lnTo>
                    <a:pt x="1044" y="868"/>
                  </a:lnTo>
                  <a:lnTo>
                    <a:pt x="1044" y="868"/>
                  </a:lnTo>
                  <a:lnTo>
                    <a:pt x="1046" y="865"/>
                  </a:lnTo>
                  <a:lnTo>
                    <a:pt x="1046" y="863"/>
                  </a:lnTo>
                  <a:lnTo>
                    <a:pt x="1046" y="863"/>
                  </a:lnTo>
                  <a:lnTo>
                    <a:pt x="1046" y="863"/>
                  </a:lnTo>
                  <a:lnTo>
                    <a:pt x="1048" y="861"/>
                  </a:lnTo>
                  <a:lnTo>
                    <a:pt x="1046" y="861"/>
                  </a:lnTo>
                  <a:lnTo>
                    <a:pt x="1046" y="861"/>
                  </a:lnTo>
                  <a:close/>
                  <a:moveTo>
                    <a:pt x="1190" y="806"/>
                  </a:moveTo>
                  <a:lnTo>
                    <a:pt x="1190" y="806"/>
                  </a:lnTo>
                  <a:lnTo>
                    <a:pt x="1190" y="806"/>
                  </a:lnTo>
                  <a:lnTo>
                    <a:pt x="1188" y="806"/>
                  </a:lnTo>
                  <a:lnTo>
                    <a:pt x="1188" y="806"/>
                  </a:lnTo>
                  <a:lnTo>
                    <a:pt x="1188" y="806"/>
                  </a:lnTo>
                  <a:lnTo>
                    <a:pt x="1188" y="806"/>
                  </a:lnTo>
                  <a:lnTo>
                    <a:pt x="1188" y="804"/>
                  </a:lnTo>
                  <a:lnTo>
                    <a:pt x="1188" y="804"/>
                  </a:lnTo>
                  <a:lnTo>
                    <a:pt x="1188" y="804"/>
                  </a:lnTo>
                  <a:lnTo>
                    <a:pt x="1188" y="804"/>
                  </a:lnTo>
                  <a:lnTo>
                    <a:pt x="1188" y="804"/>
                  </a:lnTo>
                  <a:lnTo>
                    <a:pt x="1188" y="804"/>
                  </a:lnTo>
                  <a:lnTo>
                    <a:pt x="1188" y="804"/>
                  </a:lnTo>
                  <a:lnTo>
                    <a:pt x="1186" y="804"/>
                  </a:lnTo>
                  <a:lnTo>
                    <a:pt x="1186" y="804"/>
                  </a:lnTo>
                  <a:lnTo>
                    <a:pt x="1186" y="804"/>
                  </a:lnTo>
                  <a:lnTo>
                    <a:pt x="1186" y="804"/>
                  </a:lnTo>
                  <a:lnTo>
                    <a:pt x="1186" y="804"/>
                  </a:lnTo>
                  <a:lnTo>
                    <a:pt x="1186" y="804"/>
                  </a:lnTo>
                  <a:lnTo>
                    <a:pt x="1186" y="804"/>
                  </a:lnTo>
                  <a:lnTo>
                    <a:pt x="1186" y="804"/>
                  </a:lnTo>
                  <a:lnTo>
                    <a:pt x="1186" y="804"/>
                  </a:lnTo>
                  <a:lnTo>
                    <a:pt x="1186" y="806"/>
                  </a:lnTo>
                  <a:lnTo>
                    <a:pt x="1188" y="809"/>
                  </a:lnTo>
                  <a:lnTo>
                    <a:pt x="1188" y="809"/>
                  </a:lnTo>
                  <a:lnTo>
                    <a:pt x="1188" y="809"/>
                  </a:lnTo>
                  <a:lnTo>
                    <a:pt x="1188" y="809"/>
                  </a:lnTo>
                  <a:lnTo>
                    <a:pt x="1188" y="809"/>
                  </a:lnTo>
                  <a:lnTo>
                    <a:pt x="1190" y="809"/>
                  </a:lnTo>
                  <a:lnTo>
                    <a:pt x="1190" y="809"/>
                  </a:lnTo>
                  <a:lnTo>
                    <a:pt x="1190" y="806"/>
                  </a:lnTo>
                  <a:lnTo>
                    <a:pt x="1190" y="806"/>
                  </a:lnTo>
                  <a:close/>
                  <a:moveTo>
                    <a:pt x="1188" y="778"/>
                  </a:moveTo>
                  <a:lnTo>
                    <a:pt x="1188" y="778"/>
                  </a:lnTo>
                  <a:lnTo>
                    <a:pt x="1188" y="778"/>
                  </a:lnTo>
                  <a:lnTo>
                    <a:pt x="1186" y="778"/>
                  </a:lnTo>
                  <a:lnTo>
                    <a:pt x="1186" y="778"/>
                  </a:lnTo>
                  <a:lnTo>
                    <a:pt x="1186" y="778"/>
                  </a:lnTo>
                  <a:lnTo>
                    <a:pt x="1186" y="778"/>
                  </a:lnTo>
                  <a:lnTo>
                    <a:pt x="1186" y="778"/>
                  </a:lnTo>
                  <a:lnTo>
                    <a:pt x="1186" y="778"/>
                  </a:lnTo>
                  <a:lnTo>
                    <a:pt x="1186" y="778"/>
                  </a:lnTo>
                  <a:lnTo>
                    <a:pt x="1186" y="780"/>
                  </a:lnTo>
                  <a:lnTo>
                    <a:pt x="1186" y="780"/>
                  </a:lnTo>
                  <a:lnTo>
                    <a:pt x="1186" y="783"/>
                  </a:lnTo>
                  <a:lnTo>
                    <a:pt x="1188" y="783"/>
                  </a:lnTo>
                  <a:lnTo>
                    <a:pt x="1188" y="783"/>
                  </a:lnTo>
                  <a:lnTo>
                    <a:pt x="1188" y="783"/>
                  </a:lnTo>
                  <a:lnTo>
                    <a:pt x="1188" y="783"/>
                  </a:lnTo>
                  <a:lnTo>
                    <a:pt x="1188" y="783"/>
                  </a:lnTo>
                  <a:lnTo>
                    <a:pt x="1188" y="780"/>
                  </a:lnTo>
                  <a:lnTo>
                    <a:pt x="1188" y="780"/>
                  </a:lnTo>
                  <a:lnTo>
                    <a:pt x="1188" y="780"/>
                  </a:lnTo>
                  <a:lnTo>
                    <a:pt x="1188" y="780"/>
                  </a:lnTo>
                  <a:lnTo>
                    <a:pt x="1188" y="780"/>
                  </a:lnTo>
                  <a:lnTo>
                    <a:pt x="1188" y="780"/>
                  </a:lnTo>
                  <a:lnTo>
                    <a:pt x="1188" y="780"/>
                  </a:lnTo>
                  <a:lnTo>
                    <a:pt x="1188" y="778"/>
                  </a:lnTo>
                  <a:lnTo>
                    <a:pt x="1188" y="778"/>
                  </a:lnTo>
                  <a:lnTo>
                    <a:pt x="1188" y="778"/>
                  </a:lnTo>
                  <a:close/>
                  <a:moveTo>
                    <a:pt x="1197" y="773"/>
                  </a:moveTo>
                  <a:lnTo>
                    <a:pt x="1197" y="773"/>
                  </a:lnTo>
                  <a:lnTo>
                    <a:pt x="1200" y="775"/>
                  </a:lnTo>
                  <a:lnTo>
                    <a:pt x="1200" y="775"/>
                  </a:lnTo>
                  <a:lnTo>
                    <a:pt x="1200" y="775"/>
                  </a:lnTo>
                  <a:lnTo>
                    <a:pt x="1202" y="775"/>
                  </a:lnTo>
                  <a:lnTo>
                    <a:pt x="1207" y="775"/>
                  </a:lnTo>
                  <a:lnTo>
                    <a:pt x="1207" y="773"/>
                  </a:lnTo>
                  <a:lnTo>
                    <a:pt x="1207" y="773"/>
                  </a:lnTo>
                  <a:lnTo>
                    <a:pt x="1207" y="773"/>
                  </a:lnTo>
                  <a:lnTo>
                    <a:pt x="1207" y="771"/>
                  </a:lnTo>
                  <a:lnTo>
                    <a:pt x="1207" y="771"/>
                  </a:lnTo>
                  <a:lnTo>
                    <a:pt x="1207" y="771"/>
                  </a:lnTo>
                  <a:lnTo>
                    <a:pt x="1209" y="771"/>
                  </a:lnTo>
                  <a:lnTo>
                    <a:pt x="1207" y="771"/>
                  </a:lnTo>
                  <a:lnTo>
                    <a:pt x="1207" y="771"/>
                  </a:lnTo>
                  <a:lnTo>
                    <a:pt x="1207" y="771"/>
                  </a:lnTo>
                  <a:lnTo>
                    <a:pt x="1207" y="768"/>
                  </a:lnTo>
                  <a:lnTo>
                    <a:pt x="1205" y="768"/>
                  </a:lnTo>
                  <a:lnTo>
                    <a:pt x="1205" y="768"/>
                  </a:lnTo>
                  <a:lnTo>
                    <a:pt x="1205" y="771"/>
                  </a:lnTo>
                  <a:lnTo>
                    <a:pt x="1202" y="771"/>
                  </a:lnTo>
                  <a:lnTo>
                    <a:pt x="1202" y="771"/>
                  </a:lnTo>
                  <a:lnTo>
                    <a:pt x="1200" y="771"/>
                  </a:lnTo>
                  <a:lnTo>
                    <a:pt x="1200" y="771"/>
                  </a:lnTo>
                  <a:lnTo>
                    <a:pt x="1200" y="771"/>
                  </a:lnTo>
                  <a:lnTo>
                    <a:pt x="1197" y="771"/>
                  </a:lnTo>
                  <a:lnTo>
                    <a:pt x="1197" y="771"/>
                  </a:lnTo>
                  <a:lnTo>
                    <a:pt x="1197" y="771"/>
                  </a:lnTo>
                  <a:lnTo>
                    <a:pt x="1197" y="771"/>
                  </a:lnTo>
                  <a:lnTo>
                    <a:pt x="1197" y="773"/>
                  </a:lnTo>
                  <a:close/>
                  <a:moveTo>
                    <a:pt x="1209" y="792"/>
                  </a:moveTo>
                  <a:lnTo>
                    <a:pt x="1209" y="792"/>
                  </a:lnTo>
                  <a:lnTo>
                    <a:pt x="1212" y="792"/>
                  </a:lnTo>
                  <a:lnTo>
                    <a:pt x="1212" y="792"/>
                  </a:lnTo>
                  <a:lnTo>
                    <a:pt x="1212" y="790"/>
                  </a:lnTo>
                  <a:lnTo>
                    <a:pt x="1212" y="790"/>
                  </a:lnTo>
                  <a:lnTo>
                    <a:pt x="1209" y="790"/>
                  </a:lnTo>
                  <a:lnTo>
                    <a:pt x="1209" y="790"/>
                  </a:lnTo>
                  <a:lnTo>
                    <a:pt x="1209" y="792"/>
                  </a:lnTo>
                  <a:lnTo>
                    <a:pt x="1209" y="792"/>
                  </a:lnTo>
                  <a:lnTo>
                    <a:pt x="1207" y="792"/>
                  </a:lnTo>
                  <a:lnTo>
                    <a:pt x="1207" y="792"/>
                  </a:lnTo>
                  <a:lnTo>
                    <a:pt x="1207" y="792"/>
                  </a:lnTo>
                  <a:lnTo>
                    <a:pt x="1207" y="790"/>
                  </a:lnTo>
                  <a:lnTo>
                    <a:pt x="1207" y="790"/>
                  </a:lnTo>
                  <a:lnTo>
                    <a:pt x="1207" y="792"/>
                  </a:lnTo>
                  <a:lnTo>
                    <a:pt x="1205" y="792"/>
                  </a:lnTo>
                  <a:lnTo>
                    <a:pt x="1205" y="792"/>
                  </a:lnTo>
                  <a:lnTo>
                    <a:pt x="1205" y="794"/>
                  </a:lnTo>
                  <a:lnTo>
                    <a:pt x="1205" y="794"/>
                  </a:lnTo>
                  <a:lnTo>
                    <a:pt x="1205" y="792"/>
                  </a:lnTo>
                  <a:lnTo>
                    <a:pt x="1205" y="790"/>
                  </a:lnTo>
                  <a:lnTo>
                    <a:pt x="1209" y="787"/>
                  </a:lnTo>
                  <a:lnTo>
                    <a:pt x="1209" y="787"/>
                  </a:lnTo>
                  <a:lnTo>
                    <a:pt x="1209" y="787"/>
                  </a:lnTo>
                  <a:lnTo>
                    <a:pt x="1209" y="787"/>
                  </a:lnTo>
                  <a:lnTo>
                    <a:pt x="1209" y="785"/>
                  </a:lnTo>
                  <a:lnTo>
                    <a:pt x="1207" y="785"/>
                  </a:lnTo>
                  <a:lnTo>
                    <a:pt x="1207" y="785"/>
                  </a:lnTo>
                  <a:lnTo>
                    <a:pt x="1205" y="787"/>
                  </a:lnTo>
                  <a:lnTo>
                    <a:pt x="1205" y="787"/>
                  </a:lnTo>
                  <a:lnTo>
                    <a:pt x="1205" y="785"/>
                  </a:lnTo>
                  <a:lnTo>
                    <a:pt x="1205" y="785"/>
                  </a:lnTo>
                  <a:lnTo>
                    <a:pt x="1205" y="785"/>
                  </a:lnTo>
                  <a:lnTo>
                    <a:pt x="1205" y="785"/>
                  </a:lnTo>
                  <a:lnTo>
                    <a:pt x="1205" y="785"/>
                  </a:lnTo>
                  <a:lnTo>
                    <a:pt x="1205" y="783"/>
                  </a:lnTo>
                  <a:lnTo>
                    <a:pt x="1205" y="783"/>
                  </a:lnTo>
                  <a:lnTo>
                    <a:pt x="1205" y="783"/>
                  </a:lnTo>
                  <a:lnTo>
                    <a:pt x="1205" y="783"/>
                  </a:lnTo>
                  <a:lnTo>
                    <a:pt x="1205" y="783"/>
                  </a:lnTo>
                  <a:lnTo>
                    <a:pt x="1205" y="783"/>
                  </a:lnTo>
                  <a:lnTo>
                    <a:pt x="1205" y="783"/>
                  </a:lnTo>
                  <a:lnTo>
                    <a:pt x="1205" y="783"/>
                  </a:lnTo>
                  <a:lnTo>
                    <a:pt x="1202" y="783"/>
                  </a:lnTo>
                  <a:lnTo>
                    <a:pt x="1202" y="780"/>
                  </a:lnTo>
                  <a:lnTo>
                    <a:pt x="1202" y="783"/>
                  </a:lnTo>
                  <a:lnTo>
                    <a:pt x="1202" y="783"/>
                  </a:lnTo>
                  <a:lnTo>
                    <a:pt x="1202" y="783"/>
                  </a:lnTo>
                  <a:lnTo>
                    <a:pt x="1200" y="785"/>
                  </a:lnTo>
                  <a:lnTo>
                    <a:pt x="1200" y="785"/>
                  </a:lnTo>
                  <a:lnTo>
                    <a:pt x="1200" y="785"/>
                  </a:lnTo>
                  <a:lnTo>
                    <a:pt x="1200" y="785"/>
                  </a:lnTo>
                  <a:lnTo>
                    <a:pt x="1197" y="785"/>
                  </a:lnTo>
                  <a:lnTo>
                    <a:pt x="1200" y="785"/>
                  </a:lnTo>
                  <a:lnTo>
                    <a:pt x="1200" y="783"/>
                  </a:lnTo>
                  <a:lnTo>
                    <a:pt x="1200" y="783"/>
                  </a:lnTo>
                  <a:lnTo>
                    <a:pt x="1200" y="783"/>
                  </a:lnTo>
                  <a:lnTo>
                    <a:pt x="1200" y="783"/>
                  </a:lnTo>
                  <a:lnTo>
                    <a:pt x="1200" y="783"/>
                  </a:lnTo>
                  <a:lnTo>
                    <a:pt x="1197" y="783"/>
                  </a:lnTo>
                  <a:lnTo>
                    <a:pt x="1197" y="783"/>
                  </a:lnTo>
                  <a:lnTo>
                    <a:pt x="1197" y="783"/>
                  </a:lnTo>
                  <a:lnTo>
                    <a:pt x="1197" y="783"/>
                  </a:lnTo>
                  <a:lnTo>
                    <a:pt x="1197" y="780"/>
                  </a:lnTo>
                  <a:lnTo>
                    <a:pt x="1200" y="780"/>
                  </a:lnTo>
                  <a:lnTo>
                    <a:pt x="1200" y="780"/>
                  </a:lnTo>
                  <a:lnTo>
                    <a:pt x="1200" y="780"/>
                  </a:lnTo>
                  <a:lnTo>
                    <a:pt x="1197" y="780"/>
                  </a:lnTo>
                  <a:lnTo>
                    <a:pt x="1197" y="778"/>
                  </a:lnTo>
                  <a:lnTo>
                    <a:pt x="1200" y="778"/>
                  </a:lnTo>
                  <a:lnTo>
                    <a:pt x="1200" y="778"/>
                  </a:lnTo>
                  <a:lnTo>
                    <a:pt x="1197" y="775"/>
                  </a:lnTo>
                  <a:lnTo>
                    <a:pt x="1197" y="775"/>
                  </a:lnTo>
                  <a:lnTo>
                    <a:pt x="1197" y="775"/>
                  </a:lnTo>
                  <a:lnTo>
                    <a:pt x="1197" y="775"/>
                  </a:lnTo>
                  <a:lnTo>
                    <a:pt x="1197" y="775"/>
                  </a:lnTo>
                  <a:lnTo>
                    <a:pt x="1197" y="773"/>
                  </a:lnTo>
                  <a:lnTo>
                    <a:pt x="1195" y="773"/>
                  </a:lnTo>
                  <a:lnTo>
                    <a:pt x="1195" y="773"/>
                  </a:lnTo>
                  <a:lnTo>
                    <a:pt x="1195" y="775"/>
                  </a:lnTo>
                  <a:lnTo>
                    <a:pt x="1195" y="775"/>
                  </a:lnTo>
                  <a:lnTo>
                    <a:pt x="1195" y="775"/>
                  </a:lnTo>
                  <a:lnTo>
                    <a:pt x="1193" y="775"/>
                  </a:lnTo>
                  <a:lnTo>
                    <a:pt x="1193" y="775"/>
                  </a:lnTo>
                  <a:lnTo>
                    <a:pt x="1193" y="775"/>
                  </a:lnTo>
                  <a:lnTo>
                    <a:pt x="1193" y="775"/>
                  </a:lnTo>
                  <a:lnTo>
                    <a:pt x="1193" y="775"/>
                  </a:lnTo>
                  <a:lnTo>
                    <a:pt x="1193" y="775"/>
                  </a:lnTo>
                  <a:lnTo>
                    <a:pt x="1193" y="773"/>
                  </a:lnTo>
                  <a:lnTo>
                    <a:pt x="1193" y="775"/>
                  </a:lnTo>
                  <a:lnTo>
                    <a:pt x="1190" y="775"/>
                  </a:lnTo>
                  <a:lnTo>
                    <a:pt x="1190" y="775"/>
                  </a:lnTo>
                  <a:lnTo>
                    <a:pt x="1188" y="775"/>
                  </a:lnTo>
                  <a:lnTo>
                    <a:pt x="1188" y="775"/>
                  </a:lnTo>
                  <a:lnTo>
                    <a:pt x="1188" y="775"/>
                  </a:lnTo>
                  <a:lnTo>
                    <a:pt x="1190" y="778"/>
                  </a:lnTo>
                  <a:lnTo>
                    <a:pt x="1190" y="778"/>
                  </a:lnTo>
                  <a:lnTo>
                    <a:pt x="1190" y="778"/>
                  </a:lnTo>
                  <a:lnTo>
                    <a:pt x="1190" y="778"/>
                  </a:lnTo>
                  <a:lnTo>
                    <a:pt x="1188" y="778"/>
                  </a:lnTo>
                  <a:lnTo>
                    <a:pt x="1188" y="778"/>
                  </a:lnTo>
                  <a:lnTo>
                    <a:pt x="1188" y="780"/>
                  </a:lnTo>
                  <a:lnTo>
                    <a:pt x="1188" y="780"/>
                  </a:lnTo>
                  <a:lnTo>
                    <a:pt x="1188" y="780"/>
                  </a:lnTo>
                  <a:lnTo>
                    <a:pt x="1188" y="780"/>
                  </a:lnTo>
                  <a:lnTo>
                    <a:pt x="1188" y="783"/>
                  </a:lnTo>
                  <a:lnTo>
                    <a:pt x="1188" y="783"/>
                  </a:lnTo>
                  <a:lnTo>
                    <a:pt x="1188" y="783"/>
                  </a:lnTo>
                  <a:lnTo>
                    <a:pt x="1188" y="785"/>
                  </a:lnTo>
                  <a:lnTo>
                    <a:pt x="1188" y="783"/>
                  </a:lnTo>
                  <a:lnTo>
                    <a:pt x="1188" y="783"/>
                  </a:lnTo>
                  <a:lnTo>
                    <a:pt x="1188" y="783"/>
                  </a:lnTo>
                  <a:lnTo>
                    <a:pt x="1186" y="780"/>
                  </a:lnTo>
                  <a:lnTo>
                    <a:pt x="1183" y="780"/>
                  </a:lnTo>
                  <a:lnTo>
                    <a:pt x="1183" y="780"/>
                  </a:lnTo>
                  <a:lnTo>
                    <a:pt x="1183" y="780"/>
                  </a:lnTo>
                  <a:lnTo>
                    <a:pt x="1183" y="778"/>
                  </a:lnTo>
                  <a:lnTo>
                    <a:pt x="1181" y="778"/>
                  </a:lnTo>
                  <a:lnTo>
                    <a:pt x="1181" y="778"/>
                  </a:lnTo>
                  <a:lnTo>
                    <a:pt x="1181" y="778"/>
                  </a:lnTo>
                  <a:lnTo>
                    <a:pt x="1179" y="778"/>
                  </a:lnTo>
                  <a:lnTo>
                    <a:pt x="1179" y="780"/>
                  </a:lnTo>
                  <a:lnTo>
                    <a:pt x="1179" y="780"/>
                  </a:lnTo>
                  <a:lnTo>
                    <a:pt x="1179" y="780"/>
                  </a:lnTo>
                  <a:lnTo>
                    <a:pt x="1179" y="783"/>
                  </a:lnTo>
                  <a:lnTo>
                    <a:pt x="1179" y="783"/>
                  </a:lnTo>
                  <a:lnTo>
                    <a:pt x="1179" y="783"/>
                  </a:lnTo>
                  <a:lnTo>
                    <a:pt x="1181" y="787"/>
                  </a:lnTo>
                  <a:lnTo>
                    <a:pt x="1181" y="787"/>
                  </a:lnTo>
                  <a:lnTo>
                    <a:pt x="1181" y="787"/>
                  </a:lnTo>
                  <a:lnTo>
                    <a:pt x="1179" y="785"/>
                  </a:lnTo>
                  <a:lnTo>
                    <a:pt x="1179" y="785"/>
                  </a:lnTo>
                  <a:lnTo>
                    <a:pt x="1179" y="785"/>
                  </a:lnTo>
                  <a:lnTo>
                    <a:pt x="1179" y="785"/>
                  </a:lnTo>
                  <a:lnTo>
                    <a:pt x="1179" y="785"/>
                  </a:lnTo>
                  <a:lnTo>
                    <a:pt x="1179" y="785"/>
                  </a:lnTo>
                  <a:lnTo>
                    <a:pt x="1179" y="785"/>
                  </a:lnTo>
                  <a:lnTo>
                    <a:pt x="1179" y="783"/>
                  </a:lnTo>
                  <a:lnTo>
                    <a:pt x="1179" y="783"/>
                  </a:lnTo>
                  <a:lnTo>
                    <a:pt x="1176" y="780"/>
                  </a:lnTo>
                  <a:lnTo>
                    <a:pt x="1174" y="780"/>
                  </a:lnTo>
                  <a:lnTo>
                    <a:pt x="1171" y="780"/>
                  </a:lnTo>
                  <a:lnTo>
                    <a:pt x="1171" y="783"/>
                  </a:lnTo>
                  <a:lnTo>
                    <a:pt x="1171" y="785"/>
                  </a:lnTo>
                  <a:lnTo>
                    <a:pt x="1171" y="785"/>
                  </a:lnTo>
                  <a:lnTo>
                    <a:pt x="1174" y="787"/>
                  </a:lnTo>
                  <a:lnTo>
                    <a:pt x="1174" y="787"/>
                  </a:lnTo>
                  <a:lnTo>
                    <a:pt x="1176" y="787"/>
                  </a:lnTo>
                  <a:lnTo>
                    <a:pt x="1174" y="787"/>
                  </a:lnTo>
                  <a:lnTo>
                    <a:pt x="1174" y="790"/>
                  </a:lnTo>
                  <a:lnTo>
                    <a:pt x="1174" y="790"/>
                  </a:lnTo>
                  <a:lnTo>
                    <a:pt x="1174" y="792"/>
                  </a:lnTo>
                  <a:lnTo>
                    <a:pt x="1176" y="794"/>
                  </a:lnTo>
                  <a:lnTo>
                    <a:pt x="1179" y="797"/>
                  </a:lnTo>
                  <a:lnTo>
                    <a:pt x="1181" y="797"/>
                  </a:lnTo>
                  <a:lnTo>
                    <a:pt x="1181" y="797"/>
                  </a:lnTo>
                  <a:lnTo>
                    <a:pt x="1181" y="794"/>
                  </a:lnTo>
                  <a:lnTo>
                    <a:pt x="1183" y="792"/>
                  </a:lnTo>
                  <a:lnTo>
                    <a:pt x="1183" y="794"/>
                  </a:lnTo>
                  <a:lnTo>
                    <a:pt x="1183" y="794"/>
                  </a:lnTo>
                  <a:lnTo>
                    <a:pt x="1183" y="794"/>
                  </a:lnTo>
                  <a:lnTo>
                    <a:pt x="1183" y="794"/>
                  </a:lnTo>
                  <a:lnTo>
                    <a:pt x="1186" y="794"/>
                  </a:lnTo>
                  <a:lnTo>
                    <a:pt x="1186" y="794"/>
                  </a:lnTo>
                  <a:lnTo>
                    <a:pt x="1186" y="794"/>
                  </a:lnTo>
                  <a:lnTo>
                    <a:pt x="1186" y="794"/>
                  </a:lnTo>
                  <a:lnTo>
                    <a:pt x="1186" y="794"/>
                  </a:lnTo>
                  <a:lnTo>
                    <a:pt x="1188" y="794"/>
                  </a:lnTo>
                  <a:lnTo>
                    <a:pt x="1188" y="792"/>
                  </a:lnTo>
                  <a:lnTo>
                    <a:pt x="1188" y="792"/>
                  </a:lnTo>
                  <a:lnTo>
                    <a:pt x="1188" y="792"/>
                  </a:lnTo>
                  <a:lnTo>
                    <a:pt x="1190" y="790"/>
                  </a:lnTo>
                  <a:lnTo>
                    <a:pt x="1190" y="790"/>
                  </a:lnTo>
                  <a:lnTo>
                    <a:pt x="1190" y="790"/>
                  </a:lnTo>
                  <a:lnTo>
                    <a:pt x="1193" y="790"/>
                  </a:lnTo>
                  <a:lnTo>
                    <a:pt x="1190" y="790"/>
                  </a:lnTo>
                  <a:lnTo>
                    <a:pt x="1190" y="790"/>
                  </a:lnTo>
                  <a:lnTo>
                    <a:pt x="1188" y="794"/>
                  </a:lnTo>
                  <a:lnTo>
                    <a:pt x="1188" y="794"/>
                  </a:lnTo>
                  <a:lnTo>
                    <a:pt x="1188" y="797"/>
                  </a:lnTo>
                  <a:lnTo>
                    <a:pt x="1190" y="794"/>
                  </a:lnTo>
                  <a:lnTo>
                    <a:pt x="1190" y="794"/>
                  </a:lnTo>
                  <a:lnTo>
                    <a:pt x="1193" y="794"/>
                  </a:lnTo>
                  <a:lnTo>
                    <a:pt x="1193" y="794"/>
                  </a:lnTo>
                  <a:lnTo>
                    <a:pt x="1193" y="797"/>
                  </a:lnTo>
                  <a:lnTo>
                    <a:pt x="1193" y="797"/>
                  </a:lnTo>
                  <a:lnTo>
                    <a:pt x="1195" y="797"/>
                  </a:lnTo>
                  <a:lnTo>
                    <a:pt x="1195" y="797"/>
                  </a:lnTo>
                  <a:lnTo>
                    <a:pt x="1195" y="797"/>
                  </a:lnTo>
                  <a:lnTo>
                    <a:pt x="1195" y="797"/>
                  </a:lnTo>
                  <a:lnTo>
                    <a:pt x="1195" y="797"/>
                  </a:lnTo>
                  <a:lnTo>
                    <a:pt x="1195" y="797"/>
                  </a:lnTo>
                  <a:lnTo>
                    <a:pt x="1197" y="797"/>
                  </a:lnTo>
                  <a:lnTo>
                    <a:pt x="1197" y="797"/>
                  </a:lnTo>
                  <a:lnTo>
                    <a:pt x="1197" y="797"/>
                  </a:lnTo>
                  <a:lnTo>
                    <a:pt x="1197" y="797"/>
                  </a:lnTo>
                  <a:lnTo>
                    <a:pt x="1197" y="797"/>
                  </a:lnTo>
                  <a:lnTo>
                    <a:pt x="1197" y="794"/>
                  </a:lnTo>
                  <a:lnTo>
                    <a:pt x="1197" y="794"/>
                  </a:lnTo>
                  <a:lnTo>
                    <a:pt x="1197" y="794"/>
                  </a:lnTo>
                  <a:lnTo>
                    <a:pt x="1197" y="794"/>
                  </a:lnTo>
                  <a:lnTo>
                    <a:pt x="1197" y="794"/>
                  </a:lnTo>
                  <a:lnTo>
                    <a:pt x="1197" y="792"/>
                  </a:lnTo>
                  <a:lnTo>
                    <a:pt x="1197" y="792"/>
                  </a:lnTo>
                  <a:lnTo>
                    <a:pt x="1197" y="792"/>
                  </a:lnTo>
                  <a:lnTo>
                    <a:pt x="1197" y="794"/>
                  </a:lnTo>
                  <a:lnTo>
                    <a:pt x="1197" y="794"/>
                  </a:lnTo>
                  <a:lnTo>
                    <a:pt x="1197" y="794"/>
                  </a:lnTo>
                  <a:lnTo>
                    <a:pt x="1197" y="792"/>
                  </a:lnTo>
                  <a:lnTo>
                    <a:pt x="1197" y="792"/>
                  </a:lnTo>
                  <a:lnTo>
                    <a:pt x="1197" y="792"/>
                  </a:lnTo>
                  <a:lnTo>
                    <a:pt x="1197" y="792"/>
                  </a:lnTo>
                  <a:lnTo>
                    <a:pt x="1200" y="790"/>
                  </a:lnTo>
                  <a:lnTo>
                    <a:pt x="1200" y="790"/>
                  </a:lnTo>
                  <a:lnTo>
                    <a:pt x="1200" y="792"/>
                  </a:lnTo>
                  <a:lnTo>
                    <a:pt x="1200" y="790"/>
                  </a:lnTo>
                  <a:lnTo>
                    <a:pt x="1200" y="790"/>
                  </a:lnTo>
                  <a:lnTo>
                    <a:pt x="1200" y="790"/>
                  </a:lnTo>
                  <a:lnTo>
                    <a:pt x="1200" y="792"/>
                  </a:lnTo>
                  <a:lnTo>
                    <a:pt x="1202" y="790"/>
                  </a:lnTo>
                  <a:lnTo>
                    <a:pt x="1202" y="792"/>
                  </a:lnTo>
                  <a:lnTo>
                    <a:pt x="1200" y="794"/>
                  </a:lnTo>
                  <a:lnTo>
                    <a:pt x="1200" y="797"/>
                  </a:lnTo>
                  <a:lnTo>
                    <a:pt x="1202" y="797"/>
                  </a:lnTo>
                  <a:lnTo>
                    <a:pt x="1202" y="799"/>
                  </a:lnTo>
                  <a:lnTo>
                    <a:pt x="1205" y="799"/>
                  </a:lnTo>
                  <a:lnTo>
                    <a:pt x="1205" y="799"/>
                  </a:lnTo>
                  <a:lnTo>
                    <a:pt x="1205" y="797"/>
                  </a:lnTo>
                  <a:lnTo>
                    <a:pt x="1205" y="797"/>
                  </a:lnTo>
                  <a:lnTo>
                    <a:pt x="1205" y="797"/>
                  </a:lnTo>
                  <a:lnTo>
                    <a:pt x="1205" y="797"/>
                  </a:lnTo>
                  <a:lnTo>
                    <a:pt x="1207" y="797"/>
                  </a:lnTo>
                  <a:lnTo>
                    <a:pt x="1207" y="797"/>
                  </a:lnTo>
                  <a:lnTo>
                    <a:pt x="1209" y="797"/>
                  </a:lnTo>
                  <a:lnTo>
                    <a:pt x="1209" y="794"/>
                  </a:lnTo>
                  <a:lnTo>
                    <a:pt x="1209" y="794"/>
                  </a:lnTo>
                  <a:lnTo>
                    <a:pt x="1209" y="792"/>
                  </a:lnTo>
                  <a:close/>
                  <a:moveTo>
                    <a:pt x="1200" y="714"/>
                  </a:moveTo>
                  <a:lnTo>
                    <a:pt x="1200" y="714"/>
                  </a:lnTo>
                  <a:lnTo>
                    <a:pt x="1197" y="714"/>
                  </a:lnTo>
                  <a:lnTo>
                    <a:pt x="1197" y="714"/>
                  </a:lnTo>
                  <a:lnTo>
                    <a:pt x="1197" y="716"/>
                  </a:lnTo>
                  <a:lnTo>
                    <a:pt x="1197" y="716"/>
                  </a:lnTo>
                  <a:lnTo>
                    <a:pt x="1195" y="716"/>
                  </a:lnTo>
                  <a:lnTo>
                    <a:pt x="1195" y="716"/>
                  </a:lnTo>
                  <a:lnTo>
                    <a:pt x="1195" y="716"/>
                  </a:lnTo>
                  <a:lnTo>
                    <a:pt x="1195" y="716"/>
                  </a:lnTo>
                  <a:lnTo>
                    <a:pt x="1195" y="719"/>
                  </a:lnTo>
                  <a:lnTo>
                    <a:pt x="1195" y="719"/>
                  </a:lnTo>
                  <a:lnTo>
                    <a:pt x="1197" y="719"/>
                  </a:lnTo>
                  <a:lnTo>
                    <a:pt x="1200" y="719"/>
                  </a:lnTo>
                  <a:lnTo>
                    <a:pt x="1200" y="719"/>
                  </a:lnTo>
                  <a:lnTo>
                    <a:pt x="1202" y="719"/>
                  </a:lnTo>
                  <a:lnTo>
                    <a:pt x="1202" y="719"/>
                  </a:lnTo>
                  <a:lnTo>
                    <a:pt x="1202" y="716"/>
                  </a:lnTo>
                  <a:lnTo>
                    <a:pt x="1200" y="714"/>
                  </a:lnTo>
                  <a:close/>
                  <a:moveTo>
                    <a:pt x="1212" y="797"/>
                  </a:moveTo>
                  <a:lnTo>
                    <a:pt x="1209" y="799"/>
                  </a:lnTo>
                  <a:lnTo>
                    <a:pt x="1209" y="799"/>
                  </a:lnTo>
                  <a:lnTo>
                    <a:pt x="1209" y="799"/>
                  </a:lnTo>
                  <a:lnTo>
                    <a:pt x="1209" y="802"/>
                  </a:lnTo>
                  <a:lnTo>
                    <a:pt x="1209" y="802"/>
                  </a:lnTo>
                  <a:lnTo>
                    <a:pt x="1212" y="802"/>
                  </a:lnTo>
                  <a:lnTo>
                    <a:pt x="1212" y="802"/>
                  </a:lnTo>
                  <a:lnTo>
                    <a:pt x="1212" y="799"/>
                  </a:lnTo>
                  <a:lnTo>
                    <a:pt x="1214" y="799"/>
                  </a:lnTo>
                  <a:lnTo>
                    <a:pt x="1214" y="797"/>
                  </a:lnTo>
                  <a:lnTo>
                    <a:pt x="1212" y="797"/>
                  </a:lnTo>
                  <a:lnTo>
                    <a:pt x="1212" y="797"/>
                  </a:lnTo>
                  <a:close/>
                  <a:moveTo>
                    <a:pt x="996" y="804"/>
                  </a:moveTo>
                  <a:lnTo>
                    <a:pt x="996" y="804"/>
                  </a:lnTo>
                  <a:lnTo>
                    <a:pt x="994" y="804"/>
                  </a:lnTo>
                  <a:lnTo>
                    <a:pt x="994" y="804"/>
                  </a:lnTo>
                  <a:lnTo>
                    <a:pt x="996" y="804"/>
                  </a:lnTo>
                  <a:lnTo>
                    <a:pt x="996" y="806"/>
                  </a:lnTo>
                  <a:lnTo>
                    <a:pt x="996" y="806"/>
                  </a:lnTo>
                  <a:lnTo>
                    <a:pt x="996" y="806"/>
                  </a:lnTo>
                  <a:lnTo>
                    <a:pt x="996" y="806"/>
                  </a:lnTo>
                  <a:lnTo>
                    <a:pt x="996" y="806"/>
                  </a:lnTo>
                  <a:lnTo>
                    <a:pt x="996" y="806"/>
                  </a:lnTo>
                  <a:lnTo>
                    <a:pt x="996" y="804"/>
                  </a:lnTo>
                  <a:lnTo>
                    <a:pt x="996" y="804"/>
                  </a:lnTo>
                  <a:lnTo>
                    <a:pt x="999" y="804"/>
                  </a:lnTo>
                  <a:lnTo>
                    <a:pt x="999" y="804"/>
                  </a:lnTo>
                  <a:lnTo>
                    <a:pt x="999" y="804"/>
                  </a:lnTo>
                  <a:lnTo>
                    <a:pt x="999" y="804"/>
                  </a:lnTo>
                  <a:lnTo>
                    <a:pt x="996" y="804"/>
                  </a:lnTo>
                  <a:close/>
                  <a:moveTo>
                    <a:pt x="1164" y="785"/>
                  </a:moveTo>
                  <a:lnTo>
                    <a:pt x="1167" y="787"/>
                  </a:lnTo>
                  <a:lnTo>
                    <a:pt x="1169" y="787"/>
                  </a:lnTo>
                  <a:lnTo>
                    <a:pt x="1169" y="787"/>
                  </a:lnTo>
                  <a:lnTo>
                    <a:pt x="1169" y="785"/>
                  </a:lnTo>
                  <a:lnTo>
                    <a:pt x="1169" y="785"/>
                  </a:lnTo>
                  <a:lnTo>
                    <a:pt x="1169" y="787"/>
                  </a:lnTo>
                  <a:lnTo>
                    <a:pt x="1169" y="790"/>
                  </a:lnTo>
                  <a:lnTo>
                    <a:pt x="1169" y="790"/>
                  </a:lnTo>
                  <a:lnTo>
                    <a:pt x="1169" y="790"/>
                  </a:lnTo>
                  <a:lnTo>
                    <a:pt x="1171" y="792"/>
                  </a:lnTo>
                  <a:lnTo>
                    <a:pt x="1171" y="792"/>
                  </a:lnTo>
                  <a:lnTo>
                    <a:pt x="1174" y="794"/>
                  </a:lnTo>
                  <a:lnTo>
                    <a:pt x="1174" y="794"/>
                  </a:lnTo>
                  <a:lnTo>
                    <a:pt x="1174" y="794"/>
                  </a:lnTo>
                  <a:lnTo>
                    <a:pt x="1176" y="794"/>
                  </a:lnTo>
                  <a:lnTo>
                    <a:pt x="1176" y="794"/>
                  </a:lnTo>
                  <a:lnTo>
                    <a:pt x="1176" y="794"/>
                  </a:lnTo>
                  <a:lnTo>
                    <a:pt x="1176" y="797"/>
                  </a:lnTo>
                  <a:lnTo>
                    <a:pt x="1176" y="794"/>
                  </a:lnTo>
                  <a:lnTo>
                    <a:pt x="1174" y="792"/>
                  </a:lnTo>
                  <a:lnTo>
                    <a:pt x="1174" y="792"/>
                  </a:lnTo>
                  <a:lnTo>
                    <a:pt x="1174" y="792"/>
                  </a:lnTo>
                  <a:lnTo>
                    <a:pt x="1174" y="790"/>
                  </a:lnTo>
                  <a:lnTo>
                    <a:pt x="1174" y="790"/>
                  </a:lnTo>
                  <a:lnTo>
                    <a:pt x="1174" y="790"/>
                  </a:lnTo>
                  <a:lnTo>
                    <a:pt x="1174" y="787"/>
                  </a:lnTo>
                  <a:lnTo>
                    <a:pt x="1174" y="787"/>
                  </a:lnTo>
                  <a:lnTo>
                    <a:pt x="1174" y="787"/>
                  </a:lnTo>
                  <a:lnTo>
                    <a:pt x="1171" y="787"/>
                  </a:lnTo>
                  <a:lnTo>
                    <a:pt x="1171" y="785"/>
                  </a:lnTo>
                  <a:lnTo>
                    <a:pt x="1171" y="785"/>
                  </a:lnTo>
                  <a:lnTo>
                    <a:pt x="1171" y="783"/>
                  </a:lnTo>
                  <a:lnTo>
                    <a:pt x="1171" y="783"/>
                  </a:lnTo>
                  <a:lnTo>
                    <a:pt x="1169" y="783"/>
                  </a:lnTo>
                  <a:lnTo>
                    <a:pt x="1169" y="783"/>
                  </a:lnTo>
                  <a:lnTo>
                    <a:pt x="1169" y="783"/>
                  </a:lnTo>
                  <a:lnTo>
                    <a:pt x="1169" y="783"/>
                  </a:lnTo>
                  <a:lnTo>
                    <a:pt x="1164" y="785"/>
                  </a:lnTo>
                  <a:lnTo>
                    <a:pt x="1164" y="785"/>
                  </a:lnTo>
                  <a:close/>
                  <a:moveTo>
                    <a:pt x="1162" y="799"/>
                  </a:moveTo>
                  <a:lnTo>
                    <a:pt x="1162" y="799"/>
                  </a:lnTo>
                  <a:lnTo>
                    <a:pt x="1164" y="802"/>
                  </a:lnTo>
                  <a:lnTo>
                    <a:pt x="1164" y="799"/>
                  </a:lnTo>
                  <a:lnTo>
                    <a:pt x="1164" y="799"/>
                  </a:lnTo>
                  <a:lnTo>
                    <a:pt x="1164" y="797"/>
                  </a:lnTo>
                  <a:lnTo>
                    <a:pt x="1164" y="794"/>
                  </a:lnTo>
                  <a:lnTo>
                    <a:pt x="1162" y="792"/>
                  </a:lnTo>
                  <a:lnTo>
                    <a:pt x="1162" y="790"/>
                  </a:lnTo>
                  <a:lnTo>
                    <a:pt x="1160" y="790"/>
                  </a:lnTo>
                  <a:lnTo>
                    <a:pt x="1160" y="787"/>
                  </a:lnTo>
                  <a:lnTo>
                    <a:pt x="1160" y="787"/>
                  </a:lnTo>
                  <a:lnTo>
                    <a:pt x="1157" y="790"/>
                  </a:lnTo>
                  <a:lnTo>
                    <a:pt x="1157" y="790"/>
                  </a:lnTo>
                  <a:lnTo>
                    <a:pt x="1157" y="790"/>
                  </a:lnTo>
                  <a:lnTo>
                    <a:pt x="1160" y="794"/>
                  </a:lnTo>
                  <a:lnTo>
                    <a:pt x="1160" y="794"/>
                  </a:lnTo>
                  <a:lnTo>
                    <a:pt x="1162" y="797"/>
                  </a:lnTo>
                  <a:lnTo>
                    <a:pt x="1162" y="797"/>
                  </a:lnTo>
                  <a:lnTo>
                    <a:pt x="1162" y="797"/>
                  </a:lnTo>
                  <a:lnTo>
                    <a:pt x="1162" y="797"/>
                  </a:lnTo>
                  <a:lnTo>
                    <a:pt x="1162" y="797"/>
                  </a:lnTo>
                  <a:lnTo>
                    <a:pt x="1160" y="797"/>
                  </a:lnTo>
                  <a:lnTo>
                    <a:pt x="1160" y="797"/>
                  </a:lnTo>
                  <a:lnTo>
                    <a:pt x="1160" y="797"/>
                  </a:lnTo>
                  <a:lnTo>
                    <a:pt x="1162" y="797"/>
                  </a:lnTo>
                  <a:lnTo>
                    <a:pt x="1162" y="799"/>
                  </a:lnTo>
                  <a:lnTo>
                    <a:pt x="1162" y="799"/>
                  </a:lnTo>
                  <a:lnTo>
                    <a:pt x="1162" y="799"/>
                  </a:lnTo>
                  <a:lnTo>
                    <a:pt x="1162" y="799"/>
                  </a:lnTo>
                  <a:lnTo>
                    <a:pt x="1162" y="799"/>
                  </a:lnTo>
                  <a:close/>
                  <a:moveTo>
                    <a:pt x="1176" y="799"/>
                  </a:moveTo>
                  <a:lnTo>
                    <a:pt x="1176" y="799"/>
                  </a:lnTo>
                  <a:lnTo>
                    <a:pt x="1179" y="802"/>
                  </a:lnTo>
                  <a:lnTo>
                    <a:pt x="1179" y="802"/>
                  </a:lnTo>
                  <a:lnTo>
                    <a:pt x="1179" y="802"/>
                  </a:lnTo>
                  <a:lnTo>
                    <a:pt x="1181" y="799"/>
                  </a:lnTo>
                  <a:lnTo>
                    <a:pt x="1181" y="799"/>
                  </a:lnTo>
                  <a:lnTo>
                    <a:pt x="1181" y="799"/>
                  </a:lnTo>
                  <a:lnTo>
                    <a:pt x="1181" y="799"/>
                  </a:lnTo>
                  <a:lnTo>
                    <a:pt x="1181" y="799"/>
                  </a:lnTo>
                  <a:lnTo>
                    <a:pt x="1181" y="799"/>
                  </a:lnTo>
                  <a:lnTo>
                    <a:pt x="1181" y="799"/>
                  </a:lnTo>
                  <a:lnTo>
                    <a:pt x="1179" y="797"/>
                  </a:lnTo>
                  <a:lnTo>
                    <a:pt x="1176" y="797"/>
                  </a:lnTo>
                  <a:lnTo>
                    <a:pt x="1176" y="799"/>
                  </a:lnTo>
                  <a:lnTo>
                    <a:pt x="1176" y="799"/>
                  </a:lnTo>
                  <a:lnTo>
                    <a:pt x="1176" y="799"/>
                  </a:lnTo>
                  <a:close/>
                  <a:moveTo>
                    <a:pt x="1136" y="809"/>
                  </a:moveTo>
                  <a:lnTo>
                    <a:pt x="1136" y="809"/>
                  </a:lnTo>
                  <a:lnTo>
                    <a:pt x="1136" y="811"/>
                  </a:lnTo>
                  <a:lnTo>
                    <a:pt x="1136" y="811"/>
                  </a:lnTo>
                  <a:lnTo>
                    <a:pt x="1138" y="809"/>
                  </a:lnTo>
                  <a:lnTo>
                    <a:pt x="1138" y="806"/>
                  </a:lnTo>
                  <a:lnTo>
                    <a:pt x="1138" y="806"/>
                  </a:lnTo>
                  <a:lnTo>
                    <a:pt x="1138" y="806"/>
                  </a:lnTo>
                  <a:lnTo>
                    <a:pt x="1138" y="806"/>
                  </a:lnTo>
                  <a:lnTo>
                    <a:pt x="1138" y="804"/>
                  </a:lnTo>
                  <a:lnTo>
                    <a:pt x="1138" y="806"/>
                  </a:lnTo>
                  <a:lnTo>
                    <a:pt x="1138" y="806"/>
                  </a:lnTo>
                  <a:lnTo>
                    <a:pt x="1136" y="806"/>
                  </a:lnTo>
                  <a:lnTo>
                    <a:pt x="1136" y="806"/>
                  </a:lnTo>
                  <a:lnTo>
                    <a:pt x="1136" y="806"/>
                  </a:lnTo>
                  <a:lnTo>
                    <a:pt x="1136" y="809"/>
                  </a:lnTo>
                  <a:close/>
                  <a:moveTo>
                    <a:pt x="918" y="851"/>
                  </a:moveTo>
                  <a:lnTo>
                    <a:pt x="918" y="851"/>
                  </a:lnTo>
                  <a:lnTo>
                    <a:pt x="916" y="849"/>
                  </a:lnTo>
                  <a:lnTo>
                    <a:pt x="918" y="849"/>
                  </a:lnTo>
                  <a:lnTo>
                    <a:pt x="918" y="849"/>
                  </a:lnTo>
                  <a:lnTo>
                    <a:pt x="916" y="849"/>
                  </a:lnTo>
                  <a:lnTo>
                    <a:pt x="916" y="849"/>
                  </a:lnTo>
                  <a:lnTo>
                    <a:pt x="916" y="849"/>
                  </a:lnTo>
                  <a:lnTo>
                    <a:pt x="916" y="849"/>
                  </a:lnTo>
                  <a:lnTo>
                    <a:pt x="916" y="849"/>
                  </a:lnTo>
                  <a:lnTo>
                    <a:pt x="916" y="849"/>
                  </a:lnTo>
                  <a:lnTo>
                    <a:pt x="916" y="851"/>
                  </a:lnTo>
                  <a:lnTo>
                    <a:pt x="916" y="851"/>
                  </a:lnTo>
                  <a:lnTo>
                    <a:pt x="913" y="851"/>
                  </a:lnTo>
                  <a:lnTo>
                    <a:pt x="916" y="854"/>
                  </a:lnTo>
                  <a:lnTo>
                    <a:pt x="916" y="854"/>
                  </a:lnTo>
                  <a:lnTo>
                    <a:pt x="918" y="851"/>
                  </a:lnTo>
                  <a:lnTo>
                    <a:pt x="918" y="851"/>
                  </a:lnTo>
                  <a:lnTo>
                    <a:pt x="918" y="851"/>
                  </a:lnTo>
                  <a:lnTo>
                    <a:pt x="918" y="851"/>
                  </a:lnTo>
                  <a:lnTo>
                    <a:pt x="918" y="851"/>
                  </a:lnTo>
                  <a:close/>
                  <a:moveTo>
                    <a:pt x="814" y="823"/>
                  </a:moveTo>
                  <a:lnTo>
                    <a:pt x="814" y="823"/>
                  </a:lnTo>
                  <a:lnTo>
                    <a:pt x="814" y="823"/>
                  </a:lnTo>
                  <a:lnTo>
                    <a:pt x="816" y="823"/>
                  </a:lnTo>
                  <a:lnTo>
                    <a:pt x="814" y="820"/>
                  </a:lnTo>
                  <a:lnTo>
                    <a:pt x="814" y="820"/>
                  </a:lnTo>
                  <a:lnTo>
                    <a:pt x="814" y="820"/>
                  </a:lnTo>
                  <a:lnTo>
                    <a:pt x="814" y="820"/>
                  </a:lnTo>
                  <a:lnTo>
                    <a:pt x="814" y="820"/>
                  </a:lnTo>
                  <a:lnTo>
                    <a:pt x="814" y="820"/>
                  </a:lnTo>
                  <a:lnTo>
                    <a:pt x="814" y="823"/>
                  </a:lnTo>
                  <a:lnTo>
                    <a:pt x="814" y="823"/>
                  </a:lnTo>
                  <a:lnTo>
                    <a:pt x="814" y="823"/>
                  </a:lnTo>
                  <a:lnTo>
                    <a:pt x="816" y="823"/>
                  </a:lnTo>
                  <a:lnTo>
                    <a:pt x="816" y="823"/>
                  </a:lnTo>
                  <a:lnTo>
                    <a:pt x="814" y="823"/>
                  </a:lnTo>
                  <a:lnTo>
                    <a:pt x="814" y="823"/>
                  </a:lnTo>
                  <a:close/>
                  <a:moveTo>
                    <a:pt x="812" y="818"/>
                  </a:moveTo>
                  <a:lnTo>
                    <a:pt x="812" y="818"/>
                  </a:lnTo>
                  <a:lnTo>
                    <a:pt x="812" y="816"/>
                  </a:lnTo>
                  <a:lnTo>
                    <a:pt x="812" y="816"/>
                  </a:lnTo>
                  <a:lnTo>
                    <a:pt x="812" y="816"/>
                  </a:lnTo>
                  <a:lnTo>
                    <a:pt x="812" y="816"/>
                  </a:lnTo>
                  <a:lnTo>
                    <a:pt x="812" y="816"/>
                  </a:lnTo>
                  <a:lnTo>
                    <a:pt x="812" y="816"/>
                  </a:lnTo>
                  <a:lnTo>
                    <a:pt x="809" y="816"/>
                  </a:lnTo>
                  <a:lnTo>
                    <a:pt x="809" y="813"/>
                  </a:lnTo>
                  <a:lnTo>
                    <a:pt x="809" y="813"/>
                  </a:lnTo>
                  <a:lnTo>
                    <a:pt x="809" y="811"/>
                  </a:lnTo>
                  <a:lnTo>
                    <a:pt x="807" y="811"/>
                  </a:lnTo>
                  <a:lnTo>
                    <a:pt x="807" y="811"/>
                  </a:lnTo>
                  <a:lnTo>
                    <a:pt x="807" y="811"/>
                  </a:lnTo>
                  <a:lnTo>
                    <a:pt x="807" y="811"/>
                  </a:lnTo>
                  <a:lnTo>
                    <a:pt x="807" y="811"/>
                  </a:lnTo>
                  <a:lnTo>
                    <a:pt x="805" y="811"/>
                  </a:lnTo>
                  <a:lnTo>
                    <a:pt x="805" y="811"/>
                  </a:lnTo>
                  <a:lnTo>
                    <a:pt x="805" y="813"/>
                  </a:lnTo>
                  <a:lnTo>
                    <a:pt x="805" y="816"/>
                  </a:lnTo>
                  <a:lnTo>
                    <a:pt x="807" y="816"/>
                  </a:lnTo>
                  <a:lnTo>
                    <a:pt x="807" y="816"/>
                  </a:lnTo>
                  <a:lnTo>
                    <a:pt x="807" y="818"/>
                  </a:lnTo>
                  <a:lnTo>
                    <a:pt x="807" y="818"/>
                  </a:lnTo>
                  <a:lnTo>
                    <a:pt x="807" y="820"/>
                  </a:lnTo>
                  <a:lnTo>
                    <a:pt x="809" y="820"/>
                  </a:lnTo>
                  <a:lnTo>
                    <a:pt x="809" y="820"/>
                  </a:lnTo>
                  <a:lnTo>
                    <a:pt x="809" y="820"/>
                  </a:lnTo>
                  <a:lnTo>
                    <a:pt x="809" y="818"/>
                  </a:lnTo>
                  <a:lnTo>
                    <a:pt x="809" y="818"/>
                  </a:lnTo>
                  <a:lnTo>
                    <a:pt x="807" y="818"/>
                  </a:lnTo>
                  <a:lnTo>
                    <a:pt x="812" y="820"/>
                  </a:lnTo>
                  <a:lnTo>
                    <a:pt x="812" y="820"/>
                  </a:lnTo>
                  <a:lnTo>
                    <a:pt x="812" y="820"/>
                  </a:lnTo>
                  <a:lnTo>
                    <a:pt x="812" y="818"/>
                  </a:lnTo>
                  <a:lnTo>
                    <a:pt x="812" y="818"/>
                  </a:lnTo>
                  <a:lnTo>
                    <a:pt x="812" y="818"/>
                  </a:lnTo>
                  <a:lnTo>
                    <a:pt x="812" y="818"/>
                  </a:lnTo>
                  <a:close/>
                  <a:moveTo>
                    <a:pt x="835" y="797"/>
                  </a:moveTo>
                  <a:lnTo>
                    <a:pt x="833" y="797"/>
                  </a:lnTo>
                  <a:lnTo>
                    <a:pt x="833" y="797"/>
                  </a:lnTo>
                  <a:lnTo>
                    <a:pt x="831" y="797"/>
                  </a:lnTo>
                  <a:lnTo>
                    <a:pt x="831" y="797"/>
                  </a:lnTo>
                  <a:lnTo>
                    <a:pt x="831" y="797"/>
                  </a:lnTo>
                  <a:lnTo>
                    <a:pt x="831" y="799"/>
                  </a:lnTo>
                  <a:lnTo>
                    <a:pt x="828" y="799"/>
                  </a:lnTo>
                  <a:lnTo>
                    <a:pt x="831" y="802"/>
                  </a:lnTo>
                  <a:lnTo>
                    <a:pt x="831" y="802"/>
                  </a:lnTo>
                  <a:lnTo>
                    <a:pt x="831" y="804"/>
                  </a:lnTo>
                  <a:lnTo>
                    <a:pt x="833" y="804"/>
                  </a:lnTo>
                  <a:lnTo>
                    <a:pt x="835" y="802"/>
                  </a:lnTo>
                  <a:lnTo>
                    <a:pt x="835" y="802"/>
                  </a:lnTo>
                  <a:lnTo>
                    <a:pt x="835" y="802"/>
                  </a:lnTo>
                  <a:lnTo>
                    <a:pt x="835" y="799"/>
                  </a:lnTo>
                  <a:lnTo>
                    <a:pt x="835" y="799"/>
                  </a:lnTo>
                  <a:lnTo>
                    <a:pt x="838" y="799"/>
                  </a:lnTo>
                  <a:lnTo>
                    <a:pt x="838" y="797"/>
                  </a:lnTo>
                  <a:lnTo>
                    <a:pt x="835" y="797"/>
                  </a:lnTo>
                  <a:close/>
                  <a:moveTo>
                    <a:pt x="1694" y="1142"/>
                  </a:moveTo>
                  <a:lnTo>
                    <a:pt x="1694" y="1145"/>
                  </a:lnTo>
                  <a:lnTo>
                    <a:pt x="1694" y="1145"/>
                  </a:lnTo>
                  <a:lnTo>
                    <a:pt x="1694" y="1145"/>
                  </a:lnTo>
                  <a:lnTo>
                    <a:pt x="1694" y="1145"/>
                  </a:lnTo>
                  <a:lnTo>
                    <a:pt x="1694" y="1145"/>
                  </a:lnTo>
                  <a:lnTo>
                    <a:pt x="1694" y="1145"/>
                  </a:lnTo>
                  <a:lnTo>
                    <a:pt x="1694" y="1145"/>
                  </a:lnTo>
                  <a:lnTo>
                    <a:pt x="1697" y="1142"/>
                  </a:lnTo>
                  <a:lnTo>
                    <a:pt x="1697" y="1142"/>
                  </a:lnTo>
                  <a:lnTo>
                    <a:pt x="1697" y="1140"/>
                  </a:lnTo>
                  <a:lnTo>
                    <a:pt x="1697" y="1140"/>
                  </a:lnTo>
                  <a:lnTo>
                    <a:pt x="1697" y="1140"/>
                  </a:lnTo>
                  <a:lnTo>
                    <a:pt x="1697" y="1140"/>
                  </a:lnTo>
                  <a:lnTo>
                    <a:pt x="1697" y="1140"/>
                  </a:lnTo>
                  <a:lnTo>
                    <a:pt x="1697" y="1137"/>
                  </a:lnTo>
                  <a:lnTo>
                    <a:pt x="1697" y="1137"/>
                  </a:lnTo>
                  <a:lnTo>
                    <a:pt x="1697" y="1137"/>
                  </a:lnTo>
                  <a:lnTo>
                    <a:pt x="1697" y="1137"/>
                  </a:lnTo>
                  <a:lnTo>
                    <a:pt x="1694" y="1137"/>
                  </a:lnTo>
                  <a:lnTo>
                    <a:pt x="1694" y="1137"/>
                  </a:lnTo>
                  <a:lnTo>
                    <a:pt x="1694" y="1140"/>
                  </a:lnTo>
                  <a:lnTo>
                    <a:pt x="1694" y="1140"/>
                  </a:lnTo>
                  <a:lnTo>
                    <a:pt x="1694" y="1140"/>
                  </a:lnTo>
                  <a:lnTo>
                    <a:pt x="1694" y="1140"/>
                  </a:lnTo>
                  <a:lnTo>
                    <a:pt x="1694" y="1140"/>
                  </a:lnTo>
                  <a:lnTo>
                    <a:pt x="1692" y="1140"/>
                  </a:lnTo>
                  <a:lnTo>
                    <a:pt x="1692" y="1142"/>
                  </a:lnTo>
                  <a:lnTo>
                    <a:pt x="1694" y="1142"/>
                  </a:lnTo>
                  <a:lnTo>
                    <a:pt x="1694" y="1142"/>
                  </a:lnTo>
                  <a:lnTo>
                    <a:pt x="1694" y="1142"/>
                  </a:lnTo>
                  <a:close/>
                  <a:moveTo>
                    <a:pt x="805" y="799"/>
                  </a:moveTo>
                  <a:lnTo>
                    <a:pt x="805" y="797"/>
                  </a:lnTo>
                  <a:lnTo>
                    <a:pt x="805" y="797"/>
                  </a:lnTo>
                  <a:lnTo>
                    <a:pt x="805" y="797"/>
                  </a:lnTo>
                  <a:lnTo>
                    <a:pt x="805" y="797"/>
                  </a:lnTo>
                  <a:lnTo>
                    <a:pt x="805" y="797"/>
                  </a:lnTo>
                  <a:lnTo>
                    <a:pt x="805" y="794"/>
                  </a:lnTo>
                  <a:lnTo>
                    <a:pt x="807" y="792"/>
                  </a:lnTo>
                  <a:lnTo>
                    <a:pt x="807" y="792"/>
                  </a:lnTo>
                  <a:lnTo>
                    <a:pt x="805" y="792"/>
                  </a:lnTo>
                  <a:lnTo>
                    <a:pt x="805" y="792"/>
                  </a:lnTo>
                  <a:lnTo>
                    <a:pt x="805" y="790"/>
                  </a:lnTo>
                  <a:lnTo>
                    <a:pt x="805" y="790"/>
                  </a:lnTo>
                  <a:lnTo>
                    <a:pt x="805" y="790"/>
                  </a:lnTo>
                  <a:lnTo>
                    <a:pt x="805" y="790"/>
                  </a:lnTo>
                  <a:lnTo>
                    <a:pt x="805" y="790"/>
                  </a:lnTo>
                  <a:lnTo>
                    <a:pt x="805" y="790"/>
                  </a:lnTo>
                  <a:lnTo>
                    <a:pt x="802" y="790"/>
                  </a:lnTo>
                  <a:lnTo>
                    <a:pt x="800" y="790"/>
                  </a:lnTo>
                  <a:lnTo>
                    <a:pt x="800" y="787"/>
                  </a:lnTo>
                  <a:lnTo>
                    <a:pt x="800" y="787"/>
                  </a:lnTo>
                  <a:lnTo>
                    <a:pt x="802" y="783"/>
                  </a:lnTo>
                  <a:lnTo>
                    <a:pt x="802" y="783"/>
                  </a:lnTo>
                  <a:lnTo>
                    <a:pt x="802" y="780"/>
                  </a:lnTo>
                  <a:lnTo>
                    <a:pt x="802" y="780"/>
                  </a:lnTo>
                  <a:lnTo>
                    <a:pt x="805" y="778"/>
                  </a:lnTo>
                  <a:lnTo>
                    <a:pt x="805" y="778"/>
                  </a:lnTo>
                  <a:lnTo>
                    <a:pt x="805" y="775"/>
                  </a:lnTo>
                  <a:lnTo>
                    <a:pt x="802" y="775"/>
                  </a:lnTo>
                  <a:lnTo>
                    <a:pt x="802" y="773"/>
                  </a:lnTo>
                  <a:lnTo>
                    <a:pt x="802" y="773"/>
                  </a:lnTo>
                  <a:lnTo>
                    <a:pt x="802" y="773"/>
                  </a:lnTo>
                  <a:lnTo>
                    <a:pt x="805" y="773"/>
                  </a:lnTo>
                  <a:lnTo>
                    <a:pt x="805" y="773"/>
                  </a:lnTo>
                  <a:lnTo>
                    <a:pt x="805" y="773"/>
                  </a:lnTo>
                  <a:lnTo>
                    <a:pt x="802" y="771"/>
                  </a:lnTo>
                  <a:lnTo>
                    <a:pt x="800" y="771"/>
                  </a:lnTo>
                  <a:lnTo>
                    <a:pt x="798" y="768"/>
                  </a:lnTo>
                  <a:lnTo>
                    <a:pt x="798" y="768"/>
                  </a:lnTo>
                  <a:lnTo>
                    <a:pt x="798" y="768"/>
                  </a:lnTo>
                  <a:lnTo>
                    <a:pt x="795" y="766"/>
                  </a:lnTo>
                  <a:lnTo>
                    <a:pt x="793" y="766"/>
                  </a:lnTo>
                  <a:lnTo>
                    <a:pt x="793" y="766"/>
                  </a:lnTo>
                  <a:lnTo>
                    <a:pt x="790" y="766"/>
                  </a:lnTo>
                  <a:lnTo>
                    <a:pt x="788" y="766"/>
                  </a:lnTo>
                  <a:lnTo>
                    <a:pt x="788" y="766"/>
                  </a:lnTo>
                  <a:lnTo>
                    <a:pt x="786" y="766"/>
                  </a:lnTo>
                  <a:lnTo>
                    <a:pt x="786" y="766"/>
                  </a:lnTo>
                  <a:lnTo>
                    <a:pt x="783" y="766"/>
                  </a:lnTo>
                  <a:lnTo>
                    <a:pt x="781" y="766"/>
                  </a:lnTo>
                  <a:lnTo>
                    <a:pt x="781" y="766"/>
                  </a:lnTo>
                  <a:lnTo>
                    <a:pt x="781" y="766"/>
                  </a:lnTo>
                  <a:lnTo>
                    <a:pt x="781" y="766"/>
                  </a:lnTo>
                  <a:lnTo>
                    <a:pt x="779" y="766"/>
                  </a:lnTo>
                  <a:lnTo>
                    <a:pt x="779" y="766"/>
                  </a:lnTo>
                  <a:lnTo>
                    <a:pt x="779" y="764"/>
                  </a:lnTo>
                  <a:lnTo>
                    <a:pt x="776" y="761"/>
                  </a:lnTo>
                  <a:lnTo>
                    <a:pt x="776" y="761"/>
                  </a:lnTo>
                  <a:lnTo>
                    <a:pt x="774" y="761"/>
                  </a:lnTo>
                  <a:lnTo>
                    <a:pt x="771" y="761"/>
                  </a:lnTo>
                  <a:lnTo>
                    <a:pt x="771" y="761"/>
                  </a:lnTo>
                  <a:lnTo>
                    <a:pt x="769" y="764"/>
                  </a:lnTo>
                  <a:lnTo>
                    <a:pt x="769" y="764"/>
                  </a:lnTo>
                  <a:lnTo>
                    <a:pt x="762" y="768"/>
                  </a:lnTo>
                  <a:lnTo>
                    <a:pt x="760" y="768"/>
                  </a:lnTo>
                  <a:lnTo>
                    <a:pt x="757" y="768"/>
                  </a:lnTo>
                  <a:lnTo>
                    <a:pt x="755" y="768"/>
                  </a:lnTo>
                  <a:lnTo>
                    <a:pt x="753" y="768"/>
                  </a:lnTo>
                  <a:lnTo>
                    <a:pt x="753" y="768"/>
                  </a:lnTo>
                  <a:lnTo>
                    <a:pt x="753" y="768"/>
                  </a:lnTo>
                  <a:lnTo>
                    <a:pt x="750" y="771"/>
                  </a:lnTo>
                  <a:lnTo>
                    <a:pt x="750" y="771"/>
                  </a:lnTo>
                  <a:lnTo>
                    <a:pt x="750" y="771"/>
                  </a:lnTo>
                  <a:lnTo>
                    <a:pt x="750" y="773"/>
                  </a:lnTo>
                  <a:lnTo>
                    <a:pt x="750" y="773"/>
                  </a:lnTo>
                  <a:lnTo>
                    <a:pt x="750" y="773"/>
                  </a:lnTo>
                  <a:lnTo>
                    <a:pt x="750" y="775"/>
                  </a:lnTo>
                  <a:lnTo>
                    <a:pt x="750" y="775"/>
                  </a:lnTo>
                  <a:lnTo>
                    <a:pt x="750" y="775"/>
                  </a:lnTo>
                  <a:lnTo>
                    <a:pt x="750" y="778"/>
                  </a:lnTo>
                  <a:lnTo>
                    <a:pt x="750" y="778"/>
                  </a:lnTo>
                  <a:lnTo>
                    <a:pt x="750" y="780"/>
                  </a:lnTo>
                  <a:lnTo>
                    <a:pt x="755" y="783"/>
                  </a:lnTo>
                  <a:lnTo>
                    <a:pt x="755" y="783"/>
                  </a:lnTo>
                  <a:lnTo>
                    <a:pt x="755" y="783"/>
                  </a:lnTo>
                  <a:lnTo>
                    <a:pt x="757" y="783"/>
                  </a:lnTo>
                  <a:lnTo>
                    <a:pt x="757" y="785"/>
                  </a:lnTo>
                  <a:lnTo>
                    <a:pt x="760" y="785"/>
                  </a:lnTo>
                  <a:lnTo>
                    <a:pt x="762" y="785"/>
                  </a:lnTo>
                  <a:lnTo>
                    <a:pt x="764" y="785"/>
                  </a:lnTo>
                  <a:lnTo>
                    <a:pt x="764" y="785"/>
                  </a:lnTo>
                  <a:lnTo>
                    <a:pt x="767" y="783"/>
                  </a:lnTo>
                  <a:lnTo>
                    <a:pt x="767" y="783"/>
                  </a:lnTo>
                  <a:lnTo>
                    <a:pt x="767" y="783"/>
                  </a:lnTo>
                  <a:lnTo>
                    <a:pt x="767" y="783"/>
                  </a:lnTo>
                  <a:lnTo>
                    <a:pt x="767" y="783"/>
                  </a:lnTo>
                  <a:lnTo>
                    <a:pt x="771" y="780"/>
                  </a:lnTo>
                  <a:lnTo>
                    <a:pt x="774" y="780"/>
                  </a:lnTo>
                  <a:lnTo>
                    <a:pt x="774" y="783"/>
                  </a:lnTo>
                  <a:lnTo>
                    <a:pt x="786" y="787"/>
                  </a:lnTo>
                  <a:lnTo>
                    <a:pt x="788" y="790"/>
                  </a:lnTo>
                  <a:lnTo>
                    <a:pt x="788" y="792"/>
                  </a:lnTo>
                  <a:lnTo>
                    <a:pt x="790" y="792"/>
                  </a:lnTo>
                  <a:lnTo>
                    <a:pt x="793" y="792"/>
                  </a:lnTo>
                  <a:lnTo>
                    <a:pt x="793" y="792"/>
                  </a:lnTo>
                  <a:lnTo>
                    <a:pt x="795" y="792"/>
                  </a:lnTo>
                  <a:lnTo>
                    <a:pt x="795" y="792"/>
                  </a:lnTo>
                  <a:lnTo>
                    <a:pt x="795" y="790"/>
                  </a:lnTo>
                  <a:lnTo>
                    <a:pt x="798" y="790"/>
                  </a:lnTo>
                  <a:lnTo>
                    <a:pt x="798" y="790"/>
                  </a:lnTo>
                  <a:lnTo>
                    <a:pt x="798" y="787"/>
                  </a:lnTo>
                  <a:lnTo>
                    <a:pt x="798" y="790"/>
                  </a:lnTo>
                  <a:lnTo>
                    <a:pt x="800" y="787"/>
                  </a:lnTo>
                  <a:lnTo>
                    <a:pt x="800" y="790"/>
                  </a:lnTo>
                  <a:lnTo>
                    <a:pt x="800" y="792"/>
                  </a:lnTo>
                  <a:lnTo>
                    <a:pt x="800" y="792"/>
                  </a:lnTo>
                  <a:lnTo>
                    <a:pt x="800" y="792"/>
                  </a:lnTo>
                  <a:lnTo>
                    <a:pt x="800" y="792"/>
                  </a:lnTo>
                  <a:lnTo>
                    <a:pt x="800" y="794"/>
                  </a:lnTo>
                  <a:lnTo>
                    <a:pt x="800" y="794"/>
                  </a:lnTo>
                  <a:lnTo>
                    <a:pt x="802" y="794"/>
                  </a:lnTo>
                  <a:lnTo>
                    <a:pt x="802" y="794"/>
                  </a:lnTo>
                  <a:lnTo>
                    <a:pt x="802" y="794"/>
                  </a:lnTo>
                  <a:lnTo>
                    <a:pt x="802" y="794"/>
                  </a:lnTo>
                  <a:lnTo>
                    <a:pt x="805" y="794"/>
                  </a:lnTo>
                  <a:lnTo>
                    <a:pt x="805" y="794"/>
                  </a:lnTo>
                  <a:lnTo>
                    <a:pt x="805" y="797"/>
                  </a:lnTo>
                  <a:lnTo>
                    <a:pt x="805" y="797"/>
                  </a:lnTo>
                  <a:lnTo>
                    <a:pt x="802" y="797"/>
                  </a:lnTo>
                  <a:lnTo>
                    <a:pt x="802" y="797"/>
                  </a:lnTo>
                  <a:lnTo>
                    <a:pt x="802" y="797"/>
                  </a:lnTo>
                  <a:lnTo>
                    <a:pt x="805" y="799"/>
                  </a:lnTo>
                  <a:lnTo>
                    <a:pt x="805" y="799"/>
                  </a:lnTo>
                  <a:lnTo>
                    <a:pt x="805" y="799"/>
                  </a:lnTo>
                  <a:close/>
                  <a:moveTo>
                    <a:pt x="727" y="771"/>
                  </a:moveTo>
                  <a:lnTo>
                    <a:pt x="724" y="771"/>
                  </a:lnTo>
                  <a:lnTo>
                    <a:pt x="724" y="771"/>
                  </a:lnTo>
                  <a:lnTo>
                    <a:pt x="724" y="771"/>
                  </a:lnTo>
                  <a:lnTo>
                    <a:pt x="724" y="771"/>
                  </a:lnTo>
                  <a:lnTo>
                    <a:pt x="724" y="771"/>
                  </a:lnTo>
                  <a:lnTo>
                    <a:pt x="724" y="771"/>
                  </a:lnTo>
                  <a:lnTo>
                    <a:pt x="724" y="771"/>
                  </a:lnTo>
                  <a:lnTo>
                    <a:pt x="724" y="771"/>
                  </a:lnTo>
                  <a:lnTo>
                    <a:pt x="724" y="771"/>
                  </a:lnTo>
                  <a:lnTo>
                    <a:pt x="724" y="771"/>
                  </a:lnTo>
                  <a:lnTo>
                    <a:pt x="724" y="771"/>
                  </a:lnTo>
                  <a:lnTo>
                    <a:pt x="724" y="771"/>
                  </a:lnTo>
                  <a:lnTo>
                    <a:pt x="724" y="771"/>
                  </a:lnTo>
                  <a:lnTo>
                    <a:pt x="724" y="771"/>
                  </a:lnTo>
                  <a:lnTo>
                    <a:pt x="722" y="771"/>
                  </a:lnTo>
                  <a:lnTo>
                    <a:pt x="722" y="771"/>
                  </a:lnTo>
                  <a:lnTo>
                    <a:pt x="722" y="771"/>
                  </a:lnTo>
                  <a:lnTo>
                    <a:pt x="722" y="771"/>
                  </a:lnTo>
                  <a:lnTo>
                    <a:pt x="724" y="773"/>
                  </a:lnTo>
                  <a:lnTo>
                    <a:pt x="724" y="773"/>
                  </a:lnTo>
                  <a:lnTo>
                    <a:pt x="722" y="773"/>
                  </a:lnTo>
                  <a:lnTo>
                    <a:pt x="722" y="773"/>
                  </a:lnTo>
                  <a:lnTo>
                    <a:pt x="722" y="775"/>
                  </a:lnTo>
                  <a:lnTo>
                    <a:pt x="722" y="775"/>
                  </a:lnTo>
                  <a:lnTo>
                    <a:pt x="719" y="775"/>
                  </a:lnTo>
                  <a:lnTo>
                    <a:pt x="719" y="778"/>
                  </a:lnTo>
                  <a:lnTo>
                    <a:pt x="719" y="778"/>
                  </a:lnTo>
                  <a:lnTo>
                    <a:pt x="719" y="778"/>
                  </a:lnTo>
                  <a:lnTo>
                    <a:pt x="719" y="778"/>
                  </a:lnTo>
                  <a:lnTo>
                    <a:pt x="719" y="780"/>
                  </a:lnTo>
                  <a:lnTo>
                    <a:pt x="722" y="780"/>
                  </a:lnTo>
                  <a:lnTo>
                    <a:pt x="722" y="778"/>
                  </a:lnTo>
                  <a:lnTo>
                    <a:pt x="722" y="778"/>
                  </a:lnTo>
                  <a:lnTo>
                    <a:pt x="722" y="778"/>
                  </a:lnTo>
                  <a:lnTo>
                    <a:pt x="722" y="778"/>
                  </a:lnTo>
                  <a:lnTo>
                    <a:pt x="724" y="778"/>
                  </a:lnTo>
                  <a:lnTo>
                    <a:pt x="724" y="778"/>
                  </a:lnTo>
                  <a:lnTo>
                    <a:pt x="724" y="778"/>
                  </a:lnTo>
                  <a:lnTo>
                    <a:pt x="724" y="778"/>
                  </a:lnTo>
                  <a:lnTo>
                    <a:pt x="724" y="778"/>
                  </a:lnTo>
                  <a:lnTo>
                    <a:pt x="727" y="778"/>
                  </a:lnTo>
                  <a:lnTo>
                    <a:pt x="727" y="778"/>
                  </a:lnTo>
                  <a:lnTo>
                    <a:pt x="727" y="778"/>
                  </a:lnTo>
                  <a:lnTo>
                    <a:pt x="727" y="778"/>
                  </a:lnTo>
                  <a:lnTo>
                    <a:pt x="727" y="778"/>
                  </a:lnTo>
                  <a:lnTo>
                    <a:pt x="724" y="775"/>
                  </a:lnTo>
                  <a:lnTo>
                    <a:pt x="724" y="775"/>
                  </a:lnTo>
                  <a:lnTo>
                    <a:pt x="724" y="773"/>
                  </a:lnTo>
                  <a:lnTo>
                    <a:pt x="724" y="773"/>
                  </a:lnTo>
                  <a:lnTo>
                    <a:pt x="724" y="773"/>
                  </a:lnTo>
                  <a:lnTo>
                    <a:pt x="724" y="773"/>
                  </a:lnTo>
                  <a:lnTo>
                    <a:pt x="724" y="773"/>
                  </a:lnTo>
                  <a:lnTo>
                    <a:pt x="727" y="773"/>
                  </a:lnTo>
                  <a:lnTo>
                    <a:pt x="727" y="773"/>
                  </a:lnTo>
                  <a:lnTo>
                    <a:pt x="727" y="773"/>
                  </a:lnTo>
                  <a:lnTo>
                    <a:pt x="727" y="773"/>
                  </a:lnTo>
                  <a:lnTo>
                    <a:pt x="729" y="773"/>
                  </a:lnTo>
                  <a:lnTo>
                    <a:pt x="729" y="773"/>
                  </a:lnTo>
                  <a:lnTo>
                    <a:pt x="727" y="771"/>
                  </a:lnTo>
                  <a:lnTo>
                    <a:pt x="727" y="771"/>
                  </a:lnTo>
                  <a:close/>
                  <a:moveTo>
                    <a:pt x="717" y="775"/>
                  </a:moveTo>
                  <a:lnTo>
                    <a:pt x="715" y="775"/>
                  </a:lnTo>
                  <a:lnTo>
                    <a:pt x="715" y="773"/>
                  </a:lnTo>
                  <a:lnTo>
                    <a:pt x="715" y="773"/>
                  </a:lnTo>
                  <a:lnTo>
                    <a:pt x="715" y="773"/>
                  </a:lnTo>
                  <a:lnTo>
                    <a:pt x="717" y="773"/>
                  </a:lnTo>
                  <a:lnTo>
                    <a:pt x="717" y="773"/>
                  </a:lnTo>
                  <a:lnTo>
                    <a:pt x="717" y="773"/>
                  </a:lnTo>
                  <a:lnTo>
                    <a:pt x="717" y="773"/>
                  </a:lnTo>
                  <a:lnTo>
                    <a:pt x="717" y="771"/>
                  </a:lnTo>
                  <a:lnTo>
                    <a:pt x="715" y="771"/>
                  </a:lnTo>
                  <a:lnTo>
                    <a:pt x="715" y="771"/>
                  </a:lnTo>
                  <a:lnTo>
                    <a:pt x="715" y="771"/>
                  </a:lnTo>
                  <a:lnTo>
                    <a:pt x="715" y="771"/>
                  </a:lnTo>
                  <a:lnTo>
                    <a:pt x="715" y="768"/>
                  </a:lnTo>
                  <a:lnTo>
                    <a:pt x="715" y="768"/>
                  </a:lnTo>
                  <a:lnTo>
                    <a:pt x="715" y="768"/>
                  </a:lnTo>
                  <a:lnTo>
                    <a:pt x="715" y="768"/>
                  </a:lnTo>
                  <a:lnTo>
                    <a:pt x="715" y="768"/>
                  </a:lnTo>
                  <a:lnTo>
                    <a:pt x="715" y="768"/>
                  </a:lnTo>
                  <a:lnTo>
                    <a:pt x="712" y="766"/>
                  </a:lnTo>
                  <a:lnTo>
                    <a:pt x="710" y="766"/>
                  </a:lnTo>
                  <a:lnTo>
                    <a:pt x="710" y="766"/>
                  </a:lnTo>
                  <a:lnTo>
                    <a:pt x="708" y="766"/>
                  </a:lnTo>
                  <a:lnTo>
                    <a:pt x="708" y="766"/>
                  </a:lnTo>
                  <a:lnTo>
                    <a:pt x="708" y="768"/>
                  </a:lnTo>
                  <a:lnTo>
                    <a:pt x="708" y="768"/>
                  </a:lnTo>
                  <a:lnTo>
                    <a:pt x="708" y="768"/>
                  </a:lnTo>
                  <a:lnTo>
                    <a:pt x="705" y="768"/>
                  </a:lnTo>
                  <a:lnTo>
                    <a:pt x="705" y="771"/>
                  </a:lnTo>
                  <a:lnTo>
                    <a:pt x="705" y="771"/>
                  </a:lnTo>
                  <a:lnTo>
                    <a:pt x="705" y="773"/>
                  </a:lnTo>
                  <a:lnTo>
                    <a:pt x="705" y="773"/>
                  </a:lnTo>
                  <a:lnTo>
                    <a:pt x="705" y="773"/>
                  </a:lnTo>
                  <a:lnTo>
                    <a:pt x="708" y="773"/>
                  </a:lnTo>
                  <a:lnTo>
                    <a:pt x="708" y="773"/>
                  </a:lnTo>
                  <a:lnTo>
                    <a:pt x="708" y="773"/>
                  </a:lnTo>
                  <a:lnTo>
                    <a:pt x="708" y="775"/>
                  </a:lnTo>
                  <a:lnTo>
                    <a:pt x="710" y="775"/>
                  </a:lnTo>
                  <a:lnTo>
                    <a:pt x="710" y="775"/>
                  </a:lnTo>
                  <a:lnTo>
                    <a:pt x="710" y="775"/>
                  </a:lnTo>
                  <a:lnTo>
                    <a:pt x="710" y="775"/>
                  </a:lnTo>
                  <a:lnTo>
                    <a:pt x="710" y="778"/>
                  </a:lnTo>
                  <a:lnTo>
                    <a:pt x="710" y="778"/>
                  </a:lnTo>
                  <a:lnTo>
                    <a:pt x="712" y="775"/>
                  </a:lnTo>
                  <a:lnTo>
                    <a:pt x="712" y="775"/>
                  </a:lnTo>
                  <a:lnTo>
                    <a:pt x="712" y="775"/>
                  </a:lnTo>
                  <a:lnTo>
                    <a:pt x="712" y="778"/>
                  </a:lnTo>
                  <a:lnTo>
                    <a:pt x="712" y="778"/>
                  </a:lnTo>
                  <a:lnTo>
                    <a:pt x="715" y="778"/>
                  </a:lnTo>
                  <a:lnTo>
                    <a:pt x="717" y="778"/>
                  </a:lnTo>
                  <a:lnTo>
                    <a:pt x="717" y="778"/>
                  </a:lnTo>
                  <a:lnTo>
                    <a:pt x="717" y="778"/>
                  </a:lnTo>
                  <a:lnTo>
                    <a:pt x="719" y="778"/>
                  </a:lnTo>
                  <a:lnTo>
                    <a:pt x="717" y="775"/>
                  </a:lnTo>
                  <a:lnTo>
                    <a:pt x="717" y="775"/>
                  </a:lnTo>
                  <a:close/>
                  <a:moveTo>
                    <a:pt x="958" y="813"/>
                  </a:moveTo>
                  <a:lnTo>
                    <a:pt x="958" y="813"/>
                  </a:lnTo>
                  <a:lnTo>
                    <a:pt x="958" y="813"/>
                  </a:lnTo>
                  <a:lnTo>
                    <a:pt x="958" y="811"/>
                  </a:lnTo>
                  <a:lnTo>
                    <a:pt x="956" y="811"/>
                  </a:lnTo>
                  <a:lnTo>
                    <a:pt x="956" y="811"/>
                  </a:lnTo>
                  <a:lnTo>
                    <a:pt x="954" y="811"/>
                  </a:lnTo>
                  <a:lnTo>
                    <a:pt x="954" y="811"/>
                  </a:lnTo>
                  <a:lnTo>
                    <a:pt x="954" y="811"/>
                  </a:lnTo>
                  <a:lnTo>
                    <a:pt x="954" y="813"/>
                  </a:lnTo>
                  <a:lnTo>
                    <a:pt x="954" y="813"/>
                  </a:lnTo>
                  <a:lnTo>
                    <a:pt x="954" y="813"/>
                  </a:lnTo>
                  <a:lnTo>
                    <a:pt x="954" y="813"/>
                  </a:lnTo>
                  <a:lnTo>
                    <a:pt x="954" y="813"/>
                  </a:lnTo>
                  <a:lnTo>
                    <a:pt x="954" y="813"/>
                  </a:lnTo>
                  <a:lnTo>
                    <a:pt x="954" y="813"/>
                  </a:lnTo>
                  <a:lnTo>
                    <a:pt x="954" y="813"/>
                  </a:lnTo>
                  <a:lnTo>
                    <a:pt x="954" y="813"/>
                  </a:lnTo>
                  <a:lnTo>
                    <a:pt x="956" y="811"/>
                  </a:lnTo>
                  <a:lnTo>
                    <a:pt x="956" y="813"/>
                  </a:lnTo>
                  <a:lnTo>
                    <a:pt x="958" y="816"/>
                  </a:lnTo>
                  <a:lnTo>
                    <a:pt x="958" y="816"/>
                  </a:lnTo>
                  <a:lnTo>
                    <a:pt x="958" y="813"/>
                  </a:lnTo>
                  <a:lnTo>
                    <a:pt x="958" y="813"/>
                  </a:lnTo>
                  <a:close/>
                  <a:moveTo>
                    <a:pt x="738" y="790"/>
                  </a:moveTo>
                  <a:lnTo>
                    <a:pt x="738" y="790"/>
                  </a:lnTo>
                  <a:lnTo>
                    <a:pt x="736" y="790"/>
                  </a:lnTo>
                  <a:lnTo>
                    <a:pt x="736" y="790"/>
                  </a:lnTo>
                  <a:lnTo>
                    <a:pt x="736" y="790"/>
                  </a:lnTo>
                  <a:lnTo>
                    <a:pt x="736" y="790"/>
                  </a:lnTo>
                  <a:lnTo>
                    <a:pt x="734" y="790"/>
                  </a:lnTo>
                  <a:lnTo>
                    <a:pt x="734" y="790"/>
                  </a:lnTo>
                  <a:lnTo>
                    <a:pt x="734" y="787"/>
                  </a:lnTo>
                  <a:lnTo>
                    <a:pt x="734" y="787"/>
                  </a:lnTo>
                  <a:lnTo>
                    <a:pt x="734" y="787"/>
                  </a:lnTo>
                  <a:lnTo>
                    <a:pt x="734" y="787"/>
                  </a:lnTo>
                  <a:lnTo>
                    <a:pt x="734" y="787"/>
                  </a:lnTo>
                  <a:lnTo>
                    <a:pt x="734" y="787"/>
                  </a:lnTo>
                  <a:lnTo>
                    <a:pt x="734" y="787"/>
                  </a:lnTo>
                  <a:lnTo>
                    <a:pt x="734" y="787"/>
                  </a:lnTo>
                  <a:lnTo>
                    <a:pt x="734" y="787"/>
                  </a:lnTo>
                  <a:lnTo>
                    <a:pt x="734" y="787"/>
                  </a:lnTo>
                  <a:lnTo>
                    <a:pt x="734" y="787"/>
                  </a:lnTo>
                  <a:lnTo>
                    <a:pt x="731" y="787"/>
                  </a:lnTo>
                  <a:lnTo>
                    <a:pt x="731" y="787"/>
                  </a:lnTo>
                  <a:lnTo>
                    <a:pt x="731" y="787"/>
                  </a:lnTo>
                  <a:lnTo>
                    <a:pt x="731" y="785"/>
                  </a:lnTo>
                  <a:lnTo>
                    <a:pt x="731" y="785"/>
                  </a:lnTo>
                  <a:lnTo>
                    <a:pt x="731" y="785"/>
                  </a:lnTo>
                  <a:lnTo>
                    <a:pt x="729" y="785"/>
                  </a:lnTo>
                  <a:lnTo>
                    <a:pt x="729" y="785"/>
                  </a:lnTo>
                  <a:lnTo>
                    <a:pt x="729" y="787"/>
                  </a:lnTo>
                  <a:lnTo>
                    <a:pt x="729" y="787"/>
                  </a:lnTo>
                  <a:lnTo>
                    <a:pt x="731" y="790"/>
                  </a:lnTo>
                  <a:lnTo>
                    <a:pt x="731" y="790"/>
                  </a:lnTo>
                  <a:lnTo>
                    <a:pt x="731" y="790"/>
                  </a:lnTo>
                  <a:lnTo>
                    <a:pt x="731" y="790"/>
                  </a:lnTo>
                  <a:lnTo>
                    <a:pt x="731" y="790"/>
                  </a:lnTo>
                  <a:lnTo>
                    <a:pt x="731" y="790"/>
                  </a:lnTo>
                  <a:lnTo>
                    <a:pt x="731" y="790"/>
                  </a:lnTo>
                  <a:lnTo>
                    <a:pt x="734" y="790"/>
                  </a:lnTo>
                  <a:lnTo>
                    <a:pt x="736" y="792"/>
                  </a:lnTo>
                  <a:lnTo>
                    <a:pt x="736" y="792"/>
                  </a:lnTo>
                  <a:lnTo>
                    <a:pt x="736" y="792"/>
                  </a:lnTo>
                  <a:lnTo>
                    <a:pt x="736" y="792"/>
                  </a:lnTo>
                  <a:lnTo>
                    <a:pt x="738" y="790"/>
                  </a:lnTo>
                  <a:lnTo>
                    <a:pt x="738" y="790"/>
                  </a:lnTo>
                  <a:lnTo>
                    <a:pt x="738" y="790"/>
                  </a:lnTo>
                  <a:lnTo>
                    <a:pt x="738" y="790"/>
                  </a:lnTo>
                  <a:close/>
                  <a:moveTo>
                    <a:pt x="861" y="797"/>
                  </a:moveTo>
                  <a:lnTo>
                    <a:pt x="861" y="794"/>
                  </a:lnTo>
                  <a:lnTo>
                    <a:pt x="859" y="794"/>
                  </a:lnTo>
                  <a:lnTo>
                    <a:pt x="859" y="797"/>
                  </a:lnTo>
                  <a:lnTo>
                    <a:pt x="859" y="797"/>
                  </a:lnTo>
                  <a:lnTo>
                    <a:pt x="859" y="797"/>
                  </a:lnTo>
                  <a:lnTo>
                    <a:pt x="859" y="797"/>
                  </a:lnTo>
                  <a:lnTo>
                    <a:pt x="859" y="797"/>
                  </a:lnTo>
                  <a:lnTo>
                    <a:pt x="861" y="799"/>
                  </a:lnTo>
                  <a:lnTo>
                    <a:pt x="861" y="799"/>
                  </a:lnTo>
                  <a:lnTo>
                    <a:pt x="861" y="799"/>
                  </a:lnTo>
                  <a:lnTo>
                    <a:pt x="864" y="799"/>
                  </a:lnTo>
                  <a:lnTo>
                    <a:pt x="864" y="797"/>
                  </a:lnTo>
                  <a:lnTo>
                    <a:pt x="864" y="797"/>
                  </a:lnTo>
                  <a:lnTo>
                    <a:pt x="864" y="797"/>
                  </a:lnTo>
                  <a:lnTo>
                    <a:pt x="861" y="797"/>
                  </a:lnTo>
                  <a:close/>
                  <a:moveTo>
                    <a:pt x="750" y="357"/>
                  </a:moveTo>
                  <a:lnTo>
                    <a:pt x="750" y="357"/>
                  </a:lnTo>
                  <a:lnTo>
                    <a:pt x="750" y="359"/>
                  </a:lnTo>
                  <a:lnTo>
                    <a:pt x="750" y="359"/>
                  </a:lnTo>
                  <a:lnTo>
                    <a:pt x="750" y="359"/>
                  </a:lnTo>
                  <a:lnTo>
                    <a:pt x="750" y="359"/>
                  </a:lnTo>
                  <a:lnTo>
                    <a:pt x="753" y="362"/>
                  </a:lnTo>
                  <a:lnTo>
                    <a:pt x="753" y="362"/>
                  </a:lnTo>
                  <a:lnTo>
                    <a:pt x="753" y="364"/>
                  </a:lnTo>
                  <a:lnTo>
                    <a:pt x="753" y="364"/>
                  </a:lnTo>
                  <a:lnTo>
                    <a:pt x="753" y="364"/>
                  </a:lnTo>
                  <a:lnTo>
                    <a:pt x="755" y="364"/>
                  </a:lnTo>
                  <a:lnTo>
                    <a:pt x="755" y="364"/>
                  </a:lnTo>
                  <a:lnTo>
                    <a:pt x="757" y="366"/>
                  </a:lnTo>
                  <a:lnTo>
                    <a:pt x="757" y="366"/>
                  </a:lnTo>
                  <a:lnTo>
                    <a:pt x="757" y="366"/>
                  </a:lnTo>
                  <a:lnTo>
                    <a:pt x="760" y="369"/>
                  </a:lnTo>
                  <a:lnTo>
                    <a:pt x="760" y="371"/>
                  </a:lnTo>
                  <a:lnTo>
                    <a:pt x="760" y="371"/>
                  </a:lnTo>
                  <a:lnTo>
                    <a:pt x="760" y="371"/>
                  </a:lnTo>
                  <a:lnTo>
                    <a:pt x="760" y="371"/>
                  </a:lnTo>
                  <a:lnTo>
                    <a:pt x="760" y="371"/>
                  </a:lnTo>
                  <a:lnTo>
                    <a:pt x="760" y="369"/>
                  </a:lnTo>
                  <a:lnTo>
                    <a:pt x="760" y="369"/>
                  </a:lnTo>
                  <a:lnTo>
                    <a:pt x="760" y="369"/>
                  </a:lnTo>
                  <a:lnTo>
                    <a:pt x="760" y="364"/>
                  </a:lnTo>
                  <a:lnTo>
                    <a:pt x="760" y="364"/>
                  </a:lnTo>
                  <a:lnTo>
                    <a:pt x="757" y="362"/>
                  </a:lnTo>
                  <a:lnTo>
                    <a:pt x="755" y="362"/>
                  </a:lnTo>
                  <a:lnTo>
                    <a:pt x="753" y="352"/>
                  </a:lnTo>
                  <a:lnTo>
                    <a:pt x="753" y="350"/>
                  </a:lnTo>
                  <a:lnTo>
                    <a:pt x="753" y="350"/>
                  </a:lnTo>
                  <a:lnTo>
                    <a:pt x="753" y="347"/>
                  </a:lnTo>
                  <a:lnTo>
                    <a:pt x="753" y="347"/>
                  </a:lnTo>
                  <a:lnTo>
                    <a:pt x="753" y="345"/>
                  </a:lnTo>
                  <a:lnTo>
                    <a:pt x="755" y="345"/>
                  </a:lnTo>
                  <a:lnTo>
                    <a:pt x="755" y="345"/>
                  </a:lnTo>
                  <a:lnTo>
                    <a:pt x="755" y="345"/>
                  </a:lnTo>
                  <a:lnTo>
                    <a:pt x="753" y="345"/>
                  </a:lnTo>
                  <a:lnTo>
                    <a:pt x="750" y="345"/>
                  </a:lnTo>
                  <a:lnTo>
                    <a:pt x="750" y="345"/>
                  </a:lnTo>
                  <a:lnTo>
                    <a:pt x="750" y="345"/>
                  </a:lnTo>
                  <a:lnTo>
                    <a:pt x="750" y="345"/>
                  </a:lnTo>
                  <a:lnTo>
                    <a:pt x="750" y="345"/>
                  </a:lnTo>
                  <a:lnTo>
                    <a:pt x="750" y="345"/>
                  </a:lnTo>
                  <a:lnTo>
                    <a:pt x="750" y="345"/>
                  </a:lnTo>
                  <a:lnTo>
                    <a:pt x="750" y="345"/>
                  </a:lnTo>
                  <a:lnTo>
                    <a:pt x="750" y="345"/>
                  </a:lnTo>
                  <a:lnTo>
                    <a:pt x="748" y="347"/>
                  </a:lnTo>
                  <a:lnTo>
                    <a:pt x="748" y="347"/>
                  </a:lnTo>
                  <a:lnTo>
                    <a:pt x="748" y="347"/>
                  </a:lnTo>
                  <a:lnTo>
                    <a:pt x="748" y="347"/>
                  </a:lnTo>
                  <a:lnTo>
                    <a:pt x="748" y="347"/>
                  </a:lnTo>
                  <a:lnTo>
                    <a:pt x="750" y="357"/>
                  </a:lnTo>
                  <a:lnTo>
                    <a:pt x="750" y="357"/>
                  </a:lnTo>
                  <a:close/>
                  <a:moveTo>
                    <a:pt x="724" y="783"/>
                  </a:moveTo>
                  <a:lnTo>
                    <a:pt x="722" y="783"/>
                  </a:lnTo>
                  <a:lnTo>
                    <a:pt x="722" y="783"/>
                  </a:lnTo>
                  <a:lnTo>
                    <a:pt x="724" y="783"/>
                  </a:lnTo>
                  <a:lnTo>
                    <a:pt x="724" y="785"/>
                  </a:lnTo>
                  <a:lnTo>
                    <a:pt x="724" y="785"/>
                  </a:lnTo>
                  <a:lnTo>
                    <a:pt x="727" y="785"/>
                  </a:lnTo>
                  <a:lnTo>
                    <a:pt x="727" y="787"/>
                  </a:lnTo>
                  <a:lnTo>
                    <a:pt x="727" y="787"/>
                  </a:lnTo>
                  <a:lnTo>
                    <a:pt x="727" y="787"/>
                  </a:lnTo>
                  <a:lnTo>
                    <a:pt x="727" y="787"/>
                  </a:lnTo>
                  <a:lnTo>
                    <a:pt x="727" y="787"/>
                  </a:lnTo>
                  <a:lnTo>
                    <a:pt x="727" y="787"/>
                  </a:lnTo>
                  <a:lnTo>
                    <a:pt x="727" y="787"/>
                  </a:lnTo>
                  <a:lnTo>
                    <a:pt x="727" y="787"/>
                  </a:lnTo>
                  <a:lnTo>
                    <a:pt x="727" y="787"/>
                  </a:lnTo>
                  <a:lnTo>
                    <a:pt x="729" y="787"/>
                  </a:lnTo>
                  <a:lnTo>
                    <a:pt x="729" y="785"/>
                  </a:lnTo>
                  <a:lnTo>
                    <a:pt x="729" y="785"/>
                  </a:lnTo>
                  <a:lnTo>
                    <a:pt x="724" y="783"/>
                  </a:lnTo>
                  <a:close/>
                  <a:moveTo>
                    <a:pt x="906" y="809"/>
                  </a:moveTo>
                  <a:lnTo>
                    <a:pt x="904" y="809"/>
                  </a:lnTo>
                  <a:lnTo>
                    <a:pt x="904" y="809"/>
                  </a:lnTo>
                  <a:lnTo>
                    <a:pt x="902" y="809"/>
                  </a:lnTo>
                  <a:lnTo>
                    <a:pt x="902" y="809"/>
                  </a:lnTo>
                  <a:lnTo>
                    <a:pt x="902" y="809"/>
                  </a:lnTo>
                  <a:lnTo>
                    <a:pt x="902" y="811"/>
                  </a:lnTo>
                  <a:lnTo>
                    <a:pt x="902" y="811"/>
                  </a:lnTo>
                  <a:lnTo>
                    <a:pt x="902" y="811"/>
                  </a:lnTo>
                  <a:lnTo>
                    <a:pt x="904" y="811"/>
                  </a:lnTo>
                  <a:lnTo>
                    <a:pt x="904" y="811"/>
                  </a:lnTo>
                  <a:lnTo>
                    <a:pt x="904" y="811"/>
                  </a:lnTo>
                  <a:lnTo>
                    <a:pt x="904" y="811"/>
                  </a:lnTo>
                  <a:lnTo>
                    <a:pt x="906" y="811"/>
                  </a:lnTo>
                  <a:lnTo>
                    <a:pt x="906" y="813"/>
                  </a:lnTo>
                  <a:lnTo>
                    <a:pt x="906" y="813"/>
                  </a:lnTo>
                  <a:lnTo>
                    <a:pt x="906" y="813"/>
                  </a:lnTo>
                  <a:lnTo>
                    <a:pt x="906" y="813"/>
                  </a:lnTo>
                  <a:lnTo>
                    <a:pt x="906" y="813"/>
                  </a:lnTo>
                  <a:lnTo>
                    <a:pt x="906" y="813"/>
                  </a:lnTo>
                  <a:lnTo>
                    <a:pt x="906" y="813"/>
                  </a:lnTo>
                  <a:lnTo>
                    <a:pt x="906" y="811"/>
                  </a:lnTo>
                  <a:lnTo>
                    <a:pt x="906" y="811"/>
                  </a:lnTo>
                  <a:lnTo>
                    <a:pt x="909" y="811"/>
                  </a:lnTo>
                  <a:lnTo>
                    <a:pt x="906" y="811"/>
                  </a:lnTo>
                  <a:lnTo>
                    <a:pt x="906" y="809"/>
                  </a:lnTo>
                  <a:lnTo>
                    <a:pt x="906" y="809"/>
                  </a:lnTo>
                  <a:lnTo>
                    <a:pt x="906" y="809"/>
                  </a:lnTo>
                  <a:lnTo>
                    <a:pt x="906" y="809"/>
                  </a:lnTo>
                  <a:lnTo>
                    <a:pt x="906" y="809"/>
                  </a:lnTo>
                  <a:lnTo>
                    <a:pt x="906" y="809"/>
                  </a:lnTo>
                  <a:lnTo>
                    <a:pt x="906" y="809"/>
                  </a:lnTo>
                  <a:close/>
                  <a:moveTo>
                    <a:pt x="916" y="844"/>
                  </a:moveTo>
                  <a:lnTo>
                    <a:pt x="916" y="844"/>
                  </a:lnTo>
                  <a:lnTo>
                    <a:pt x="916" y="844"/>
                  </a:lnTo>
                  <a:lnTo>
                    <a:pt x="916" y="844"/>
                  </a:lnTo>
                  <a:lnTo>
                    <a:pt x="916" y="844"/>
                  </a:lnTo>
                  <a:lnTo>
                    <a:pt x="916" y="844"/>
                  </a:lnTo>
                  <a:lnTo>
                    <a:pt x="918" y="844"/>
                  </a:lnTo>
                  <a:lnTo>
                    <a:pt x="918" y="844"/>
                  </a:lnTo>
                  <a:lnTo>
                    <a:pt x="918" y="844"/>
                  </a:lnTo>
                  <a:lnTo>
                    <a:pt x="918" y="844"/>
                  </a:lnTo>
                  <a:lnTo>
                    <a:pt x="918" y="844"/>
                  </a:lnTo>
                  <a:lnTo>
                    <a:pt x="918" y="842"/>
                  </a:lnTo>
                  <a:lnTo>
                    <a:pt x="918" y="842"/>
                  </a:lnTo>
                  <a:lnTo>
                    <a:pt x="916" y="842"/>
                  </a:lnTo>
                  <a:lnTo>
                    <a:pt x="916" y="839"/>
                  </a:lnTo>
                  <a:lnTo>
                    <a:pt x="916" y="842"/>
                  </a:lnTo>
                  <a:lnTo>
                    <a:pt x="916" y="842"/>
                  </a:lnTo>
                  <a:lnTo>
                    <a:pt x="916" y="842"/>
                  </a:lnTo>
                  <a:lnTo>
                    <a:pt x="913" y="842"/>
                  </a:lnTo>
                  <a:lnTo>
                    <a:pt x="916" y="842"/>
                  </a:lnTo>
                  <a:lnTo>
                    <a:pt x="916" y="842"/>
                  </a:lnTo>
                  <a:lnTo>
                    <a:pt x="916" y="844"/>
                  </a:lnTo>
                  <a:lnTo>
                    <a:pt x="916" y="846"/>
                  </a:lnTo>
                  <a:lnTo>
                    <a:pt x="913" y="844"/>
                  </a:lnTo>
                  <a:lnTo>
                    <a:pt x="913" y="844"/>
                  </a:lnTo>
                  <a:lnTo>
                    <a:pt x="913" y="844"/>
                  </a:lnTo>
                  <a:lnTo>
                    <a:pt x="913" y="844"/>
                  </a:lnTo>
                  <a:lnTo>
                    <a:pt x="913" y="846"/>
                  </a:lnTo>
                  <a:lnTo>
                    <a:pt x="913" y="846"/>
                  </a:lnTo>
                  <a:lnTo>
                    <a:pt x="911" y="846"/>
                  </a:lnTo>
                  <a:lnTo>
                    <a:pt x="913" y="846"/>
                  </a:lnTo>
                  <a:lnTo>
                    <a:pt x="913" y="846"/>
                  </a:lnTo>
                  <a:lnTo>
                    <a:pt x="916" y="846"/>
                  </a:lnTo>
                  <a:lnTo>
                    <a:pt x="916" y="844"/>
                  </a:lnTo>
                  <a:close/>
                  <a:moveTo>
                    <a:pt x="906" y="818"/>
                  </a:moveTo>
                  <a:lnTo>
                    <a:pt x="906" y="816"/>
                  </a:lnTo>
                  <a:lnTo>
                    <a:pt x="906" y="816"/>
                  </a:lnTo>
                  <a:lnTo>
                    <a:pt x="906" y="816"/>
                  </a:lnTo>
                  <a:lnTo>
                    <a:pt x="906" y="818"/>
                  </a:lnTo>
                  <a:lnTo>
                    <a:pt x="906" y="818"/>
                  </a:lnTo>
                  <a:lnTo>
                    <a:pt x="906" y="818"/>
                  </a:lnTo>
                  <a:lnTo>
                    <a:pt x="906" y="820"/>
                  </a:lnTo>
                  <a:lnTo>
                    <a:pt x="906" y="818"/>
                  </a:lnTo>
                  <a:lnTo>
                    <a:pt x="906" y="818"/>
                  </a:lnTo>
                  <a:lnTo>
                    <a:pt x="906" y="818"/>
                  </a:lnTo>
                  <a:lnTo>
                    <a:pt x="906" y="818"/>
                  </a:lnTo>
                  <a:lnTo>
                    <a:pt x="906" y="818"/>
                  </a:lnTo>
                  <a:lnTo>
                    <a:pt x="906" y="818"/>
                  </a:lnTo>
                  <a:lnTo>
                    <a:pt x="906" y="818"/>
                  </a:lnTo>
                  <a:lnTo>
                    <a:pt x="906" y="818"/>
                  </a:lnTo>
                  <a:close/>
                  <a:moveTo>
                    <a:pt x="918" y="830"/>
                  </a:moveTo>
                  <a:lnTo>
                    <a:pt x="918" y="830"/>
                  </a:lnTo>
                  <a:lnTo>
                    <a:pt x="918" y="832"/>
                  </a:lnTo>
                  <a:lnTo>
                    <a:pt x="918" y="832"/>
                  </a:lnTo>
                  <a:lnTo>
                    <a:pt x="918" y="832"/>
                  </a:lnTo>
                  <a:lnTo>
                    <a:pt x="918" y="832"/>
                  </a:lnTo>
                  <a:lnTo>
                    <a:pt x="916" y="832"/>
                  </a:lnTo>
                  <a:lnTo>
                    <a:pt x="916" y="832"/>
                  </a:lnTo>
                  <a:lnTo>
                    <a:pt x="916" y="832"/>
                  </a:lnTo>
                  <a:lnTo>
                    <a:pt x="916" y="832"/>
                  </a:lnTo>
                  <a:lnTo>
                    <a:pt x="913" y="832"/>
                  </a:lnTo>
                  <a:lnTo>
                    <a:pt x="916" y="835"/>
                  </a:lnTo>
                  <a:lnTo>
                    <a:pt x="916" y="835"/>
                  </a:lnTo>
                  <a:lnTo>
                    <a:pt x="916" y="835"/>
                  </a:lnTo>
                  <a:lnTo>
                    <a:pt x="916" y="835"/>
                  </a:lnTo>
                  <a:lnTo>
                    <a:pt x="913" y="835"/>
                  </a:lnTo>
                  <a:lnTo>
                    <a:pt x="913" y="835"/>
                  </a:lnTo>
                  <a:lnTo>
                    <a:pt x="913" y="837"/>
                  </a:lnTo>
                  <a:lnTo>
                    <a:pt x="913" y="837"/>
                  </a:lnTo>
                  <a:lnTo>
                    <a:pt x="913" y="837"/>
                  </a:lnTo>
                  <a:lnTo>
                    <a:pt x="913" y="835"/>
                  </a:lnTo>
                  <a:lnTo>
                    <a:pt x="911" y="835"/>
                  </a:lnTo>
                  <a:lnTo>
                    <a:pt x="911" y="835"/>
                  </a:lnTo>
                  <a:lnTo>
                    <a:pt x="913" y="837"/>
                  </a:lnTo>
                  <a:lnTo>
                    <a:pt x="913" y="837"/>
                  </a:lnTo>
                  <a:lnTo>
                    <a:pt x="913" y="837"/>
                  </a:lnTo>
                  <a:lnTo>
                    <a:pt x="913" y="837"/>
                  </a:lnTo>
                  <a:lnTo>
                    <a:pt x="911" y="837"/>
                  </a:lnTo>
                  <a:lnTo>
                    <a:pt x="911" y="837"/>
                  </a:lnTo>
                  <a:lnTo>
                    <a:pt x="911" y="837"/>
                  </a:lnTo>
                  <a:lnTo>
                    <a:pt x="911" y="837"/>
                  </a:lnTo>
                  <a:lnTo>
                    <a:pt x="911" y="837"/>
                  </a:lnTo>
                  <a:lnTo>
                    <a:pt x="911" y="837"/>
                  </a:lnTo>
                  <a:lnTo>
                    <a:pt x="911" y="837"/>
                  </a:lnTo>
                  <a:lnTo>
                    <a:pt x="911" y="837"/>
                  </a:lnTo>
                  <a:lnTo>
                    <a:pt x="909" y="839"/>
                  </a:lnTo>
                  <a:lnTo>
                    <a:pt x="911" y="839"/>
                  </a:lnTo>
                  <a:lnTo>
                    <a:pt x="911" y="837"/>
                  </a:lnTo>
                  <a:lnTo>
                    <a:pt x="911" y="837"/>
                  </a:lnTo>
                  <a:lnTo>
                    <a:pt x="911" y="839"/>
                  </a:lnTo>
                  <a:lnTo>
                    <a:pt x="911" y="839"/>
                  </a:lnTo>
                  <a:lnTo>
                    <a:pt x="911" y="839"/>
                  </a:lnTo>
                  <a:lnTo>
                    <a:pt x="911" y="839"/>
                  </a:lnTo>
                  <a:lnTo>
                    <a:pt x="913" y="837"/>
                  </a:lnTo>
                  <a:lnTo>
                    <a:pt x="913" y="837"/>
                  </a:lnTo>
                  <a:lnTo>
                    <a:pt x="913" y="837"/>
                  </a:lnTo>
                  <a:lnTo>
                    <a:pt x="913" y="837"/>
                  </a:lnTo>
                  <a:lnTo>
                    <a:pt x="913" y="839"/>
                  </a:lnTo>
                  <a:lnTo>
                    <a:pt x="913" y="839"/>
                  </a:lnTo>
                  <a:lnTo>
                    <a:pt x="913" y="842"/>
                  </a:lnTo>
                  <a:lnTo>
                    <a:pt x="913" y="842"/>
                  </a:lnTo>
                  <a:lnTo>
                    <a:pt x="913" y="842"/>
                  </a:lnTo>
                  <a:lnTo>
                    <a:pt x="916" y="839"/>
                  </a:lnTo>
                  <a:lnTo>
                    <a:pt x="916" y="839"/>
                  </a:lnTo>
                  <a:lnTo>
                    <a:pt x="913" y="839"/>
                  </a:lnTo>
                  <a:lnTo>
                    <a:pt x="913" y="839"/>
                  </a:lnTo>
                  <a:lnTo>
                    <a:pt x="916" y="837"/>
                  </a:lnTo>
                  <a:lnTo>
                    <a:pt x="918" y="835"/>
                  </a:lnTo>
                  <a:lnTo>
                    <a:pt x="918" y="835"/>
                  </a:lnTo>
                  <a:lnTo>
                    <a:pt x="918" y="835"/>
                  </a:lnTo>
                  <a:lnTo>
                    <a:pt x="918" y="835"/>
                  </a:lnTo>
                  <a:lnTo>
                    <a:pt x="916" y="835"/>
                  </a:lnTo>
                  <a:lnTo>
                    <a:pt x="918" y="832"/>
                  </a:lnTo>
                  <a:lnTo>
                    <a:pt x="918" y="832"/>
                  </a:lnTo>
                  <a:lnTo>
                    <a:pt x="918" y="832"/>
                  </a:lnTo>
                  <a:lnTo>
                    <a:pt x="918" y="832"/>
                  </a:lnTo>
                  <a:lnTo>
                    <a:pt x="918" y="830"/>
                  </a:lnTo>
                  <a:lnTo>
                    <a:pt x="918" y="830"/>
                  </a:lnTo>
                  <a:lnTo>
                    <a:pt x="918" y="830"/>
                  </a:lnTo>
                  <a:close/>
                  <a:moveTo>
                    <a:pt x="869" y="802"/>
                  </a:moveTo>
                  <a:lnTo>
                    <a:pt x="866" y="802"/>
                  </a:lnTo>
                  <a:lnTo>
                    <a:pt x="866" y="802"/>
                  </a:lnTo>
                  <a:lnTo>
                    <a:pt x="866" y="802"/>
                  </a:lnTo>
                  <a:lnTo>
                    <a:pt x="866" y="802"/>
                  </a:lnTo>
                  <a:lnTo>
                    <a:pt x="866" y="802"/>
                  </a:lnTo>
                  <a:lnTo>
                    <a:pt x="866" y="804"/>
                  </a:lnTo>
                  <a:lnTo>
                    <a:pt x="866" y="804"/>
                  </a:lnTo>
                  <a:lnTo>
                    <a:pt x="866" y="804"/>
                  </a:lnTo>
                  <a:lnTo>
                    <a:pt x="869" y="804"/>
                  </a:lnTo>
                  <a:lnTo>
                    <a:pt x="869" y="804"/>
                  </a:lnTo>
                  <a:lnTo>
                    <a:pt x="869" y="804"/>
                  </a:lnTo>
                  <a:lnTo>
                    <a:pt x="869" y="804"/>
                  </a:lnTo>
                  <a:lnTo>
                    <a:pt x="869" y="804"/>
                  </a:lnTo>
                  <a:lnTo>
                    <a:pt x="869" y="802"/>
                  </a:lnTo>
                  <a:lnTo>
                    <a:pt x="869" y="802"/>
                  </a:lnTo>
                  <a:lnTo>
                    <a:pt x="869" y="802"/>
                  </a:lnTo>
                  <a:lnTo>
                    <a:pt x="869" y="802"/>
                  </a:lnTo>
                  <a:lnTo>
                    <a:pt x="869" y="802"/>
                  </a:lnTo>
                  <a:close/>
                  <a:moveTo>
                    <a:pt x="939" y="806"/>
                  </a:moveTo>
                  <a:lnTo>
                    <a:pt x="939" y="806"/>
                  </a:lnTo>
                  <a:lnTo>
                    <a:pt x="939" y="809"/>
                  </a:lnTo>
                  <a:lnTo>
                    <a:pt x="939" y="809"/>
                  </a:lnTo>
                  <a:lnTo>
                    <a:pt x="939" y="809"/>
                  </a:lnTo>
                  <a:lnTo>
                    <a:pt x="939" y="809"/>
                  </a:lnTo>
                  <a:lnTo>
                    <a:pt x="939" y="809"/>
                  </a:lnTo>
                  <a:lnTo>
                    <a:pt x="942" y="809"/>
                  </a:lnTo>
                  <a:lnTo>
                    <a:pt x="942" y="809"/>
                  </a:lnTo>
                  <a:lnTo>
                    <a:pt x="942" y="806"/>
                  </a:lnTo>
                  <a:lnTo>
                    <a:pt x="942" y="806"/>
                  </a:lnTo>
                  <a:lnTo>
                    <a:pt x="939" y="806"/>
                  </a:lnTo>
                  <a:close/>
                  <a:moveTo>
                    <a:pt x="890" y="818"/>
                  </a:moveTo>
                  <a:lnTo>
                    <a:pt x="890" y="818"/>
                  </a:lnTo>
                  <a:lnTo>
                    <a:pt x="890" y="818"/>
                  </a:lnTo>
                  <a:lnTo>
                    <a:pt x="890" y="816"/>
                  </a:lnTo>
                  <a:lnTo>
                    <a:pt x="890" y="816"/>
                  </a:lnTo>
                  <a:lnTo>
                    <a:pt x="890" y="818"/>
                  </a:lnTo>
                  <a:lnTo>
                    <a:pt x="892" y="818"/>
                  </a:lnTo>
                  <a:lnTo>
                    <a:pt x="892" y="818"/>
                  </a:lnTo>
                  <a:lnTo>
                    <a:pt x="892" y="818"/>
                  </a:lnTo>
                  <a:lnTo>
                    <a:pt x="892" y="818"/>
                  </a:lnTo>
                  <a:lnTo>
                    <a:pt x="890" y="818"/>
                  </a:lnTo>
                  <a:lnTo>
                    <a:pt x="890" y="816"/>
                  </a:lnTo>
                  <a:lnTo>
                    <a:pt x="892" y="816"/>
                  </a:lnTo>
                  <a:lnTo>
                    <a:pt x="892" y="816"/>
                  </a:lnTo>
                  <a:lnTo>
                    <a:pt x="892" y="816"/>
                  </a:lnTo>
                  <a:lnTo>
                    <a:pt x="890" y="813"/>
                  </a:lnTo>
                  <a:lnTo>
                    <a:pt x="890" y="813"/>
                  </a:lnTo>
                  <a:lnTo>
                    <a:pt x="890" y="813"/>
                  </a:lnTo>
                  <a:lnTo>
                    <a:pt x="892" y="813"/>
                  </a:lnTo>
                  <a:lnTo>
                    <a:pt x="892" y="813"/>
                  </a:lnTo>
                  <a:lnTo>
                    <a:pt x="892" y="813"/>
                  </a:lnTo>
                  <a:lnTo>
                    <a:pt x="892" y="811"/>
                  </a:lnTo>
                  <a:lnTo>
                    <a:pt x="892" y="811"/>
                  </a:lnTo>
                  <a:lnTo>
                    <a:pt x="892" y="811"/>
                  </a:lnTo>
                  <a:lnTo>
                    <a:pt x="892" y="809"/>
                  </a:lnTo>
                  <a:lnTo>
                    <a:pt x="895" y="809"/>
                  </a:lnTo>
                  <a:lnTo>
                    <a:pt x="895" y="809"/>
                  </a:lnTo>
                  <a:lnTo>
                    <a:pt x="895" y="806"/>
                  </a:lnTo>
                  <a:lnTo>
                    <a:pt x="895" y="806"/>
                  </a:lnTo>
                  <a:lnTo>
                    <a:pt x="895" y="806"/>
                  </a:lnTo>
                  <a:lnTo>
                    <a:pt x="895" y="806"/>
                  </a:lnTo>
                  <a:lnTo>
                    <a:pt x="895" y="806"/>
                  </a:lnTo>
                  <a:lnTo>
                    <a:pt x="892" y="806"/>
                  </a:lnTo>
                  <a:lnTo>
                    <a:pt x="892" y="809"/>
                  </a:lnTo>
                  <a:lnTo>
                    <a:pt x="892" y="809"/>
                  </a:lnTo>
                  <a:lnTo>
                    <a:pt x="892" y="809"/>
                  </a:lnTo>
                  <a:lnTo>
                    <a:pt x="892" y="809"/>
                  </a:lnTo>
                  <a:lnTo>
                    <a:pt x="892" y="809"/>
                  </a:lnTo>
                  <a:lnTo>
                    <a:pt x="890" y="809"/>
                  </a:lnTo>
                  <a:lnTo>
                    <a:pt x="890" y="809"/>
                  </a:lnTo>
                  <a:lnTo>
                    <a:pt x="890" y="809"/>
                  </a:lnTo>
                  <a:lnTo>
                    <a:pt x="890" y="809"/>
                  </a:lnTo>
                  <a:lnTo>
                    <a:pt x="890" y="809"/>
                  </a:lnTo>
                  <a:lnTo>
                    <a:pt x="890" y="809"/>
                  </a:lnTo>
                  <a:lnTo>
                    <a:pt x="890" y="809"/>
                  </a:lnTo>
                  <a:lnTo>
                    <a:pt x="890" y="806"/>
                  </a:lnTo>
                  <a:lnTo>
                    <a:pt x="892" y="806"/>
                  </a:lnTo>
                  <a:lnTo>
                    <a:pt x="892" y="806"/>
                  </a:lnTo>
                  <a:lnTo>
                    <a:pt x="892" y="804"/>
                  </a:lnTo>
                  <a:lnTo>
                    <a:pt x="890" y="804"/>
                  </a:lnTo>
                  <a:lnTo>
                    <a:pt x="890" y="804"/>
                  </a:lnTo>
                  <a:lnTo>
                    <a:pt x="887" y="804"/>
                  </a:lnTo>
                  <a:lnTo>
                    <a:pt x="885" y="804"/>
                  </a:lnTo>
                  <a:lnTo>
                    <a:pt x="885" y="806"/>
                  </a:lnTo>
                  <a:lnTo>
                    <a:pt x="885" y="806"/>
                  </a:lnTo>
                  <a:lnTo>
                    <a:pt x="883" y="806"/>
                  </a:lnTo>
                  <a:lnTo>
                    <a:pt x="883" y="806"/>
                  </a:lnTo>
                  <a:lnTo>
                    <a:pt x="883" y="809"/>
                  </a:lnTo>
                  <a:lnTo>
                    <a:pt x="883" y="809"/>
                  </a:lnTo>
                  <a:lnTo>
                    <a:pt x="883" y="809"/>
                  </a:lnTo>
                  <a:lnTo>
                    <a:pt x="883" y="809"/>
                  </a:lnTo>
                  <a:lnTo>
                    <a:pt x="883" y="809"/>
                  </a:lnTo>
                  <a:lnTo>
                    <a:pt x="883" y="811"/>
                  </a:lnTo>
                  <a:lnTo>
                    <a:pt x="883" y="811"/>
                  </a:lnTo>
                  <a:lnTo>
                    <a:pt x="883" y="811"/>
                  </a:lnTo>
                  <a:lnTo>
                    <a:pt x="883" y="813"/>
                  </a:lnTo>
                  <a:lnTo>
                    <a:pt x="880" y="813"/>
                  </a:lnTo>
                  <a:lnTo>
                    <a:pt x="880" y="813"/>
                  </a:lnTo>
                  <a:lnTo>
                    <a:pt x="880" y="816"/>
                  </a:lnTo>
                  <a:lnTo>
                    <a:pt x="880" y="816"/>
                  </a:lnTo>
                  <a:lnTo>
                    <a:pt x="883" y="813"/>
                  </a:lnTo>
                  <a:lnTo>
                    <a:pt x="883" y="813"/>
                  </a:lnTo>
                  <a:lnTo>
                    <a:pt x="883" y="813"/>
                  </a:lnTo>
                  <a:lnTo>
                    <a:pt x="885" y="813"/>
                  </a:lnTo>
                  <a:lnTo>
                    <a:pt x="885" y="813"/>
                  </a:lnTo>
                  <a:lnTo>
                    <a:pt x="885" y="813"/>
                  </a:lnTo>
                  <a:lnTo>
                    <a:pt x="885" y="813"/>
                  </a:lnTo>
                  <a:lnTo>
                    <a:pt x="885" y="813"/>
                  </a:lnTo>
                  <a:lnTo>
                    <a:pt x="887" y="813"/>
                  </a:lnTo>
                  <a:lnTo>
                    <a:pt x="887" y="813"/>
                  </a:lnTo>
                  <a:lnTo>
                    <a:pt x="885" y="813"/>
                  </a:lnTo>
                  <a:lnTo>
                    <a:pt x="885" y="813"/>
                  </a:lnTo>
                  <a:lnTo>
                    <a:pt x="885" y="816"/>
                  </a:lnTo>
                  <a:lnTo>
                    <a:pt x="885" y="816"/>
                  </a:lnTo>
                  <a:lnTo>
                    <a:pt x="885" y="816"/>
                  </a:lnTo>
                  <a:lnTo>
                    <a:pt x="885" y="816"/>
                  </a:lnTo>
                  <a:lnTo>
                    <a:pt x="885" y="816"/>
                  </a:lnTo>
                  <a:lnTo>
                    <a:pt x="887" y="818"/>
                  </a:lnTo>
                  <a:lnTo>
                    <a:pt x="887" y="818"/>
                  </a:lnTo>
                  <a:lnTo>
                    <a:pt x="887" y="820"/>
                  </a:lnTo>
                  <a:lnTo>
                    <a:pt x="890" y="818"/>
                  </a:lnTo>
                  <a:close/>
                  <a:moveTo>
                    <a:pt x="897" y="816"/>
                  </a:moveTo>
                  <a:lnTo>
                    <a:pt x="897" y="818"/>
                  </a:lnTo>
                  <a:lnTo>
                    <a:pt x="897" y="818"/>
                  </a:lnTo>
                  <a:lnTo>
                    <a:pt x="897" y="816"/>
                  </a:lnTo>
                  <a:lnTo>
                    <a:pt x="899" y="816"/>
                  </a:lnTo>
                  <a:lnTo>
                    <a:pt x="899" y="813"/>
                  </a:lnTo>
                  <a:lnTo>
                    <a:pt x="899" y="813"/>
                  </a:lnTo>
                  <a:lnTo>
                    <a:pt x="899" y="811"/>
                  </a:lnTo>
                  <a:lnTo>
                    <a:pt x="899" y="811"/>
                  </a:lnTo>
                  <a:lnTo>
                    <a:pt x="899" y="811"/>
                  </a:lnTo>
                  <a:lnTo>
                    <a:pt x="897" y="811"/>
                  </a:lnTo>
                  <a:lnTo>
                    <a:pt x="897" y="811"/>
                  </a:lnTo>
                  <a:lnTo>
                    <a:pt x="897" y="811"/>
                  </a:lnTo>
                  <a:lnTo>
                    <a:pt x="897" y="809"/>
                  </a:lnTo>
                  <a:lnTo>
                    <a:pt x="895" y="809"/>
                  </a:lnTo>
                  <a:lnTo>
                    <a:pt x="895" y="811"/>
                  </a:lnTo>
                  <a:lnTo>
                    <a:pt x="895" y="811"/>
                  </a:lnTo>
                  <a:lnTo>
                    <a:pt x="895" y="811"/>
                  </a:lnTo>
                  <a:lnTo>
                    <a:pt x="895" y="811"/>
                  </a:lnTo>
                  <a:lnTo>
                    <a:pt x="895" y="811"/>
                  </a:lnTo>
                  <a:lnTo>
                    <a:pt x="897" y="813"/>
                  </a:lnTo>
                  <a:lnTo>
                    <a:pt x="897" y="816"/>
                  </a:lnTo>
                  <a:lnTo>
                    <a:pt x="897" y="816"/>
                  </a:lnTo>
                  <a:close/>
                  <a:moveTo>
                    <a:pt x="909" y="825"/>
                  </a:moveTo>
                  <a:lnTo>
                    <a:pt x="911" y="825"/>
                  </a:lnTo>
                  <a:lnTo>
                    <a:pt x="911" y="823"/>
                  </a:lnTo>
                  <a:lnTo>
                    <a:pt x="911" y="823"/>
                  </a:lnTo>
                  <a:lnTo>
                    <a:pt x="911" y="823"/>
                  </a:lnTo>
                  <a:lnTo>
                    <a:pt x="911" y="823"/>
                  </a:lnTo>
                  <a:lnTo>
                    <a:pt x="909" y="823"/>
                  </a:lnTo>
                  <a:lnTo>
                    <a:pt x="909" y="823"/>
                  </a:lnTo>
                  <a:lnTo>
                    <a:pt x="906" y="823"/>
                  </a:lnTo>
                  <a:lnTo>
                    <a:pt x="906" y="825"/>
                  </a:lnTo>
                  <a:lnTo>
                    <a:pt x="906" y="825"/>
                  </a:lnTo>
                  <a:lnTo>
                    <a:pt x="906" y="825"/>
                  </a:lnTo>
                  <a:lnTo>
                    <a:pt x="906" y="825"/>
                  </a:lnTo>
                  <a:lnTo>
                    <a:pt x="906" y="825"/>
                  </a:lnTo>
                  <a:lnTo>
                    <a:pt x="906" y="825"/>
                  </a:lnTo>
                  <a:lnTo>
                    <a:pt x="906" y="825"/>
                  </a:lnTo>
                  <a:lnTo>
                    <a:pt x="906" y="828"/>
                  </a:lnTo>
                  <a:lnTo>
                    <a:pt x="904" y="828"/>
                  </a:lnTo>
                  <a:lnTo>
                    <a:pt x="904" y="823"/>
                  </a:lnTo>
                  <a:lnTo>
                    <a:pt x="902" y="825"/>
                  </a:lnTo>
                  <a:lnTo>
                    <a:pt x="902" y="828"/>
                  </a:lnTo>
                  <a:lnTo>
                    <a:pt x="902" y="830"/>
                  </a:lnTo>
                  <a:lnTo>
                    <a:pt x="902" y="830"/>
                  </a:lnTo>
                  <a:lnTo>
                    <a:pt x="902" y="830"/>
                  </a:lnTo>
                  <a:lnTo>
                    <a:pt x="902" y="830"/>
                  </a:lnTo>
                  <a:lnTo>
                    <a:pt x="902" y="830"/>
                  </a:lnTo>
                  <a:lnTo>
                    <a:pt x="902" y="828"/>
                  </a:lnTo>
                  <a:lnTo>
                    <a:pt x="902" y="828"/>
                  </a:lnTo>
                  <a:lnTo>
                    <a:pt x="902" y="828"/>
                  </a:lnTo>
                  <a:lnTo>
                    <a:pt x="902" y="828"/>
                  </a:lnTo>
                  <a:lnTo>
                    <a:pt x="902" y="828"/>
                  </a:lnTo>
                  <a:lnTo>
                    <a:pt x="902" y="828"/>
                  </a:lnTo>
                  <a:lnTo>
                    <a:pt x="902" y="825"/>
                  </a:lnTo>
                  <a:lnTo>
                    <a:pt x="902" y="825"/>
                  </a:lnTo>
                  <a:lnTo>
                    <a:pt x="902" y="825"/>
                  </a:lnTo>
                  <a:lnTo>
                    <a:pt x="899" y="825"/>
                  </a:lnTo>
                  <a:lnTo>
                    <a:pt x="899" y="825"/>
                  </a:lnTo>
                  <a:lnTo>
                    <a:pt x="899" y="828"/>
                  </a:lnTo>
                  <a:lnTo>
                    <a:pt x="899" y="830"/>
                  </a:lnTo>
                  <a:lnTo>
                    <a:pt x="899" y="828"/>
                  </a:lnTo>
                  <a:lnTo>
                    <a:pt x="899" y="825"/>
                  </a:lnTo>
                  <a:lnTo>
                    <a:pt x="897" y="825"/>
                  </a:lnTo>
                  <a:lnTo>
                    <a:pt x="897" y="825"/>
                  </a:lnTo>
                  <a:lnTo>
                    <a:pt x="897" y="825"/>
                  </a:lnTo>
                  <a:lnTo>
                    <a:pt x="897" y="828"/>
                  </a:lnTo>
                  <a:lnTo>
                    <a:pt x="897" y="828"/>
                  </a:lnTo>
                  <a:lnTo>
                    <a:pt x="897" y="828"/>
                  </a:lnTo>
                  <a:lnTo>
                    <a:pt x="897" y="828"/>
                  </a:lnTo>
                  <a:lnTo>
                    <a:pt x="897" y="830"/>
                  </a:lnTo>
                  <a:lnTo>
                    <a:pt x="897" y="830"/>
                  </a:lnTo>
                  <a:lnTo>
                    <a:pt x="897" y="828"/>
                  </a:lnTo>
                  <a:lnTo>
                    <a:pt x="897" y="828"/>
                  </a:lnTo>
                  <a:lnTo>
                    <a:pt x="897" y="830"/>
                  </a:lnTo>
                  <a:lnTo>
                    <a:pt x="897" y="830"/>
                  </a:lnTo>
                  <a:lnTo>
                    <a:pt x="897" y="832"/>
                  </a:lnTo>
                  <a:lnTo>
                    <a:pt x="897" y="832"/>
                  </a:lnTo>
                  <a:lnTo>
                    <a:pt x="897" y="832"/>
                  </a:lnTo>
                  <a:lnTo>
                    <a:pt x="895" y="832"/>
                  </a:lnTo>
                  <a:lnTo>
                    <a:pt x="892" y="835"/>
                  </a:lnTo>
                  <a:lnTo>
                    <a:pt x="892" y="835"/>
                  </a:lnTo>
                  <a:lnTo>
                    <a:pt x="890" y="835"/>
                  </a:lnTo>
                  <a:lnTo>
                    <a:pt x="890" y="835"/>
                  </a:lnTo>
                  <a:lnTo>
                    <a:pt x="890" y="835"/>
                  </a:lnTo>
                  <a:lnTo>
                    <a:pt x="890" y="837"/>
                  </a:lnTo>
                  <a:lnTo>
                    <a:pt x="890" y="837"/>
                  </a:lnTo>
                  <a:lnTo>
                    <a:pt x="890" y="837"/>
                  </a:lnTo>
                  <a:lnTo>
                    <a:pt x="890" y="837"/>
                  </a:lnTo>
                  <a:lnTo>
                    <a:pt x="892" y="835"/>
                  </a:lnTo>
                  <a:lnTo>
                    <a:pt x="892" y="835"/>
                  </a:lnTo>
                  <a:lnTo>
                    <a:pt x="895" y="835"/>
                  </a:lnTo>
                  <a:lnTo>
                    <a:pt x="897" y="835"/>
                  </a:lnTo>
                  <a:lnTo>
                    <a:pt x="899" y="832"/>
                  </a:lnTo>
                  <a:lnTo>
                    <a:pt x="899" y="832"/>
                  </a:lnTo>
                  <a:lnTo>
                    <a:pt x="899" y="832"/>
                  </a:lnTo>
                  <a:lnTo>
                    <a:pt x="899" y="830"/>
                  </a:lnTo>
                  <a:lnTo>
                    <a:pt x="902" y="830"/>
                  </a:lnTo>
                  <a:lnTo>
                    <a:pt x="902" y="832"/>
                  </a:lnTo>
                  <a:lnTo>
                    <a:pt x="902" y="832"/>
                  </a:lnTo>
                  <a:lnTo>
                    <a:pt x="902" y="832"/>
                  </a:lnTo>
                  <a:lnTo>
                    <a:pt x="902" y="830"/>
                  </a:lnTo>
                  <a:lnTo>
                    <a:pt x="904" y="830"/>
                  </a:lnTo>
                  <a:lnTo>
                    <a:pt x="904" y="830"/>
                  </a:lnTo>
                  <a:lnTo>
                    <a:pt x="904" y="830"/>
                  </a:lnTo>
                  <a:lnTo>
                    <a:pt x="904" y="830"/>
                  </a:lnTo>
                  <a:lnTo>
                    <a:pt x="904" y="830"/>
                  </a:lnTo>
                  <a:lnTo>
                    <a:pt x="904" y="832"/>
                  </a:lnTo>
                  <a:lnTo>
                    <a:pt x="906" y="832"/>
                  </a:lnTo>
                  <a:lnTo>
                    <a:pt x="906" y="832"/>
                  </a:lnTo>
                  <a:lnTo>
                    <a:pt x="906" y="832"/>
                  </a:lnTo>
                  <a:lnTo>
                    <a:pt x="906" y="830"/>
                  </a:lnTo>
                  <a:lnTo>
                    <a:pt x="906" y="830"/>
                  </a:lnTo>
                  <a:lnTo>
                    <a:pt x="906" y="830"/>
                  </a:lnTo>
                  <a:lnTo>
                    <a:pt x="906" y="830"/>
                  </a:lnTo>
                  <a:lnTo>
                    <a:pt x="909" y="830"/>
                  </a:lnTo>
                  <a:lnTo>
                    <a:pt x="909" y="830"/>
                  </a:lnTo>
                  <a:lnTo>
                    <a:pt x="909" y="830"/>
                  </a:lnTo>
                  <a:lnTo>
                    <a:pt x="909" y="828"/>
                  </a:lnTo>
                  <a:lnTo>
                    <a:pt x="906" y="828"/>
                  </a:lnTo>
                  <a:lnTo>
                    <a:pt x="906" y="830"/>
                  </a:lnTo>
                  <a:lnTo>
                    <a:pt x="906" y="830"/>
                  </a:lnTo>
                  <a:lnTo>
                    <a:pt x="906" y="828"/>
                  </a:lnTo>
                  <a:lnTo>
                    <a:pt x="909" y="825"/>
                  </a:lnTo>
                  <a:lnTo>
                    <a:pt x="906" y="825"/>
                  </a:lnTo>
                  <a:lnTo>
                    <a:pt x="909" y="825"/>
                  </a:lnTo>
                  <a:lnTo>
                    <a:pt x="909" y="825"/>
                  </a:lnTo>
                  <a:close/>
                  <a:moveTo>
                    <a:pt x="906" y="854"/>
                  </a:moveTo>
                  <a:lnTo>
                    <a:pt x="906" y="854"/>
                  </a:lnTo>
                  <a:lnTo>
                    <a:pt x="906" y="851"/>
                  </a:lnTo>
                  <a:lnTo>
                    <a:pt x="906" y="851"/>
                  </a:lnTo>
                  <a:lnTo>
                    <a:pt x="906" y="851"/>
                  </a:lnTo>
                  <a:lnTo>
                    <a:pt x="906" y="849"/>
                  </a:lnTo>
                  <a:lnTo>
                    <a:pt x="904" y="849"/>
                  </a:lnTo>
                  <a:lnTo>
                    <a:pt x="904" y="851"/>
                  </a:lnTo>
                  <a:lnTo>
                    <a:pt x="904" y="851"/>
                  </a:lnTo>
                  <a:lnTo>
                    <a:pt x="904" y="851"/>
                  </a:lnTo>
                  <a:lnTo>
                    <a:pt x="904" y="851"/>
                  </a:lnTo>
                  <a:lnTo>
                    <a:pt x="904" y="851"/>
                  </a:lnTo>
                  <a:lnTo>
                    <a:pt x="904" y="854"/>
                  </a:lnTo>
                  <a:lnTo>
                    <a:pt x="904" y="854"/>
                  </a:lnTo>
                  <a:lnTo>
                    <a:pt x="904" y="854"/>
                  </a:lnTo>
                  <a:lnTo>
                    <a:pt x="904" y="854"/>
                  </a:lnTo>
                  <a:lnTo>
                    <a:pt x="904" y="854"/>
                  </a:lnTo>
                  <a:lnTo>
                    <a:pt x="906" y="854"/>
                  </a:lnTo>
                  <a:lnTo>
                    <a:pt x="906" y="854"/>
                  </a:lnTo>
                  <a:lnTo>
                    <a:pt x="906" y="854"/>
                  </a:lnTo>
                  <a:lnTo>
                    <a:pt x="906" y="854"/>
                  </a:lnTo>
                  <a:lnTo>
                    <a:pt x="906" y="854"/>
                  </a:lnTo>
                  <a:close/>
                  <a:moveTo>
                    <a:pt x="1219" y="754"/>
                  </a:moveTo>
                  <a:lnTo>
                    <a:pt x="1219" y="754"/>
                  </a:lnTo>
                  <a:lnTo>
                    <a:pt x="1219" y="754"/>
                  </a:lnTo>
                  <a:lnTo>
                    <a:pt x="1216" y="754"/>
                  </a:lnTo>
                  <a:lnTo>
                    <a:pt x="1216" y="754"/>
                  </a:lnTo>
                  <a:lnTo>
                    <a:pt x="1216" y="757"/>
                  </a:lnTo>
                  <a:lnTo>
                    <a:pt x="1216" y="754"/>
                  </a:lnTo>
                  <a:lnTo>
                    <a:pt x="1216" y="757"/>
                  </a:lnTo>
                  <a:lnTo>
                    <a:pt x="1216" y="757"/>
                  </a:lnTo>
                  <a:lnTo>
                    <a:pt x="1219" y="757"/>
                  </a:lnTo>
                  <a:lnTo>
                    <a:pt x="1219" y="757"/>
                  </a:lnTo>
                  <a:lnTo>
                    <a:pt x="1219" y="757"/>
                  </a:lnTo>
                  <a:lnTo>
                    <a:pt x="1219" y="757"/>
                  </a:lnTo>
                  <a:lnTo>
                    <a:pt x="1221" y="757"/>
                  </a:lnTo>
                  <a:lnTo>
                    <a:pt x="1221" y="757"/>
                  </a:lnTo>
                  <a:lnTo>
                    <a:pt x="1221" y="757"/>
                  </a:lnTo>
                  <a:lnTo>
                    <a:pt x="1221" y="757"/>
                  </a:lnTo>
                  <a:lnTo>
                    <a:pt x="1221" y="757"/>
                  </a:lnTo>
                  <a:lnTo>
                    <a:pt x="1221" y="757"/>
                  </a:lnTo>
                  <a:lnTo>
                    <a:pt x="1221" y="757"/>
                  </a:lnTo>
                  <a:lnTo>
                    <a:pt x="1219" y="754"/>
                  </a:lnTo>
                  <a:lnTo>
                    <a:pt x="1219" y="754"/>
                  </a:lnTo>
                  <a:close/>
                  <a:moveTo>
                    <a:pt x="1685" y="1045"/>
                  </a:moveTo>
                  <a:lnTo>
                    <a:pt x="1685" y="1045"/>
                  </a:lnTo>
                  <a:lnTo>
                    <a:pt x="1683" y="1045"/>
                  </a:lnTo>
                  <a:lnTo>
                    <a:pt x="1683" y="1045"/>
                  </a:lnTo>
                  <a:lnTo>
                    <a:pt x="1683" y="1048"/>
                  </a:lnTo>
                  <a:lnTo>
                    <a:pt x="1683" y="1048"/>
                  </a:lnTo>
                  <a:lnTo>
                    <a:pt x="1683" y="1048"/>
                  </a:lnTo>
                  <a:lnTo>
                    <a:pt x="1683" y="1048"/>
                  </a:lnTo>
                  <a:lnTo>
                    <a:pt x="1685" y="1048"/>
                  </a:lnTo>
                  <a:lnTo>
                    <a:pt x="1685" y="1048"/>
                  </a:lnTo>
                  <a:lnTo>
                    <a:pt x="1685" y="1050"/>
                  </a:lnTo>
                  <a:lnTo>
                    <a:pt x="1685" y="1050"/>
                  </a:lnTo>
                  <a:lnTo>
                    <a:pt x="1683" y="1050"/>
                  </a:lnTo>
                  <a:lnTo>
                    <a:pt x="1683" y="1050"/>
                  </a:lnTo>
                  <a:lnTo>
                    <a:pt x="1680" y="1050"/>
                  </a:lnTo>
                  <a:lnTo>
                    <a:pt x="1680" y="1052"/>
                  </a:lnTo>
                  <a:lnTo>
                    <a:pt x="1680" y="1052"/>
                  </a:lnTo>
                  <a:lnTo>
                    <a:pt x="1680" y="1052"/>
                  </a:lnTo>
                  <a:lnTo>
                    <a:pt x="1680" y="1052"/>
                  </a:lnTo>
                  <a:lnTo>
                    <a:pt x="1680" y="1052"/>
                  </a:lnTo>
                  <a:lnTo>
                    <a:pt x="1683" y="1055"/>
                  </a:lnTo>
                  <a:lnTo>
                    <a:pt x="1680" y="1055"/>
                  </a:lnTo>
                  <a:lnTo>
                    <a:pt x="1680" y="1055"/>
                  </a:lnTo>
                  <a:lnTo>
                    <a:pt x="1678" y="1052"/>
                  </a:lnTo>
                  <a:lnTo>
                    <a:pt x="1678" y="1052"/>
                  </a:lnTo>
                  <a:lnTo>
                    <a:pt x="1678" y="1055"/>
                  </a:lnTo>
                  <a:lnTo>
                    <a:pt x="1678" y="1055"/>
                  </a:lnTo>
                  <a:lnTo>
                    <a:pt x="1678" y="1055"/>
                  </a:lnTo>
                  <a:lnTo>
                    <a:pt x="1678" y="1057"/>
                  </a:lnTo>
                  <a:lnTo>
                    <a:pt x="1678" y="1057"/>
                  </a:lnTo>
                  <a:lnTo>
                    <a:pt x="1678" y="1059"/>
                  </a:lnTo>
                  <a:lnTo>
                    <a:pt x="1678" y="1059"/>
                  </a:lnTo>
                  <a:lnTo>
                    <a:pt x="1675" y="1059"/>
                  </a:lnTo>
                  <a:lnTo>
                    <a:pt x="1675" y="1062"/>
                  </a:lnTo>
                  <a:lnTo>
                    <a:pt x="1675" y="1064"/>
                  </a:lnTo>
                  <a:lnTo>
                    <a:pt x="1675" y="1064"/>
                  </a:lnTo>
                  <a:lnTo>
                    <a:pt x="1675" y="1064"/>
                  </a:lnTo>
                  <a:lnTo>
                    <a:pt x="1678" y="1064"/>
                  </a:lnTo>
                  <a:lnTo>
                    <a:pt x="1678" y="1064"/>
                  </a:lnTo>
                  <a:lnTo>
                    <a:pt x="1680" y="1066"/>
                  </a:lnTo>
                  <a:lnTo>
                    <a:pt x="1680" y="1064"/>
                  </a:lnTo>
                  <a:lnTo>
                    <a:pt x="1680" y="1064"/>
                  </a:lnTo>
                  <a:lnTo>
                    <a:pt x="1683" y="1064"/>
                  </a:lnTo>
                  <a:lnTo>
                    <a:pt x="1685" y="1064"/>
                  </a:lnTo>
                  <a:lnTo>
                    <a:pt x="1685" y="1064"/>
                  </a:lnTo>
                  <a:lnTo>
                    <a:pt x="1685" y="1064"/>
                  </a:lnTo>
                  <a:lnTo>
                    <a:pt x="1683" y="1062"/>
                  </a:lnTo>
                  <a:lnTo>
                    <a:pt x="1683" y="1062"/>
                  </a:lnTo>
                  <a:lnTo>
                    <a:pt x="1683" y="1062"/>
                  </a:lnTo>
                  <a:lnTo>
                    <a:pt x="1685" y="1062"/>
                  </a:lnTo>
                  <a:lnTo>
                    <a:pt x="1685" y="1062"/>
                  </a:lnTo>
                  <a:lnTo>
                    <a:pt x="1685" y="1062"/>
                  </a:lnTo>
                  <a:lnTo>
                    <a:pt x="1685" y="1062"/>
                  </a:lnTo>
                  <a:lnTo>
                    <a:pt x="1685" y="1062"/>
                  </a:lnTo>
                  <a:lnTo>
                    <a:pt x="1685" y="1062"/>
                  </a:lnTo>
                  <a:lnTo>
                    <a:pt x="1685" y="1062"/>
                  </a:lnTo>
                  <a:lnTo>
                    <a:pt x="1685" y="1062"/>
                  </a:lnTo>
                  <a:lnTo>
                    <a:pt x="1685" y="1062"/>
                  </a:lnTo>
                  <a:lnTo>
                    <a:pt x="1687" y="1062"/>
                  </a:lnTo>
                  <a:lnTo>
                    <a:pt x="1687" y="1062"/>
                  </a:lnTo>
                  <a:lnTo>
                    <a:pt x="1687" y="1062"/>
                  </a:lnTo>
                  <a:lnTo>
                    <a:pt x="1687" y="1059"/>
                  </a:lnTo>
                  <a:lnTo>
                    <a:pt x="1687" y="1059"/>
                  </a:lnTo>
                  <a:lnTo>
                    <a:pt x="1690" y="1059"/>
                  </a:lnTo>
                  <a:lnTo>
                    <a:pt x="1690" y="1059"/>
                  </a:lnTo>
                  <a:lnTo>
                    <a:pt x="1690" y="1059"/>
                  </a:lnTo>
                  <a:lnTo>
                    <a:pt x="1690" y="1059"/>
                  </a:lnTo>
                  <a:lnTo>
                    <a:pt x="1690" y="1059"/>
                  </a:lnTo>
                  <a:lnTo>
                    <a:pt x="1690" y="1059"/>
                  </a:lnTo>
                  <a:lnTo>
                    <a:pt x="1692" y="1059"/>
                  </a:lnTo>
                  <a:lnTo>
                    <a:pt x="1692" y="1059"/>
                  </a:lnTo>
                  <a:lnTo>
                    <a:pt x="1692" y="1059"/>
                  </a:lnTo>
                  <a:lnTo>
                    <a:pt x="1692" y="1059"/>
                  </a:lnTo>
                  <a:lnTo>
                    <a:pt x="1694" y="1057"/>
                  </a:lnTo>
                  <a:lnTo>
                    <a:pt x="1694" y="1057"/>
                  </a:lnTo>
                  <a:lnTo>
                    <a:pt x="1694" y="1057"/>
                  </a:lnTo>
                  <a:lnTo>
                    <a:pt x="1694" y="1057"/>
                  </a:lnTo>
                  <a:lnTo>
                    <a:pt x="1694" y="1057"/>
                  </a:lnTo>
                  <a:lnTo>
                    <a:pt x="1697" y="1057"/>
                  </a:lnTo>
                  <a:lnTo>
                    <a:pt x="1694" y="1055"/>
                  </a:lnTo>
                  <a:lnTo>
                    <a:pt x="1694" y="1055"/>
                  </a:lnTo>
                  <a:lnTo>
                    <a:pt x="1694" y="1055"/>
                  </a:lnTo>
                  <a:lnTo>
                    <a:pt x="1694" y="1055"/>
                  </a:lnTo>
                  <a:lnTo>
                    <a:pt x="1694" y="1052"/>
                  </a:lnTo>
                  <a:lnTo>
                    <a:pt x="1694" y="1052"/>
                  </a:lnTo>
                  <a:lnTo>
                    <a:pt x="1694" y="1052"/>
                  </a:lnTo>
                  <a:lnTo>
                    <a:pt x="1694" y="1050"/>
                  </a:lnTo>
                  <a:lnTo>
                    <a:pt x="1694" y="1050"/>
                  </a:lnTo>
                  <a:lnTo>
                    <a:pt x="1694" y="1050"/>
                  </a:lnTo>
                  <a:lnTo>
                    <a:pt x="1697" y="1050"/>
                  </a:lnTo>
                  <a:lnTo>
                    <a:pt x="1697" y="1052"/>
                  </a:lnTo>
                  <a:lnTo>
                    <a:pt x="1697" y="1052"/>
                  </a:lnTo>
                  <a:lnTo>
                    <a:pt x="1697" y="1052"/>
                  </a:lnTo>
                  <a:lnTo>
                    <a:pt x="1697" y="1052"/>
                  </a:lnTo>
                  <a:lnTo>
                    <a:pt x="1697" y="1052"/>
                  </a:lnTo>
                  <a:lnTo>
                    <a:pt x="1697" y="1052"/>
                  </a:lnTo>
                  <a:lnTo>
                    <a:pt x="1697" y="1052"/>
                  </a:lnTo>
                  <a:lnTo>
                    <a:pt x="1697" y="1052"/>
                  </a:lnTo>
                  <a:lnTo>
                    <a:pt x="1697" y="1052"/>
                  </a:lnTo>
                  <a:lnTo>
                    <a:pt x="1697" y="1052"/>
                  </a:lnTo>
                  <a:lnTo>
                    <a:pt x="1697" y="1052"/>
                  </a:lnTo>
                  <a:lnTo>
                    <a:pt x="1697" y="1052"/>
                  </a:lnTo>
                  <a:lnTo>
                    <a:pt x="1699" y="1055"/>
                  </a:lnTo>
                  <a:lnTo>
                    <a:pt x="1699" y="1055"/>
                  </a:lnTo>
                  <a:lnTo>
                    <a:pt x="1699" y="1055"/>
                  </a:lnTo>
                  <a:lnTo>
                    <a:pt x="1701" y="1055"/>
                  </a:lnTo>
                  <a:lnTo>
                    <a:pt x="1701" y="1055"/>
                  </a:lnTo>
                  <a:lnTo>
                    <a:pt x="1704" y="1055"/>
                  </a:lnTo>
                  <a:lnTo>
                    <a:pt x="1704" y="1055"/>
                  </a:lnTo>
                  <a:lnTo>
                    <a:pt x="1704" y="1052"/>
                  </a:lnTo>
                  <a:lnTo>
                    <a:pt x="1704" y="1052"/>
                  </a:lnTo>
                  <a:lnTo>
                    <a:pt x="1704" y="1050"/>
                  </a:lnTo>
                  <a:lnTo>
                    <a:pt x="1704" y="1050"/>
                  </a:lnTo>
                  <a:lnTo>
                    <a:pt x="1704" y="1050"/>
                  </a:lnTo>
                  <a:lnTo>
                    <a:pt x="1704" y="1050"/>
                  </a:lnTo>
                  <a:lnTo>
                    <a:pt x="1704" y="1050"/>
                  </a:lnTo>
                  <a:lnTo>
                    <a:pt x="1704" y="1050"/>
                  </a:lnTo>
                  <a:lnTo>
                    <a:pt x="1704" y="1050"/>
                  </a:lnTo>
                  <a:lnTo>
                    <a:pt x="1704" y="1050"/>
                  </a:lnTo>
                  <a:lnTo>
                    <a:pt x="1701" y="1050"/>
                  </a:lnTo>
                  <a:lnTo>
                    <a:pt x="1701" y="1050"/>
                  </a:lnTo>
                  <a:lnTo>
                    <a:pt x="1701" y="1050"/>
                  </a:lnTo>
                  <a:lnTo>
                    <a:pt x="1701" y="1048"/>
                  </a:lnTo>
                  <a:lnTo>
                    <a:pt x="1701" y="1048"/>
                  </a:lnTo>
                  <a:lnTo>
                    <a:pt x="1699" y="1045"/>
                  </a:lnTo>
                  <a:lnTo>
                    <a:pt x="1699" y="1045"/>
                  </a:lnTo>
                  <a:lnTo>
                    <a:pt x="1699" y="1045"/>
                  </a:lnTo>
                  <a:lnTo>
                    <a:pt x="1699" y="1045"/>
                  </a:lnTo>
                  <a:lnTo>
                    <a:pt x="1699" y="1045"/>
                  </a:lnTo>
                  <a:lnTo>
                    <a:pt x="1699" y="1045"/>
                  </a:lnTo>
                  <a:lnTo>
                    <a:pt x="1699" y="1043"/>
                  </a:lnTo>
                  <a:lnTo>
                    <a:pt x="1699" y="1043"/>
                  </a:lnTo>
                  <a:lnTo>
                    <a:pt x="1699" y="1043"/>
                  </a:lnTo>
                  <a:lnTo>
                    <a:pt x="1699" y="1043"/>
                  </a:lnTo>
                  <a:lnTo>
                    <a:pt x="1701" y="1045"/>
                  </a:lnTo>
                  <a:lnTo>
                    <a:pt x="1701" y="1045"/>
                  </a:lnTo>
                  <a:lnTo>
                    <a:pt x="1704" y="1048"/>
                  </a:lnTo>
                  <a:lnTo>
                    <a:pt x="1704" y="1048"/>
                  </a:lnTo>
                  <a:lnTo>
                    <a:pt x="1704" y="1048"/>
                  </a:lnTo>
                  <a:lnTo>
                    <a:pt x="1704" y="1045"/>
                  </a:lnTo>
                  <a:lnTo>
                    <a:pt x="1704" y="1045"/>
                  </a:lnTo>
                  <a:lnTo>
                    <a:pt x="1704" y="1045"/>
                  </a:lnTo>
                  <a:lnTo>
                    <a:pt x="1704" y="1045"/>
                  </a:lnTo>
                  <a:lnTo>
                    <a:pt x="1704" y="1045"/>
                  </a:lnTo>
                  <a:lnTo>
                    <a:pt x="1704" y="1045"/>
                  </a:lnTo>
                  <a:lnTo>
                    <a:pt x="1704" y="1048"/>
                  </a:lnTo>
                  <a:lnTo>
                    <a:pt x="1704" y="1048"/>
                  </a:lnTo>
                  <a:lnTo>
                    <a:pt x="1706" y="1048"/>
                  </a:lnTo>
                  <a:lnTo>
                    <a:pt x="1706" y="1048"/>
                  </a:lnTo>
                  <a:lnTo>
                    <a:pt x="1706" y="1048"/>
                  </a:lnTo>
                  <a:lnTo>
                    <a:pt x="1704" y="1045"/>
                  </a:lnTo>
                  <a:lnTo>
                    <a:pt x="1704" y="1043"/>
                  </a:lnTo>
                  <a:lnTo>
                    <a:pt x="1704" y="1043"/>
                  </a:lnTo>
                  <a:lnTo>
                    <a:pt x="1706" y="1040"/>
                  </a:lnTo>
                  <a:lnTo>
                    <a:pt x="1706" y="1038"/>
                  </a:lnTo>
                  <a:lnTo>
                    <a:pt x="1706" y="1038"/>
                  </a:lnTo>
                  <a:lnTo>
                    <a:pt x="1704" y="1038"/>
                  </a:lnTo>
                  <a:lnTo>
                    <a:pt x="1704" y="1036"/>
                  </a:lnTo>
                  <a:lnTo>
                    <a:pt x="1704" y="1036"/>
                  </a:lnTo>
                  <a:lnTo>
                    <a:pt x="1701" y="1036"/>
                  </a:lnTo>
                  <a:lnTo>
                    <a:pt x="1701" y="1036"/>
                  </a:lnTo>
                  <a:lnTo>
                    <a:pt x="1704" y="1033"/>
                  </a:lnTo>
                  <a:lnTo>
                    <a:pt x="1704" y="1033"/>
                  </a:lnTo>
                  <a:lnTo>
                    <a:pt x="1704" y="1033"/>
                  </a:lnTo>
                  <a:lnTo>
                    <a:pt x="1701" y="1024"/>
                  </a:lnTo>
                  <a:lnTo>
                    <a:pt x="1701" y="1022"/>
                  </a:lnTo>
                  <a:lnTo>
                    <a:pt x="1699" y="1024"/>
                  </a:lnTo>
                  <a:lnTo>
                    <a:pt x="1699" y="1024"/>
                  </a:lnTo>
                  <a:lnTo>
                    <a:pt x="1699" y="1022"/>
                  </a:lnTo>
                  <a:lnTo>
                    <a:pt x="1699" y="1022"/>
                  </a:lnTo>
                  <a:lnTo>
                    <a:pt x="1701" y="1022"/>
                  </a:lnTo>
                  <a:lnTo>
                    <a:pt x="1701" y="1019"/>
                  </a:lnTo>
                  <a:lnTo>
                    <a:pt x="1701" y="1017"/>
                  </a:lnTo>
                  <a:lnTo>
                    <a:pt x="1701" y="1017"/>
                  </a:lnTo>
                  <a:lnTo>
                    <a:pt x="1701" y="1014"/>
                  </a:lnTo>
                  <a:lnTo>
                    <a:pt x="1701" y="1014"/>
                  </a:lnTo>
                  <a:lnTo>
                    <a:pt x="1701" y="1014"/>
                  </a:lnTo>
                  <a:lnTo>
                    <a:pt x="1701" y="1017"/>
                  </a:lnTo>
                  <a:lnTo>
                    <a:pt x="1704" y="1017"/>
                  </a:lnTo>
                  <a:lnTo>
                    <a:pt x="1704" y="1017"/>
                  </a:lnTo>
                  <a:lnTo>
                    <a:pt x="1704" y="1014"/>
                  </a:lnTo>
                  <a:lnTo>
                    <a:pt x="1704" y="1014"/>
                  </a:lnTo>
                  <a:lnTo>
                    <a:pt x="1701" y="1012"/>
                  </a:lnTo>
                  <a:lnTo>
                    <a:pt x="1701" y="1012"/>
                  </a:lnTo>
                  <a:lnTo>
                    <a:pt x="1701" y="1012"/>
                  </a:lnTo>
                  <a:lnTo>
                    <a:pt x="1701" y="1012"/>
                  </a:lnTo>
                  <a:lnTo>
                    <a:pt x="1704" y="1012"/>
                  </a:lnTo>
                  <a:lnTo>
                    <a:pt x="1704" y="1012"/>
                  </a:lnTo>
                  <a:lnTo>
                    <a:pt x="1704" y="1012"/>
                  </a:lnTo>
                  <a:lnTo>
                    <a:pt x="1704" y="1010"/>
                  </a:lnTo>
                  <a:lnTo>
                    <a:pt x="1704" y="1010"/>
                  </a:lnTo>
                  <a:lnTo>
                    <a:pt x="1704" y="1010"/>
                  </a:lnTo>
                  <a:lnTo>
                    <a:pt x="1704" y="1010"/>
                  </a:lnTo>
                  <a:lnTo>
                    <a:pt x="1704" y="1010"/>
                  </a:lnTo>
                  <a:lnTo>
                    <a:pt x="1704" y="1010"/>
                  </a:lnTo>
                  <a:lnTo>
                    <a:pt x="1704" y="1010"/>
                  </a:lnTo>
                  <a:lnTo>
                    <a:pt x="1704" y="1010"/>
                  </a:lnTo>
                  <a:lnTo>
                    <a:pt x="1704" y="1010"/>
                  </a:lnTo>
                  <a:lnTo>
                    <a:pt x="1704" y="1010"/>
                  </a:lnTo>
                  <a:lnTo>
                    <a:pt x="1704" y="1012"/>
                  </a:lnTo>
                  <a:lnTo>
                    <a:pt x="1706" y="1012"/>
                  </a:lnTo>
                  <a:lnTo>
                    <a:pt x="1706" y="1014"/>
                  </a:lnTo>
                  <a:lnTo>
                    <a:pt x="1706" y="1017"/>
                  </a:lnTo>
                  <a:lnTo>
                    <a:pt x="1706" y="1014"/>
                  </a:lnTo>
                  <a:lnTo>
                    <a:pt x="1704" y="1014"/>
                  </a:lnTo>
                  <a:lnTo>
                    <a:pt x="1704" y="1012"/>
                  </a:lnTo>
                  <a:lnTo>
                    <a:pt x="1704" y="1014"/>
                  </a:lnTo>
                  <a:lnTo>
                    <a:pt x="1706" y="1014"/>
                  </a:lnTo>
                  <a:lnTo>
                    <a:pt x="1706" y="1017"/>
                  </a:lnTo>
                  <a:lnTo>
                    <a:pt x="1706" y="1019"/>
                  </a:lnTo>
                  <a:lnTo>
                    <a:pt x="1706" y="1019"/>
                  </a:lnTo>
                  <a:lnTo>
                    <a:pt x="1706" y="1022"/>
                  </a:lnTo>
                  <a:lnTo>
                    <a:pt x="1706" y="1024"/>
                  </a:lnTo>
                  <a:lnTo>
                    <a:pt x="1706" y="1024"/>
                  </a:lnTo>
                  <a:lnTo>
                    <a:pt x="1706" y="1026"/>
                  </a:lnTo>
                  <a:lnTo>
                    <a:pt x="1706" y="1026"/>
                  </a:lnTo>
                  <a:lnTo>
                    <a:pt x="1706" y="1029"/>
                  </a:lnTo>
                  <a:lnTo>
                    <a:pt x="1706" y="1031"/>
                  </a:lnTo>
                  <a:lnTo>
                    <a:pt x="1706" y="1031"/>
                  </a:lnTo>
                  <a:lnTo>
                    <a:pt x="1706" y="1031"/>
                  </a:lnTo>
                  <a:lnTo>
                    <a:pt x="1706" y="1031"/>
                  </a:lnTo>
                  <a:lnTo>
                    <a:pt x="1706" y="1031"/>
                  </a:lnTo>
                  <a:lnTo>
                    <a:pt x="1706" y="1033"/>
                  </a:lnTo>
                  <a:lnTo>
                    <a:pt x="1706" y="1033"/>
                  </a:lnTo>
                  <a:lnTo>
                    <a:pt x="1706" y="1033"/>
                  </a:lnTo>
                  <a:lnTo>
                    <a:pt x="1709" y="1038"/>
                  </a:lnTo>
                  <a:lnTo>
                    <a:pt x="1709" y="1038"/>
                  </a:lnTo>
                  <a:lnTo>
                    <a:pt x="1709" y="1040"/>
                  </a:lnTo>
                  <a:lnTo>
                    <a:pt x="1709" y="1040"/>
                  </a:lnTo>
                  <a:lnTo>
                    <a:pt x="1709" y="1043"/>
                  </a:lnTo>
                  <a:lnTo>
                    <a:pt x="1709" y="1040"/>
                  </a:lnTo>
                  <a:lnTo>
                    <a:pt x="1709" y="1040"/>
                  </a:lnTo>
                  <a:lnTo>
                    <a:pt x="1709" y="1038"/>
                  </a:lnTo>
                  <a:lnTo>
                    <a:pt x="1709" y="1036"/>
                  </a:lnTo>
                  <a:lnTo>
                    <a:pt x="1709" y="1036"/>
                  </a:lnTo>
                  <a:lnTo>
                    <a:pt x="1709" y="1033"/>
                  </a:lnTo>
                  <a:lnTo>
                    <a:pt x="1709" y="1033"/>
                  </a:lnTo>
                  <a:lnTo>
                    <a:pt x="1709" y="1031"/>
                  </a:lnTo>
                  <a:lnTo>
                    <a:pt x="1709" y="1031"/>
                  </a:lnTo>
                  <a:lnTo>
                    <a:pt x="1709" y="1031"/>
                  </a:lnTo>
                  <a:lnTo>
                    <a:pt x="1709" y="1031"/>
                  </a:lnTo>
                  <a:lnTo>
                    <a:pt x="1711" y="1029"/>
                  </a:lnTo>
                  <a:lnTo>
                    <a:pt x="1711" y="1029"/>
                  </a:lnTo>
                  <a:lnTo>
                    <a:pt x="1709" y="1029"/>
                  </a:lnTo>
                  <a:lnTo>
                    <a:pt x="1709" y="1026"/>
                  </a:lnTo>
                  <a:lnTo>
                    <a:pt x="1709" y="1024"/>
                  </a:lnTo>
                  <a:lnTo>
                    <a:pt x="1709" y="1019"/>
                  </a:lnTo>
                  <a:lnTo>
                    <a:pt x="1709" y="1019"/>
                  </a:lnTo>
                  <a:lnTo>
                    <a:pt x="1709" y="1017"/>
                  </a:lnTo>
                  <a:lnTo>
                    <a:pt x="1709" y="1014"/>
                  </a:lnTo>
                  <a:lnTo>
                    <a:pt x="1706" y="1012"/>
                  </a:lnTo>
                  <a:lnTo>
                    <a:pt x="1706" y="1010"/>
                  </a:lnTo>
                  <a:lnTo>
                    <a:pt x="1706" y="1010"/>
                  </a:lnTo>
                  <a:lnTo>
                    <a:pt x="1706" y="1007"/>
                  </a:lnTo>
                  <a:lnTo>
                    <a:pt x="1706" y="1007"/>
                  </a:lnTo>
                  <a:lnTo>
                    <a:pt x="1709" y="1010"/>
                  </a:lnTo>
                  <a:lnTo>
                    <a:pt x="1709" y="1007"/>
                  </a:lnTo>
                  <a:lnTo>
                    <a:pt x="1709" y="1007"/>
                  </a:lnTo>
                  <a:lnTo>
                    <a:pt x="1709" y="1007"/>
                  </a:lnTo>
                  <a:lnTo>
                    <a:pt x="1709" y="1007"/>
                  </a:lnTo>
                  <a:lnTo>
                    <a:pt x="1709" y="1005"/>
                  </a:lnTo>
                  <a:lnTo>
                    <a:pt x="1704" y="1005"/>
                  </a:lnTo>
                  <a:lnTo>
                    <a:pt x="1701" y="1005"/>
                  </a:lnTo>
                  <a:lnTo>
                    <a:pt x="1701" y="1005"/>
                  </a:lnTo>
                  <a:lnTo>
                    <a:pt x="1701" y="1003"/>
                  </a:lnTo>
                  <a:lnTo>
                    <a:pt x="1699" y="1003"/>
                  </a:lnTo>
                  <a:lnTo>
                    <a:pt x="1697" y="1003"/>
                  </a:lnTo>
                  <a:lnTo>
                    <a:pt x="1697" y="1003"/>
                  </a:lnTo>
                  <a:lnTo>
                    <a:pt x="1697" y="1003"/>
                  </a:lnTo>
                  <a:lnTo>
                    <a:pt x="1697" y="1003"/>
                  </a:lnTo>
                  <a:lnTo>
                    <a:pt x="1694" y="1000"/>
                  </a:lnTo>
                  <a:lnTo>
                    <a:pt x="1694" y="1000"/>
                  </a:lnTo>
                  <a:lnTo>
                    <a:pt x="1694" y="998"/>
                  </a:lnTo>
                  <a:lnTo>
                    <a:pt x="1694" y="998"/>
                  </a:lnTo>
                  <a:lnTo>
                    <a:pt x="1694" y="998"/>
                  </a:lnTo>
                  <a:lnTo>
                    <a:pt x="1694" y="998"/>
                  </a:lnTo>
                  <a:lnTo>
                    <a:pt x="1694" y="995"/>
                  </a:lnTo>
                  <a:lnTo>
                    <a:pt x="1692" y="993"/>
                  </a:lnTo>
                  <a:lnTo>
                    <a:pt x="1692" y="993"/>
                  </a:lnTo>
                  <a:lnTo>
                    <a:pt x="1692" y="993"/>
                  </a:lnTo>
                  <a:lnTo>
                    <a:pt x="1692" y="993"/>
                  </a:lnTo>
                  <a:lnTo>
                    <a:pt x="1692" y="993"/>
                  </a:lnTo>
                  <a:lnTo>
                    <a:pt x="1692" y="991"/>
                  </a:lnTo>
                  <a:lnTo>
                    <a:pt x="1692" y="991"/>
                  </a:lnTo>
                  <a:lnTo>
                    <a:pt x="1692" y="988"/>
                  </a:lnTo>
                  <a:lnTo>
                    <a:pt x="1692" y="988"/>
                  </a:lnTo>
                  <a:lnTo>
                    <a:pt x="1692" y="988"/>
                  </a:lnTo>
                  <a:lnTo>
                    <a:pt x="1690" y="988"/>
                  </a:lnTo>
                  <a:lnTo>
                    <a:pt x="1690" y="988"/>
                  </a:lnTo>
                  <a:lnTo>
                    <a:pt x="1690" y="986"/>
                  </a:lnTo>
                  <a:lnTo>
                    <a:pt x="1690" y="986"/>
                  </a:lnTo>
                  <a:lnTo>
                    <a:pt x="1690" y="986"/>
                  </a:lnTo>
                  <a:lnTo>
                    <a:pt x="1690" y="986"/>
                  </a:lnTo>
                  <a:lnTo>
                    <a:pt x="1690" y="986"/>
                  </a:lnTo>
                  <a:lnTo>
                    <a:pt x="1690" y="986"/>
                  </a:lnTo>
                  <a:lnTo>
                    <a:pt x="1690" y="988"/>
                  </a:lnTo>
                  <a:lnTo>
                    <a:pt x="1687" y="991"/>
                  </a:lnTo>
                  <a:lnTo>
                    <a:pt x="1687" y="993"/>
                  </a:lnTo>
                  <a:lnTo>
                    <a:pt x="1687" y="993"/>
                  </a:lnTo>
                  <a:lnTo>
                    <a:pt x="1690" y="993"/>
                  </a:lnTo>
                  <a:lnTo>
                    <a:pt x="1690" y="995"/>
                  </a:lnTo>
                  <a:lnTo>
                    <a:pt x="1690" y="995"/>
                  </a:lnTo>
                  <a:lnTo>
                    <a:pt x="1687" y="995"/>
                  </a:lnTo>
                  <a:lnTo>
                    <a:pt x="1687" y="998"/>
                  </a:lnTo>
                  <a:lnTo>
                    <a:pt x="1687" y="998"/>
                  </a:lnTo>
                  <a:lnTo>
                    <a:pt x="1687" y="998"/>
                  </a:lnTo>
                  <a:lnTo>
                    <a:pt x="1687" y="998"/>
                  </a:lnTo>
                  <a:lnTo>
                    <a:pt x="1690" y="1000"/>
                  </a:lnTo>
                  <a:lnTo>
                    <a:pt x="1690" y="1000"/>
                  </a:lnTo>
                  <a:lnTo>
                    <a:pt x="1690" y="1000"/>
                  </a:lnTo>
                  <a:lnTo>
                    <a:pt x="1690" y="1003"/>
                  </a:lnTo>
                  <a:lnTo>
                    <a:pt x="1690" y="1003"/>
                  </a:lnTo>
                  <a:lnTo>
                    <a:pt x="1690" y="1003"/>
                  </a:lnTo>
                  <a:lnTo>
                    <a:pt x="1690" y="1003"/>
                  </a:lnTo>
                  <a:lnTo>
                    <a:pt x="1690" y="1000"/>
                  </a:lnTo>
                  <a:lnTo>
                    <a:pt x="1692" y="1000"/>
                  </a:lnTo>
                  <a:lnTo>
                    <a:pt x="1692" y="1000"/>
                  </a:lnTo>
                  <a:lnTo>
                    <a:pt x="1692" y="1000"/>
                  </a:lnTo>
                  <a:lnTo>
                    <a:pt x="1692" y="1000"/>
                  </a:lnTo>
                  <a:lnTo>
                    <a:pt x="1692" y="1000"/>
                  </a:lnTo>
                  <a:lnTo>
                    <a:pt x="1692" y="1000"/>
                  </a:lnTo>
                  <a:lnTo>
                    <a:pt x="1692" y="1000"/>
                  </a:lnTo>
                  <a:lnTo>
                    <a:pt x="1692" y="1000"/>
                  </a:lnTo>
                  <a:lnTo>
                    <a:pt x="1692" y="1003"/>
                  </a:lnTo>
                  <a:lnTo>
                    <a:pt x="1692" y="1003"/>
                  </a:lnTo>
                  <a:lnTo>
                    <a:pt x="1692" y="1003"/>
                  </a:lnTo>
                  <a:lnTo>
                    <a:pt x="1692" y="1003"/>
                  </a:lnTo>
                  <a:lnTo>
                    <a:pt x="1690" y="1003"/>
                  </a:lnTo>
                  <a:lnTo>
                    <a:pt x="1690" y="1005"/>
                  </a:lnTo>
                  <a:lnTo>
                    <a:pt x="1690" y="1005"/>
                  </a:lnTo>
                  <a:lnTo>
                    <a:pt x="1687" y="1007"/>
                  </a:lnTo>
                  <a:lnTo>
                    <a:pt x="1687" y="1007"/>
                  </a:lnTo>
                  <a:lnTo>
                    <a:pt x="1687" y="1010"/>
                  </a:lnTo>
                  <a:lnTo>
                    <a:pt x="1687" y="1010"/>
                  </a:lnTo>
                  <a:lnTo>
                    <a:pt x="1687" y="1010"/>
                  </a:lnTo>
                  <a:lnTo>
                    <a:pt x="1687" y="1012"/>
                  </a:lnTo>
                  <a:lnTo>
                    <a:pt x="1687" y="1012"/>
                  </a:lnTo>
                  <a:lnTo>
                    <a:pt x="1687" y="1012"/>
                  </a:lnTo>
                  <a:lnTo>
                    <a:pt x="1687" y="1017"/>
                  </a:lnTo>
                  <a:lnTo>
                    <a:pt x="1687" y="1019"/>
                  </a:lnTo>
                  <a:lnTo>
                    <a:pt x="1687" y="1022"/>
                  </a:lnTo>
                  <a:lnTo>
                    <a:pt x="1687" y="1022"/>
                  </a:lnTo>
                  <a:lnTo>
                    <a:pt x="1685" y="1024"/>
                  </a:lnTo>
                  <a:lnTo>
                    <a:pt x="1685" y="1024"/>
                  </a:lnTo>
                  <a:lnTo>
                    <a:pt x="1685" y="1024"/>
                  </a:lnTo>
                  <a:lnTo>
                    <a:pt x="1685" y="1024"/>
                  </a:lnTo>
                  <a:lnTo>
                    <a:pt x="1685" y="1026"/>
                  </a:lnTo>
                  <a:lnTo>
                    <a:pt x="1685" y="1026"/>
                  </a:lnTo>
                  <a:lnTo>
                    <a:pt x="1685" y="1029"/>
                  </a:lnTo>
                  <a:lnTo>
                    <a:pt x="1685" y="1029"/>
                  </a:lnTo>
                  <a:lnTo>
                    <a:pt x="1685" y="1031"/>
                  </a:lnTo>
                  <a:lnTo>
                    <a:pt x="1685" y="1031"/>
                  </a:lnTo>
                  <a:lnTo>
                    <a:pt x="1685" y="1033"/>
                  </a:lnTo>
                  <a:lnTo>
                    <a:pt x="1685" y="1033"/>
                  </a:lnTo>
                  <a:lnTo>
                    <a:pt x="1685" y="1036"/>
                  </a:lnTo>
                  <a:lnTo>
                    <a:pt x="1685" y="1036"/>
                  </a:lnTo>
                  <a:lnTo>
                    <a:pt x="1685" y="1038"/>
                  </a:lnTo>
                  <a:lnTo>
                    <a:pt x="1685" y="1038"/>
                  </a:lnTo>
                  <a:lnTo>
                    <a:pt x="1685" y="1038"/>
                  </a:lnTo>
                  <a:lnTo>
                    <a:pt x="1687" y="1038"/>
                  </a:lnTo>
                  <a:lnTo>
                    <a:pt x="1692" y="1038"/>
                  </a:lnTo>
                  <a:lnTo>
                    <a:pt x="1692" y="1038"/>
                  </a:lnTo>
                  <a:lnTo>
                    <a:pt x="1690" y="1038"/>
                  </a:lnTo>
                  <a:lnTo>
                    <a:pt x="1690" y="1038"/>
                  </a:lnTo>
                  <a:lnTo>
                    <a:pt x="1687" y="1040"/>
                  </a:lnTo>
                  <a:lnTo>
                    <a:pt x="1687" y="1040"/>
                  </a:lnTo>
                  <a:lnTo>
                    <a:pt x="1687" y="1040"/>
                  </a:lnTo>
                  <a:lnTo>
                    <a:pt x="1687" y="1040"/>
                  </a:lnTo>
                  <a:lnTo>
                    <a:pt x="1685" y="1040"/>
                  </a:lnTo>
                  <a:lnTo>
                    <a:pt x="1685" y="1040"/>
                  </a:lnTo>
                  <a:lnTo>
                    <a:pt x="1685" y="1038"/>
                  </a:lnTo>
                  <a:lnTo>
                    <a:pt x="1685" y="1040"/>
                  </a:lnTo>
                  <a:lnTo>
                    <a:pt x="1685" y="1040"/>
                  </a:lnTo>
                  <a:lnTo>
                    <a:pt x="1685" y="1040"/>
                  </a:lnTo>
                  <a:lnTo>
                    <a:pt x="1685" y="1040"/>
                  </a:lnTo>
                  <a:lnTo>
                    <a:pt x="1685" y="1043"/>
                  </a:lnTo>
                  <a:lnTo>
                    <a:pt x="1685" y="1043"/>
                  </a:lnTo>
                  <a:lnTo>
                    <a:pt x="1685" y="1045"/>
                  </a:lnTo>
                  <a:lnTo>
                    <a:pt x="1687" y="1045"/>
                  </a:lnTo>
                  <a:lnTo>
                    <a:pt x="1687" y="1048"/>
                  </a:lnTo>
                  <a:lnTo>
                    <a:pt x="1690" y="1048"/>
                  </a:lnTo>
                  <a:lnTo>
                    <a:pt x="1692" y="1048"/>
                  </a:lnTo>
                  <a:lnTo>
                    <a:pt x="1690" y="1048"/>
                  </a:lnTo>
                  <a:lnTo>
                    <a:pt x="1690" y="1048"/>
                  </a:lnTo>
                  <a:lnTo>
                    <a:pt x="1690" y="1048"/>
                  </a:lnTo>
                  <a:lnTo>
                    <a:pt x="1690" y="1048"/>
                  </a:lnTo>
                  <a:lnTo>
                    <a:pt x="1690" y="1048"/>
                  </a:lnTo>
                  <a:lnTo>
                    <a:pt x="1690" y="1050"/>
                  </a:lnTo>
                  <a:lnTo>
                    <a:pt x="1690" y="1050"/>
                  </a:lnTo>
                  <a:lnTo>
                    <a:pt x="1690" y="1050"/>
                  </a:lnTo>
                  <a:lnTo>
                    <a:pt x="1690" y="1050"/>
                  </a:lnTo>
                  <a:lnTo>
                    <a:pt x="1687" y="1048"/>
                  </a:lnTo>
                  <a:lnTo>
                    <a:pt x="1685" y="1045"/>
                  </a:lnTo>
                  <a:lnTo>
                    <a:pt x="1685" y="1045"/>
                  </a:lnTo>
                  <a:lnTo>
                    <a:pt x="1685" y="1045"/>
                  </a:lnTo>
                  <a:close/>
                  <a:moveTo>
                    <a:pt x="1697" y="998"/>
                  </a:moveTo>
                  <a:lnTo>
                    <a:pt x="1697" y="998"/>
                  </a:lnTo>
                  <a:lnTo>
                    <a:pt x="1699" y="1000"/>
                  </a:lnTo>
                  <a:lnTo>
                    <a:pt x="1699" y="1000"/>
                  </a:lnTo>
                  <a:lnTo>
                    <a:pt x="1701" y="1000"/>
                  </a:lnTo>
                  <a:lnTo>
                    <a:pt x="1706" y="1003"/>
                  </a:lnTo>
                  <a:lnTo>
                    <a:pt x="1706" y="1003"/>
                  </a:lnTo>
                  <a:lnTo>
                    <a:pt x="1704" y="998"/>
                  </a:lnTo>
                  <a:lnTo>
                    <a:pt x="1704" y="995"/>
                  </a:lnTo>
                  <a:lnTo>
                    <a:pt x="1701" y="993"/>
                  </a:lnTo>
                  <a:lnTo>
                    <a:pt x="1699" y="993"/>
                  </a:lnTo>
                  <a:lnTo>
                    <a:pt x="1699" y="993"/>
                  </a:lnTo>
                  <a:lnTo>
                    <a:pt x="1699" y="993"/>
                  </a:lnTo>
                  <a:lnTo>
                    <a:pt x="1699" y="993"/>
                  </a:lnTo>
                  <a:lnTo>
                    <a:pt x="1697" y="993"/>
                  </a:lnTo>
                  <a:lnTo>
                    <a:pt x="1697" y="993"/>
                  </a:lnTo>
                  <a:lnTo>
                    <a:pt x="1697" y="995"/>
                  </a:lnTo>
                  <a:lnTo>
                    <a:pt x="1697" y="995"/>
                  </a:lnTo>
                  <a:lnTo>
                    <a:pt x="1697" y="998"/>
                  </a:lnTo>
                  <a:lnTo>
                    <a:pt x="1697" y="998"/>
                  </a:lnTo>
                  <a:close/>
                  <a:moveTo>
                    <a:pt x="1713" y="1078"/>
                  </a:moveTo>
                  <a:lnTo>
                    <a:pt x="1713" y="1078"/>
                  </a:lnTo>
                  <a:lnTo>
                    <a:pt x="1711" y="1078"/>
                  </a:lnTo>
                  <a:lnTo>
                    <a:pt x="1711" y="1076"/>
                  </a:lnTo>
                  <a:lnTo>
                    <a:pt x="1709" y="1076"/>
                  </a:lnTo>
                  <a:lnTo>
                    <a:pt x="1709" y="1074"/>
                  </a:lnTo>
                  <a:lnTo>
                    <a:pt x="1706" y="1074"/>
                  </a:lnTo>
                  <a:lnTo>
                    <a:pt x="1706" y="1074"/>
                  </a:lnTo>
                  <a:lnTo>
                    <a:pt x="1704" y="1071"/>
                  </a:lnTo>
                  <a:lnTo>
                    <a:pt x="1701" y="1069"/>
                  </a:lnTo>
                  <a:lnTo>
                    <a:pt x="1699" y="1069"/>
                  </a:lnTo>
                  <a:lnTo>
                    <a:pt x="1697" y="1069"/>
                  </a:lnTo>
                  <a:lnTo>
                    <a:pt x="1697" y="1069"/>
                  </a:lnTo>
                  <a:lnTo>
                    <a:pt x="1697" y="1069"/>
                  </a:lnTo>
                  <a:lnTo>
                    <a:pt x="1697" y="1069"/>
                  </a:lnTo>
                  <a:lnTo>
                    <a:pt x="1697" y="1069"/>
                  </a:lnTo>
                  <a:lnTo>
                    <a:pt x="1694" y="1069"/>
                  </a:lnTo>
                  <a:lnTo>
                    <a:pt x="1694" y="1069"/>
                  </a:lnTo>
                  <a:lnTo>
                    <a:pt x="1694" y="1069"/>
                  </a:lnTo>
                  <a:lnTo>
                    <a:pt x="1694" y="1069"/>
                  </a:lnTo>
                  <a:lnTo>
                    <a:pt x="1694" y="1069"/>
                  </a:lnTo>
                  <a:lnTo>
                    <a:pt x="1692" y="1069"/>
                  </a:lnTo>
                  <a:lnTo>
                    <a:pt x="1692" y="1071"/>
                  </a:lnTo>
                  <a:lnTo>
                    <a:pt x="1692" y="1071"/>
                  </a:lnTo>
                  <a:lnTo>
                    <a:pt x="1697" y="1076"/>
                  </a:lnTo>
                  <a:lnTo>
                    <a:pt x="1697" y="1078"/>
                  </a:lnTo>
                  <a:lnTo>
                    <a:pt x="1699" y="1078"/>
                  </a:lnTo>
                  <a:lnTo>
                    <a:pt x="1699" y="1081"/>
                  </a:lnTo>
                  <a:lnTo>
                    <a:pt x="1699" y="1081"/>
                  </a:lnTo>
                  <a:lnTo>
                    <a:pt x="1697" y="1081"/>
                  </a:lnTo>
                  <a:lnTo>
                    <a:pt x="1694" y="1078"/>
                  </a:lnTo>
                  <a:lnTo>
                    <a:pt x="1694" y="1078"/>
                  </a:lnTo>
                  <a:lnTo>
                    <a:pt x="1694" y="1078"/>
                  </a:lnTo>
                  <a:lnTo>
                    <a:pt x="1694" y="1078"/>
                  </a:lnTo>
                  <a:lnTo>
                    <a:pt x="1694" y="1081"/>
                  </a:lnTo>
                  <a:lnTo>
                    <a:pt x="1694" y="1081"/>
                  </a:lnTo>
                  <a:lnTo>
                    <a:pt x="1694" y="1081"/>
                  </a:lnTo>
                  <a:lnTo>
                    <a:pt x="1697" y="1081"/>
                  </a:lnTo>
                  <a:lnTo>
                    <a:pt x="1697" y="1081"/>
                  </a:lnTo>
                  <a:lnTo>
                    <a:pt x="1697" y="1081"/>
                  </a:lnTo>
                  <a:lnTo>
                    <a:pt x="1697" y="1081"/>
                  </a:lnTo>
                  <a:lnTo>
                    <a:pt x="1697" y="1081"/>
                  </a:lnTo>
                  <a:lnTo>
                    <a:pt x="1697" y="1081"/>
                  </a:lnTo>
                  <a:lnTo>
                    <a:pt x="1697" y="1083"/>
                  </a:lnTo>
                  <a:lnTo>
                    <a:pt x="1697" y="1083"/>
                  </a:lnTo>
                  <a:lnTo>
                    <a:pt x="1697" y="1083"/>
                  </a:lnTo>
                  <a:lnTo>
                    <a:pt x="1697" y="1083"/>
                  </a:lnTo>
                  <a:lnTo>
                    <a:pt x="1697" y="1083"/>
                  </a:lnTo>
                  <a:lnTo>
                    <a:pt x="1697" y="1083"/>
                  </a:lnTo>
                  <a:lnTo>
                    <a:pt x="1697" y="1083"/>
                  </a:lnTo>
                  <a:lnTo>
                    <a:pt x="1697" y="1083"/>
                  </a:lnTo>
                  <a:lnTo>
                    <a:pt x="1697" y="1085"/>
                  </a:lnTo>
                  <a:lnTo>
                    <a:pt x="1697" y="1085"/>
                  </a:lnTo>
                  <a:lnTo>
                    <a:pt x="1699" y="1085"/>
                  </a:lnTo>
                  <a:lnTo>
                    <a:pt x="1699" y="1083"/>
                  </a:lnTo>
                  <a:lnTo>
                    <a:pt x="1699" y="1083"/>
                  </a:lnTo>
                  <a:lnTo>
                    <a:pt x="1699" y="1083"/>
                  </a:lnTo>
                  <a:lnTo>
                    <a:pt x="1699" y="1083"/>
                  </a:lnTo>
                  <a:lnTo>
                    <a:pt x="1699" y="1083"/>
                  </a:lnTo>
                  <a:lnTo>
                    <a:pt x="1699" y="1083"/>
                  </a:lnTo>
                  <a:lnTo>
                    <a:pt x="1699" y="1083"/>
                  </a:lnTo>
                  <a:lnTo>
                    <a:pt x="1699" y="1083"/>
                  </a:lnTo>
                  <a:lnTo>
                    <a:pt x="1699" y="1083"/>
                  </a:lnTo>
                  <a:lnTo>
                    <a:pt x="1699" y="1085"/>
                  </a:lnTo>
                  <a:lnTo>
                    <a:pt x="1699" y="1085"/>
                  </a:lnTo>
                  <a:lnTo>
                    <a:pt x="1699" y="1085"/>
                  </a:lnTo>
                  <a:lnTo>
                    <a:pt x="1699" y="1085"/>
                  </a:lnTo>
                  <a:lnTo>
                    <a:pt x="1699" y="1085"/>
                  </a:lnTo>
                  <a:lnTo>
                    <a:pt x="1699" y="1085"/>
                  </a:lnTo>
                  <a:lnTo>
                    <a:pt x="1699" y="1088"/>
                  </a:lnTo>
                  <a:lnTo>
                    <a:pt x="1699" y="1088"/>
                  </a:lnTo>
                  <a:lnTo>
                    <a:pt x="1699" y="1088"/>
                  </a:lnTo>
                  <a:lnTo>
                    <a:pt x="1697" y="1088"/>
                  </a:lnTo>
                  <a:lnTo>
                    <a:pt x="1697" y="1090"/>
                  </a:lnTo>
                  <a:lnTo>
                    <a:pt x="1697" y="1090"/>
                  </a:lnTo>
                  <a:lnTo>
                    <a:pt x="1697" y="1090"/>
                  </a:lnTo>
                  <a:lnTo>
                    <a:pt x="1697" y="1092"/>
                  </a:lnTo>
                  <a:lnTo>
                    <a:pt x="1697" y="1092"/>
                  </a:lnTo>
                  <a:lnTo>
                    <a:pt x="1697" y="1092"/>
                  </a:lnTo>
                  <a:lnTo>
                    <a:pt x="1697" y="1095"/>
                  </a:lnTo>
                  <a:lnTo>
                    <a:pt x="1697" y="1095"/>
                  </a:lnTo>
                  <a:lnTo>
                    <a:pt x="1697" y="1095"/>
                  </a:lnTo>
                  <a:lnTo>
                    <a:pt x="1697" y="1095"/>
                  </a:lnTo>
                  <a:lnTo>
                    <a:pt x="1697" y="1097"/>
                  </a:lnTo>
                  <a:lnTo>
                    <a:pt x="1697" y="1097"/>
                  </a:lnTo>
                  <a:lnTo>
                    <a:pt x="1697" y="1097"/>
                  </a:lnTo>
                  <a:lnTo>
                    <a:pt x="1694" y="1097"/>
                  </a:lnTo>
                  <a:lnTo>
                    <a:pt x="1694" y="1097"/>
                  </a:lnTo>
                  <a:lnTo>
                    <a:pt x="1697" y="1100"/>
                  </a:lnTo>
                  <a:lnTo>
                    <a:pt x="1694" y="1104"/>
                  </a:lnTo>
                  <a:lnTo>
                    <a:pt x="1694" y="1104"/>
                  </a:lnTo>
                  <a:lnTo>
                    <a:pt x="1697" y="1107"/>
                  </a:lnTo>
                  <a:lnTo>
                    <a:pt x="1701" y="1107"/>
                  </a:lnTo>
                  <a:lnTo>
                    <a:pt x="1701" y="1107"/>
                  </a:lnTo>
                  <a:lnTo>
                    <a:pt x="1701" y="1104"/>
                  </a:lnTo>
                  <a:lnTo>
                    <a:pt x="1701" y="1107"/>
                  </a:lnTo>
                  <a:lnTo>
                    <a:pt x="1701" y="1104"/>
                  </a:lnTo>
                  <a:lnTo>
                    <a:pt x="1701" y="1104"/>
                  </a:lnTo>
                  <a:lnTo>
                    <a:pt x="1701" y="1104"/>
                  </a:lnTo>
                  <a:lnTo>
                    <a:pt x="1701" y="1104"/>
                  </a:lnTo>
                  <a:lnTo>
                    <a:pt x="1704" y="1104"/>
                  </a:lnTo>
                  <a:lnTo>
                    <a:pt x="1704" y="1104"/>
                  </a:lnTo>
                  <a:lnTo>
                    <a:pt x="1704" y="1104"/>
                  </a:lnTo>
                  <a:lnTo>
                    <a:pt x="1704" y="1107"/>
                  </a:lnTo>
                  <a:lnTo>
                    <a:pt x="1704" y="1107"/>
                  </a:lnTo>
                  <a:lnTo>
                    <a:pt x="1704" y="1107"/>
                  </a:lnTo>
                  <a:lnTo>
                    <a:pt x="1706" y="1107"/>
                  </a:lnTo>
                  <a:lnTo>
                    <a:pt x="1706" y="1107"/>
                  </a:lnTo>
                  <a:lnTo>
                    <a:pt x="1706" y="1107"/>
                  </a:lnTo>
                  <a:lnTo>
                    <a:pt x="1706" y="1107"/>
                  </a:lnTo>
                  <a:lnTo>
                    <a:pt x="1706" y="1109"/>
                  </a:lnTo>
                  <a:lnTo>
                    <a:pt x="1709" y="1109"/>
                  </a:lnTo>
                  <a:lnTo>
                    <a:pt x="1709" y="1109"/>
                  </a:lnTo>
                  <a:lnTo>
                    <a:pt x="1709" y="1109"/>
                  </a:lnTo>
                  <a:lnTo>
                    <a:pt x="1709" y="1109"/>
                  </a:lnTo>
                  <a:lnTo>
                    <a:pt x="1711" y="1109"/>
                  </a:lnTo>
                  <a:lnTo>
                    <a:pt x="1711" y="1107"/>
                  </a:lnTo>
                  <a:lnTo>
                    <a:pt x="1711" y="1107"/>
                  </a:lnTo>
                  <a:lnTo>
                    <a:pt x="1711" y="1104"/>
                  </a:lnTo>
                  <a:lnTo>
                    <a:pt x="1713" y="1107"/>
                  </a:lnTo>
                  <a:lnTo>
                    <a:pt x="1713" y="1104"/>
                  </a:lnTo>
                  <a:lnTo>
                    <a:pt x="1713" y="1104"/>
                  </a:lnTo>
                  <a:lnTo>
                    <a:pt x="1713" y="1102"/>
                  </a:lnTo>
                  <a:lnTo>
                    <a:pt x="1713" y="1102"/>
                  </a:lnTo>
                  <a:lnTo>
                    <a:pt x="1711" y="1102"/>
                  </a:lnTo>
                  <a:lnTo>
                    <a:pt x="1711" y="1100"/>
                  </a:lnTo>
                  <a:lnTo>
                    <a:pt x="1711" y="1100"/>
                  </a:lnTo>
                  <a:lnTo>
                    <a:pt x="1713" y="1102"/>
                  </a:lnTo>
                  <a:lnTo>
                    <a:pt x="1713" y="1102"/>
                  </a:lnTo>
                  <a:lnTo>
                    <a:pt x="1713" y="1102"/>
                  </a:lnTo>
                  <a:lnTo>
                    <a:pt x="1713" y="1102"/>
                  </a:lnTo>
                  <a:lnTo>
                    <a:pt x="1713" y="1100"/>
                  </a:lnTo>
                  <a:lnTo>
                    <a:pt x="1713" y="1100"/>
                  </a:lnTo>
                  <a:lnTo>
                    <a:pt x="1711" y="1100"/>
                  </a:lnTo>
                  <a:lnTo>
                    <a:pt x="1711" y="1100"/>
                  </a:lnTo>
                  <a:lnTo>
                    <a:pt x="1711" y="1097"/>
                  </a:lnTo>
                  <a:lnTo>
                    <a:pt x="1711" y="1097"/>
                  </a:lnTo>
                  <a:lnTo>
                    <a:pt x="1711" y="1097"/>
                  </a:lnTo>
                  <a:lnTo>
                    <a:pt x="1709" y="1100"/>
                  </a:lnTo>
                  <a:lnTo>
                    <a:pt x="1709" y="1100"/>
                  </a:lnTo>
                  <a:lnTo>
                    <a:pt x="1709" y="1097"/>
                  </a:lnTo>
                  <a:lnTo>
                    <a:pt x="1711" y="1097"/>
                  </a:lnTo>
                  <a:lnTo>
                    <a:pt x="1711" y="1097"/>
                  </a:lnTo>
                  <a:lnTo>
                    <a:pt x="1711" y="1097"/>
                  </a:lnTo>
                  <a:lnTo>
                    <a:pt x="1711" y="1095"/>
                  </a:lnTo>
                  <a:lnTo>
                    <a:pt x="1711" y="1092"/>
                  </a:lnTo>
                  <a:lnTo>
                    <a:pt x="1711" y="1092"/>
                  </a:lnTo>
                  <a:lnTo>
                    <a:pt x="1711" y="1092"/>
                  </a:lnTo>
                  <a:lnTo>
                    <a:pt x="1711" y="1092"/>
                  </a:lnTo>
                  <a:lnTo>
                    <a:pt x="1709" y="1092"/>
                  </a:lnTo>
                  <a:lnTo>
                    <a:pt x="1709" y="1092"/>
                  </a:lnTo>
                  <a:lnTo>
                    <a:pt x="1709" y="1092"/>
                  </a:lnTo>
                  <a:lnTo>
                    <a:pt x="1709" y="1090"/>
                  </a:lnTo>
                  <a:lnTo>
                    <a:pt x="1709" y="1090"/>
                  </a:lnTo>
                  <a:lnTo>
                    <a:pt x="1709" y="1090"/>
                  </a:lnTo>
                  <a:lnTo>
                    <a:pt x="1709" y="1088"/>
                  </a:lnTo>
                  <a:lnTo>
                    <a:pt x="1709" y="1088"/>
                  </a:lnTo>
                  <a:lnTo>
                    <a:pt x="1709" y="1085"/>
                  </a:lnTo>
                  <a:lnTo>
                    <a:pt x="1711" y="1088"/>
                  </a:lnTo>
                  <a:lnTo>
                    <a:pt x="1711" y="1090"/>
                  </a:lnTo>
                  <a:lnTo>
                    <a:pt x="1711" y="1090"/>
                  </a:lnTo>
                  <a:lnTo>
                    <a:pt x="1713" y="1088"/>
                  </a:lnTo>
                  <a:lnTo>
                    <a:pt x="1713" y="1090"/>
                  </a:lnTo>
                  <a:lnTo>
                    <a:pt x="1713" y="1090"/>
                  </a:lnTo>
                  <a:lnTo>
                    <a:pt x="1713" y="1092"/>
                  </a:lnTo>
                  <a:lnTo>
                    <a:pt x="1713" y="1092"/>
                  </a:lnTo>
                  <a:lnTo>
                    <a:pt x="1713" y="1095"/>
                  </a:lnTo>
                  <a:lnTo>
                    <a:pt x="1713" y="1097"/>
                  </a:lnTo>
                  <a:lnTo>
                    <a:pt x="1713" y="1100"/>
                  </a:lnTo>
                  <a:lnTo>
                    <a:pt x="1716" y="1100"/>
                  </a:lnTo>
                  <a:lnTo>
                    <a:pt x="1716" y="1100"/>
                  </a:lnTo>
                  <a:lnTo>
                    <a:pt x="1716" y="1102"/>
                  </a:lnTo>
                  <a:lnTo>
                    <a:pt x="1716" y="1102"/>
                  </a:lnTo>
                  <a:lnTo>
                    <a:pt x="1716" y="1102"/>
                  </a:lnTo>
                  <a:lnTo>
                    <a:pt x="1718" y="1102"/>
                  </a:lnTo>
                  <a:lnTo>
                    <a:pt x="1718" y="1102"/>
                  </a:lnTo>
                  <a:lnTo>
                    <a:pt x="1718" y="1102"/>
                  </a:lnTo>
                  <a:lnTo>
                    <a:pt x="1718" y="1102"/>
                  </a:lnTo>
                  <a:lnTo>
                    <a:pt x="1720" y="1100"/>
                  </a:lnTo>
                  <a:lnTo>
                    <a:pt x="1720" y="1100"/>
                  </a:lnTo>
                  <a:lnTo>
                    <a:pt x="1720" y="1100"/>
                  </a:lnTo>
                  <a:lnTo>
                    <a:pt x="1718" y="1097"/>
                  </a:lnTo>
                  <a:lnTo>
                    <a:pt x="1718" y="1097"/>
                  </a:lnTo>
                  <a:lnTo>
                    <a:pt x="1720" y="1097"/>
                  </a:lnTo>
                  <a:lnTo>
                    <a:pt x="1720" y="1097"/>
                  </a:lnTo>
                  <a:lnTo>
                    <a:pt x="1720" y="1095"/>
                  </a:lnTo>
                  <a:lnTo>
                    <a:pt x="1720" y="1095"/>
                  </a:lnTo>
                  <a:lnTo>
                    <a:pt x="1720" y="1092"/>
                  </a:lnTo>
                  <a:lnTo>
                    <a:pt x="1720" y="1092"/>
                  </a:lnTo>
                  <a:lnTo>
                    <a:pt x="1720" y="1090"/>
                  </a:lnTo>
                  <a:lnTo>
                    <a:pt x="1720" y="1090"/>
                  </a:lnTo>
                  <a:lnTo>
                    <a:pt x="1720" y="1090"/>
                  </a:lnTo>
                  <a:lnTo>
                    <a:pt x="1723" y="1090"/>
                  </a:lnTo>
                  <a:lnTo>
                    <a:pt x="1723" y="1088"/>
                  </a:lnTo>
                  <a:lnTo>
                    <a:pt x="1723" y="1085"/>
                  </a:lnTo>
                  <a:lnTo>
                    <a:pt x="1723" y="1085"/>
                  </a:lnTo>
                  <a:lnTo>
                    <a:pt x="1723" y="1085"/>
                  </a:lnTo>
                  <a:lnTo>
                    <a:pt x="1723" y="1083"/>
                  </a:lnTo>
                  <a:lnTo>
                    <a:pt x="1720" y="1083"/>
                  </a:lnTo>
                  <a:lnTo>
                    <a:pt x="1720" y="1083"/>
                  </a:lnTo>
                  <a:lnTo>
                    <a:pt x="1720" y="1081"/>
                  </a:lnTo>
                  <a:lnTo>
                    <a:pt x="1720" y="1081"/>
                  </a:lnTo>
                  <a:lnTo>
                    <a:pt x="1716" y="1078"/>
                  </a:lnTo>
                  <a:lnTo>
                    <a:pt x="1713" y="1078"/>
                  </a:lnTo>
                  <a:lnTo>
                    <a:pt x="1713" y="1078"/>
                  </a:lnTo>
                  <a:lnTo>
                    <a:pt x="1713" y="1081"/>
                  </a:lnTo>
                  <a:lnTo>
                    <a:pt x="1716" y="1083"/>
                  </a:lnTo>
                  <a:lnTo>
                    <a:pt x="1713" y="1083"/>
                  </a:lnTo>
                  <a:lnTo>
                    <a:pt x="1713" y="1083"/>
                  </a:lnTo>
                  <a:lnTo>
                    <a:pt x="1713" y="1081"/>
                  </a:lnTo>
                  <a:lnTo>
                    <a:pt x="1713" y="1081"/>
                  </a:lnTo>
                  <a:lnTo>
                    <a:pt x="1713" y="1078"/>
                  </a:lnTo>
                  <a:close/>
                  <a:moveTo>
                    <a:pt x="1730" y="1123"/>
                  </a:moveTo>
                  <a:lnTo>
                    <a:pt x="1730" y="1123"/>
                  </a:lnTo>
                  <a:lnTo>
                    <a:pt x="1730" y="1123"/>
                  </a:lnTo>
                  <a:lnTo>
                    <a:pt x="1730" y="1121"/>
                  </a:lnTo>
                  <a:lnTo>
                    <a:pt x="1730" y="1121"/>
                  </a:lnTo>
                  <a:lnTo>
                    <a:pt x="1725" y="1121"/>
                  </a:lnTo>
                  <a:lnTo>
                    <a:pt x="1725" y="1121"/>
                  </a:lnTo>
                  <a:lnTo>
                    <a:pt x="1725" y="1121"/>
                  </a:lnTo>
                  <a:lnTo>
                    <a:pt x="1725" y="1123"/>
                  </a:lnTo>
                  <a:lnTo>
                    <a:pt x="1725" y="1123"/>
                  </a:lnTo>
                  <a:lnTo>
                    <a:pt x="1725" y="1123"/>
                  </a:lnTo>
                  <a:lnTo>
                    <a:pt x="1725" y="1123"/>
                  </a:lnTo>
                  <a:lnTo>
                    <a:pt x="1723" y="1126"/>
                  </a:lnTo>
                  <a:lnTo>
                    <a:pt x="1723" y="1126"/>
                  </a:lnTo>
                  <a:lnTo>
                    <a:pt x="1720" y="1126"/>
                  </a:lnTo>
                  <a:lnTo>
                    <a:pt x="1718" y="1126"/>
                  </a:lnTo>
                  <a:lnTo>
                    <a:pt x="1718" y="1126"/>
                  </a:lnTo>
                  <a:lnTo>
                    <a:pt x="1718" y="1128"/>
                  </a:lnTo>
                  <a:lnTo>
                    <a:pt x="1718" y="1128"/>
                  </a:lnTo>
                  <a:lnTo>
                    <a:pt x="1718" y="1130"/>
                  </a:lnTo>
                  <a:lnTo>
                    <a:pt x="1718" y="1130"/>
                  </a:lnTo>
                  <a:lnTo>
                    <a:pt x="1718" y="1130"/>
                  </a:lnTo>
                  <a:lnTo>
                    <a:pt x="1718" y="1133"/>
                  </a:lnTo>
                  <a:lnTo>
                    <a:pt x="1718" y="1133"/>
                  </a:lnTo>
                  <a:lnTo>
                    <a:pt x="1718" y="1133"/>
                  </a:lnTo>
                  <a:lnTo>
                    <a:pt x="1718" y="1135"/>
                  </a:lnTo>
                  <a:lnTo>
                    <a:pt x="1718" y="1135"/>
                  </a:lnTo>
                  <a:lnTo>
                    <a:pt x="1718" y="1135"/>
                  </a:lnTo>
                  <a:lnTo>
                    <a:pt x="1718" y="1135"/>
                  </a:lnTo>
                  <a:lnTo>
                    <a:pt x="1718" y="1135"/>
                  </a:lnTo>
                  <a:lnTo>
                    <a:pt x="1720" y="1135"/>
                  </a:lnTo>
                  <a:lnTo>
                    <a:pt x="1720" y="1135"/>
                  </a:lnTo>
                  <a:lnTo>
                    <a:pt x="1720" y="1135"/>
                  </a:lnTo>
                  <a:lnTo>
                    <a:pt x="1720" y="1135"/>
                  </a:lnTo>
                  <a:lnTo>
                    <a:pt x="1720" y="1135"/>
                  </a:lnTo>
                  <a:lnTo>
                    <a:pt x="1723" y="1137"/>
                  </a:lnTo>
                  <a:lnTo>
                    <a:pt x="1723" y="1137"/>
                  </a:lnTo>
                  <a:lnTo>
                    <a:pt x="1723" y="1137"/>
                  </a:lnTo>
                  <a:lnTo>
                    <a:pt x="1725" y="1140"/>
                  </a:lnTo>
                  <a:lnTo>
                    <a:pt x="1725" y="1140"/>
                  </a:lnTo>
                  <a:lnTo>
                    <a:pt x="1725" y="1140"/>
                  </a:lnTo>
                  <a:lnTo>
                    <a:pt x="1725" y="1140"/>
                  </a:lnTo>
                  <a:lnTo>
                    <a:pt x="1725" y="1140"/>
                  </a:lnTo>
                  <a:lnTo>
                    <a:pt x="1725" y="1140"/>
                  </a:lnTo>
                  <a:lnTo>
                    <a:pt x="1723" y="1140"/>
                  </a:lnTo>
                  <a:lnTo>
                    <a:pt x="1723" y="1142"/>
                  </a:lnTo>
                  <a:lnTo>
                    <a:pt x="1723" y="1142"/>
                  </a:lnTo>
                  <a:lnTo>
                    <a:pt x="1725" y="1145"/>
                  </a:lnTo>
                  <a:lnTo>
                    <a:pt x="1725" y="1145"/>
                  </a:lnTo>
                  <a:lnTo>
                    <a:pt x="1725" y="1145"/>
                  </a:lnTo>
                  <a:lnTo>
                    <a:pt x="1725" y="1147"/>
                  </a:lnTo>
                  <a:lnTo>
                    <a:pt x="1725" y="1147"/>
                  </a:lnTo>
                  <a:lnTo>
                    <a:pt x="1725" y="1147"/>
                  </a:lnTo>
                  <a:lnTo>
                    <a:pt x="1728" y="1147"/>
                  </a:lnTo>
                  <a:lnTo>
                    <a:pt x="1728" y="1147"/>
                  </a:lnTo>
                  <a:lnTo>
                    <a:pt x="1728" y="1145"/>
                  </a:lnTo>
                  <a:lnTo>
                    <a:pt x="1728" y="1145"/>
                  </a:lnTo>
                  <a:lnTo>
                    <a:pt x="1728" y="1147"/>
                  </a:lnTo>
                  <a:lnTo>
                    <a:pt x="1728" y="1147"/>
                  </a:lnTo>
                  <a:lnTo>
                    <a:pt x="1730" y="1145"/>
                  </a:lnTo>
                  <a:lnTo>
                    <a:pt x="1730" y="1145"/>
                  </a:lnTo>
                  <a:lnTo>
                    <a:pt x="1730" y="1145"/>
                  </a:lnTo>
                  <a:lnTo>
                    <a:pt x="1730" y="1145"/>
                  </a:lnTo>
                  <a:lnTo>
                    <a:pt x="1730" y="1147"/>
                  </a:lnTo>
                  <a:lnTo>
                    <a:pt x="1730" y="1147"/>
                  </a:lnTo>
                  <a:lnTo>
                    <a:pt x="1732" y="1147"/>
                  </a:lnTo>
                  <a:lnTo>
                    <a:pt x="1732" y="1147"/>
                  </a:lnTo>
                  <a:lnTo>
                    <a:pt x="1732" y="1145"/>
                  </a:lnTo>
                  <a:lnTo>
                    <a:pt x="1732" y="1145"/>
                  </a:lnTo>
                  <a:lnTo>
                    <a:pt x="1732" y="1142"/>
                  </a:lnTo>
                  <a:lnTo>
                    <a:pt x="1732" y="1142"/>
                  </a:lnTo>
                  <a:lnTo>
                    <a:pt x="1732" y="1142"/>
                  </a:lnTo>
                  <a:lnTo>
                    <a:pt x="1732" y="1142"/>
                  </a:lnTo>
                  <a:lnTo>
                    <a:pt x="1732" y="1142"/>
                  </a:lnTo>
                  <a:lnTo>
                    <a:pt x="1732" y="1140"/>
                  </a:lnTo>
                  <a:lnTo>
                    <a:pt x="1732" y="1140"/>
                  </a:lnTo>
                  <a:lnTo>
                    <a:pt x="1732" y="1140"/>
                  </a:lnTo>
                  <a:lnTo>
                    <a:pt x="1732" y="1140"/>
                  </a:lnTo>
                  <a:lnTo>
                    <a:pt x="1732" y="1140"/>
                  </a:lnTo>
                  <a:lnTo>
                    <a:pt x="1732" y="1137"/>
                  </a:lnTo>
                  <a:lnTo>
                    <a:pt x="1732" y="1137"/>
                  </a:lnTo>
                  <a:lnTo>
                    <a:pt x="1732" y="1137"/>
                  </a:lnTo>
                  <a:lnTo>
                    <a:pt x="1732" y="1140"/>
                  </a:lnTo>
                  <a:lnTo>
                    <a:pt x="1732" y="1140"/>
                  </a:lnTo>
                  <a:lnTo>
                    <a:pt x="1732" y="1140"/>
                  </a:lnTo>
                  <a:lnTo>
                    <a:pt x="1735" y="1137"/>
                  </a:lnTo>
                  <a:lnTo>
                    <a:pt x="1735" y="1137"/>
                  </a:lnTo>
                  <a:lnTo>
                    <a:pt x="1735" y="1140"/>
                  </a:lnTo>
                  <a:lnTo>
                    <a:pt x="1735" y="1137"/>
                  </a:lnTo>
                  <a:lnTo>
                    <a:pt x="1735" y="1137"/>
                  </a:lnTo>
                  <a:lnTo>
                    <a:pt x="1735" y="1137"/>
                  </a:lnTo>
                  <a:lnTo>
                    <a:pt x="1735" y="1137"/>
                  </a:lnTo>
                  <a:lnTo>
                    <a:pt x="1735" y="1135"/>
                  </a:lnTo>
                  <a:lnTo>
                    <a:pt x="1735" y="1135"/>
                  </a:lnTo>
                  <a:lnTo>
                    <a:pt x="1732" y="1133"/>
                  </a:lnTo>
                  <a:lnTo>
                    <a:pt x="1732" y="1133"/>
                  </a:lnTo>
                  <a:lnTo>
                    <a:pt x="1730" y="1130"/>
                  </a:lnTo>
                  <a:lnTo>
                    <a:pt x="1730" y="1130"/>
                  </a:lnTo>
                  <a:lnTo>
                    <a:pt x="1730" y="1130"/>
                  </a:lnTo>
                  <a:lnTo>
                    <a:pt x="1730" y="1130"/>
                  </a:lnTo>
                  <a:lnTo>
                    <a:pt x="1728" y="1130"/>
                  </a:lnTo>
                  <a:lnTo>
                    <a:pt x="1728" y="1130"/>
                  </a:lnTo>
                  <a:lnTo>
                    <a:pt x="1725" y="1130"/>
                  </a:lnTo>
                  <a:lnTo>
                    <a:pt x="1725" y="1130"/>
                  </a:lnTo>
                  <a:lnTo>
                    <a:pt x="1725" y="1128"/>
                  </a:lnTo>
                  <a:lnTo>
                    <a:pt x="1728" y="1128"/>
                  </a:lnTo>
                  <a:lnTo>
                    <a:pt x="1728" y="1128"/>
                  </a:lnTo>
                  <a:lnTo>
                    <a:pt x="1728" y="1128"/>
                  </a:lnTo>
                  <a:lnTo>
                    <a:pt x="1728" y="1128"/>
                  </a:lnTo>
                  <a:lnTo>
                    <a:pt x="1728" y="1126"/>
                  </a:lnTo>
                  <a:lnTo>
                    <a:pt x="1730" y="1126"/>
                  </a:lnTo>
                  <a:lnTo>
                    <a:pt x="1730" y="1126"/>
                  </a:lnTo>
                  <a:lnTo>
                    <a:pt x="1730" y="1126"/>
                  </a:lnTo>
                  <a:lnTo>
                    <a:pt x="1730" y="1126"/>
                  </a:lnTo>
                  <a:lnTo>
                    <a:pt x="1730" y="1123"/>
                  </a:lnTo>
                  <a:lnTo>
                    <a:pt x="1730" y="1123"/>
                  </a:lnTo>
                  <a:close/>
                  <a:moveTo>
                    <a:pt x="1725" y="1097"/>
                  </a:moveTo>
                  <a:lnTo>
                    <a:pt x="1725" y="1092"/>
                  </a:lnTo>
                  <a:lnTo>
                    <a:pt x="1725" y="1092"/>
                  </a:lnTo>
                  <a:lnTo>
                    <a:pt x="1723" y="1092"/>
                  </a:lnTo>
                  <a:lnTo>
                    <a:pt x="1723" y="1092"/>
                  </a:lnTo>
                  <a:lnTo>
                    <a:pt x="1723" y="1090"/>
                  </a:lnTo>
                  <a:lnTo>
                    <a:pt x="1720" y="1092"/>
                  </a:lnTo>
                  <a:lnTo>
                    <a:pt x="1720" y="1092"/>
                  </a:lnTo>
                  <a:lnTo>
                    <a:pt x="1720" y="1092"/>
                  </a:lnTo>
                  <a:lnTo>
                    <a:pt x="1720" y="1095"/>
                  </a:lnTo>
                  <a:lnTo>
                    <a:pt x="1720" y="1095"/>
                  </a:lnTo>
                  <a:lnTo>
                    <a:pt x="1720" y="1097"/>
                  </a:lnTo>
                  <a:lnTo>
                    <a:pt x="1720" y="1097"/>
                  </a:lnTo>
                  <a:lnTo>
                    <a:pt x="1720" y="1097"/>
                  </a:lnTo>
                  <a:lnTo>
                    <a:pt x="1720" y="1100"/>
                  </a:lnTo>
                  <a:lnTo>
                    <a:pt x="1720" y="1102"/>
                  </a:lnTo>
                  <a:lnTo>
                    <a:pt x="1720" y="1102"/>
                  </a:lnTo>
                  <a:lnTo>
                    <a:pt x="1720" y="1102"/>
                  </a:lnTo>
                  <a:lnTo>
                    <a:pt x="1718" y="1102"/>
                  </a:lnTo>
                  <a:lnTo>
                    <a:pt x="1718" y="1102"/>
                  </a:lnTo>
                  <a:lnTo>
                    <a:pt x="1718" y="1102"/>
                  </a:lnTo>
                  <a:lnTo>
                    <a:pt x="1718" y="1104"/>
                  </a:lnTo>
                  <a:lnTo>
                    <a:pt x="1716" y="1107"/>
                  </a:lnTo>
                  <a:lnTo>
                    <a:pt x="1716" y="1107"/>
                  </a:lnTo>
                  <a:lnTo>
                    <a:pt x="1718" y="1109"/>
                  </a:lnTo>
                  <a:lnTo>
                    <a:pt x="1720" y="1109"/>
                  </a:lnTo>
                  <a:lnTo>
                    <a:pt x="1720" y="1111"/>
                  </a:lnTo>
                  <a:lnTo>
                    <a:pt x="1723" y="1109"/>
                  </a:lnTo>
                  <a:lnTo>
                    <a:pt x="1723" y="1109"/>
                  </a:lnTo>
                  <a:lnTo>
                    <a:pt x="1723" y="1109"/>
                  </a:lnTo>
                  <a:lnTo>
                    <a:pt x="1723" y="1107"/>
                  </a:lnTo>
                  <a:lnTo>
                    <a:pt x="1723" y="1107"/>
                  </a:lnTo>
                  <a:lnTo>
                    <a:pt x="1723" y="1107"/>
                  </a:lnTo>
                  <a:lnTo>
                    <a:pt x="1723" y="1109"/>
                  </a:lnTo>
                  <a:lnTo>
                    <a:pt x="1723" y="1109"/>
                  </a:lnTo>
                  <a:lnTo>
                    <a:pt x="1725" y="1109"/>
                  </a:lnTo>
                  <a:lnTo>
                    <a:pt x="1725" y="1109"/>
                  </a:lnTo>
                  <a:lnTo>
                    <a:pt x="1725" y="1109"/>
                  </a:lnTo>
                  <a:lnTo>
                    <a:pt x="1725" y="1109"/>
                  </a:lnTo>
                  <a:lnTo>
                    <a:pt x="1728" y="1109"/>
                  </a:lnTo>
                  <a:lnTo>
                    <a:pt x="1728" y="1109"/>
                  </a:lnTo>
                  <a:lnTo>
                    <a:pt x="1730" y="1109"/>
                  </a:lnTo>
                  <a:lnTo>
                    <a:pt x="1730" y="1109"/>
                  </a:lnTo>
                  <a:lnTo>
                    <a:pt x="1730" y="1109"/>
                  </a:lnTo>
                  <a:lnTo>
                    <a:pt x="1730" y="1109"/>
                  </a:lnTo>
                  <a:lnTo>
                    <a:pt x="1730" y="1107"/>
                  </a:lnTo>
                  <a:lnTo>
                    <a:pt x="1730" y="1107"/>
                  </a:lnTo>
                  <a:lnTo>
                    <a:pt x="1730" y="1107"/>
                  </a:lnTo>
                  <a:lnTo>
                    <a:pt x="1730" y="1107"/>
                  </a:lnTo>
                  <a:lnTo>
                    <a:pt x="1730" y="1107"/>
                  </a:lnTo>
                  <a:lnTo>
                    <a:pt x="1730" y="1107"/>
                  </a:lnTo>
                  <a:lnTo>
                    <a:pt x="1730" y="1107"/>
                  </a:lnTo>
                  <a:lnTo>
                    <a:pt x="1730" y="1104"/>
                  </a:lnTo>
                  <a:lnTo>
                    <a:pt x="1728" y="1104"/>
                  </a:lnTo>
                  <a:lnTo>
                    <a:pt x="1728" y="1104"/>
                  </a:lnTo>
                  <a:lnTo>
                    <a:pt x="1728" y="1102"/>
                  </a:lnTo>
                  <a:lnTo>
                    <a:pt x="1728" y="1102"/>
                  </a:lnTo>
                  <a:lnTo>
                    <a:pt x="1728" y="1102"/>
                  </a:lnTo>
                  <a:lnTo>
                    <a:pt x="1728" y="1102"/>
                  </a:lnTo>
                  <a:lnTo>
                    <a:pt x="1728" y="1102"/>
                  </a:lnTo>
                  <a:lnTo>
                    <a:pt x="1728" y="1100"/>
                  </a:lnTo>
                  <a:lnTo>
                    <a:pt x="1728" y="1100"/>
                  </a:lnTo>
                  <a:lnTo>
                    <a:pt x="1728" y="1100"/>
                  </a:lnTo>
                  <a:lnTo>
                    <a:pt x="1725" y="1097"/>
                  </a:lnTo>
                  <a:lnTo>
                    <a:pt x="1725" y="1097"/>
                  </a:lnTo>
                  <a:lnTo>
                    <a:pt x="1725" y="1097"/>
                  </a:lnTo>
                  <a:close/>
                  <a:moveTo>
                    <a:pt x="1460" y="802"/>
                  </a:moveTo>
                  <a:lnTo>
                    <a:pt x="1458" y="802"/>
                  </a:lnTo>
                  <a:lnTo>
                    <a:pt x="1458" y="802"/>
                  </a:lnTo>
                  <a:lnTo>
                    <a:pt x="1455" y="802"/>
                  </a:lnTo>
                  <a:lnTo>
                    <a:pt x="1453" y="804"/>
                  </a:lnTo>
                  <a:lnTo>
                    <a:pt x="1451" y="804"/>
                  </a:lnTo>
                  <a:lnTo>
                    <a:pt x="1451" y="804"/>
                  </a:lnTo>
                  <a:lnTo>
                    <a:pt x="1448" y="806"/>
                  </a:lnTo>
                  <a:lnTo>
                    <a:pt x="1448" y="806"/>
                  </a:lnTo>
                  <a:lnTo>
                    <a:pt x="1448" y="806"/>
                  </a:lnTo>
                  <a:lnTo>
                    <a:pt x="1455" y="804"/>
                  </a:lnTo>
                  <a:lnTo>
                    <a:pt x="1455" y="804"/>
                  </a:lnTo>
                  <a:lnTo>
                    <a:pt x="1455" y="804"/>
                  </a:lnTo>
                  <a:lnTo>
                    <a:pt x="1455" y="804"/>
                  </a:lnTo>
                  <a:lnTo>
                    <a:pt x="1458" y="804"/>
                  </a:lnTo>
                  <a:lnTo>
                    <a:pt x="1462" y="802"/>
                  </a:lnTo>
                  <a:lnTo>
                    <a:pt x="1462" y="802"/>
                  </a:lnTo>
                  <a:lnTo>
                    <a:pt x="1462" y="802"/>
                  </a:lnTo>
                  <a:lnTo>
                    <a:pt x="1462" y="802"/>
                  </a:lnTo>
                  <a:lnTo>
                    <a:pt x="1462" y="802"/>
                  </a:lnTo>
                  <a:lnTo>
                    <a:pt x="1462" y="802"/>
                  </a:lnTo>
                  <a:lnTo>
                    <a:pt x="1460" y="802"/>
                  </a:lnTo>
                  <a:close/>
                  <a:moveTo>
                    <a:pt x="1730" y="1126"/>
                  </a:moveTo>
                  <a:lnTo>
                    <a:pt x="1730" y="1128"/>
                  </a:lnTo>
                  <a:lnTo>
                    <a:pt x="1730" y="1128"/>
                  </a:lnTo>
                  <a:lnTo>
                    <a:pt x="1732" y="1130"/>
                  </a:lnTo>
                  <a:lnTo>
                    <a:pt x="1732" y="1130"/>
                  </a:lnTo>
                  <a:lnTo>
                    <a:pt x="1735" y="1133"/>
                  </a:lnTo>
                  <a:lnTo>
                    <a:pt x="1735" y="1133"/>
                  </a:lnTo>
                  <a:lnTo>
                    <a:pt x="1735" y="1135"/>
                  </a:lnTo>
                  <a:lnTo>
                    <a:pt x="1735" y="1135"/>
                  </a:lnTo>
                  <a:lnTo>
                    <a:pt x="1735" y="1135"/>
                  </a:lnTo>
                  <a:lnTo>
                    <a:pt x="1735" y="1135"/>
                  </a:lnTo>
                  <a:lnTo>
                    <a:pt x="1737" y="1135"/>
                  </a:lnTo>
                  <a:lnTo>
                    <a:pt x="1737" y="1135"/>
                  </a:lnTo>
                  <a:lnTo>
                    <a:pt x="1737" y="1137"/>
                  </a:lnTo>
                  <a:lnTo>
                    <a:pt x="1737" y="1137"/>
                  </a:lnTo>
                  <a:lnTo>
                    <a:pt x="1737" y="1137"/>
                  </a:lnTo>
                  <a:lnTo>
                    <a:pt x="1737" y="1137"/>
                  </a:lnTo>
                  <a:lnTo>
                    <a:pt x="1739" y="1137"/>
                  </a:lnTo>
                  <a:lnTo>
                    <a:pt x="1739" y="1135"/>
                  </a:lnTo>
                  <a:lnTo>
                    <a:pt x="1739" y="1135"/>
                  </a:lnTo>
                  <a:lnTo>
                    <a:pt x="1739" y="1135"/>
                  </a:lnTo>
                  <a:lnTo>
                    <a:pt x="1742" y="1135"/>
                  </a:lnTo>
                  <a:lnTo>
                    <a:pt x="1742" y="1135"/>
                  </a:lnTo>
                  <a:lnTo>
                    <a:pt x="1742" y="1133"/>
                  </a:lnTo>
                  <a:lnTo>
                    <a:pt x="1742" y="1133"/>
                  </a:lnTo>
                  <a:lnTo>
                    <a:pt x="1742" y="1128"/>
                  </a:lnTo>
                  <a:lnTo>
                    <a:pt x="1742" y="1128"/>
                  </a:lnTo>
                  <a:lnTo>
                    <a:pt x="1742" y="1126"/>
                  </a:lnTo>
                  <a:lnTo>
                    <a:pt x="1742" y="1126"/>
                  </a:lnTo>
                  <a:lnTo>
                    <a:pt x="1742" y="1123"/>
                  </a:lnTo>
                  <a:lnTo>
                    <a:pt x="1739" y="1123"/>
                  </a:lnTo>
                  <a:lnTo>
                    <a:pt x="1739" y="1126"/>
                  </a:lnTo>
                  <a:lnTo>
                    <a:pt x="1739" y="1126"/>
                  </a:lnTo>
                  <a:lnTo>
                    <a:pt x="1737" y="1123"/>
                  </a:lnTo>
                  <a:lnTo>
                    <a:pt x="1737" y="1123"/>
                  </a:lnTo>
                  <a:lnTo>
                    <a:pt x="1737" y="1121"/>
                  </a:lnTo>
                  <a:lnTo>
                    <a:pt x="1737" y="1121"/>
                  </a:lnTo>
                  <a:lnTo>
                    <a:pt x="1737" y="1118"/>
                  </a:lnTo>
                  <a:lnTo>
                    <a:pt x="1737" y="1118"/>
                  </a:lnTo>
                  <a:lnTo>
                    <a:pt x="1737" y="1116"/>
                  </a:lnTo>
                  <a:lnTo>
                    <a:pt x="1735" y="1116"/>
                  </a:lnTo>
                  <a:lnTo>
                    <a:pt x="1735" y="1114"/>
                  </a:lnTo>
                  <a:lnTo>
                    <a:pt x="1732" y="1114"/>
                  </a:lnTo>
                  <a:lnTo>
                    <a:pt x="1732" y="1116"/>
                  </a:lnTo>
                  <a:lnTo>
                    <a:pt x="1732" y="1116"/>
                  </a:lnTo>
                  <a:lnTo>
                    <a:pt x="1732" y="1118"/>
                  </a:lnTo>
                  <a:lnTo>
                    <a:pt x="1732" y="1118"/>
                  </a:lnTo>
                  <a:lnTo>
                    <a:pt x="1732" y="1118"/>
                  </a:lnTo>
                  <a:lnTo>
                    <a:pt x="1732" y="1121"/>
                  </a:lnTo>
                  <a:lnTo>
                    <a:pt x="1732" y="1121"/>
                  </a:lnTo>
                  <a:lnTo>
                    <a:pt x="1732" y="1121"/>
                  </a:lnTo>
                  <a:lnTo>
                    <a:pt x="1732" y="1121"/>
                  </a:lnTo>
                  <a:lnTo>
                    <a:pt x="1732" y="1121"/>
                  </a:lnTo>
                  <a:lnTo>
                    <a:pt x="1732" y="1123"/>
                  </a:lnTo>
                  <a:lnTo>
                    <a:pt x="1732" y="1123"/>
                  </a:lnTo>
                  <a:lnTo>
                    <a:pt x="1730" y="1126"/>
                  </a:lnTo>
                  <a:close/>
                  <a:moveTo>
                    <a:pt x="1638" y="1000"/>
                  </a:moveTo>
                  <a:lnTo>
                    <a:pt x="1640" y="1000"/>
                  </a:lnTo>
                  <a:lnTo>
                    <a:pt x="1640" y="998"/>
                  </a:lnTo>
                  <a:lnTo>
                    <a:pt x="1640" y="995"/>
                  </a:lnTo>
                  <a:lnTo>
                    <a:pt x="1642" y="995"/>
                  </a:lnTo>
                  <a:lnTo>
                    <a:pt x="1642" y="993"/>
                  </a:lnTo>
                  <a:lnTo>
                    <a:pt x="1642" y="993"/>
                  </a:lnTo>
                  <a:lnTo>
                    <a:pt x="1642" y="993"/>
                  </a:lnTo>
                  <a:lnTo>
                    <a:pt x="1642" y="993"/>
                  </a:lnTo>
                  <a:lnTo>
                    <a:pt x="1640" y="991"/>
                  </a:lnTo>
                  <a:lnTo>
                    <a:pt x="1640" y="988"/>
                  </a:lnTo>
                  <a:lnTo>
                    <a:pt x="1640" y="988"/>
                  </a:lnTo>
                  <a:lnTo>
                    <a:pt x="1640" y="988"/>
                  </a:lnTo>
                  <a:lnTo>
                    <a:pt x="1640" y="988"/>
                  </a:lnTo>
                  <a:lnTo>
                    <a:pt x="1638" y="988"/>
                  </a:lnTo>
                  <a:lnTo>
                    <a:pt x="1638" y="988"/>
                  </a:lnTo>
                  <a:lnTo>
                    <a:pt x="1638" y="991"/>
                  </a:lnTo>
                  <a:lnTo>
                    <a:pt x="1638" y="991"/>
                  </a:lnTo>
                  <a:lnTo>
                    <a:pt x="1638" y="991"/>
                  </a:lnTo>
                  <a:lnTo>
                    <a:pt x="1635" y="991"/>
                  </a:lnTo>
                  <a:lnTo>
                    <a:pt x="1638" y="991"/>
                  </a:lnTo>
                  <a:lnTo>
                    <a:pt x="1638" y="993"/>
                  </a:lnTo>
                  <a:lnTo>
                    <a:pt x="1638" y="993"/>
                  </a:lnTo>
                  <a:lnTo>
                    <a:pt x="1638" y="993"/>
                  </a:lnTo>
                  <a:lnTo>
                    <a:pt x="1635" y="993"/>
                  </a:lnTo>
                  <a:lnTo>
                    <a:pt x="1635" y="995"/>
                  </a:lnTo>
                  <a:lnTo>
                    <a:pt x="1635" y="995"/>
                  </a:lnTo>
                  <a:lnTo>
                    <a:pt x="1635" y="995"/>
                  </a:lnTo>
                  <a:lnTo>
                    <a:pt x="1635" y="995"/>
                  </a:lnTo>
                  <a:lnTo>
                    <a:pt x="1635" y="995"/>
                  </a:lnTo>
                  <a:lnTo>
                    <a:pt x="1635" y="998"/>
                  </a:lnTo>
                  <a:lnTo>
                    <a:pt x="1635" y="998"/>
                  </a:lnTo>
                  <a:lnTo>
                    <a:pt x="1635" y="995"/>
                  </a:lnTo>
                  <a:lnTo>
                    <a:pt x="1638" y="995"/>
                  </a:lnTo>
                  <a:lnTo>
                    <a:pt x="1638" y="995"/>
                  </a:lnTo>
                  <a:lnTo>
                    <a:pt x="1638" y="998"/>
                  </a:lnTo>
                  <a:lnTo>
                    <a:pt x="1638" y="998"/>
                  </a:lnTo>
                  <a:lnTo>
                    <a:pt x="1638" y="998"/>
                  </a:lnTo>
                  <a:lnTo>
                    <a:pt x="1635" y="998"/>
                  </a:lnTo>
                  <a:lnTo>
                    <a:pt x="1635" y="998"/>
                  </a:lnTo>
                  <a:lnTo>
                    <a:pt x="1635" y="998"/>
                  </a:lnTo>
                  <a:lnTo>
                    <a:pt x="1638" y="998"/>
                  </a:lnTo>
                  <a:lnTo>
                    <a:pt x="1638" y="998"/>
                  </a:lnTo>
                  <a:lnTo>
                    <a:pt x="1638" y="998"/>
                  </a:lnTo>
                  <a:lnTo>
                    <a:pt x="1635" y="1000"/>
                  </a:lnTo>
                  <a:lnTo>
                    <a:pt x="1638" y="1000"/>
                  </a:lnTo>
                  <a:lnTo>
                    <a:pt x="1638" y="1000"/>
                  </a:lnTo>
                  <a:lnTo>
                    <a:pt x="1635" y="1003"/>
                  </a:lnTo>
                  <a:lnTo>
                    <a:pt x="1638" y="1000"/>
                  </a:lnTo>
                  <a:close/>
                  <a:moveTo>
                    <a:pt x="1657" y="984"/>
                  </a:moveTo>
                  <a:lnTo>
                    <a:pt x="1657" y="981"/>
                  </a:lnTo>
                  <a:lnTo>
                    <a:pt x="1657" y="979"/>
                  </a:lnTo>
                  <a:lnTo>
                    <a:pt x="1654" y="981"/>
                  </a:lnTo>
                  <a:lnTo>
                    <a:pt x="1654" y="981"/>
                  </a:lnTo>
                  <a:lnTo>
                    <a:pt x="1654" y="981"/>
                  </a:lnTo>
                  <a:lnTo>
                    <a:pt x="1654" y="984"/>
                  </a:lnTo>
                  <a:lnTo>
                    <a:pt x="1657" y="984"/>
                  </a:lnTo>
                  <a:close/>
                  <a:moveTo>
                    <a:pt x="1671" y="984"/>
                  </a:moveTo>
                  <a:lnTo>
                    <a:pt x="1671" y="984"/>
                  </a:lnTo>
                  <a:lnTo>
                    <a:pt x="1671" y="981"/>
                  </a:lnTo>
                  <a:lnTo>
                    <a:pt x="1668" y="981"/>
                  </a:lnTo>
                  <a:lnTo>
                    <a:pt x="1668" y="981"/>
                  </a:lnTo>
                  <a:lnTo>
                    <a:pt x="1666" y="981"/>
                  </a:lnTo>
                  <a:lnTo>
                    <a:pt x="1668" y="984"/>
                  </a:lnTo>
                  <a:lnTo>
                    <a:pt x="1671" y="984"/>
                  </a:lnTo>
                  <a:close/>
                  <a:moveTo>
                    <a:pt x="1640" y="1003"/>
                  </a:moveTo>
                  <a:lnTo>
                    <a:pt x="1640" y="1003"/>
                  </a:lnTo>
                  <a:lnTo>
                    <a:pt x="1640" y="1005"/>
                  </a:lnTo>
                  <a:lnTo>
                    <a:pt x="1640" y="1005"/>
                  </a:lnTo>
                  <a:lnTo>
                    <a:pt x="1640" y="1005"/>
                  </a:lnTo>
                  <a:lnTo>
                    <a:pt x="1640" y="1005"/>
                  </a:lnTo>
                  <a:lnTo>
                    <a:pt x="1640" y="1007"/>
                  </a:lnTo>
                  <a:lnTo>
                    <a:pt x="1640" y="1007"/>
                  </a:lnTo>
                  <a:lnTo>
                    <a:pt x="1640" y="1007"/>
                  </a:lnTo>
                  <a:lnTo>
                    <a:pt x="1642" y="1007"/>
                  </a:lnTo>
                  <a:lnTo>
                    <a:pt x="1642" y="1007"/>
                  </a:lnTo>
                  <a:lnTo>
                    <a:pt x="1642" y="1007"/>
                  </a:lnTo>
                  <a:lnTo>
                    <a:pt x="1642" y="1010"/>
                  </a:lnTo>
                  <a:lnTo>
                    <a:pt x="1645" y="1014"/>
                  </a:lnTo>
                  <a:lnTo>
                    <a:pt x="1645" y="1014"/>
                  </a:lnTo>
                  <a:lnTo>
                    <a:pt x="1642" y="1014"/>
                  </a:lnTo>
                  <a:lnTo>
                    <a:pt x="1642" y="1014"/>
                  </a:lnTo>
                  <a:lnTo>
                    <a:pt x="1642" y="1014"/>
                  </a:lnTo>
                  <a:lnTo>
                    <a:pt x="1642" y="1017"/>
                  </a:lnTo>
                  <a:lnTo>
                    <a:pt x="1642" y="1017"/>
                  </a:lnTo>
                  <a:lnTo>
                    <a:pt x="1642" y="1017"/>
                  </a:lnTo>
                  <a:lnTo>
                    <a:pt x="1642" y="1017"/>
                  </a:lnTo>
                  <a:lnTo>
                    <a:pt x="1642" y="1017"/>
                  </a:lnTo>
                  <a:lnTo>
                    <a:pt x="1642" y="1017"/>
                  </a:lnTo>
                  <a:lnTo>
                    <a:pt x="1645" y="1017"/>
                  </a:lnTo>
                  <a:lnTo>
                    <a:pt x="1645" y="1017"/>
                  </a:lnTo>
                  <a:lnTo>
                    <a:pt x="1645" y="1017"/>
                  </a:lnTo>
                  <a:lnTo>
                    <a:pt x="1645" y="1017"/>
                  </a:lnTo>
                  <a:lnTo>
                    <a:pt x="1645" y="1017"/>
                  </a:lnTo>
                  <a:lnTo>
                    <a:pt x="1645" y="1017"/>
                  </a:lnTo>
                  <a:lnTo>
                    <a:pt x="1647" y="1019"/>
                  </a:lnTo>
                  <a:lnTo>
                    <a:pt x="1647" y="1019"/>
                  </a:lnTo>
                  <a:lnTo>
                    <a:pt x="1647" y="1019"/>
                  </a:lnTo>
                  <a:lnTo>
                    <a:pt x="1645" y="1019"/>
                  </a:lnTo>
                  <a:lnTo>
                    <a:pt x="1645" y="1019"/>
                  </a:lnTo>
                  <a:lnTo>
                    <a:pt x="1645" y="1019"/>
                  </a:lnTo>
                  <a:lnTo>
                    <a:pt x="1645" y="1019"/>
                  </a:lnTo>
                  <a:lnTo>
                    <a:pt x="1645" y="1019"/>
                  </a:lnTo>
                  <a:lnTo>
                    <a:pt x="1645" y="1019"/>
                  </a:lnTo>
                  <a:lnTo>
                    <a:pt x="1645" y="1019"/>
                  </a:lnTo>
                  <a:lnTo>
                    <a:pt x="1645" y="1019"/>
                  </a:lnTo>
                  <a:lnTo>
                    <a:pt x="1642" y="1019"/>
                  </a:lnTo>
                  <a:lnTo>
                    <a:pt x="1642" y="1019"/>
                  </a:lnTo>
                  <a:lnTo>
                    <a:pt x="1642" y="1022"/>
                  </a:lnTo>
                  <a:lnTo>
                    <a:pt x="1647" y="1026"/>
                  </a:lnTo>
                  <a:lnTo>
                    <a:pt x="1649" y="1029"/>
                  </a:lnTo>
                  <a:lnTo>
                    <a:pt x="1649" y="1031"/>
                  </a:lnTo>
                  <a:lnTo>
                    <a:pt x="1647" y="1031"/>
                  </a:lnTo>
                  <a:lnTo>
                    <a:pt x="1647" y="1029"/>
                  </a:lnTo>
                  <a:lnTo>
                    <a:pt x="1647" y="1026"/>
                  </a:lnTo>
                  <a:lnTo>
                    <a:pt x="1645" y="1024"/>
                  </a:lnTo>
                  <a:lnTo>
                    <a:pt x="1645" y="1024"/>
                  </a:lnTo>
                  <a:lnTo>
                    <a:pt x="1642" y="1024"/>
                  </a:lnTo>
                  <a:lnTo>
                    <a:pt x="1645" y="1026"/>
                  </a:lnTo>
                  <a:lnTo>
                    <a:pt x="1645" y="1026"/>
                  </a:lnTo>
                  <a:lnTo>
                    <a:pt x="1645" y="1026"/>
                  </a:lnTo>
                  <a:lnTo>
                    <a:pt x="1645" y="1029"/>
                  </a:lnTo>
                  <a:lnTo>
                    <a:pt x="1645" y="1029"/>
                  </a:lnTo>
                  <a:lnTo>
                    <a:pt x="1645" y="1029"/>
                  </a:lnTo>
                  <a:lnTo>
                    <a:pt x="1647" y="1031"/>
                  </a:lnTo>
                  <a:lnTo>
                    <a:pt x="1647" y="1031"/>
                  </a:lnTo>
                  <a:lnTo>
                    <a:pt x="1645" y="1033"/>
                  </a:lnTo>
                  <a:lnTo>
                    <a:pt x="1647" y="1033"/>
                  </a:lnTo>
                  <a:lnTo>
                    <a:pt x="1649" y="1036"/>
                  </a:lnTo>
                  <a:lnTo>
                    <a:pt x="1649" y="1036"/>
                  </a:lnTo>
                  <a:lnTo>
                    <a:pt x="1649" y="1036"/>
                  </a:lnTo>
                  <a:lnTo>
                    <a:pt x="1652" y="1036"/>
                  </a:lnTo>
                  <a:lnTo>
                    <a:pt x="1652" y="1036"/>
                  </a:lnTo>
                  <a:lnTo>
                    <a:pt x="1652" y="1036"/>
                  </a:lnTo>
                  <a:lnTo>
                    <a:pt x="1652" y="1033"/>
                  </a:lnTo>
                  <a:lnTo>
                    <a:pt x="1652" y="1033"/>
                  </a:lnTo>
                  <a:lnTo>
                    <a:pt x="1652" y="1033"/>
                  </a:lnTo>
                  <a:lnTo>
                    <a:pt x="1652" y="1033"/>
                  </a:lnTo>
                  <a:lnTo>
                    <a:pt x="1652" y="1033"/>
                  </a:lnTo>
                  <a:lnTo>
                    <a:pt x="1652" y="1033"/>
                  </a:lnTo>
                  <a:lnTo>
                    <a:pt x="1652" y="1033"/>
                  </a:lnTo>
                  <a:lnTo>
                    <a:pt x="1652" y="1033"/>
                  </a:lnTo>
                  <a:lnTo>
                    <a:pt x="1652" y="1033"/>
                  </a:lnTo>
                  <a:lnTo>
                    <a:pt x="1654" y="1033"/>
                  </a:lnTo>
                  <a:lnTo>
                    <a:pt x="1654" y="1033"/>
                  </a:lnTo>
                  <a:lnTo>
                    <a:pt x="1654" y="1033"/>
                  </a:lnTo>
                  <a:lnTo>
                    <a:pt x="1654" y="1031"/>
                  </a:lnTo>
                  <a:lnTo>
                    <a:pt x="1654" y="1031"/>
                  </a:lnTo>
                  <a:lnTo>
                    <a:pt x="1654" y="1031"/>
                  </a:lnTo>
                  <a:lnTo>
                    <a:pt x="1657" y="1031"/>
                  </a:lnTo>
                  <a:lnTo>
                    <a:pt x="1657" y="1031"/>
                  </a:lnTo>
                  <a:lnTo>
                    <a:pt x="1657" y="1029"/>
                  </a:lnTo>
                  <a:lnTo>
                    <a:pt x="1657" y="1029"/>
                  </a:lnTo>
                  <a:lnTo>
                    <a:pt x="1657" y="1029"/>
                  </a:lnTo>
                  <a:lnTo>
                    <a:pt x="1657" y="1029"/>
                  </a:lnTo>
                  <a:lnTo>
                    <a:pt x="1657" y="1029"/>
                  </a:lnTo>
                  <a:lnTo>
                    <a:pt x="1657" y="1029"/>
                  </a:lnTo>
                  <a:lnTo>
                    <a:pt x="1657" y="1026"/>
                  </a:lnTo>
                  <a:lnTo>
                    <a:pt x="1657" y="1026"/>
                  </a:lnTo>
                  <a:lnTo>
                    <a:pt x="1657" y="1026"/>
                  </a:lnTo>
                  <a:lnTo>
                    <a:pt x="1657" y="1026"/>
                  </a:lnTo>
                  <a:lnTo>
                    <a:pt x="1654" y="1026"/>
                  </a:lnTo>
                  <a:lnTo>
                    <a:pt x="1654" y="1024"/>
                  </a:lnTo>
                  <a:lnTo>
                    <a:pt x="1657" y="1024"/>
                  </a:lnTo>
                  <a:lnTo>
                    <a:pt x="1657" y="1026"/>
                  </a:lnTo>
                  <a:lnTo>
                    <a:pt x="1657" y="1024"/>
                  </a:lnTo>
                  <a:lnTo>
                    <a:pt x="1657" y="1024"/>
                  </a:lnTo>
                  <a:lnTo>
                    <a:pt x="1657" y="1024"/>
                  </a:lnTo>
                  <a:lnTo>
                    <a:pt x="1657" y="1022"/>
                  </a:lnTo>
                  <a:lnTo>
                    <a:pt x="1657" y="1022"/>
                  </a:lnTo>
                  <a:lnTo>
                    <a:pt x="1654" y="1019"/>
                  </a:lnTo>
                  <a:lnTo>
                    <a:pt x="1654" y="1019"/>
                  </a:lnTo>
                  <a:lnTo>
                    <a:pt x="1652" y="1019"/>
                  </a:lnTo>
                  <a:lnTo>
                    <a:pt x="1652" y="1019"/>
                  </a:lnTo>
                  <a:lnTo>
                    <a:pt x="1654" y="1019"/>
                  </a:lnTo>
                  <a:lnTo>
                    <a:pt x="1654" y="1019"/>
                  </a:lnTo>
                  <a:lnTo>
                    <a:pt x="1654" y="1017"/>
                  </a:lnTo>
                  <a:lnTo>
                    <a:pt x="1654" y="1017"/>
                  </a:lnTo>
                  <a:lnTo>
                    <a:pt x="1654" y="1017"/>
                  </a:lnTo>
                  <a:lnTo>
                    <a:pt x="1654" y="1017"/>
                  </a:lnTo>
                  <a:lnTo>
                    <a:pt x="1654" y="1014"/>
                  </a:lnTo>
                  <a:lnTo>
                    <a:pt x="1654" y="1014"/>
                  </a:lnTo>
                  <a:lnTo>
                    <a:pt x="1654" y="1014"/>
                  </a:lnTo>
                  <a:lnTo>
                    <a:pt x="1654" y="1014"/>
                  </a:lnTo>
                  <a:lnTo>
                    <a:pt x="1654" y="1014"/>
                  </a:lnTo>
                  <a:lnTo>
                    <a:pt x="1654" y="1014"/>
                  </a:lnTo>
                  <a:lnTo>
                    <a:pt x="1654" y="1012"/>
                  </a:lnTo>
                  <a:lnTo>
                    <a:pt x="1654" y="1012"/>
                  </a:lnTo>
                  <a:lnTo>
                    <a:pt x="1654" y="1014"/>
                  </a:lnTo>
                  <a:lnTo>
                    <a:pt x="1659" y="1017"/>
                  </a:lnTo>
                  <a:lnTo>
                    <a:pt x="1659" y="1019"/>
                  </a:lnTo>
                  <a:lnTo>
                    <a:pt x="1659" y="1019"/>
                  </a:lnTo>
                  <a:lnTo>
                    <a:pt x="1659" y="1019"/>
                  </a:lnTo>
                  <a:lnTo>
                    <a:pt x="1659" y="1022"/>
                  </a:lnTo>
                  <a:lnTo>
                    <a:pt x="1661" y="1024"/>
                  </a:lnTo>
                  <a:lnTo>
                    <a:pt x="1664" y="1026"/>
                  </a:lnTo>
                  <a:lnTo>
                    <a:pt x="1668" y="1031"/>
                  </a:lnTo>
                  <a:lnTo>
                    <a:pt x="1671" y="1036"/>
                  </a:lnTo>
                  <a:lnTo>
                    <a:pt x="1671" y="1036"/>
                  </a:lnTo>
                  <a:lnTo>
                    <a:pt x="1675" y="1038"/>
                  </a:lnTo>
                  <a:lnTo>
                    <a:pt x="1675" y="1038"/>
                  </a:lnTo>
                  <a:lnTo>
                    <a:pt x="1675" y="1038"/>
                  </a:lnTo>
                  <a:lnTo>
                    <a:pt x="1675" y="1036"/>
                  </a:lnTo>
                  <a:lnTo>
                    <a:pt x="1675" y="1036"/>
                  </a:lnTo>
                  <a:lnTo>
                    <a:pt x="1678" y="1038"/>
                  </a:lnTo>
                  <a:lnTo>
                    <a:pt x="1678" y="1036"/>
                  </a:lnTo>
                  <a:lnTo>
                    <a:pt x="1678" y="1036"/>
                  </a:lnTo>
                  <a:lnTo>
                    <a:pt x="1678" y="1036"/>
                  </a:lnTo>
                  <a:lnTo>
                    <a:pt x="1678" y="1036"/>
                  </a:lnTo>
                  <a:lnTo>
                    <a:pt x="1678" y="1036"/>
                  </a:lnTo>
                  <a:lnTo>
                    <a:pt x="1678" y="1033"/>
                  </a:lnTo>
                  <a:lnTo>
                    <a:pt x="1678" y="1033"/>
                  </a:lnTo>
                  <a:lnTo>
                    <a:pt x="1678" y="1031"/>
                  </a:lnTo>
                  <a:lnTo>
                    <a:pt x="1678" y="1031"/>
                  </a:lnTo>
                  <a:lnTo>
                    <a:pt x="1678" y="1029"/>
                  </a:lnTo>
                  <a:lnTo>
                    <a:pt x="1678" y="1026"/>
                  </a:lnTo>
                  <a:lnTo>
                    <a:pt x="1680" y="1026"/>
                  </a:lnTo>
                  <a:lnTo>
                    <a:pt x="1680" y="1024"/>
                  </a:lnTo>
                  <a:lnTo>
                    <a:pt x="1680" y="1024"/>
                  </a:lnTo>
                  <a:lnTo>
                    <a:pt x="1680" y="1022"/>
                  </a:lnTo>
                  <a:lnTo>
                    <a:pt x="1678" y="1022"/>
                  </a:lnTo>
                  <a:lnTo>
                    <a:pt x="1678" y="1022"/>
                  </a:lnTo>
                  <a:lnTo>
                    <a:pt x="1678" y="1022"/>
                  </a:lnTo>
                  <a:lnTo>
                    <a:pt x="1675" y="1022"/>
                  </a:lnTo>
                  <a:lnTo>
                    <a:pt x="1675" y="1022"/>
                  </a:lnTo>
                  <a:lnTo>
                    <a:pt x="1675" y="1022"/>
                  </a:lnTo>
                  <a:lnTo>
                    <a:pt x="1675" y="1022"/>
                  </a:lnTo>
                  <a:lnTo>
                    <a:pt x="1675" y="1022"/>
                  </a:lnTo>
                  <a:lnTo>
                    <a:pt x="1675" y="1022"/>
                  </a:lnTo>
                  <a:lnTo>
                    <a:pt x="1675" y="1022"/>
                  </a:lnTo>
                  <a:lnTo>
                    <a:pt x="1673" y="1022"/>
                  </a:lnTo>
                  <a:lnTo>
                    <a:pt x="1673" y="1022"/>
                  </a:lnTo>
                  <a:lnTo>
                    <a:pt x="1671" y="1022"/>
                  </a:lnTo>
                  <a:lnTo>
                    <a:pt x="1671" y="1022"/>
                  </a:lnTo>
                  <a:lnTo>
                    <a:pt x="1671" y="1022"/>
                  </a:lnTo>
                  <a:lnTo>
                    <a:pt x="1671" y="1022"/>
                  </a:lnTo>
                  <a:lnTo>
                    <a:pt x="1671" y="1022"/>
                  </a:lnTo>
                  <a:lnTo>
                    <a:pt x="1671" y="1022"/>
                  </a:lnTo>
                  <a:lnTo>
                    <a:pt x="1671" y="1022"/>
                  </a:lnTo>
                  <a:lnTo>
                    <a:pt x="1668" y="1019"/>
                  </a:lnTo>
                  <a:lnTo>
                    <a:pt x="1668" y="1019"/>
                  </a:lnTo>
                  <a:lnTo>
                    <a:pt x="1666" y="1019"/>
                  </a:lnTo>
                  <a:lnTo>
                    <a:pt x="1666" y="1019"/>
                  </a:lnTo>
                  <a:lnTo>
                    <a:pt x="1666" y="1019"/>
                  </a:lnTo>
                  <a:lnTo>
                    <a:pt x="1666" y="1019"/>
                  </a:lnTo>
                  <a:lnTo>
                    <a:pt x="1666" y="1019"/>
                  </a:lnTo>
                  <a:lnTo>
                    <a:pt x="1668" y="1019"/>
                  </a:lnTo>
                  <a:lnTo>
                    <a:pt x="1668" y="1017"/>
                  </a:lnTo>
                  <a:lnTo>
                    <a:pt x="1668" y="1017"/>
                  </a:lnTo>
                  <a:lnTo>
                    <a:pt x="1666" y="1014"/>
                  </a:lnTo>
                  <a:lnTo>
                    <a:pt x="1666" y="1014"/>
                  </a:lnTo>
                  <a:lnTo>
                    <a:pt x="1666" y="1014"/>
                  </a:lnTo>
                  <a:lnTo>
                    <a:pt x="1664" y="1012"/>
                  </a:lnTo>
                  <a:lnTo>
                    <a:pt x="1664" y="1012"/>
                  </a:lnTo>
                  <a:lnTo>
                    <a:pt x="1664" y="1012"/>
                  </a:lnTo>
                  <a:lnTo>
                    <a:pt x="1664" y="1010"/>
                  </a:lnTo>
                  <a:lnTo>
                    <a:pt x="1664" y="1010"/>
                  </a:lnTo>
                  <a:lnTo>
                    <a:pt x="1664" y="1010"/>
                  </a:lnTo>
                  <a:lnTo>
                    <a:pt x="1664" y="1010"/>
                  </a:lnTo>
                  <a:lnTo>
                    <a:pt x="1661" y="1010"/>
                  </a:lnTo>
                  <a:lnTo>
                    <a:pt x="1661" y="1007"/>
                  </a:lnTo>
                  <a:lnTo>
                    <a:pt x="1661" y="1007"/>
                  </a:lnTo>
                  <a:lnTo>
                    <a:pt x="1657" y="1003"/>
                  </a:lnTo>
                  <a:lnTo>
                    <a:pt x="1657" y="1003"/>
                  </a:lnTo>
                  <a:lnTo>
                    <a:pt x="1657" y="1003"/>
                  </a:lnTo>
                  <a:lnTo>
                    <a:pt x="1657" y="1000"/>
                  </a:lnTo>
                  <a:lnTo>
                    <a:pt x="1654" y="1000"/>
                  </a:lnTo>
                  <a:lnTo>
                    <a:pt x="1657" y="1000"/>
                  </a:lnTo>
                  <a:lnTo>
                    <a:pt x="1657" y="1000"/>
                  </a:lnTo>
                  <a:lnTo>
                    <a:pt x="1657" y="1000"/>
                  </a:lnTo>
                  <a:lnTo>
                    <a:pt x="1659" y="1005"/>
                  </a:lnTo>
                  <a:lnTo>
                    <a:pt x="1664" y="1010"/>
                  </a:lnTo>
                  <a:lnTo>
                    <a:pt x="1666" y="1010"/>
                  </a:lnTo>
                  <a:lnTo>
                    <a:pt x="1666" y="1010"/>
                  </a:lnTo>
                  <a:lnTo>
                    <a:pt x="1666" y="1010"/>
                  </a:lnTo>
                  <a:lnTo>
                    <a:pt x="1666" y="1012"/>
                  </a:lnTo>
                  <a:lnTo>
                    <a:pt x="1671" y="1017"/>
                  </a:lnTo>
                  <a:lnTo>
                    <a:pt x="1671" y="1017"/>
                  </a:lnTo>
                  <a:lnTo>
                    <a:pt x="1678" y="1019"/>
                  </a:lnTo>
                  <a:lnTo>
                    <a:pt x="1678" y="1019"/>
                  </a:lnTo>
                  <a:lnTo>
                    <a:pt x="1678" y="1019"/>
                  </a:lnTo>
                  <a:lnTo>
                    <a:pt x="1678" y="1019"/>
                  </a:lnTo>
                  <a:lnTo>
                    <a:pt x="1680" y="1019"/>
                  </a:lnTo>
                  <a:lnTo>
                    <a:pt x="1680" y="1019"/>
                  </a:lnTo>
                  <a:lnTo>
                    <a:pt x="1680" y="1017"/>
                  </a:lnTo>
                  <a:lnTo>
                    <a:pt x="1678" y="1017"/>
                  </a:lnTo>
                  <a:lnTo>
                    <a:pt x="1680" y="1017"/>
                  </a:lnTo>
                  <a:lnTo>
                    <a:pt x="1678" y="1017"/>
                  </a:lnTo>
                  <a:lnTo>
                    <a:pt x="1678" y="1017"/>
                  </a:lnTo>
                  <a:lnTo>
                    <a:pt x="1678" y="1014"/>
                  </a:lnTo>
                  <a:lnTo>
                    <a:pt x="1678" y="1014"/>
                  </a:lnTo>
                  <a:lnTo>
                    <a:pt x="1675" y="1012"/>
                  </a:lnTo>
                  <a:lnTo>
                    <a:pt x="1675" y="1012"/>
                  </a:lnTo>
                  <a:lnTo>
                    <a:pt x="1675" y="1012"/>
                  </a:lnTo>
                  <a:lnTo>
                    <a:pt x="1675" y="1010"/>
                  </a:lnTo>
                  <a:lnTo>
                    <a:pt x="1675" y="1010"/>
                  </a:lnTo>
                  <a:lnTo>
                    <a:pt x="1675" y="1007"/>
                  </a:lnTo>
                  <a:lnTo>
                    <a:pt x="1675" y="1010"/>
                  </a:lnTo>
                  <a:lnTo>
                    <a:pt x="1675" y="1010"/>
                  </a:lnTo>
                  <a:lnTo>
                    <a:pt x="1678" y="1012"/>
                  </a:lnTo>
                  <a:lnTo>
                    <a:pt x="1678" y="1012"/>
                  </a:lnTo>
                  <a:lnTo>
                    <a:pt x="1680" y="1017"/>
                  </a:lnTo>
                  <a:lnTo>
                    <a:pt x="1680" y="1017"/>
                  </a:lnTo>
                  <a:lnTo>
                    <a:pt x="1680" y="1017"/>
                  </a:lnTo>
                  <a:lnTo>
                    <a:pt x="1680" y="1014"/>
                  </a:lnTo>
                  <a:lnTo>
                    <a:pt x="1680" y="1014"/>
                  </a:lnTo>
                  <a:lnTo>
                    <a:pt x="1680" y="1014"/>
                  </a:lnTo>
                  <a:lnTo>
                    <a:pt x="1683" y="1012"/>
                  </a:lnTo>
                  <a:lnTo>
                    <a:pt x="1683" y="1012"/>
                  </a:lnTo>
                  <a:lnTo>
                    <a:pt x="1683" y="1012"/>
                  </a:lnTo>
                  <a:lnTo>
                    <a:pt x="1683" y="1012"/>
                  </a:lnTo>
                  <a:lnTo>
                    <a:pt x="1683" y="1010"/>
                  </a:lnTo>
                  <a:lnTo>
                    <a:pt x="1683" y="1010"/>
                  </a:lnTo>
                  <a:lnTo>
                    <a:pt x="1683" y="1010"/>
                  </a:lnTo>
                  <a:lnTo>
                    <a:pt x="1683" y="1010"/>
                  </a:lnTo>
                  <a:lnTo>
                    <a:pt x="1683" y="1010"/>
                  </a:lnTo>
                  <a:lnTo>
                    <a:pt x="1683" y="1010"/>
                  </a:lnTo>
                  <a:lnTo>
                    <a:pt x="1685" y="1007"/>
                  </a:lnTo>
                  <a:lnTo>
                    <a:pt x="1683" y="1005"/>
                  </a:lnTo>
                  <a:lnTo>
                    <a:pt x="1680" y="1003"/>
                  </a:lnTo>
                  <a:lnTo>
                    <a:pt x="1680" y="1003"/>
                  </a:lnTo>
                  <a:lnTo>
                    <a:pt x="1680" y="1003"/>
                  </a:lnTo>
                  <a:lnTo>
                    <a:pt x="1680" y="1003"/>
                  </a:lnTo>
                  <a:lnTo>
                    <a:pt x="1680" y="1000"/>
                  </a:lnTo>
                  <a:lnTo>
                    <a:pt x="1680" y="1000"/>
                  </a:lnTo>
                  <a:lnTo>
                    <a:pt x="1678" y="1000"/>
                  </a:lnTo>
                  <a:lnTo>
                    <a:pt x="1678" y="1000"/>
                  </a:lnTo>
                  <a:lnTo>
                    <a:pt x="1675" y="1000"/>
                  </a:lnTo>
                  <a:lnTo>
                    <a:pt x="1675" y="1000"/>
                  </a:lnTo>
                  <a:lnTo>
                    <a:pt x="1675" y="1000"/>
                  </a:lnTo>
                  <a:lnTo>
                    <a:pt x="1673" y="998"/>
                  </a:lnTo>
                  <a:lnTo>
                    <a:pt x="1673" y="998"/>
                  </a:lnTo>
                  <a:lnTo>
                    <a:pt x="1675" y="998"/>
                  </a:lnTo>
                  <a:lnTo>
                    <a:pt x="1675" y="998"/>
                  </a:lnTo>
                  <a:lnTo>
                    <a:pt x="1673" y="998"/>
                  </a:lnTo>
                  <a:lnTo>
                    <a:pt x="1673" y="995"/>
                  </a:lnTo>
                  <a:lnTo>
                    <a:pt x="1673" y="995"/>
                  </a:lnTo>
                  <a:lnTo>
                    <a:pt x="1673" y="995"/>
                  </a:lnTo>
                  <a:lnTo>
                    <a:pt x="1671" y="995"/>
                  </a:lnTo>
                  <a:lnTo>
                    <a:pt x="1671" y="995"/>
                  </a:lnTo>
                  <a:lnTo>
                    <a:pt x="1671" y="998"/>
                  </a:lnTo>
                  <a:lnTo>
                    <a:pt x="1671" y="998"/>
                  </a:lnTo>
                  <a:lnTo>
                    <a:pt x="1671" y="998"/>
                  </a:lnTo>
                  <a:lnTo>
                    <a:pt x="1671" y="998"/>
                  </a:lnTo>
                  <a:lnTo>
                    <a:pt x="1668" y="1000"/>
                  </a:lnTo>
                  <a:lnTo>
                    <a:pt x="1666" y="1003"/>
                  </a:lnTo>
                  <a:lnTo>
                    <a:pt x="1664" y="1003"/>
                  </a:lnTo>
                  <a:lnTo>
                    <a:pt x="1664" y="1003"/>
                  </a:lnTo>
                  <a:lnTo>
                    <a:pt x="1664" y="1003"/>
                  </a:lnTo>
                  <a:lnTo>
                    <a:pt x="1664" y="1003"/>
                  </a:lnTo>
                  <a:lnTo>
                    <a:pt x="1661" y="1003"/>
                  </a:lnTo>
                  <a:lnTo>
                    <a:pt x="1664" y="1003"/>
                  </a:lnTo>
                  <a:lnTo>
                    <a:pt x="1661" y="1003"/>
                  </a:lnTo>
                  <a:lnTo>
                    <a:pt x="1661" y="1005"/>
                  </a:lnTo>
                  <a:lnTo>
                    <a:pt x="1661" y="1005"/>
                  </a:lnTo>
                  <a:lnTo>
                    <a:pt x="1661" y="1003"/>
                  </a:lnTo>
                  <a:lnTo>
                    <a:pt x="1661" y="1003"/>
                  </a:lnTo>
                  <a:lnTo>
                    <a:pt x="1659" y="1000"/>
                  </a:lnTo>
                  <a:lnTo>
                    <a:pt x="1659" y="1000"/>
                  </a:lnTo>
                  <a:lnTo>
                    <a:pt x="1659" y="1000"/>
                  </a:lnTo>
                  <a:lnTo>
                    <a:pt x="1661" y="1003"/>
                  </a:lnTo>
                  <a:lnTo>
                    <a:pt x="1664" y="1003"/>
                  </a:lnTo>
                  <a:lnTo>
                    <a:pt x="1664" y="1000"/>
                  </a:lnTo>
                  <a:lnTo>
                    <a:pt x="1664" y="1000"/>
                  </a:lnTo>
                  <a:lnTo>
                    <a:pt x="1664" y="1000"/>
                  </a:lnTo>
                  <a:lnTo>
                    <a:pt x="1664" y="1000"/>
                  </a:lnTo>
                  <a:lnTo>
                    <a:pt x="1661" y="1000"/>
                  </a:lnTo>
                  <a:lnTo>
                    <a:pt x="1664" y="1000"/>
                  </a:lnTo>
                  <a:lnTo>
                    <a:pt x="1661" y="998"/>
                  </a:lnTo>
                  <a:lnTo>
                    <a:pt x="1659" y="998"/>
                  </a:lnTo>
                  <a:lnTo>
                    <a:pt x="1659" y="998"/>
                  </a:lnTo>
                  <a:lnTo>
                    <a:pt x="1659" y="998"/>
                  </a:lnTo>
                  <a:lnTo>
                    <a:pt x="1661" y="998"/>
                  </a:lnTo>
                  <a:lnTo>
                    <a:pt x="1664" y="1000"/>
                  </a:lnTo>
                  <a:lnTo>
                    <a:pt x="1666" y="998"/>
                  </a:lnTo>
                  <a:lnTo>
                    <a:pt x="1666" y="998"/>
                  </a:lnTo>
                  <a:lnTo>
                    <a:pt x="1666" y="998"/>
                  </a:lnTo>
                  <a:lnTo>
                    <a:pt x="1668" y="998"/>
                  </a:lnTo>
                  <a:lnTo>
                    <a:pt x="1668" y="998"/>
                  </a:lnTo>
                  <a:lnTo>
                    <a:pt x="1668" y="998"/>
                  </a:lnTo>
                  <a:lnTo>
                    <a:pt x="1668" y="995"/>
                  </a:lnTo>
                  <a:lnTo>
                    <a:pt x="1668" y="995"/>
                  </a:lnTo>
                  <a:lnTo>
                    <a:pt x="1668" y="995"/>
                  </a:lnTo>
                  <a:lnTo>
                    <a:pt x="1671" y="995"/>
                  </a:lnTo>
                  <a:lnTo>
                    <a:pt x="1671" y="993"/>
                  </a:lnTo>
                  <a:lnTo>
                    <a:pt x="1671" y="993"/>
                  </a:lnTo>
                  <a:lnTo>
                    <a:pt x="1668" y="993"/>
                  </a:lnTo>
                  <a:lnTo>
                    <a:pt x="1668" y="991"/>
                  </a:lnTo>
                  <a:lnTo>
                    <a:pt x="1668" y="991"/>
                  </a:lnTo>
                  <a:lnTo>
                    <a:pt x="1668" y="991"/>
                  </a:lnTo>
                  <a:lnTo>
                    <a:pt x="1668" y="991"/>
                  </a:lnTo>
                  <a:lnTo>
                    <a:pt x="1668" y="991"/>
                  </a:lnTo>
                  <a:lnTo>
                    <a:pt x="1668" y="988"/>
                  </a:lnTo>
                  <a:lnTo>
                    <a:pt x="1666" y="988"/>
                  </a:lnTo>
                  <a:lnTo>
                    <a:pt x="1666" y="988"/>
                  </a:lnTo>
                  <a:lnTo>
                    <a:pt x="1666" y="988"/>
                  </a:lnTo>
                  <a:lnTo>
                    <a:pt x="1664" y="988"/>
                  </a:lnTo>
                  <a:lnTo>
                    <a:pt x="1664" y="986"/>
                  </a:lnTo>
                  <a:lnTo>
                    <a:pt x="1664" y="986"/>
                  </a:lnTo>
                  <a:lnTo>
                    <a:pt x="1664" y="984"/>
                  </a:lnTo>
                  <a:lnTo>
                    <a:pt x="1659" y="986"/>
                  </a:lnTo>
                  <a:lnTo>
                    <a:pt x="1659" y="986"/>
                  </a:lnTo>
                  <a:lnTo>
                    <a:pt x="1657" y="986"/>
                  </a:lnTo>
                  <a:lnTo>
                    <a:pt x="1657" y="988"/>
                  </a:lnTo>
                  <a:lnTo>
                    <a:pt x="1657" y="988"/>
                  </a:lnTo>
                  <a:lnTo>
                    <a:pt x="1657" y="988"/>
                  </a:lnTo>
                  <a:lnTo>
                    <a:pt x="1657" y="988"/>
                  </a:lnTo>
                  <a:lnTo>
                    <a:pt x="1654" y="986"/>
                  </a:lnTo>
                  <a:lnTo>
                    <a:pt x="1654" y="984"/>
                  </a:lnTo>
                  <a:lnTo>
                    <a:pt x="1652" y="984"/>
                  </a:lnTo>
                  <a:lnTo>
                    <a:pt x="1652" y="984"/>
                  </a:lnTo>
                  <a:lnTo>
                    <a:pt x="1652" y="986"/>
                  </a:lnTo>
                  <a:lnTo>
                    <a:pt x="1652" y="986"/>
                  </a:lnTo>
                  <a:lnTo>
                    <a:pt x="1652" y="986"/>
                  </a:lnTo>
                  <a:lnTo>
                    <a:pt x="1652" y="986"/>
                  </a:lnTo>
                  <a:lnTo>
                    <a:pt x="1649" y="986"/>
                  </a:lnTo>
                  <a:lnTo>
                    <a:pt x="1649" y="988"/>
                  </a:lnTo>
                  <a:lnTo>
                    <a:pt x="1649" y="988"/>
                  </a:lnTo>
                  <a:lnTo>
                    <a:pt x="1649" y="988"/>
                  </a:lnTo>
                  <a:lnTo>
                    <a:pt x="1649" y="988"/>
                  </a:lnTo>
                  <a:lnTo>
                    <a:pt x="1649" y="991"/>
                  </a:lnTo>
                  <a:lnTo>
                    <a:pt x="1649" y="991"/>
                  </a:lnTo>
                  <a:lnTo>
                    <a:pt x="1649" y="991"/>
                  </a:lnTo>
                  <a:lnTo>
                    <a:pt x="1649" y="993"/>
                  </a:lnTo>
                  <a:lnTo>
                    <a:pt x="1649" y="993"/>
                  </a:lnTo>
                  <a:lnTo>
                    <a:pt x="1649" y="993"/>
                  </a:lnTo>
                  <a:lnTo>
                    <a:pt x="1647" y="991"/>
                  </a:lnTo>
                  <a:lnTo>
                    <a:pt x="1647" y="991"/>
                  </a:lnTo>
                  <a:lnTo>
                    <a:pt x="1649" y="991"/>
                  </a:lnTo>
                  <a:lnTo>
                    <a:pt x="1649" y="988"/>
                  </a:lnTo>
                  <a:lnTo>
                    <a:pt x="1649" y="988"/>
                  </a:lnTo>
                  <a:lnTo>
                    <a:pt x="1649" y="988"/>
                  </a:lnTo>
                  <a:lnTo>
                    <a:pt x="1649" y="986"/>
                  </a:lnTo>
                  <a:lnTo>
                    <a:pt x="1649" y="986"/>
                  </a:lnTo>
                  <a:lnTo>
                    <a:pt x="1649" y="986"/>
                  </a:lnTo>
                  <a:lnTo>
                    <a:pt x="1649" y="984"/>
                  </a:lnTo>
                  <a:lnTo>
                    <a:pt x="1649" y="984"/>
                  </a:lnTo>
                  <a:lnTo>
                    <a:pt x="1649" y="984"/>
                  </a:lnTo>
                  <a:lnTo>
                    <a:pt x="1647" y="984"/>
                  </a:lnTo>
                  <a:lnTo>
                    <a:pt x="1647" y="981"/>
                  </a:lnTo>
                  <a:lnTo>
                    <a:pt x="1645" y="984"/>
                  </a:lnTo>
                  <a:lnTo>
                    <a:pt x="1647" y="984"/>
                  </a:lnTo>
                  <a:lnTo>
                    <a:pt x="1647" y="986"/>
                  </a:lnTo>
                  <a:lnTo>
                    <a:pt x="1647" y="988"/>
                  </a:lnTo>
                  <a:lnTo>
                    <a:pt x="1647" y="988"/>
                  </a:lnTo>
                  <a:lnTo>
                    <a:pt x="1647" y="988"/>
                  </a:lnTo>
                  <a:lnTo>
                    <a:pt x="1647" y="988"/>
                  </a:lnTo>
                  <a:lnTo>
                    <a:pt x="1645" y="988"/>
                  </a:lnTo>
                  <a:lnTo>
                    <a:pt x="1645" y="986"/>
                  </a:lnTo>
                  <a:lnTo>
                    <a:pt x="1645" y="986"/>
                  </a:lnTo>
                  <a:lnTo>
                    <a:pt x="1645" y="986"/>
                  </a:lnTo>
                  <a:lnTo>
                    <a:pt x="1642" y="986"/>
                  </a:lnTo>
                  <a:lnTo>
                    <a:pt x="1642" y="986"/>
                  </a:lnTo>
                  <a:lnTo>
                    <a:pt x="1642" y="988"/>
                  </a:lnTo>
                  <a:lnTo>
                    <a:pt x="1642" y="988"/>
                  </a:lnTo>
                  <a:lnTo>
                    <a:pt x="1645" y="993"/>
                  </a:lnTo>
                  <a:lnTo>
                    <a:pt x="1645" y="995"/>
                  </a:lnTo>
                  <a:lnTo>
                    <a:pt x="1645" y="995"/>
                  </a:lnTo>
                  <a:lnTo>
                    <a:pt x="1645" y="998"/>
                  </a:lnTo>
                  <a:lnTo>
                    <a:pt x="1645" y="998"/>
                  </a:lnTo>
                  <a:lnTo>
                    <a:pt x="1647" y="1003"/>
                  </a:lnTo>
                  <a:lnTo>
                    <a:pt x="1647" y="1005"/>
                  </a:lnTo>
                  <a:lnTo>
                    <a:pt x="1649" y="1005"/>
                  </a:lnTo>
                  <a:lnTo>
                    <a:pt x="1647" y="1005"/>
                  </a:lnTo>
                  <a:lnTo>
                    <a:pt x="1647" y="1005"/>
                  </a:lnTo>
                  <a:lnTo>
                    <a:pt x="1645" y="1003"/>
                  </a:lnTo>
                  <a:lnTo>
                    <a:pt x="1645" y="995"/>
                  </a:lnTo>
                  <a:lnTo>
                    <a:pt x="1642" y="995"/>
                  </a:lnTo>
                  <a:lnTo>
                    <a:pt x="1642" y="995"/>
                  </a:lnTo>
                  <a:lnTo>
                    <a:pt x="1642" y="995"/>
                  </a:lnTo>
                  <a:lnTo>
                    <a:pt x="1642" y="995"/>
                  </a:lnTo>
                  <a:lnTo>
                    <a:pt x="1642" y="995"/>
                  </a:lnTo>
                  <a:lnTo>
                    <a:pt x="1640" y="995"/>
                  </a:lnTo>
                  <a:lnTo>
                    <a:pt x="1640" y="998"/>
                  </a:lnTo>
                  <a:lnTo>
                    <a:pt x="1640" y="998"/>
                  </a:lnTo>
                  <a:lnTo>
                    <a:pt x="1640" y="998"/>
                  </a:lnTo>
                  <a:lnTo>
                    <a:pt x="1640" y="1000"/>
                  </a:lnTo>
                  <a:lnTo>
                    <a:pt x="1638" y="1000"/>
                  </a:lnTo>
                  <a:lnTo>
                    <a:pt x="1638" y="1003"/>
                  </a:lnTo>
                  <a:lnTo>
                    <a:pt x="1638" y="1003"/>
                  </a:lnTo>
                  <a:lnTo>
                    <a:pt x="1638" y="1003"/>
                  </a:lnTo>
                  <a:lnTo>
                    <a:pt x="1638" y="1005"/>
                  </a:lnTo>
                  <a:lnTo>
                    <a:pt x="1638" y="1003"/>
                  </a:lnTo>
                  <a:lnTo>
                    <a:pt x="1638" y="1003"/>
                  </a:lnTo>
                  <a:lnTo>
                    <a:pt x="1638" y="1003"/>
                  </a:lnTo>
                  <a:lnTo>
                    <a:pt x="1640" y="1003"/>
                  </a:lnTo>
                  <a:close/>
                  <a:moveTo>
                    <a:pt x="1690" y="1159"/>
                  </a:moveTo>
                  <a:lnTo>
                    <a:pt x="1690" y="1156"/>
                  </a:lnTo>
                  <a:lnTo>
                    <a:pt x="1690" y="1156"/>
                  </a:lnTo>
                  <a:lnTo>
                    <a:pt x="1690" y="1156"/>
                  </a:lnTo>
                  <a:lnTo>
                    <a:pt x="1687" y="1156"/>
                  </a:lnTo>
                  <a:lnTo>
                    <a:pt x="1685" y="1156"/>
                  </a:lnTo>
                  <a:lnTo>
                    <a:pt x="1685" y="1156"/>
                  </a:lnTo>
                  <a:lnTo>
                    <a:pt x="1685" y="1156"/>
                  </a:lnTo>
                  <a:lnTo>
                    <a:pt x="1685" y="1156"/>
                  </a:lnTo>
                  <a:lnTo>
                    <a:pt x="1685" y="1159"/>
                  </a:lnTo>
                  <a:lnTo>
                    <a:pt x="1687" y="1161"/>
                  </a:lnTo>
                  <a:lnTo>
                    <a:pt x="1687" y="1161"/>
                  </a:lnTo>
                  <a:lnTo>
                    <a:pt x="1687" y="1161"/>
                  </a:lnTo>
                  <a:lnTo>
                    <a:pt x="1687" y="1161"/>
                  </a:lnTo>
                  <a:lnTo>
                    <a:pt x="1687" y="1161"/>
                  </a:lnTo>
                  <a:lnTo>
                    <a:pt x="1690" y="1161"/>
                  </a:lnTo>
                  <a:lnTo>
                    <a:pt x="1690" y="1159"/>
                  </a:lnTo>
                  <a:lnTo>
                    <a:pt x="1690" y="1159"/>
                  </a:lnTo>
                  <a:lnTo>
                    <a:pt x="1690" y="1159"/>
                  </a:lnTo>
                  <a:lnTo>
                    <a:pt x="1690" y="1159"/>
                  </a:lnTo>
                  <a:close/>
                  <a:moveTo>
                    <a:pt x="1687" y="1163"/>
                  </a:moveTo>
                  <a:lnTo>
                    <a:pt x="1687" y="1163"/>
                  </a:lnTo>
                  <a:lnTo>
                    <a:pt x="1687" y="1163"/>
                  </a:lnTo>
                  <a:lnTo>
                    <a:pt x="1687" y="1163"/>
                  </a:lnTo>
                  <a:lnTo>
                    <a:pt x="1690" y="1163"/>
                  </a:lnTo>
                  <a:lnTo>
                    <a:pt x="1690" y="1163"/>
                  </a:lnTo>
                  <a:lnTo>
                    <a:pt x="1690" y="1163"/>
                  </a:lnTo>
                  <a:lnTo>
                    <a:pt x="1687" y="1163"/>
                  </a:lnTo>
                  <a:close/>
                  <a:moveTo>
                    <a:pt x="1448" y="768"/>
                  </a:moveTo>
                  <a:lnTo>
                    <a:pt x="1448" y="768"/>
                  </a:lnTo>
                  <a:lnTo>
                    <a:pt x="1448" y="768"/>
                  </a:lnTo>
                  <a:lnTo>
                    <a:pt x="1446" y="768"/>
                  </a:lnTo>
                  <a:lnTo>
                    <a:pt x="1441" y="771"/>
                  </a:lnTo>
                  <a:lnTo>
                    <a:pt x="1441" y="771"/>
                  </a:lnTo>
                  <a:lnTo>
                    <a:pt x="1441" y="771"/>
                  </a:lnTo>
                  <a:lnTo>
                    <a:pt x="1444" y="773"/>
                  </a:lnTo>
                  <a:lnTo>
                    <a:pt x="1444" y="773"/>
                  </a:lnTo>
                  <a:lnTo>
                    <a:pt x="1444" y="773"/>
                  </a:lnTo>
                  <a:lnTo>
                    <a:pt x="1444" y="773"/>
                  </a:lnTo>
                  <a:lnTo>
                    <a:pt x="1444" y="773"/>
                  </a:lnTo>
                  <a:lnTo>
                    <a:pt x="1444" y="773"/>
                  </a:lnTo>
                  <a:lnTo>
                    <a:pt x="1446" y="773"/>
                  </a:lnTo>
                  <a:lnTo>
                    <a:pt x="1446" y="773"/>
                  </a:lnTo>
                  <a:lnTo>
                    <a:pt x="1446" y="773"/>
                  </a:lnTo>
                  <a:lnTo>
                    <a:pt x="1446" y="771"/>
                  </a:lnTo>
                  <a:lnTo>
                    <a:pt x="1446" y="771"/>
                  </a:lnTo>
                  <a:lnTo>
                    <a:pt x="1448" y="771"/>
                  </a:lnTo>
                  <a:lnTo>
                    <a:pt x="1448" y="768"/>
                  </a:lnTo>
                  <a:close/>
                  <a:moveTo>
                    <a:pt x="1690" y="1145"/>
                  </a:moveTo>
                  <a:lnTo>
                    <a:pt x="1692" y="1145"/>
                  </a:lnTo>
                  <a:lnTo>
                    <a:pt x="1692" y="1145"/>
                  </a:lnTo>
                  <a:lnTo>
                    <a:pt x="1694" y="1142"/>
                  </a:lnTo>
                  <a:lnTo>
                    <a:pt x="1694" y="1142"/>
                  </a:lnTo>
                  <a:lnTo>
                    <a:pt x="1692" y="1142"/>
                  </a:lnTo>
                  <a:lnTo>
                    <a:pt x="1692" y="1142"/>
                  </a:lnTo>
                  <a:lnTo>
                    <a:pt x="1692" y="1142"/>
                  </a:lnTo>
                  <a:lnTo>
                    <a:pt x="1692" y="1142"/>
                  </a:lnTo>
                  <a:lnTo>
                    <a:pt x="1687" y="1142"/>
                  </a:lnTo>
                  <a:lnTo>
                    <a:pt x="1687" y="1142"/>
                  </a:lnTo>
                  <a:lnTo>
                    <a:pt x="1687" y="1142"/>
                  </a:lnTo>
                  <a:lnTo>
                    <a:pt x="1687" y="1142"/>
                  </a:lnTo>
                  <a:lnTo>
                    <a:pt x="1687" y="1140"/>
                  </a:lnTo>
                  <a:lnTo>
                    <a:pt x="1687" y="1140"/>
                  </a:lnTo>
                  <a:lnTo>
                    <a:pt x="1687" y="1140"/>
                  </a:lnTo>
                  <a:lnTo>
                    <a:pt x="1687" y="1140"/>
                  </a:lnTo>
                  <a:lnTo>
                    <a:pt x="1685" y="1140"/>
                  </a:lnTo>
                  <a:lnTo>
                    <a:pt x="1685" y="1140"/>
                  </a:lnTo>
                  <a:lnTo>
                    <a:pt x="1685" y="1140"/>
                  </a:lnTo>
                  <a:lnTo>
                    <a:pt x="1685" y="1140"/>
                  </a:lnTo>
                  <a:lnTo>
                    <a:pt x="1685" y="1137"/>
                  </a:lnTo>
                  <a:lnTo>
                    <a:pt x="1685" y="1137"/>
                  </a:lnTo>
                  <a:lnTo>
                    <a:pt x="1683" y="1140"/>
                  </a:lnTo>
                  <a:lnTo>
                    <a:pt x="1683" y="1140"/>
                  </a:lnTo>
                  <a:lnTo>
                    <a:pt x="1683" y="1140"/>
                  </a:lnTo>
                  <a:lnTo>
                    <a:pt x="1683" y="1140"/>
                  </a:lnTo>
                  <a:lnTo>
                    <a:pt x="1683" y="1140"/>
                  </a:lnTo>
                  <a:lnTo>
                    <a:pt x="1683" y="1142"/>
                  </a:lnTo>
                  <a:lnTo>
                    <a:pt x="1683" y="1145"/>
                  </a:lnTo>
                  <a:lnTo>
                    <a:pt x="1683" y="1145"/>
                  </a:lnTo>
                  <a:lnTo>
                    <a:pt x="1685" y="1147"/>
                  </a:lnTo>
                  <a:lnTo>
                    <a:pt x="1687" y="1147"/>
                  </a:lnTo>
                  <a:lnTo>
                    <a:pt x="1687" y="1145"/>
                  </a:lnTo>
                  <a:lnTo>
                    <a:pt x="1687" y="1142"/>
                  </a:lnTo>
                  <a:lnTo>
                    <a:pt x="1687" y="1142"/>
                  </a:lnTo>
                  <a:lnTo>
                    <a:pt x="1687" y="1142"/>
                  </a:lnTo>
                  <a:lnTo>
                    <a:pt x="1687" y="1145"/>
                  </a:lnTo>
                  <a:lnTo>
                    <a:pt x="1690" y="1145"/>
                  </a:lnTo>
                  <a:lnTo>
                    <a:pt x="1690" y="1145"/>
                  </a:lnTo>
                  <a:close/>
                  <a:moveTo>
                    <a:pt x="1699" y="1126"/>
                  </a:moveTo>
                  <a:lnTo>
                    <a:pt x="1699" y="1126"/>
                  </a:lnTo>
                  <a:lnTo>
                    <a:pt x="1699" y="1126"/>
                  </a:lnTo>
                  <a:lnTo>
                    <a:pt x="1699" y="1123"/>
                  </a:lnTo>
                  <a:lnTo>
                    <a:pt x="1699" y="1123"/>
                  </a:lnTo>
                  <a:lnTo>
                    <a:pt x="1697" y="1123"/>
                  </a:lnTo>
                  <a:lnTo>
                    <a:pt x="1697" y="1123"/>
                  </a:lnTo>
                  <a:lnTo>
                    <a:pt x="1697" y="1123"/>
                  </a:lnTo>
                  <a:lnTo>
                    <a:pt x="1694" y="1123"/>
                  </a:lnTo>
                  <a:lnTo>
                    <a:pt x="1694" y="1123"/>
                  </a:lnTo>
                  <a:lnTo>
                    <a:pt x="1694" y="1123"/>
                  </a:lnTo>
                  <a:lnTo>
                    <a:pt x="1692" y="1123"/>
                  </a:lnTo>
                  <a:lnTo>
                    <a:pt x="1692" y="1123"/>
                  </a:lnTo>
                  <a:lnTo>
                    <a:pt x="1690" y="1123"/>
                  </a:lnTo>
                  <a:lnTo>
                    <a:pt x="1690" y="1123"/>
                  </a:lnTo>
                  <a:lnTo>
                    <a:pt x="1690" y="1123"/>
                  </a:lnTo>
                  <a:lnTo>
                    <a:pt x="1690" y="1123"/>
                  </a:lnTo>
                  <a:lnTo>
                    <a:pt x="1692" y="1126"/>
                  </a:lnTo>
                  <a:lnTo>
                    <a:pt x="1692" y="1126"/>
                  </a:lnTo>
                  <a:lnTo>
                    <a:pt x="1692" y="1126"/>
                  </a:lnTo>
                  <a:lnTo>
                    <a:pt x="1692" y="1126"/>
                  </a:lnTo>
                  <a:lnTo>
                    <a:pt x="1690" y="1126"/>
                  </a:lnTo>
                  <a:lnTo>
                    <a:pt x="1687" y="1126"/>
                  </a:lnTo>
                  <a:lnTo>
                    <a:pt x="1687" y="1126"/>
                  </a:lnTo>
                  <a:lnTo>
                    <a:pt x="1687" y="1126"/>
                  </a:lnTo>
                  <a:lnTo>
                    <a:pt x="1685" y="1126"/>
                  </a:lnTo>
                  <a:lnTo>
                    <a:pt x="1683" y="1128"/>
                  </a:lnTo>
                  <a:lnTo>
                    <a:pt x="1680" y="1130"/>
                  </a:lnTo>
                  <a:lnTo>
                    <a:pt x="1683" y="1133"/>
                  </a:lnTo>
                  <a:lnTo>
                    <a:pt x="1683" y="1133"/>
                  </a:lnTo>
                  <a:lnTo>
                    <a:pt x="1683" y="1133"/>
                  </a:lnTo>
                  <a:lnTo>
                    <a:pt x="1683" y="1133"/>
                  </a:lnTo>
                  <a:lnTo>
                    <a:pt x="1683" y="1133"/>
                  </a:lnTo>
                  <a:lnTo>
                    <a:pt x="1683" y="1133"/>
                  </a:lnTo>
                  <a:lnTo>
                    <a:pt x="1685" y="1133"/>
                  </a:lnTo>
                  <a:lnTo>
                    <a:pt x="1685" y="1133"/>
                  </a:lnTo>
                  <a:lnTo>
                    <a:pt x="1685" y="1133"/>
                  </a:lnTo>
                  <a:lnTo>
                    <a:pt x="1687" y="1133"/>
                  </a:lnTo>
                  <a:lnTo>
                    <a:pt x="1685" y="1133"/>
                  </a:lnTo>
                  <a:lnTo>
                    <a:pt x="1685" y="1133"/>
                  </a:lnTo>
                  <a:lnTo>
                    <a:pt x="1687" y="1130"/>
                  </a:lnTo>
                  <a:lnTo>
                    <a:pt x="1687" y="1133"/>
                  </a:lnTo>
                  <a:lnTo>
                    <a:pt x="1690" y="1130"/>
                  </a:lnTo>
                  <a:lnTo>
                    <a:pt x="1690" y="1130"/>
                  </a:lnTo>
                  <a:lnTo>
                    <a:pt x="1690" y="1130"/>
                  </a:lnTo>
                  <a:lnTo>
                    <a:pt x="1692" y="1130"/>
                  </a:lnTo>
                  <a:lnTo>
                    <a:pt x="1692" y="1130"/>
                  </a:lnTo>
                  <a:lnTo>
                    <a:pt x="1692" y="1130"/>
                  </a:lnTo>
                  <a:lnTo>
                    <a:pt x="1694" y="1130"/>
                  </a:lnTo>
                  <a:lnTo>
                    <a:pt x="1694" y="1130"/>
                  </a:lnTo>
                  <a:lnTo>
                    <a:pt x="1694" y="1130"/>
                  </a:lnTo>
                  <a:lnTo>
                    <a:pt x="1697" y="1133"/>
                  </a:lnTo>
                  <a:lnTo>
                    <a:pt x="1697" y="1133"/>
                  </a:lnTo>
                  <a:lnTo>
                    <a:pt x="1697" y="1133"/>
                  </a:lnTo>
                  <a:lnTo>
                    <a:pt x="1697" y="1130"/>
                  </a:lnTo>
                  <a:lnTo>
                    <a:pt x="1699" y="1130"/>
                  </a:lnTo>
                  <a:lnTo>
                    <a:pt x="1699" y="1128"/>
                  </a:lnTo>
                  <a:lnTo>
                    <a:pt x="1699" y="1128"/>
                  </a:lnTo>
                  <a:lnTo>
                    <a:pt x="1699" y="1128"/>
                  </a:lnTo>
                  <a:lnTo>
                    <a:pt x="1699" y="1126"/>
                  </a:lnTo>
                  <a:close/>
                  <a:moveTo>
                    <a:pt x="1683" y="1156"/>
                  </a:moveTo>
                  <a:lnTo>
                    <a:pt x="1683" y="1156"/>
                  </a:lnTo>
                  <a:lnTo>
                    <a:pt x="1683" y="1156"/>
                  </a:lnTo>
                  <a:lnTo>
                    <a:pt x="1680" y="1159"/>
                  </a:lnTo>
                  <a:lnTo>
                    <a:pt x="1680" y="1159"/>
                  </a:lnTo>
                  <a:lnTo>
                    <a:pt x="1680" y="1159"/>
                  </a:lnTo>
                  <a:lnTo>
                    <a:pt x="1680" y="1159"/>
                  </a:lnTo>
                  <a:lnTo>
                    <a:pt x="1678" y="1159"/>
                  </a:lnTo>
                  <a:lnTo>
                    <a:pt x="1680" y="1161"/>
                  </a:lnTo>
                  <a:lnTo>
                    <a:pt x="1680" y="1161"/>
                  </a:lnTo>
                  <a:lnTo>
                    <a:pt x="1683" y="1161"/>
                  </a:lnTo>
                  <a:lnTo>
                    <a:pt x="1683" y="1161"/>
                  </a:lnTo>
                  <a:lnTo>
                    <a:pt x="1683" y="1161"/>
                  </a:lnTo>
                  <a:lnTo>
                    <a:pt x="1685" y="1161"/>
                  </a:lnTo>
                  <a:lnTo>
                    <a:pt x="1685" y="1161"/>
                  </a:lnTo>
                  <a:lnTo>
                    <a:pt x="1685" y="1159"/>
                  </a:lnTo>
                  <a:lnTo>
                    <a:pt x="1685" y="1159"/>
                  </a:lnTo>
                  <a:lnTo>
                    <a:pt x="1685" y="1159"/>
                  </a:lnTo>
                  <a:lnTo>
                    <a:pt x="1683" y="1156"/>
                  </a:lnTo>
                  <a:lnTo>
                    <a:pt x="1683" y="1156"/>
                  </a:lnTo>
                  <a:close/>
                  <a:moveTo>
                    <a:pt x="1673" y="1123"/>
                  </a:moveTo>
                  <a:lnTo>
                    <a:pt x="1673" y="1121"/>
                  </a:lnTo>
                  <a:lnTo>
                    <a:pt x="1673" y="1121"/>
                  </a:lnTo>
                  <a:lnTo>
                    <a:pt x="1673" y="1121"/>
                  </a:lnTo>
                  <a:lnTo>
                    <a:pt x="1675" y="1121"/>
                  </a:lnTo>
                  <a:lnTo>
                    <a:pt x="1675" y="1121"/>
                  </a:lnTo>
                  <a:lnTo>
                    <a:pt x="1675" y="1118"/>
                  </a:lnTo>
                  <a:lnTo>
                    <a:pt x="1675" y="1118"/>
                  </a:lnTo>
                  <a:lnTo>
                    <a:pt x="1675" y="1116"/>
                  </a:lnTo>
                  <a:lnTo>
                    <a:pt x="1675" y="1116"/>
                  </a:lnTo>
                  <a:lnTo>
                    <a:pt x="1673" y="1116"/>
                  </a:lnTo>
                  <a:lnTo>
                    <a:pt x="1673" y="1116"/>
                  </a:lnTo>
                  <a:lnTo>
                    <a:pt x="1673" y="1116"/>
                  </a:lnTo>
                  <a:lnTo>
                    <a:pt x="1673" y="1116"/>
                  </a:lnTo>
                  <a:lnTo>
                    <a:pt x="1673" y="1114"/>
                  </a:lnTo>
                  <a:lnTo>
                    <a:pt x="1673" y="1114"/>
                  </a:lnTo>
                  <a:lnTo>
                    <a:pt x="1675" y="1114"/>
                  </a:lnTo>
                  <a:lnTo>
                    <a:pt x="1675" y="1114"/>
                  </a:lnTo>
                  <a:lnTo>
                    <a:pt x="1678" y="1111"/>
                  </a:lnTo>
                  <a:lnTo>
                    <a:pt x="1678" y="1111"/>
                  </a:lnTo>
                  <a:lnTo>
                    <a:pt x="1678" y="1111"/>
                  </a:lnTo>
                  <a:lnTo>
                    <a:pt x="1678" y="1109"/>
                  </a:lnTo>
                  <a:lnTo>
                    <a:pt x="1680" y="1109"/>
                  </a:lnTo>
                  <a:lnTo>
                    <a:pt x="1680" y="1109"/>
                  </a:lnTo>
                  <a:lnTo>
                    <a:pt x="1680" y="1111"/>
                  </a:lnTo>
                  <a:lnTo>
                    <a:pt x="1678" y="1111"/>
                  </a:lnTo>
                  <a:lnTo>
                    <a:pt x="1678" y="1114"/>
                  </a:lnTo>
                  <a:lnTo>
                    <a:pt x="1678" y="1114"/>
                  </a:lnTo>
                  <a:lnTo>
                    <a:pt x="1678" y="1114"/>
                  </a:lnTo>
                  <a:lnTo>
                    <a:pt x="1678" y="1116"/>
                  </a:lnTo>
                  <a:lnTo>
                    <a:pt x="1678" y="1118"/>
                  </a:lnTo>
                  <a:lnTo>
                    <a:pt x="1675" y="1118"/>
                  </a:lnTo>
                  <a:lnTo>
                    <a:pt x="1678" y="1121"/>
                  </a:lnTo>
                  <a:lnTo>
                    <a:pt x="1678" y="1121"/>
                  </a:lnTo>
                  <a:lnTo>
                    <a:pt x="1678" y="1121"/>
                  </a:lnTo>
                  <a:lnTo>
                    <a:pt x="1678" y="1121"/>
                  </a:lnTo>
                  <a:lnTo>
                    <a:pt x="1678" y="1121"/>
                  </a:lnTo>
                  <a:lnTo>
                    <a:pt x="1680" y="1121"/>
                  </a:lnTo>
                  <a:lnTo>
                    <a:pt x="1680" y="1121"/>
                  </a:lnTo>
                  <a:lnTo>
                    <a:pt x="1680" y="1118"/>
                  </a:lnTo>
                  <a:lnTo>
                    <a:pt x="1680" y="1118"/>
                  </a:lnTo>
                  <a:lnTo>
                    <a:pt x="1680" y="1118"/>
                  </a:lnTo>
                  <a:lnTo>
                    <a:pt x="1680" y="1118"/>
                  </a:lnTo>
                  <a:lnTo>
                    <a:pt x="1680" y="1118"/>
                  </a:lnTo>
                  <a:lnTo>
                    <a:pt x="1680" y="1116"/>
                  </a:lnTo>
                  <a:lnTo>
                    <a:pt x="1680" y="1116"/>
                  </a:lnTo>
                  <a:lnTo>
                    <a:pt x="1680" y="1114"/>
                  </a:lnTo>
                  <a:lnTo>
                    <a:pt x="1683" y="1114"/>
                  </a:lnTo>
                  <a:lnTo>
                    <a:pt x="1683" y="1114"/>
                  </a:lnTo>
                  <a:lnTo>
                    <a:pt x="1683" y="1111"/>
                  </a:lnTo>
                  <a:lnTo>
                    <a:pt x="1683" y="1111"/>
                  </a:lnTo>
                  <a:lnTo>
                    <a:pt x="1683" y="1111"/>
                  </a:lnTo>
                  <a:lnTo>
                    <a:pt x="1680" y="1111"/>
                  </a:lnTo>
                  <a:lnTo>
                    <a:pt x="1680" y="1111"/>
                  </a:lnTo>
                  <a:lnTo>
                    <a:pt x="1683" y="1109"/>
                  </a:lnTo>
                  <a:lnTo>
                    <a:pt x="1683" y="1109"/>
                  </a:lnTo>
                  <a:lnTo>
                    <a:pt x="1683" y="1107"/>
                  </a:lnTo>
                  <a:lnTo>
                    <a:pt x="1683" y="1107"/>
                  </a:lnTo>
                  <a:lnTo>
                    <a:pt x="1683" y="1107"/>
                  </a:lnTo>
                  <a:lnTo>
                    <a:pt x="1683" y="1107"/>
                  </a:lnTo>
                  <a:lnTo>
                    <a:pt x="1685" y="1109"/>
                  </a:lnTo>
                  <a:lnTo>
                    <a:pt x="1685" y="1109"/>
                  </a:lnTo>
                  <a:lnTo>
                    <a:pt x="1685" y="1111"/>
                  </a:lnTo>
                  <a:lnTo>
                    <a:pt x="1685" y="1111"/>
                  </a:lnTo>
                  <a:lnTo>
                    <a:pt x="1685" y="1111"/>
                  </a:lnTo>
                  <a:lnTo>
                    <a:pt x="1687" y="1109"/>
                  </a:lnTo>
                  <a:lnTo>
                    <a:pt x="1687" y="1109"/>
                  </a:lnTo>
                  <a:lnTo>
                    <a:pt x="1687" y="1107"/>
                  </a:lnTo>
                  <a:lnTo>
                    <a:pt x="1685" y="1107"/>
                  </a:lnTo>
                  <a:lnTo>
                    <a:pt x="1685" y="1104"/>
                  </a:lnTo>
                  <a:lnTo>
                    <a:pt x="1685" y="1104"/>
                  </a:lnTo>
                  <a:lnTo>
                    <a:pt x="1685" y="1107"/>
                  </a:lnTo>
                  <a:lnTo>
                    <a:pt x="1687" y="1107"/>
                  </a:lnTo>
                  <a:lnTo>
                    <a:pt x="1687" y="1104"/>
                  </a:lnTo>
                  <a:lnTo>
                    <a:pt x="1687" y="1104"/>
                  </a:lnTo>
                  <a:lnTo>
                    <a:pt x="1687" y="1104"/>
                  </a:lnTo>
                  <a:lnTo>
                    <a:pt x="1685" y="1102"/>
                  </a:lnTo>
                  <a:lnTo>
                    <a:pt x="1687" y="1102"/>
                  </a:lnTo>
                  <a:lnTo>
                    <a:pt x="1687" y="1104"/>
                  </a:lnTo>
                  <a:lnTo>
                    <a:pt x="1690" y="1104"/>
                  </a:lnTo>
                  <a:lnTo>
                    <a:pt x="1687" y="1102"/>
                  </a:lnTo>
                  <a:lnTo>
                    <a:pt x="1687" y="1102"/>
                  </a:lnTo>
                  <a:lnTo>
                    <a:pt x="1687" y="1102"/>
                  </a:lnTo>
                  <a:lnTo>
                    <a:pt x="1687" y="1102"/>
                  </a:lnTo>
                  <a:lnTo>
                    <a:pt x="1687" y="1100"/>
                  </a:lnTo>
                  <a:lnTo>
                    <a:pt x="1687" y="1100"/>
                  </a:lnTo>
                  <a:lnTo>
                    <a:pt x="1687" y="1100"/>
                  </a:lnTo>
                  <a:lnTo>
                    <a:pt x="1687" y="1100"/>
                  </a:lnTo>
                  <a:lnTo>
                    <a:pt x="1687" y="1100"/>
                  </a:lnTo>
                  <a:lnTo>
                    <a:pt x="1687" y="1100"/>
                  </a:lnTo>
                  <a:lnTo>
                    <a:pt x="1687" y="1100"/>
                  </a:lnTo>
                  <a:lnTo>
                    <a:pt x="1687" y="1100"/>
                  </a:lnTo>
                  <a:lnTo>
                    <a:pt x="1690" y="1097"/>
                  </a:lnTo>
                  <a:lnTo>
                    <a:pt x="1690" y="1097"/>
                  </a:lnTo>
                  <a:lnTo>
                    <a:pt x="1690" y="1097"/>
                  </a:lnTo>
                  <a:lnTo>
                    <a:pt x="1690" y="1097"/>
                  </a:lnTo>
                  <a:lnTo>
                    <a:pt x="1690" y="1095"/>
                  </a:lnTo>
                  <a:lnTo>
                    <a:pt x="1690" y="1095"/>
                  </a:lnTo>
                  <a:lnTo>
                    <a:pt x="1690" y="1092"/>
                  </a:lnTo>
                  <a:lnTo>
                    <a:pt x="1690" y="1092"/>
                  </a:lnTo>
                  <a:lnTo>
                    <a:pt x="1692" y="1095"/>
                  </a:lnTo>
                  <a:lnTo>
                    <a:pt x="1692" y="1095"/>
                  </a:lnTo>
                  <a:lnTo>
                    <a:pt x="1692" y="1095"/>
                  </a:lnTo>
                  <a:lnTo>
                    <a:pt x="1692" y="1097"/>
                  </a:lnTo>
                  <a:lnTo>
                    <a:pt x="1692" y="1097"/>
                  </a:lnTo>
                  <a:lnTo>
                    <a:pt x="1692" y="1097"/>
                  </a:lnTo>
                  <a:lnTo>
                    <a:pt x="1692" y="1097"/>
                  </a:lnTo>
                  <a:lnTo>
                    <a:pt x="1694" y="1097"/>
                  </a:lnTo>
                  <a:lnTo>
                    <a:pt x="1694" y="1097"/>
                  </a:lnTo>
                  <a:lnTo>
                    <a:pt x="1694" y="1095"/>
                  </a:lnTo>
                  <a:lnTo>
                    <a:pt x="1694" y="1095"/>
                  </a:lnTo>
                  <a:lnTo>
                    <a:pt x="1694" y="1092"/>
                  </a:lnTo>
                  <a:lnTo>
                    <a:pt x="1694" y="1092"/>
                  </a:lnTo>
                  <a:lnTo>
                    <a:pt x="1694" y="1092"/>
                  </a:lnTo>
                  <a:lnTo>
                    <a:pt x="1694" y="1092"/>
                  </a:lnTo>
                  <a:lnTo>
                    <a:pt x="1694" y="1092"/>
                  </a:lnTo>
                  <a:lnTo>
                    <a:pt x="1694" y="1090"/>
                  </a:lnTo>
                  <a:lnTo>
                    <a:pt x="1694" y="1090"/>
                  </a:lnTo>
                  <a:lnTo>
                    <a:pt x="1697" y="1088"/>
                  </a:lnTo>
                  <a:lnTo>
                    <a:pt x="1697" y="1085"/>
                  </a:lnTo>
                  <a:lnTo>
                    <a:pt x="1697" y="1085"/>
                  </a:lnTo>
                  <a:lnTo>
                    <a:pt x="1697" y="1085"/>
                  </a:lnTo>
                  <a:lnTo>
                    <a:pt x="1694" y="1085"/>
                  </a:lnTo>
                  <a:lnTo>
                    <a:pt x="1694" y="1085"/>
                  </a:lnTo>
                  <a:lnTo>
                    <a:pt x="1694" y="1083"/>
                  </a:lnTo>
                  <a:lnTo>
                    <a:pt x="1694" y="1083"/>
                  </a:lnTo>
                  <a:lnTo>
                    <a:pt x="1694" y="1083"/>
                  </a:lnTo>
                  <a:lnTo>
                    <a:pt x="1694" y="1085"/>
                  </a:lnTo>
                  <a:lnTo>
                    <a:pt x="1694" y="1085"/>
                  </a:lnTo>
                  <a:lnTo>
                    <a:pt x="1692" y="1088"/>
                  </a:lnTo>
                  <a:lnTo>
                    <a:pt x="1692" y="1088"/>
                  </a:lnTo>
                  <a:lnTo>
                    <a:pt x="1692" y="1088"/>
                  </a:lnTo>
                  <a:lnTo>
                    <a:pt x="1692" y="1088"/>
                  </a:lnTo>
                  <a:lnTo>
                    <a:pt x="1692" y="1088"/>
                  </a:lnTo>
                  <a:lnTo>
                    <a:pt x="1692" y="1088"/>
                  </a:lnTo>
                  <a:lnTo>
                    <a:pt x="1690" y="1088"/>
                  </a:lnTo>
                  <a:lnTo>
                    <a:pt x="1690" y="1088"/>
                  </a:lnTo>
                  <a:lnTo>
                    <a:pt x="1690" y="1090"/>
                  </a:lnTo>
                  <a:lnTo>
                    <a:pt x="1690" y="1090"/>
                  </a:lnTo>
                  <a:lnTo>
                    <a:pt x="1690" y="1090"/>
                  </a:lnTo>
                  <a:lnTo>
                    <a:pt x="1690" y="1090"/>
                  </a:lnTo>
                  <a:lnTo>
                    <a:pt x="1687" y="1092"/>
                  </a:lnTo>
                  <a:lnTo>
                    <a:pt x="1687" y="1090"/>
                  </a:lnTo>
                  <a:lnTo>
                    <a:pt x="1687" y="1090"/>
                  </a:lnTo>
                  <a:lnTo>
                    <a:pt x="1687" y="1090"/>
                  </a:lnTo>
                  <a:lnTo>
                    <a:pt x="1687" y="1090"/>
                  </a:lnTo>
                  <a:lnTo>
                    <a:pt x="1690" y="1090"/>
                  </a:lnTo>
                  <a:lnTo>
                    <a:pt x="1690" y="1090"/>
                  </a:lnTo>
                  <a:lnTo>
                    <a:pt x="1690" y="1088"/>
                  </a:lnTo>
                  <a:lnTo>
                    <a:pt x="1690" y="1088"/>
                  </a:lnTo>
                  <a:lnTo>
                    <a:pt x="1690" y="1088"/>
                  </a:lnTo>
                  <a:lnTo>
                    <a:pt x="1690" y="1088"/>
                  </a:lnTo>
                  <a:lnTo>
                    <a:pt x="1690" y="1088"/>
                  </a:lnTo>
                  <a:lnTo>
                    <a:pt x="1690" y="1088"/>
                  </a:lnTo>
                  <a:lnTo>
                    <a:pt x="1692" y="1085"/>
                  </a:lnTo>
                  <a:lnTo>
                    <a:pt x="1692" y="1085"/>
                  </a:lnTo>
                  <a:lnTo>
                    <a:pt x="1692" y="1085"/>
                  </a:lnTo>
                  <a:lnTo>
                    <a:pt x="1692" y="1085"/>
                  </a:lnTo>
                  <a:lnTo>
                    <a:pt x="1692" y="1085"/>
                  </a:lnTo>
                  <a:lnTo>
                    <a:pt x="1692" y="1085"/>
                  </a:lnTo>
                  <a:lnTo>
                    <a:pt x="1692" y="1083"/>
                  </a:lnTo>
                  <a:lnTo>
                    <a:pt x="1692" y="1083"/>
                  </a:lnTo>
                  <a:lnTo>
                    <a:pt x="1692" y="1083"/>
                  </a:lnTo>
                  <a:lnTo>
                    <a:pt x="1692" y="1083"/>
                  </a:lnTo>
                  <a:lnTo>
                    <a:pt x="1692" y="1083"/>
                  </a:lnTo>
                  <a:lnTo>
                    <a:pt x="1692" y="1081"/>
                  </a:lnTo>
                  <a:lnTo>
                    <a:pt x="1692" y="1081"/>
                  </a:lnTo>
                  <a:lnTo>
                    <a:pt x="1690" y="1081"/>
                  </a:lnTo>
                  <a:lnTo>
                    <a:pt x="1692" y="1078"/>
                  </a:lnTo>
                  <a:lnTo>
                    <a:pt x="1690" y="1078"/>
                  </a:lnTo>
                  <a:lnTo>
                    <a:pt x="1690" y="1076"/>
                  </a:lnTo>
                  <a:lnTo>
                    <a:pt x="1690" y="1076"/>
                  </a:lnTo>
                  <a:lnTo>
                    <a:pt x="1687" y="1076"/>
                  </a:lnTo>
                  <a:lnTo>
                    <a:pt x="1687" y="1076"/>
                  </a:lnTo>
                  <a:lnTo>
                    <a:pt x="1687" y="1074"/>
                  </a:lnTo>
                  <a:lnTo>
                    <a:pt x="1685" y="1074"/>
                  </a:lnTo>
                  <a:lnTo>
                    <a:pt x="1685" y="1071"/>
                  </a:lnTo>
                  <a:lnTo>
                    <a:pt x="1685" y="1074"/>
                  </a:lnTo>
                  <a:lnTo>
                    <a:pt x="1685" y="1074"/>
                  </a:lnTo>
                  <a:lnTo>
                    <a:pt x="1685" y="1074"/>
                  </a:lnTo>
                  <a:lnTo>
                    <a:pt x="1685" y="1076"/>
                  </a:lnTo>
                  <a:lnTo>
                    <a:pt x="1687" y="1076"/>
                  </a:lnTo>
                  <a:lnTo>
                    <a:pt x="1687" y="1076"/>
                  </a:lnTo>
                  <a:lnTo>
                    <a:pt x="1687" y="1078"/>
                  </a:lnTo>
                  <a:lnTo>
                    <a:pt x="1687" y="1078"/>
                  </a:lnTo>
                  <a:lnTo>
                    <a:pt x="1687" y="1078"/>
                  </a:lnTo>
                  <a:lnTo>
                    <a:pt x="1687" y="1078"/>
                  </a:lnTo>
                  <a:lnTo>
                    <a:pt x="1687" y="1078"/>
                  </a:lnTo>
                  <a:lnTo>
                    <a:pt x="1685" y="1078"/>
                  </a:lnTo>
                  <a:lnTo>
                    <a:pt x="1685" y="1078"/>
                  </a:lnTo>
                  <a:lnTo>
                    <a:pt x="1685" y="1076"/>
                  </a:lnTo>
                  <a:lnTo>
                    <a:pt x="1685" y="1076"/>
                  </a:lnTo>
                  <a:lnTo>
                    <a:pt x="1683" y="1074"/>
                  </a:lnTo>
                  <a:lnTo>
                    <a:pt x="1683" y="1074"/>
                  </a:lnTo>
                  <a:lnTo>
                    <a:pt x="1680" y="1076"/>
                  </a:lnTo>
                  <a:lnTo>
                    <a:pt x="1680" y="1076"/>
                  </a:lnTo>
                  <a:lnTo>
                    <a:pt x="1683" y="1078"/>
                  </a:lnTo>
                  <a:lnTo>
                    <a:pt x="1683" y="1078"/>
                  </a:lnTo>
                  <a:lnTo>
                    <a:pt x="1683" y="1081"/>
                  </a:lnTo>
                  <a:lnTo>
                    <a:pt x="1680" y="1081"/>
                  </a:lnTo>
                  <a:lnTo>
                    <a:pt x="1680" y="1078"/>
                  </a:lnTo>
                  <a:lnTo>
                    <a:pt x="1680" y="1078"/>
                  </a:lnTo>
                  <a:lnTo>
                    <a:pt x="1680" y="1076"/>
                  </a:lnTo>
                  <a:lnTo>
                    <a:pt x="1680" y="1076"/>
                  </a:lnTo>
                  <a:lnTo>
                    <a:pt x="1680" y="1076"/>
                  </a:lnTo>
                  <a:lnTo>
                    <a:pt x="1680" y="1076"/>
                  </a:lnTo>
                  <a:lnTo>
                    <a:pt x="1678" y="1076"/>
                  </a:lnTo>
                  <a:lnTo>
                    <a:pt x="1678" y="1076"/>
                  </a:lnTo>
                  <a:lnTo>
                    <a:pt x="1678" y="1076"/>
                  </a:lnTo>
                  <a:lnTo>
                    <a:pt x="1678" y="1078"/>
                  </a:lnTo>
                  <a:lnTo>
                    <a:pt x="1678" y="1081"/>
                  </a:lnTo>
                  <a:lnTo>
                    <a:pt x="1678" y="1081"/>
                  </a:lnTo>
                  <a:lnTo>
                    <a:pt x="1678" y="1083"/>
                  </a:lnTo>
                  <a:lnTo>
                    <a:pt x="1675" y="1083"/>
                  </a:lnTo>
                  <a:lnTo>
                    <a:pt x="1675" y="1083"/>
                  </a:lnTo>
                  <a:lnTo>
                    <a:pt x="1678" y="1085"/>
                  </a:lnTo>
                  <a:lnTo>
                    <a:pt x="1678" y="1085"/>
                  </a:lnTo>
                  <a:lnTo>
                    <a:pt x="1678" y="1085"/>
                  </a:lnTo>
                  <a:lnTo>
                    <a:pt x="1678" y="1088"/>
                  </a:lnTo>
                  <a:lnTo>
                    <a:pt x="1680" y="1088"/>
                  </a:lnTo>
                  <a:lnTo>
                    <a:pt x="1680" y="1088"/>
                  </a:lnTo>
                  <a:lnTo>
                    <a:pt x="1680" y="1085"/>
                  </a:lnTo>
                  <a:lnTo>
                    <a:pt x="1680" y="1085"/>
                  </a:lnTo>
                  <a:lnTo>
                    <a:pt x="1680" y="1085"/>
                  </a:lnTo>
                  <a:lnTo>
                    <a:pt x="1680" y="1085"/>
                  </a:lnTo>
                  <a:lnTo>
                    <a:pt x="1680" y="1088"/>
                  </a:lnTo>
                  <a:lnTo>
                    <a:pt x="1680" y="1088"/>
                  </a:lnTo>
                  <a:lnTo>
                    <a:pt x="1680" y="1088"/>
                  </a:lnTo>
                  <a:lnTo>
                    <a:pt x="1680" y="1088"/>
                  </a:lnTo>
                  <a:lnTo>
                    <a:pt x="1678" y="1088"/>
                  </a:lnTo>
                  <a:lnTo>
                    <a:pt x="1678" y="1090"/>
                  </a:lnTo>
                  <a:lnTo>
                    <a:pt x="1680" y="1090"/>
                  </a:lnTo>
                  <a:lnTo>
                    <a:pt x="1680" y="1090"/>
                  </a:lnTo>
                  <a:lnTo>
                    <a:pt x="1683" y="1090"/>
                  </a:lnTo>
                  <a:lnTo>
                    <a:pt x="1683" y="1090"/>
                  </a:lnTo>
                  <a:lnTo>
                    <a:pt x="1685" y="1090"/>
                  </a:lnTo>
                  <a:lnTo>
                    <a:pt x="1685" y="1090"/>
                  </a:lnTo>
                  <a:lnTo>
                    <a:pt x="1683" y="1090"/>
                  </a:lnTo>
                  <a:lnTo>
                    <a:pt x="1683" y="1090"/>
                  </a:lnTo>
                  <a:lnTo>
                    <a:pt x="1683" y="1090"/>
                  </a:lnTo>
                  <a:lnTo>
                    <a:pt x="1680" y="1090"/>
                  </a:lnTo>
                  <a:lnTo>
                    <a:pt x="1680" y="1090"/>
                  </a:lnTo>
                  <a:lnTo>
                    <a:pt x="1675" y="1092"/>
                  </a:lnTo>
                  <a:lnTo>
                    <a:pt x="1675" y="1092"/>
                  </a:lnTo>
                  <a:lnTo>
                    <a:pt x="1678" y="1092"/>
                  </a:lnTo>
                  <a:lnTo>
                    <a:pt x="1678" y="1092"/>
                  </a:lnTo>
                  <a:lnTo>
                    <a:pt x="1678" y="1092"/>
                  </a:lnTo>
                  <a:lnTo>
                    <a:pt x="1680" y="1095"/>
                  </a:lnTo>
                  <a:lnTo>
                    <a:pt x="1680" y="1095"/>
                  </a:lnTo>
                  <a:lnTo>
                    <a:pt x="1680" y="1097"/>
                  </a:lnTo>
                  <a:lnTo>
                    <a:pt x="1680" y="1097"/>
                  </a:lnTo>
                  <a:lnTo>
                    <a:pt x="1680" y="1097"/>
                  </a:lnTo>
                  <a:lnTo>
                    <a:pt x="1683" y="1097"/>
                  </a:lnTo>
                  <a:lnTo>
                    <a:pt x="1683" y="1095"/>
                  </a:lnTo>
                  <a:lnTo>
                    <a:pt x="1683" y="1095"/>
                  </a:lnTo>
                  <a:lnTo>
                    <a:pt x="1683" y="1095"/>
                  </a:lnTo>
                  <a:lnTo>
                    <a:pt x="1683" y="1097"/>
                  </a:lnTo>
                  <a:lnTo>
                    <a:pt x="1683" y="1097"/>
                  </a:lnTo>
                  <a:lnTo>
                    <a:pt x="1683" y="1097"/>
                  </a:lnTo>
                  <a:lnTo>
                    <a:pt x="1683" y="1097"/>
                  </a:lnTo>
                  <a:lnTo>
                    <a:pt x="1683" y="1100"/>
                  </a:lnTo>
                  <a:lnTo>
                    <a:pt x="1683" y="1100"/>
                  </a:lnTo>
                  <a:lnTo>
                    <a:pt x="1683" y="1100"/>
                  </a:lnTo>
                  <a:lnTo>
                    <a:pt x="1683" y="1100"/>
                  </a:lnTo>
                  <a:lnTo>
                    <a:pt x="1683" y="1100"/>
                  </a:lnTo>
                  <a:lnTo>
                    <a:pt x="1683" y="1100"/>
                  </a:lnTo>
                  <a:lnTo>
                    <a:pt x="1683" y="1100"/>
                  </a:lnTo>
                  <a:lnTo>
                    <a:pt x="1683" y="1102"/>
                  </a:lnTo>
                  <a:lnTo>
                    <a:pt x="1683" y="1102"/>
                  </a:lnTo>
                  <a:lnTo>
                    <a:pt x="1683" y="1102"/>
                  </a:lnTo>
                  <a:lnTo>
                    <a:pt x="1683" y="1104"/>
                  </a:lnTo>
                  <a:lnTo>
                    <a:pt x="1680" y="1104"/>
                  </a:lnTo>
                  <a:lnTo>
                    <a:pt x="1680" y="1104"/>
                  </a:lnTo>
                  <a:lnTo>
                    <a:pt x="1680" y="1104"/>
                  </a:lnTo>
                  <a:lnTo>
                    <a:pt x="1680" y="1104"/>
                  </a:lnTo>
                  <a:lnTo>
                    <a:pt x="1680" y="1104"/>
                  </a:lnTo>
                  <a:lnTo>
                    <a:pt x="1680" y="1104"/>
                  </a:lnTo>
                  <a:lnTo>
                    <a:pt x="1680" y="1102"/>
                  </a:lnTo>
                  <a:lnTo>
                    <a:pt x="1680" y="1102"/>
                  </a:lnTo>
                  <a:lnTo>
                    <a:pt x="1680" y="1102"/>
                  </a:lnTo>
                  <a:lnTo>
                    <a:pt x="1680" y="1104"/>
                  </a:lnTo>
                  <a:lnTo>
                    <a:pt x="1680" y="1104"/>
                  </a:lnTo>
                  <a:lnTo>
                    <a:pt x="1678" y="1104"/>
                  </a:lnTo>
                  <a:lnTo>
                    <a:pt x="1678" y="1104"/>
                  </a:lnTo>
                  <a:lnTo>
                    <a:pt x="1678" y="1102"/>
                  </a:lnTo>
                  <a:lnTo>
                    <a:pt x="1678" y="1102"/>
                  </a:lnTo>
                  <a:lnTo>
                    <a:pt x="1678" y="1100"/>
                  </a:lnTo>
                  <a:lnTo>
                    <a:pt x="1678" y="1100"/>
                  </a:lnTo>
                  <a:lnTo>
                    <a:pt x="1678" y="1100"/>
                  </a:lnTo>
                  <a:lnTo>
                    <a:pt x="1678" y="1102"/>
                  </a:lnTo>
                  <a:lnTo>
                    <a:pt x="1678" y="1102"/>
                  </a:lnTo>
                  <a:lnTo>
                    <a:pt x="1678" y="1102"/>
                  </a:lnTo>
                  <a:lnTo>
                    <a:pt x="1678" y="1102"/>
                  </a:lnTo>
                  <a:lnTo>
                    <a:pt x="1678" y="1102"/>
                  </a:lnTo>
                  <a:lnTo>
                    <a:pt x="1675" y="1102"/>
                  </a:lnTo>
                  <a:lnTo>
                    <a:pt x="1675" y="1102"/>
                  </a:lnTo>
                  <a:lnTo>
                    <a:pt x="1675" y="1102"/>
                  </a:lnTo>
                  <a:lnTo>
                    <a:pt x="1675" y="1102"/>
                  </a:lnTo>
                  <a:lnTo>
                    <a:pt x="1675" y="1104"/>
                  </a:lnTo>
                  <a:lnTo>
                    <a:pt x="1675" y="1104"/>
                  </a:lnTo>
                  <a:lnTo>
                    <a:pt x="1673" y="1104"/>
                  </a:lnTo>
                  <a:lnTo>
                    <a:pt x="1673" y="1104"/>
                  </a:lnTo>
                  <a:lnTo>
                    <a:pt x="1673" y="1104"/>
                  </a:lnTo>
                  <a:lnTo>
                    <a:pt x="1673" y="1104"/>
                  </a:lnTo>
                  <a:lnTo>
                    <a:pt x="1673" y="1107"/>
                  </a:lnTo>
                  <a:lnTo>
                    <a:pt x="1673" y="1107"/>
                  </a:lnTo>
                  <a:lnTo>
                    <a:pt x="1673" y="1107"/>
                  </a:lnTo>
                  <a:lnTo>
                    <a:pt x="1673" y="1107"/>
                  </a:lnTo>
                  <a:lnTo>
                    <a:pt x="1673" y="1107"/>
                  </a:lnTo>
                  <a:lnTo>
                    <a:pt x="1673" y="1107"/>
                  </a:lnTo>
                  <a:lnTo>
                    <a:pt x="1673" y="1107"/>
                  </a:lnTo>
                  <a:lnTo>
                    <a:pt x="1673" y="1107"/>
                  </a:lnTo>
                  <a:lnTo>
                    <a:pt x="1675" y="1107"/>
                  </a:lnTo>
                  <a:lnTo>
                    <a:pt x="1675" y="1107"/>
                  </a:lnTo>
                  <a:lnTo>
                    <a:pt x="1675" y="1107"/>
                  </a:lnTo>
                  <a:lnTo>
                    <a:pt x="1675" y="1107"/>
                  </a:lnTo>
                  <a:lnTo>
                    <a:pt x="1675" y="1107"/>
                  </a:lnTo>
                  <a:lnTo>
                    <a:pt x="1675" y="1107"/>
                  </a:lnTo>
                  <a:lnTo>
                    <a:pt x="1675" y="1107"/>
                  </a:lnTo>
                  <a:lnTo>
                    <a:pt x="1675" y="1109"/>
                  </a:lnTo>
                  <a:lnTo>
                    <a:pt x="1673" y="1109"/>
                  </a:lnTo>
                  <a:lnTo>
                    <a:pt x="1673" y="1109"/>
                  </a:lnTo>
                  <a:lnTo>
                    <a:pt x="1673" y="1109"/>
                  </a:lnTo>
                  <a:lnTo>
                    <a:pt x="1673" y="1109"/>
                  </a:lnTo>
                  <a:lnTo>
                    <a:pt x="1673" y="1109"/>
                  </a:lnTo>
                  <a:lnTo>
                    <a:pt x="1673" y="1109"/>
                  </a:lnTo>
                  <a:lnTo>
                    <a:pt x="1673" y="1111"/>
                  </a:lnTo>
                  <a:lnTo>
                    <a:pt x="1673" y="1111"/>
                  </a:lnTo>
                  <a:lnTo>
                    <a:pt x="1671" y="1114"/>
                  </a:lnTo>
                  <a:lnTo>
                    <a:pt x="1671" y="1114"/>
                  </a:lnTo>
                  <a:lnTo>
                    <a:pt x="1671" y="1114"/>
                  </a:lnTo>
                  <a:lnTo>
                    <a:pt x="1671" y="1114"/>
                  </a:lnTo>
                  <a:lnTo>
                    <a:pt x="1673" y="1114"/>
                  </a:lnTo>
                  <a:lnTo>
                    <a:pt x="1673" y="1116"/>
                  </a:lnTo>
                  <a:lnTo>
                    <a:pt x="1673" y="1116"/>
                  </a:lnTo>
                  <a:lnTo>
                    <a:pt x="1671" y="1116"/>
                  </a:lnTo>
                  <a:lnTo>
                    <a:pt x="1671" y="1116"/>
                  </a:lnTo>
                  <a:lnTo>
                    <a:pt x="1671" y="1118"/>
                  </a:lnTo>
                  <a:lnTo>
                    <a:pt x="1671" y="1118"/>
                  </a:lnTo>
                  <a:lnTo>
                    <a:pt x="1671" y="1118"/>
                  </a:lnTo>
                  <a:lnTo>
                    <a:pt x="1671" y="1118"/>
                  </a:lnTo>
                  <a:lnTo>
                    <a:pt x="1671" y="1118"/>
                  </a:lnTo>
                  <a:lnTo>
                    <a:pt x="1671" y="1121"/>
                  </a:lnTo>
                  <a:lnTo>
                    <a:pt x="1671" y="1121"/>
                  </a:lnTo>
                  <a:lnTo>
                    <a:pt x="1673" y="1121"/>
                  </a:lnTo>
                  <a:lnTo>
                    <a:pt x="1671" y="1123"/>
                  </a:lnTo>
                  <a:lnTo>
                    <a:pt x="1671" y="1123"/>
                  </a:lnTo>
                  <a:lnTo>
                    <a:pt x="1673" y="1126"/>
                  </a:lnTo>
                  <a:lnTo>
                    <a:pt x="1673" y="1126"/>
                  </a:lnTo>
                  <a:lnTo>
                    <a:pt x="1673" y="1123"/>
                  </a:lnTo>
                  <a:lnTo>
                    <a:pt x="1673" y="1123"/>
                  </a:lnTo>
                  <a:close/>
                  <a:moveTo>
                    <a:pt x="1664" y="1100"/>
                  </a:moveTo>
                  <a:lnTo>
                    <a:pt x="1664" y="1100"/>
                  </a:lnTo>
                  <a:lnTo>
                    <a:pt x="1664" y="1097"/>
                  </a:lnTo>
                  <a:lnTo>
                    <a:pt x="1664" y="1097"/>
                  </a:lnTo>
                  <a:lnTo>
                    <a:pt x="1664" y="1095"/>
                  </a:lnTo>
                  <a:lnTo>
                    <a:pt x="1664" y="1095"/>
                  </a:lnTo>
                  <a:lnTo>
                    <a:pt x="1666" y="1095"/>
                  </a:lnTo>
                  <a:lnTo>
                    <a:pt x="1666" y="1092"/>
                  </a:lnTo>
                  <a:lnTo>
                    <a:pt x="1666" y="1090"/>
                  </a:lnTo>
                  <a:lnTo>
                    <a:pt x="1666" y="1088"/>
                  </a:lnTo>
                  <a:lnTo>
                    <a:pt x="1666" y="1088"/>
                  </a:lnTo>
                  <a:lnTo>
                    <a:pt x="1666" y="1088"/>
                  </a:lnTo>
                  <a:lnTo>
                    <a:pt x="1666" y="1088"/>
                  </a:lnTo>
                  <a:lnTo>
                    <a:pt x="1666" y="1090"/>
                  </a:lnTo>
                  <a:lnTo>
                    <a:pt x="1666" y="1090"/>
                  </a:lnTo>
                  <a:lnTo>
                    <a:pt x="1666" y="1090"/>
                  </a:lnTo>
                  <a:lnTo>
                    <a:pt x="1666" y="1090"/>
                  </a:lnTo>
                  <a:lnTo>
                    <a:pt x="1666" y="1090"/>
                  </a:lnTo>
                  <a:lnTo>
                    <a:pt x="1668" y="1090"/>
                  </a:lnTo>
                  <a:lnTo>
                    <a:pt x="1668" y="1088"/>
                  </a:lnTo>
                  <a:lnTo>
                    <a:pt x="1671" y="1081"/>
                  </a:lnTo>
                  <a:lnTo>
                    <a:pt x="1671" y="1081"/>
                  </a:lnTo>
                  <a:lnTo>
                    <a:pt x="1671" y="1078"/>
                  </a:lnTo>
                  <a:lnTo>
                    <a:pt x="1671" y="1078"/>
                  </a:lnTo>
                  <a:lnTo>
                    <a:pt x="1671" y="1078"/>
                  </a:lnTo>
                  <a:lnTo>
                    <a:pt x="1671" y="1076"/>
                  </a:lnTo>
                  <a:lnTo>
                    <a:pt x="1671" y="1074"/>
                  </a:lnTo>
                  <a:lnTo>
                    <a:pt x="1671" y="1074"/>
                  </a:lnTo>
                  <a:lnTo>
                    <a:pt x="1671" y="1071"/>
                  </a:lnTo>
                  <a:lnTo>
                    <a:pt x="1671" y="1069"/>
                  </a:lnTo>
                  <a:lnTo>
                    <a:pt x="1671" y="1069"/>
                  </a:lnTo>
                  <a:lnTo>
                    <a:pt x="1671" y="1069"/>
                  </a:lnTo>
                  <a:lnTo>
                    <a:pt x="1671" y="1069"/>
                  </a:lnTo>
                  <a:lnTo>
                    <a:pt x="1671" y="1066"/>
                  </a:lnTo>
                  <a:lnTo>
                    <a:pt x="1671" y="1066"/>
                  </a:lnTo>
                  <a:lnTo>
                    <a:pt x="1671" y="1066"/>
                  </a:lnTo>
                  <a:lnTo>
                    <a:pt x="1671" y="1064"/>
                  </a:lnTo>
                  <a:lnTo>
                    <a:pt x="1671" y="1064"/>
                  </a:lnTo>
                  <a:lnTo>
                    <a:pt x="1671" y="1064"/>
                  </a:lnTo>
                  <a:lnTo>
                    <a:pt x="1671" y="1064"/>
                  </a:lnTo>
                  <a:lnTo>
                    <a:pt x="1671" y="1064"/>
                  </a:lnTo>
                  <a:lnTo>
                    <a:pt x="1671" y="1064"/>
                  </a:lnTo>
                  <a:lnTo>
                    <a:pt x="1671" y="1062"/>
                  </a:lnTo>
                  <a:lnTo>
                    <a:pt x="1671" y="1062"/>
                  </a:lnTo>
                  <a:lnTo>
                    <a:pt x="1673" y="1062"/>
                  </a:lnTo>
                  <a:lnTo>
                    <a:pt x="1673" y="1062"/>
                  </a:lnTo>
                  <a:lnTo>
                    <a:pt x="1671" y="1059"/>
                  </a:lnTo>
                  <a:lnTo>
                    <a:pt x="1671" y="1059"/>
                  </a:lnTo>
                  <a:lnTo>
                    <a:pt x="1671" y="1059"/>
                  </a:lnTo>
                  <a:lnTo>
                    <a:pt x="1671" y="1059"/>
                  </a:lnTo>
                  <a:lnTo>
                    <a:pt x="1671" y="1057"/>
                  </a:lnTo>
                  <a:lnTo>
                    <a:pt x="1671" y="1057"/>
                  </a:lnTo>
                  <a:lnTo>
                    <a:pt x="1671" y="1057"/>
                  </a:lnTo>
                  <a:lnTo>
                    <a:pt x="1673" y="1055"/>
                  </a:lnTo>
                  <a:lnTo>
                    <a:pt x="1673" y="1055"/>
                  </a:lnTo>
                  <a:lnTo>
                    <a:pt x="1673" y="1052"/>
                  </a:lnTo>
                  <a:lnTo>
                    <a:pt x="1671" y="1052"/>
                  </a:lnTo>
                  <a:lnTo>
                    <a:pt x="1673" y="1052"/>
                  </a:lnTo>
                  <a:lnTo>
                    <a:pt x="1673" y="1052"/>
                  </a:lnTo>
                  <a:lnTo>
                    <a:pt x="1673" y="1050"/>
                  </a:lnTo>
                  <a:lnTo>
                    <a:pt x="1673" y="1050"/>
                  </a:lnTo>
                  <a:lnTo>
                    <a:pt x="1673" y="1050"/>
                  </a:lnTo>
                  <a:lnTo>
                    <a:pt x="1673" y="1050"/>
                  </a:lnTo>
                  <a:lnTo>
                    <a:pt x="1671" y="1050"/>
                  </a:lnTo>
                  <a:lnTo>
                    <a:pt x="1671" y="1048"/>
                  </a:lnTo>
                  <a:lnTo>
                    <a:pt x="1671" y="1048"/>
                  </a:lnTo>
                  <a:lnTo>
                    <a:pt x="1671" y="1048"/>
                  </a:lnTo>
                  <a:lnTo>
                    <a:pt x="1671" y="1048"/>
                  </a:lnTo>
                  <a:lnTo>
                    <a:pt x="1671" y="1048"/>
                  </a:lnTo>
                  <a:lnTo>
                    <a:pt x="1671" y="1045"/>
                  </a:lnTo>
                  <a:lnTo>
                    <a:pt x="1671" y="1045"/>
                  </a:lnTo>
                  <a:lnTo>
                    <a:pt x="1671" y="1045"/>
                  </a:lnTo>
                  <a:lnTo>
                    <a:pt x="1668" y="1045"/>
                  </a:lnTo>
                  <a:lnTo>
                    <a:pt x="1671" y="1045"/>
                  </a:lnTo>
                  <a:lnTo>
                    <a:pt x="1671" y="1045"/>
                  </a:lnTo>
                  <a:lnTo>
                    <a:pt x="1671" y="1045"/>
                  </a:lnTo>
                  <a:lnTo>
                    <a:pt x="1671" y="1045"/>
                  </a:lnTo>
                  <a:lnTo>
                    <a:pt x="1671" y="1043"/>
                  </a:lnTo>
                  <a:lnTo>
                    <a:pt x="1671" y="1043"/>
                  </a:lnTo>
                  <a:lnTo>
                    <a:pt x="1671" y="1043"/>
                  </a:lnTo>
                  <a:lnTo>
                    <a:pt x="1673" y="1045"/>
                  </a:lnTo>
                  <a:lnTo>
                    <a:pt x="1673" y="1045"/>
                  </a:lnTo>
                  <a:lnTo>
                    <a:pt x="1671" y="1040"/>
                  </a:lnTo>
                  <a:lnTo>
                    <a:pt x="1671" y="1040"/>
                  </a:lnTo>
                  <a:lnTo>
                    <a:pt x="1668" y="1040"/>
                  </a:lnTo>
                  <a:lnTo>
                    <a:pt x="1668" y="1038"/>
                  </a:lnTo>
                  <a:lnTo>
                    <a:pt x="1668" y="1038"/>
                  </a:lnTo>
                  <a:lnTo>
                    <a:pt x="1668" y="1036"/>
                  </a:lnTo>
                  <a:lnTo>
                    <a:pt x="1666" y="1036"/>
                  </a:lnTo>
                  <a:lnTo>
                    <a:pt x="1666" y="1036"/>
                  </a:lnTo>
                  <a:lnTo>
                    <a:pt x="1666" y="1036"/>
                  </a:lnTo>
                  <a:lnTo>
                    <a:pt x="1666" y="1036"/>
                  </a:lnTo>
                  <a:lnTo>
                    <a:pt x="1666" y="1036"/>
                  </a:lnTo>
                  <a:lnTo>
                    <a:pt x="1668" y="1036"/>
                  </a:lnTo>
                  <a:lnTo>
                    <a:pt x="1666" y="1033"/>
                  </a:lnTo>
                  <a:lnTo>
                    <a:pt x="1666" y="1033"/>
                  </a:lnTo>
                  <a:lnTo>
                    <a:pt x="1666" y="1033"/>
                  </a:lnTo>
                  <a:lnTo>
                    <a:pt x="1664" y="1033"/>
                  </a:lnTo>
                  <a:lnTo>
                    <a:pt x="1664" y="1033"/>
                  </a:lnTo>
                  <a:lnTo>
                    <a:pt x="1664" y="1033"/>
                  </a:lnTo>
                  <a:lnTo>
                    <a:pt x="1664" y="1033"/>
                  </a:lnTo>
                  <a:lnTo>
                    <a:pt x="1664" y="1033"/>
                  </a:lnTo>
                  <a:lnTo>
                    <a:pt x="1661" y="1033"/>
                  </a:lnTo>
                  <a:lnTo>
                    <a:pt x="1661" y="1033"/>
                  </a:lnTo>
                  <a:lnTo>
                    <a:pt x="1659" y="1033"/>
                  </a:lnTo>
                  <a:lnTo>
                    <a:pt x="1659" y="1033"/>
                  </a:lnTo>
                  <a:lnTo>
                    <a:pt x="1661" y="1033"/>
                  </a:lnTo>
                  <a:lnTo>
                    <a:pt x="1664" y="1033"/>
                  </a:lnTo>
                  <a:lnTo>
                    <a:pt x="1664" y="1031"/>
                  </a:lnTo>
                  <a:lnTo>
                    <a:pt x="1664" y="1029"/>
                  </a:lnTo>
                  <a:lnTo>
                    <a:pt x="1661" y="1029"/>
                  </a:lnTo>
                  <a:lnTo>
                    <a:pt x="1661" y="1029"/>
                  </a:lnTo>
                  <a:lnTo>
                    <a:pt x="1659" y="1029"/>
                  </a:lnTo>
                  <a:lnTo>
                    <a:pt x="1659" y="1029"/>
                  </a:lnTo>
                  <a:lnTo>
                    <a:pt x="1659" y="1029"/>
                  </a:lnTo>
                  <a:lnTo>
                    <a:pt x="1657" y="1029"/>
                  </a:lnTo>
                  <a:lnTo>
                    <a:pt x="1657" y="1029"/>
                  </a:lnTo>
                  <a:lnTo>
                    <a:pt x="1657" y="1029"/>
                  </a:lnTo>
                  <a:lnTo>
                    <a:pt x="1657" y="1031"/>
                  </a:lnTo>
                  <a:lnTo>
                    <a:pt x="1657" y="1031"/>
                  </a:lnTo>
                  <a:lnTo>
                    <a:pt x="1657" y="1031"/>
                  </a:lnTo>
                  <a:lnTo>
                    <a:pt x="1657" y="1031"/>
                  </a:lnTo>
                  <a:lnTo>
                    <a:pt x="1657" y="1031"/>
                  </a:lnTo>
                  <a:lnTo>
                    <a:pt x="1657" y="1031"/>
                  </a:lnTo>
                  <a:lnTo>
                    <a:pt x="1657" y="1033"/>
                  </a:lnTo>
                  <a:lnTo>
                    <a:pt x="1657" y="1033"/>
                  </a:lnTo>
                  <a:lnTo>
                    <a:pt x="1657" y="1033"/>
                  </a:lnTo>
                  <a:lnTo>
                    <a:pt x="1654" y="1033"/>
                  </a:lnTo>
                  <a:lnTo>
                    <a:pt x="1654" y="1033"/>
                  </a:lnTo>
                  <a:lnTo>
                    <a:pt x="1654" y="1033"/>
                  </a:lnTo>
                  <a:lnTo>
                    <a:pt x="1654" y="1033"/>
                  </a:lnTo>
                  <a:lnTo>
                    <a:pt x="1652" y="1036"/>
                  </a:lnTo>
                  <a:lnTo>
                    <a:pt x="1652" y="1036"/>
                  </a:lnTo>
                  <a:lnTo>
                    <a:pt x="1654" y="1036"/>
                  </a:lnTo>
                  <a:lnTo>
                    <a:pt x="1654" y="1036"/>
                  </a:lnTo>
                  <a:lnTo>
                    <a:pt x="1654" y="1036"/>
                  </a:lnTo>
                  <a:lnTo>
                    <a:pt x="1657" y="1038"/>
                  </a:lnTo>
                  <a:lnTo>
                    <a:pt x="1657" y="1038"/>
                  </a:lnTo>
                  <a:lnTo>
                    <a:pt x="1657" y="1038"/>
                  </a:lnTo>
                  <a:lnTo>
                    <a:pt x="1657" y="1038"/>
                  </a:lnTo>
                  <a:lnTo>
                    <a:pt x="1652" y="1036"/>
                  </a:lnTo>
                  <a:lnTo>
                    <a:pt x="1652" y="1036"/>
                  </a:lnTo>
                  <a:lnTo>
                    <a:pt x="1649" y="1036"/>
                  </a:lnTo>
                  <a:lnTo>
                    <a:pt x="1649" y="1036"/>
                  </a:lnTo>
                  <a:lnTo>
                    <a:pt x="1649" y="1036"/>
                  </a:lnTo>
                  <a:lnTo>
                    <a:pt x="1649" y="1038"/>
                  </a:lnTo>
                  <a:lnTo>
                    <a:pt x="1649" y="1038"/>
                  </a:lnTo>
                  <a:lnTo>
                    <a:pt x="1652" y="1040"/>
                  </a:lnTo>
                  <a:lnTo>
                    <a:pt x="1652" y="1043"/>
                  </a:lnTo>
                  <a:lnTo>
                    <a:pt x="1652" y="1045"/>
                  </a:lnTo>
                  <a:lnTo>
                    <a:pt x="1652" y="1045"/>
                  </a:lnTo>
                  <a:lnTo>
                    <a:pt x="1654" y="1043"/>
                  </a:lnTo>
                  <a:lnTo>
                    <a:pt x="1654" y="1043"/>
                  </a:lnTo>
                  <a:lnTo>
                    <a:pt x="1654" y="1045"/>
                  </a:lnTo>
                  <a:lnTo>
                    <a:pt x="1657" y="1045"/>
                  </a:lnTo>
                  <a:lnTo>
                    <a:pt x="1659" y="1045"/>
                  </a:lnTo>
                  <a:lnTo>
                    <a:pt x="1657" y="1048"/>
                  </a:lnTo>
                  <a:lnTo>
                    <a:pt x="1657" y="1048"/>
                  </a:lnTo>
                  <a:lnTo>
                    <a:pt x="1657" y="1048"/>
                  </a:lnTo>
                  <a:lnTo>
                    <a:pt x="1654" y="1048"/>
                  </a:lnTo>
                  <a:lnTo>
                    <a:pt x="1654" y="1050"/>
                  </a:lnTo>
                  <a:lnTo>
                    <a:pt x="1654" y="1050"/>
                  </a:lnTo>
                  <a:lnTo>
                    <a:pt x="1654" y="1050"/>
                  </a:lnTo>
                  <a:lnTo>
                    <a:pt x="1654" y="1050"/>
                  </a:lnTo>
                  <a:lnTo>
                    <a:pt x="1657" y="1050"/>
                  </a:lnTo>
                  <a:lnTo>
                    <a:pt x="1657" y="1050"/>
                  </a:lnTo>
                  <a:lnTo>
                    <a:pt x="1657" y="1050"/>
                  </a:lnTo>
                  <a:lnTo>
                    <a:pt x="1659" y="1050"/>
                  </a:lnTo>
                  <a:lnTo>
                    <a:pt x="1659" y="1050"/>
                  </a:lnTo>
                  <a:lnTo>
                    <a:pt x="1659" y="1050"/>
                  </a:lnTo>
                  <a:lnTo>
                    <a:pt x="1657" y="1050"/>
                  </a:lnTo>
                  <a:lnTo>
                    <a:pt x="1657" y="1050"/>
                  </a:lnTo>
                  <a:lnTo>
                    <a:pt x="1654" y="1052"/>
                  </a:lnTo>
                  <a:lnTo>
                    <a:pt x="1654" y="1052"/>
                  </a:lnTo>
                  <a:lnTo>
                    <a:pt x="1654" y="1055"/>
                  </a:lnTo>
                  <a:lnTo>
                    <a:pt x="1654" y="1057"/>
                  </a:lnTo>
                  <a:lnTo>
                    <a:pt x="1657" y="1057"/>
                  </a:lnTo>
                  <a:lnTo>
                    <a:pt x="1657" y="1057"/>
                  </a:lnTo>
                  <a:lnTo>
                    <a:pt x="1659" y="1057"/>
                  </a:lnTo>
                  <a:lnTo>
                    <a:pt x="1659" y="1057"/>
                  </a:lnTo>
                  <a:lnTo>
                    <a:pt x="1659" y="1059"/>
                  </a:lnTo>
                  <a:lnTo>
                    <a:pt x="1659" y="1059"/>
                  </a:lnTo>
                  <a:lnTo>
                    <a:pt x="1657" y="1059"/>
                  </a:lnTo>
                  <a:lnTo>
                    <a:pt x="1657" y="1059"/>
                  </a:lnTo>
                  <a:lnTo>
                    <a:pt x="1657" y="1059"/>
                  </a:lnTo>
                  <a:lnTo>
                    <a:pt x="1657" y="1059"/>
                  </a:lnTo>
                  <a:lnTo>
                    <a:pt x="1657" y="1059"/>
                  </a:lnTo>
                  <a:lnTo>
                    <a:pt x="1654" y="1059"/>
                  </a:lnTo>
                  <a:lnTo>
                    <a:pt x="1654" y="1059"/>
                  </a:lnTo>
                  <a:lnTo>
                    <a:pt x="1654" y="1059"/>
                  </a:lnTo>
                  <a:lnTo>
                    <a:pt x="1654" y="1059"/>
                  </a:lnTo>
                  <a:lnTo>
                    <a:pt x="1652" y="1059"/>
                  </a:lnTo>
                  <a:lnTo>
                    <a:pt x="1652" y="1062"/>
                  </a:lnTo>
                  <a:lnTo>
                    <a:pt x="1652" y="1062"/>
                  </a:lnTo>
                  <a:lnTo>
                    <a:pt x="1652" y="1062"/>
                  </a:lnTo>
                  <a:lnTo>
                    <a:pt x="1652" y="1062"/>
                  </a:lnTo>
                  <a:lnTo>
                    <a:pt x="1652" y="1062"/>
                  </a:lnTo>
                  <a:lnTo>
                    <a:pt x="1652" y="1062"/>
                  </a:lnTo>
                  <a:lnTo>
                    <a:pt x="1652" y="1064"/>
                  </a:lnTo>
                  <a:lnTo>
                    <a:pt x="1652" y="1064"/>
                  </a:lnTo>
                  <a:lnTo>
                    <a:pt x="1652" y="1064"/>
                  </a:lnTo>
                  <a:lnTo>
                    <a:pt x="1652" y="1064"/>
                  </a:lnTo>
                  <a:lnTo>
                    <a:pt x="1652" y="1064"/>
                  </a:lnTo>
                  <a:lnTo>
                    <a:pt x="1652" y="1064"/>
                  </a:lnTo>
                  <a:lnTo>
                    <a:pt x="1652" y="1064"/>
                  </a:lnTo>
                  <a:lnTo>
                    <a:pt x="1649" y="1064"/>
                  </a:lnTo>
                  <a:lnTo>
                    <a:pt x="1649" y="1069"/>
                  </a:lnTo>
                  <a:lnTo>
                    <a:pt x="1649" y="1069"/>
                  </a:lnTo>
                  <a:lnTo>
                    <a:pt x="1652" y="1069"/>
                  </a:lnTo>
                  <a:lnTo>
                    <a:pt x="1652" y="1069"/>
                  </a:lnTo>
                  <a:lnTo>
                    <a:pt x="1649" y="1069"/>
                  </a:lnTo>
                  <a:lnTo>
                    <a:pt x="1652" y="1071"/>
                  </a:lnTo>
                  <a:lnTo>
                    <a:pt x="1654" y="1069"/>
                  </a:lnTo>
                  <a:lnTo>
                    <a:pt x="1657" y="1069"/>
                  </a:lnTo>
                  <a:lnTo>
                    <a:pt x="1657" y="1071"/>
                  </a:lnTo>
                  <a:lnTo>
                    <a:pt x="1657" y="1071"/>
                  </a:lnTo>
                  <a:lnTo>
                    <a:pt x="1657" y="1071"/>
                  </a:lnTo>
                  <a:lnTo>
                    <a:pt x="1657" y="1071"/>
                  </a:lnTo>
                  <a:lnTo>
                    <a:pt x="1654" y="1071"/>
                  </a:lnTo>
                  <a:lnTo>
                    <a:pt x="1654" y="1071"/>
                  </a:lnTo>
                  <a:lnTo>
                    <a:pt x="1654" y="1074"/>
                  </a:lnTo>
                  <a:lnTo>
                    <a:pt x="1654" y="1074"/>
                  </a:lnTo>
                  <a:lnTo>
                    <a:pt x="1654" y="1074"/>
                  </a:lnTo>
                  <a:lnTo>
                    <a:pt x="1654" y="1074"/>
                  </a:lnTo>
                  <a:lnTo>
                    <a:pt x="1654" y="1074"/>
                  </a:lnTo>
                  <a:lnTo>
                    <a:pt x="1654" y="1076"/>
                  </a:lnTo>
                  <a:lnTo>
                    <a:pt x="1654" y="1076"/>
                  </a:lnTo>
                  <a:lnTo>
                    <a:pt x="1652" y="1076"/>
                  </a:lnTo>
                  <a:lnTo>
                    <a:pt x="1652" y="1076"/>
                  </a:lnTo>
                  <a:lnTo>
                    <a:pt x="1652" y="1076"/>
                  </a:lnTo>
                  <a:lnTo>
                    <a:pt x="1652" y="1078"/>
                  </a:lnTo>
                  <a:lnTo>
                    <a:pt x="1652" y="1078"/>
                  </a:lnTo>
                  <a:lnTo>
                    <a:pt x="1652" y="1078"/>
                  </a:lnTo>
                  <a:lnTo>
                    <a:pt x="1654" y="1078"/>
                  </a:lnTo>
                  <a:lnTo>
                    <a:pt x="1654" y="1078"/>
                  </a:lnTo>
                  <a:lnTo>
                    <a:pt x="1659" y="1074"/>
                  </a:lnTo>
                  <a:lnTo>
                    <a:pt x="1659" y="1074"/>
                  </a:lnTo>
                  <a:lnTo>
                    <a:pt x="1659" y="1074"/>
                  </a:lnTo>
                  <a:lnTo>
                    <a:pt x="1659" y="1074"/>
                  </a:lnTo>
                  <a:lnTo>
                    <a:pt x="1659" y="1076"/>
                  </a:lnTo>
                  <a:lnTo>
                    <a:pt x="1659" y="1076"/>
                  </a:lnTo>
                  <a:lnTo>
                    <a:pt x="1659" y="1076"/>
                  </a:lnTo>
                  <a:lnTo>
                    <a:pt x="1657" y="1076"/>
                  </a:lnTo>
                  <a:lnTo>
                    <a:pt x="1654" y="1078"/>
                  </a:lnTo>
                  <a:lnTo>
                    <a:pt x="1654" y="1078"/>
                  </a:lnTo>
                  <a:lnTo>
                    <a:pt x="1654" y="1078"/>
                  </a:lnTo>
                  <a:lnTo>
                    <a:pt x="1654" y="1081"/>
                  </a:lnTo>
                  <a:lnTo>
                    <a:pt x="1654" y="1081"/>
                  </a:lnTo>
                  <a:lnTo>
                    <a:pt x="1654" y="1083"/>
                  </a:lnTo>
                  <a:lnTo>
                    <a:pt x="1654" y="1083"/>
                  </a:lnTo>
                  <a:lnTo>
                    <a:pt x="1654" y="1083"/>
                  </a:lnTo>
                  <a:lnTo>
                    <a:pt x="1654" y="1083"/>
                  </a:lnTo>
                  <a:lnTo>
                    <a:pt x="1657" y="1081"/>
                  </a:lnTo>
                  <a:lnTo>
                    <a:pt x="1657" y="1081"/>
                  </a:lnTo>
                  <a:lnTo>
                    <a:pt x="1659" y="1078"/>
                  </a:lnTo>
                  <a:lnTo>
                    <a:pt x="1659" y="1078"/>
                  </a:lnTo>
                  <a:lnTo>
                    <a:pt x="1659" y="1078"/>
                  </a:lnTo>
                  <a:lnTo>
                    <a:pt x="1661" y="1078"/>
                  </a:lnTo>
                  <a:lnTo>
                    <a:pt x="1659" y="1078"/>
                  </a:lnTo>
                  <a:lnTo>
                    <a:pt x="1659" y="1078"/>
                  </a:lnTo>
                  <a:lnTo>
                    <a:pt x="1659" y="1078"/>
                  </a:lnTo>
                  <a:lnTo>
                    <a:pt x="1659" y="1081"/>
                  </a:lnTo>
                  <a:lnTo>
                    <a:pt x="1657" y="1081"/>
                  </a:lnTo>
                  <a:lnTo>
                    <a:pt x="1657" y="1083"/>
                  </a:lnTo>
                  <a:lnTo>
                    <a:pt x="1659" y="1083"/>
                  </a:lnTo>
                  <a:lnTo>
                    <a:pt x="1659" y="1083"/>
                  </a:lnTo>
                  <a:lnTo>
                    <a:pt x="1659" y="1083"/>
                  </a:lnTo>
                  <a:lnTo>
                    <a:pt x="1661" y="1081"/>
                  </a:lnTo>
                  <a:lnTo>
                    <a:pt x="1661" y="1081"/>
                  </a:lnTo>
                  <a:lnTo>
                    <a:pt x="1661" y="1081"/>
                  </a:lnTo>
                  <a:lnTo>
                    <a:pt x="1661" y="1081"/>
                  </a:lnTo>
                  <a:lnTo>
                    <a:pt x="1664" y="1081"/>
                  </a:lnTo>
                  <a:lnTo>
                    <a:pt x="1659" y="1083"/>
                  </a:lnTo>
                  <a:lnTo>
                    <a:pt x="1659" y="1083"/>
                  </a:lnTo>
                  <a:lnTo>
                    <a:pt x="1659" y="1085"/>
                  </a:lnTo>
                  <a:lnTo>
                    <a:pt x="1657" y="1085"/>
                  </a:lnTo>
                  <a:lnTo>
                    <a:pt x="1657" y="1085"/>
                  </a:lnTo>
                  <a:lnTo>
                    <a:pt x="1657" y="1085"/>
                  </a:lnTo>
                  <a:lnTo>
                    <a:pt x="1654" y="1085"/>
                  </a:lnTo>
                  <a:lnTo>
                    <a:pt x="1654" y="1085"/>
                  </a:lnTo>
                  <a:lnTo>
                    <a:pt x="1654" y="1085"/>
                  </a:lnTo>
                  <a:lnTo>
                    <a:pt x="1654" y="1085"/>
                  </a:lnTo>
                  <a:lnTo>
                    <a:pt x="1654" y="1085"/>
                  </a:lnTo>
                  <a:lnTo>
                    <a:pt x="1654" y="1085"/>
                  </a:lnTo>
                  <a:lnTo>
                    <a:pt x="1654" y="1085"/>
                  </a:lnTo>
                  <a:lnTo>
                    <a:pt x="1654" y="1085"/>
                  </a:lnTo>
                  <a:lnTo>
                    <a:pt x="1654" y="1088"/>
                  </a:lnTo>
                  <a:lnTo>
                    <a:pt x="1654" y="1088"/>
                  </a:lnTo>
                  <a:lnTo>
                    <a:pt x="1654" y="1090"/>
                  </a:lnTo>
                  <a:lnTo>
                    <a:pt x="1654" y="1090"/>
                  </a:lnTo>
                  <a:lnTo>
                    <a:pt x="1654" y="1095"/>
                  </a:lnTo>
                  <a:lnTo>
                    <a:pt x="1654" y="1095"/>
                  </a:lnTo>
                  <a:lnTo>
                    <a:pt x="1654" y="1095"/>
                  </a:lnTo>
                  <a:lnTo>
                    <a:pt x="1654" y="1095"/>
                  </a:lnTo>
                  <a:lnTo>
                    <a:pt x="1654" y="1097"/>
                  </a:lnTo>
                  <a:lnTo>
                    <a:pt x="1654" y="1097"/>
                  </a:lnTo>
                  <a:lnTo>
                    <a:pt x="1657" y="1097"/>
                  </a:lnTo>
                  <a:lnTo>
                    <a:pt x="1657" y="1097"/>
                  </a:lnTo>
                  <a:lnTo>
                    <a:pt x="1654" y="1100"/>
                  </a:lnTo>
                  <a:lnTo>
                    <a:pt x="1657" y="1100"/>
                  </a:lnTo>
                  <a:lnTo>
                    <a:pt x="1657" y="1100"/>
                  </a:lnTo>
                  <a:lnTo>
                    <a:pt x="1657" y="1100"/>
                  </a:lnTo>
                  <a:lnTo>
                    <a:pt x="1657" y="1102"/>
                  </a:lnTo>
                  <a:lnTo>
                    <a:pt x="1657" y="1102"/>
                  </a:lnTo>
                  <a:lnTo>
                    <a:pt x="1657" y="1102"/>
                  </a:lnTo>
                  <a:lnTo>
                    <a:pt x="1657" y="1102"/>
                  </a:lnTo>
                  <a:lnTo>
                    <a:pt x="1657" y="1102"/>
                  </a:lnTo>
                  <a:lnTo>
                    <a:pt x="1657" y="1102"/>
                  </a:lnTo>
                  <a:lnTo>
                    <a:pt x="1657" y="1104"/>
                  </a:lnTo>
                  <a:lnTo>
                    <a:pt x="1657" y="1104"/>
                  </a:lnTo>
                  <a:lnTo>
                    <a:pt x="1657" y="1104"/>
                  </a:lnTo>
                  <a:lnTo>
                    <a:pt x="1657" y="1104"/>
                  </a:lnTo>
                  <a:lnTo>
                    <a:pt x="1657" y="1107"/>
                  </a:lnTo>
                  <a:lnTo>
                    <a:pt x="1657" y="1107"/>
                  </a:lnTo>
                  <a:lnTo>
                    <a:pt x="1657" y="1107"/>
                  </a:lnTo>
                  <a:lnTo>
                    <a:pt x="1657" y="1107"/>
                  </a:lnTo>
                  <a:lnTo>
                    <a:pt x="1659" y="1107"/>
                  </a:lnTo>
                  <a:lnTo>
                    <a:pt x="1659" y="1107"/>
                  </a:lnTo>
                  <a:lnTo>
                    <a:pt x="1659" y="1107"/>
                  </a:lnTo>
                  <a:lnTo>
                    <a:pt x="1659" y="1107"/>
                  </a:lnTo>
                  <a:lnTo>
                    <a:pt x="1659" y="1107"/>
                  </a:lnTo>
                  <a:lnTo>
                    <a:pt x="1659" y="1107"/>
                  </a:lnTo>
                  <a:lnTo>
                    <a:pt x="1659" y="1107"/>
                  </a:lnTo>
                  <a:lnTo>
                    <a:pt x="1659" y="1109"/>
                  </a:lnTo>
                  <a:lnTo>
                    <a:pt x="1659" y="1109"/>
                  </a:lnTo>
                  <a:lnTo>
                    <a:pt x="1659" y="1109"/>
                  </a:lnTo>
                  <a:lnTo>
                    <a:pt x="1659" y="1109"/>
                  </a:lnTo>
                  <a:lnTo>
                    <a:pt x="1661" y="1109"/>
                  </a:lnTo>
                  <a:lnTo>
                    <a:pt x="1661" y="1107"/>
                  </a:lnTo>
                  <a:lnTo>
                    <a:pt x="1661" y="1107"/>
                  </a:lnTo>
                  <a:lnTo>
                    <a:pt x="1661" y="1107"/>
                  </a:lnTo>
                  <a:lnTo>
                    <a:pt x="1661" y="1104"/>
                  </a:lnTo>
                  <a:lnTo>
                    <a:pt x="1661" y="1104"/>
                  </a:lnTo>
                  <a:lnTo>
                    <a:pt x="1661" y="1102"/>
                  </a:lnTo>
                  <a:lnTo>
                    <a:pt x="1664" y="1102"/>
                  </a:lnTo>
                  <a:lnTo>
                    <a:pt x="1661" y="1102"/>
                  </a:lnTo>
                  <a:lnTo>
                    <a:pt x="1664" y="1100"/>
                  </a:lnTo>
                  <a:lnTo>
                    <a:pt x="1664" y="1100"/>
                  </a:lnTo>
                  <a:close/>
                  <a:moveTo>
                    <a:pt x="1649" y="1048"/>
                  </a:moveTo>
                  <a:lnTo>
                    <a:pt x="1649" y="1048"/>
                  </a:lnTo>
                  <a:lnTo>
                    <a:pt x="1649" y="1048"/>
                  </a:lnTo>
                  <a:lnTo>
                    <a:pt x="1649" y="1048"/>
                  </a:lnTo>
                  <a:lnTo>
                    <a:pt x="1649" y="1045"/>
                  </a:lnTo>
                  <a:lnTo>
                    <a:pt x="1649" y="1045"/>
                  </a:lnTo>
                  <a:lnTo>
                    <a:pt x="1649" y="1043"/>
                  </a:lnTo>
                  <a:lnTo>
                    <a:pt x="1649" y="1043"/>
                  </a:lnTo>
                  <a:lnTo>
                    <a:pt x="1649" y="1045"/>
                  </a:lnTo>
                  <a:lnTo>
                    <a:pt x="1652" y="1045"/>
                  </a:lnTo>
                  <a:lnTo>
                    <a:pt x="1652" y="1045"/>
                  </a:lnTo>
                  <a:lnTo>
                    <a:pt x="1652" y="1043"/>
                  </a:lnTo>
                  <a:lnTo>
                    <a:pt x="1652" y="1040"/>
                  </a:lnTo>
                  <a:lnTo>
                    <a:pt x="1649" y="1040"/>
                  </a:lnTo>
                  <a:lnTo>
                    <a:pt x="1647" y="1038"/>
                  </a:lnTo>
                  <a:lnTo>
                    <a:pt x="1645" y="1036"/>
                  </a:lnTo>
                  <a:lnTo>
                    <a:pt x="1645" y="1036"/>
                  </a:lnTo>
                  <a:lnTo>
                    <a:pt x="1645" y="1038"/>
                  </a:lnTo>
                  <a:lnTo>
                    <a:pt x="1645" y="1038"/>
                  </a:lnTo>
                  <a:lnTo>
                    <a:pt x="1642" y="1040"/>
                  </a:lnTo>
                  <a:lnTo>
                    <a:pt x="1642" y="1040"/>
                  </a:lnTo>
                  <a:lnTo>
                    <a:pt x="1642" y="1040"/>
                  </a:lnTo>
                  <a:lnTo>
                    <a:pt x="1642" y="1040"/>
                  </a:lnTo>
                  <a:lnTo>
                    <a:pt x="1642" y="1040"/>
                  </a:lnTo>
                  <a:lnTo>
                    <a:pt x="1645" y="1040"/>
                  </a:lnTo>
                  <a:lnTo>
                    <a:pt x="1645" y="1040"/>
                  </a:lnTo>
                  <a:lnTo>
                    <a:pt x="1645" y="1043"/>
                  </a:lnTo>
                  <a:lnTo>
                    <a:pt x="1642" y="1043"/>
                  </a:lnTo>
                  <a:lnTo>
                    <a:pt x="1642" y="1043"/>
                  </a:lnTo>
                  <a:lnTo>
                    <a:pt x="1642" y="1045"/>
                  </a:lnTo>
                  <a:lnTo>
                    <a:pt x="1642" y="1045"/>
                  </a:lnTo>
                  <a:lnTo>
                    <a:pt x="1645" y="1045"/>
                  </a:lnTo>
                  <a:lnTo>
                    <a:pt x="1645" y="1048"/>
                  </a:lnTo>
                  <a:lnTo>
                    <a:pt x="1645" y="1048"/>
                  </a:lnTo>
                  <a:lnTo>
                    <a:pt x="1642" y="1048"/>
                  </a:lnTo>
                  <a:lnTo>
                    <a:pt x="1642" y="1048"/>
                  </a:lnTo>
                  <a:lnTo>
                    <a:pt x="1642" y="1050"/>
                  </a:lnTo>
                  <a:lnTo>
                    <a:pt x="1640" y="1050"/>
                  </a:lnTo>
                  <a:lnTo>
                    <a:pt x="1640" y="1052"/>
                  </a:lnTo>
                  <a:lnTo>
                    <a:pt x="1638" y="1055"/>
                  </a:lnTo>
                  <a:lnTo>
                    <a:pt x="1642" y="1055"/>
                  </a:lnTo>
                  <a:lnTo>
                    <a:pt x="1642" y="1055"/>
                  </a:lnTo>
                  <a:lnTo>
                    <a:pt x="1642" y="1055"/>
                  </a:lnTo>
                  <a:lnTo>
                    <a:pt x="1645" y="1055"/>
                  </a:lnTo>
                  <a:lnTo>
                    <a:pt x="1645" y="1055"/>
                  </a:lnTo>
                  <a:lnTo>
                    <a:pt x="1645" y="1055"/>
                  </a:lnTo>
                  <a:lnTo>
                    <a:pt x="1647" y="1055"/>
                  </a:lnTo>
                  <a:lnTo>
                    <a:pt x="1649" y="1050"/>
                  </a:lnTo>
                  <a:lnTo>
                    <a:pt x="1649" y="1050"/>
                  </a:lnTo>
                  <a:lnTo>
                    <a:pt x="1649" y="1048"/>
                  </a:lnTo>
                  <a:close/>
                  <a:moveTo>
                    <a:pt x="1725" y="1114"/>
                  </a:moveTo>
                  <a:lnTo>
                    <a:pt x="1725" y="1114"/>
                  </a:lnTo>
                  <a:lnTo>
                    <a:pt x="1723" y="1114"/>
                  </a:lnTo>
                  <a:lnTo>
                    <a:pt x="1720" y="1114"/>
                  </a:lnTo>
                  <a:lnTo>
                    <a:pt x="1720" y="1114"/>
                  </a:lnTo>
                  <a:lnTo>
                    <a:pt x="1718" y="1114"/>
                  </a:lnTo>
                  <a:lnTo>
                    <a:pt x="1718" y="1114"/>
                  </a:lnTo>
                  <a:lnTo>
                    <a:pt x="1718" y="1111"/>
                  </a:lnTo>
                  <a:lnTo>
                    <a:pt x="1718" y="1111"/>
                  </a:lnTo>
                  <a:lnTo>
                    <a:pt x="1716" y="1111"/>
                  </a:lnTo>
                  <a:lnTo>
                    <a:pt x="1716" y="1111"/>
                  </a:lnTo>
                  <a:lnTo>
                    <a:pt x="1713" y="1111"/>
                  </a:lnTo>
                  <a:lnTo>
                    <a:pt x="1713" y="1111"/>
                  </a:lnTo>
                  <a:lnTo>
                    <a:pt x="1711" y="1116"/>
                  </a:lnTo>
                  <a:lnTo>
                    <a:pt x="1711" y="1116"/>
                  </a:lnTo>
                  <a:lnTo>
                    <a:pt x="1711" y="1116"/>
                  </a:lnTo>
                  <a:lnTo>
                    <a:pt x="1711" y="1118"/>
                  </a:lnTo>
                  <a:lnTo>
                    <a:pt x="1713" y="1123"/>
                  </a:lnTo>
                  <a:lnTo>
                    <a:pt x="1716" y="1123"/>
                  </a:lnTo>
                  <a:lnTo>
                    <a:pt x="1718" y="1123"/>
                  </a:lnTo>
                  <a:lnTo>
                    <a:pt x="1720" y="1123"/>
                  </a:lnTo>
                  <a:lnTo>
                    <a:pt x="1720" y="1123"/>
                  </a:lnTo>
                  <a:lnTo>
                    <a:pt x="1720" y="1123"/>
                  </a:lnTo>
                  <a:lnTo>
                    <a:pt x="1723" y="1123"/>
                  </a:lnTo>
                  <a:lnTo>
                    <a:pt x="1723" y="1121"/>
                  </a:lnTo>
                  <a:lnTo>
                    <a:pt x="1723" y="1118"/>
                  </a:lnTo>
                  <a:lnTo>
                    <a:pt x="1723" y="1118"/>
                  </a:lnTo>
                  <a:lnTo>
                    <a:pt x="1723" y="1118"/>
                  </a:lnTo>
                  <a:lnTo>
                    <a:pt x="1725" y="1116"/>
                  </a:lnTo>
                  <a:lnTo>
                    <a:pt x="1725" y="1116"/>
                  </a:lnTo>
                  <a:lnTo>
                    <a:pt x="1725" y="1116"/>
                  </a:lnTo>
                  <a:lnTo>
                    <a:pt x="1725" y="1114"/>
                  </a:lnTo>
                  <a:close/>
                  <a:moveTo>
                    <a:pt x="1668" y="1128"/>
                  </a:moveTo>
                  <a:lnTo>
                    <a:pt x="1666" y="1128"/>
                  </a:lnTo>
                  <a:lnTo>
                    <a:pt x="1666" y="1128"/>
                  </a:lnTo>
                  <a:lnTo>
                    <a:pt x="1666" y="1128"/>
                  </a:lnTo>
                  <a:lnTo>
                    <a:pt x="1666" y="1128"/>
                  </a:lnTo>
                  <a:lnTo>
                    <a:pt x="1666" y="1126"/>
                  </a:lnTo>
                  <a:lnTo>
                    <a:pt x="1664" y="1126"/>
                  </a:lnTo>
                  <a:lnTo>
                    <a:pt x="1664" y="1128"/>
                  </a:lnTo>
                  <a:lnTo>
                    <a:pt x="1664" y="1128"/>
                  </a:lnTo>
                  <a:lnTo>
                    <a:pt x="1666" y="1130"/>
                  </a:lnTo>
                  <a:lnTo>
                    <a:pt x="1666" y="1130"/>
                  </a:lnTo>
                  <a:lnTo>
                    <a:pt x="1664" y="1130"/>
                  </a:lnTo>
                  <a:lnTo>
                    <a:pt x="1664" y="1130"/>
                  </a:lnTo>
                  <a:lnTo>
                    <a:pt x="1664" y="1133"/>
                  </a:lnTo>
                  <a:lnTo>
                    <a:pt x="1664" y="1133"/>
                  </a:lnTo>
                  <a:lnTo>
                    <a:pt x="1666" y="1133"/>
                  </a:lnTo>
                  <a:lnTo>
                    <a:pt x="1666" y="1133"/>
                  </a:lnTo>
                  <a:lnTo>
                    <a:pt x="1668" y="1130"/>
                  </a:lnTo>
                  <a:lnTo>
                    <a:pt x="1668" y="1130"/>
                  </a:lnTo>
                  <a:lnTo>
                    <a:pt x="1671" y="1130"/>
                  </a:lnTo>
                  <a:lnTo>
                    <a:pt x="1671" y="1128"/>
                  </a:lnTo>
                  <a:lnTo>
                    <a:pt x="1671" y="1128"/>
                  </a:lnTo>
                  <a:lnTo>
                    <a:pt x="1668" y="1128"/>
                  </a:lnTo>
                  <a:close/>
                  <a:moveTo>
                    <a:pt x="1671" y="1192"/>
                  </a:moveTo>
                  <a:lnTo>
                    <a:pt x="1671" y="1192"/>
                  </a:lnTo>
                  <a:lnTo>
                    <a:pt x="1671" y="1194"/>
                  </a:lnTo>
                  <a:lnTo>
                    <a:pt x="1671" y="1194"/>
                  </a:lnTo>
                  <a:lnTo>
                    <a:pt x="1668" y="1194"/>
                  </a:lnTo>
                  <a:lnTo>
                    <a:pt x="1668" y="1194"/>
                  </a:lnTo>
                  <a:lnTo>
                    <a:pt x="1668" y="1194"/>
                  </a:lnTo>
                  <a:lnTo>
                    <a:pt x="1668" y="1194"/>
                  </a:lnTo>
                  <a:lnTo>
                    <a:pt x="1668" y="1194"/>
                  </a:lnTo>
                  <a:lnTo>
                    <a:pt x="1668" y="1197"/>
                  </a:lnTo>
                  <a:lnTo>
                    <a:pt x="1668" y="1197"/>
                  </a:lnTo>
                  <a:lnTo>
                    <a:pt x="1671" y="1197"/>
                  </a:lnTo>
                  <a:lnTo>
                    <a:pt x="1671" y="1197"/>
                  </a:lnTo>
                  <a:lnTo>
                    <a:pt x="1671" y="1194"/>
                  </a:lnTo>
                  <a:lnTo>
                    <a:pt x="1671" y="1194"/>
                  </a:lnTo>
                  <a:lnTo>
                    <a:pt x="1671" y="1194"/>
                  </a:lnTo>
                  <a:lnTo>
                    <a:pt x="1671" y="1194"/>
                  </a:lnTo>
                  <a:lnTo>
                    <a:pt x="1671" y="1194"/>
                  </a:lnTo>
                  <a:lnTo>
                    <a:pt x="1671" y="1192"/>
                  </a:lnTo>
                  <a:lnTo>
                    <a:pt x="1671" y="1192"/>
                  </a:lnTo>
                  <a:close/>
                  <a:moveTo>
                    <a:pt x="1245" y="757"/>
                  </a:moveTo>
                  <a:lnTo>
                    <a:pt x="1245" y="757"/>
                  </a:lnTo>
                  <a:lnTo>
                    <a:pt x="1245" y="757"/>
                  </a:lnTo>
                  <a:lnTo>
                    <a:pt x="1245" y="757"/>
                  </a:lnTo>
                  <a:lnTo>
                    <a:pt x="1245" y="757"/>
                  </a:lnTo>
                  <a:lnTo>
                    <a:pt x="1245" y="759"/>
                  </a:lnTo>
                  <a:lnTo>
                    <a:pt x="1245" y="759"/>
                  </a:lnTo>
                  <a:lnTo>
                    <a:pt x="1245" y="759"/>
                  </a:lnTo>
                  <a:lnTo>
                    <a:pt x="1245" y="757"/>
                  </a:lnTo>
                  <a:lnTo>
                    <a:pt x="1247" y="757"/>
                  </a:lnTo>
                  <a:lnTo>
                    <a:pt x="1245" y="757"/>
                  </a:lnTo>
                  <a:close/>
                  <a:moveTo>
                    <a:pt x="1373" y="742"/>
                  </a:moveTo>
                  <a:lnTo>
                    <a:pt x="1370" y="742"/>
                  </a:lnTo>
                  <a:lnTo>
                    <a:pt x="1370" y="740"/>
                  </a:lnTo>
                  <a:lnTo>
                    <a:pt x="1370" y="742"/>
                  </a:lnTo>
                  <a:lnTo>
                    <a:pt x="1370" y="742"/>
                  </a:lnTo>
                  <a:lnTo>
                    <a:pt x="1370" y="742"/>
                  </a:lnTo>
                  <a:lnTo>
                    <a:pt x="1370" y="742"/>
                  </a:lnTo>
                  <a:lnTo>
                    <a:pt x="1370" y="742"/>
                  </a:lnTo>
                  <a:lnTo>
                    <a:pt x="1368" y="745"/>
                  </a:lnTo>
                  <a:lnTo>
                    <a:pt x="1370" y="745"/>
                  </a:lnTo>
                  <a:lnTo>
                    <a:pt x="1370" y="745"/>
                  </a:lnTo>
                  <a:lnTo>
                    <a:pt x="1370" y="745"/>
                  </a:lnTo>
                  <a:lnTo>
                    <a:pt x="1373" y="745"/>
                  </a:lnTo>
                  <a:lnTo>
                    <a:pt x="1373" y="745"/>
                  </a:lnTo>
                  <a:lnTo>
                    <a:pt x="1370" y="747"/>
                  </a:lnTo>
                  <a:lnTo>
                    <a:pt x="1370" y="747"/>
                  </a:lnTo>
                  <a:lnTo>
                    <a:pt x="1370" y="747"/>
                  </a:lnTo>
                  <a:lnTo>
                    <a:pt x="1370" y="747"/>
                  </a:lnTo>
                  <a:lnTo>
                    <a:pt x="1370" y="749"/>
                  </a:lnTo>
                  <a:lnTo>
                    <a:pt x="1370" y="749"/>
                  </a:lnTo>
                  <a:lnTo>
                    <a:pt x="1373" y="749"/>
                  </a:lnTo>
                  <a:lnTo>
                    <a:pt x="1373" y="747"/>
                  </a:lnTo>
                  <a:lnTo>
                    <a:pt x="1375" y="745"/>
                  </a:lnTo>
                  <a:lnTo>
                    <a:pt x="1373" y="745"/>
                  </a:lnTo>
                  <a:lnTo>
                    <a:pt x="1375" y="745"/>
                  </a:lnTo>
                  <a:lnTo>
                    <a:pt x="1377" y="742"/>
                  </a:lnTo>
                  <a:lnTo>
                    <a:pt x="1377" y="742"/>
                  </a:lnTo>
                  <a:lnTo>
                    <a:pt x="1380" y="740"/>
                  </a:lnTo>
                  <a:lnTo>
                    <a:pt x="1380" y="740"/>
                  </a:lnTo>
                  <a:lnTo>
                    <a:pt x="1380" y="738"/>
                  </a:lnTo>
                  <a:lnTo>
                    <a:pt x="1380" y="738"/>
                  </a:lnTo>
                  <a:lnTo>
                    <a:pt x="1377" y="740"/>
                  </a:lnTo>
                  <a:lnTo>
                    <a:pt x="1377" y="738"/>
                  </a:lnTo>
                  <a:lnTo>
                    <a:pt x="1377" y="738"/>
                  </a:lnTo>
                  <a:lnTo>
                    <a:pt x="1377" y="738"/>
                  </a:lnTo>
                  <a:lnTo>
                    <a:pt x="1380" y="738"/>
                  </a:lnTo>
                  <a:lnTo>
                    <a:pt x="1380" y="738"/>
                  </a:lnTo>
                  <a:lnTo>
                    <a:pt x="1382" y="738"/>
                  </a:lnTo>
                  <a:lnTo>
                    <a:pt x="1382" y="738"/>
                  </a:lnTo>
                  <a:lnTo>
                    <a:pt x="1382" y="735"/>
                  </a:lnTo>
                  <a:lnTo>
                    <a:pt x="1382" y="735"/>
                  </a:lnTo>
                  <a:lnTo>
                    <a:pt x="1382" y="735"/>
                  </a:lnTo>
                  <a:lnTo>
                    <a:pt x="1382" y="735"/>
                  </a:lnTo>
                  <a:lnTo>
                    <a:pt x="1382" y="735"/>
                  </a:lnTo>
                  <a:lnTo>
                    <a:pt x="1382" y="735"/>
                  </a:lnTo>
                  <a:lnTo>
                    <a:pt x="1382" y="735"/>
                  </a:lnTo>
                  <a:lnTo>
                    <a:pt x="1382" y="735"/>
                  </a:lnTo>
                  <a:lnTo>
                    <a:pt x="1382" y="735"/>
                  </a:lnTo>
                  <a:lnTo>
                    <a:pt x="1380" y="735"/>
                  </a:lnTo>
                  <a:lnTo>
                    <a:pt x="1382" y="733"/>
                  </a:lnTo>
                  <a:lnTo>
                    <a:pt x="1380" y="733"/>
                  </a:lnTo>
                  <a:lnTo>
                    <a:pt x="1380" y="733"/>
                  </a:lnTo>
                  <a:lnTo>
                    <a:pt x="1380" y="733"/>
                  </a:lnTo>
                  <a:lnTo>
                    <a:pt x="1380" y="735"/>
                  </a:lnTo>
                  <a:lnTo>
                    <a:pt x="1380" y="735"/>
                  </a:lnTo>
                  <a:lnTo>
                    <a:pt x="1377" y="735"/>
                  </a:lnTo>
                  <a:lnTo>
                    <a:pt x="1377" y="735"/>
                  </a:lnTo>
                  <a:lnTo>
                    <a:pt x="1377" y="735"/>
                  </a:lnTo>
                  <a:lnTo>
                    <a:pt x="1380" y="733"/>
                  </a:lnTo>
                  <a:lnTo>
                    <a:pt x="1377" y="733"/>
                  </a:lnTo>
                  <a:lnTo>
                    <a:pt x="1377" y="733"/>
                  </a:lnTo>
                  <a:lnTo>
                    <a:pt x="1375" y="735"/>
                  </a:lnTo>
                  <a:lnTo>
                    <a:pt x="1375" y="738"/>
                  </a:lnTo>
                  <a:lnTo>
                    <a:pt x="1377" y="735"/>
                  </a:lnTo>
                  <a:lnTo>
                    <a:pt x="1377" y="738"/>
                  </a:lnTo>
                  <a:lnTo>
                    <a:pt x="1375" y="738"/>
                  </a:lnTo>
                  <a:lnTo>
                    <a:pt x="1375" y="738"/>
                  </a:lnTo>
                  <a:lnTo>
                    <a:pt x="1375" y="738"/>
                  </a:lnTo>
                  <a:lnTo>
                    <a:pt x="1375" y="738"/>
                  </a:lnTo>
                  <a:lnTo>
                    <a:pt x="1373" y="738"/>
                  </a:lnTo>
                  <a:lnTo>
                    <a:pt x="1373" y="738"/>
                  </a:lnTo>
                  <a:lnTo>
                    <a:pt x="1375" y="740"/>
                  </a:lnTo>
                  <a:lnTo>
                    <a:pt x="1375" y="740"/>
                  </a:lnTo>
                  <a:lnTo>
                    <a:pt x="1373" y="740"/>
                  </a:lnTo>
                  <a:lnTo>
                    <a:pt x="1373" y="740"/>
                  </a:lnTo>
                  <a:lnTo>
                    <a:pt x="1373" y="740"/>
                  </a:lnTo>
                  <a:lnTo>
                    <a:pt x="1373" y="740"/>
                  </a:lnTo>
                  <a:lnTo>
                    <a:pt x="1373" y="740"/>
                  </a:lnTo>
                  <a:lnTo>
                    <a:pt x="1373" y="740"/>
                  </a:lnTo>
                  <a:lnTo>
                    <a:pt x="1373" y="740"/>
                  </a:lnTo>
                  <a:lnTo>
                    <a:pt x="1375" y="740"/>
                  </a:lnTo>
                  <a:lnTo>
                    <a:pt x="1375" y="740"/>
                  </a:lnTo>
                  <a:lnTo>
                    <a:pt x="1375" y="742"/>
                  </a:lnTo>
                  <a:lnTo>
                    <a:pt x="1373" y="742"/>
                  </a:lnTo>
                  <a:close/>
                  <a:moveTo>
                    <a:pt x="1354" y="749"/>
                  </a:moveTo>
                  <a:lnTo>
                    <a:pt x="1354" y="749"/>
                  </a:lnTo>
                  <a:lnTo>
                    <a:pt x="1354" y="752"/>
                  </a:lnTo>
                  <a:lnTo>
                    <a:pt x="1354" y="752"/>
                  </a:lnTo>
                  <a:lnTo>
                    <a:pt x="1356" y="752"/>
                  </a:lnTo>
                  <a:lnTo>
                    <a:pt x="1358" y="752"/>
                  </a:lnTo>
                  <a:lnTo>
                    <a:pt x="1358" y="752"/>
                  </a:lnTo>
                  <a:lnTo>
                    <a:pt x="1358" y="749"/>
                  </a:lnTo>
                  <a:lnTo>
                    <a:pt x="1358" y="749"/>
                  </a:lnTo>
                  <a:lnTo>
                    <a:pt x="1358" y="749"/>
                  </a:lnTo>
                  <a:lnTo>
                    <a:pt x="1361" y="749"/>
                  </a:lnTo>
                  <a:lnTo>
                    <a:pt x="1361" y="749"/>
                  </a:lnTo>
                  <a:lnTo>
                    <a:pt x="1361" y="749"/>
                  </a:lnTo>
                  <a:lnTo>
                    <a:pt x="1361" y="747"/>
                  </a:lnTo>
                  <a:lnTo>
                    <a:pt x="1363" y="747"/>
                  </a:lnTo>
                  <a:lnTo>
                    <a:pt x="1363" y="745"/>
                  </a:lnTo>
                  <a:lnTo>
                    <a:pt x="1363" y="745"/>
                  </a:lnTo>
                  <a:lnTo>
                    <a:pt x="1363" y="745"/>
                  </a:lnTo>
                  <a:lnTo>
                    <a:pt x="1363" y="745"/>
                  </a:lnTo>
                  <a:lnTo>
                    <a:pt x="1363" y="747"/>
                  </a:lnTo>
                  <a:lnTo>
                    <a:pt x="1361" y="747"/>
                  </a:lnTo>
                  <a:lnTo>
                    <a:pt x="1361" y="747"/>
                  </a:lnTo>
                  <a:lnTo>
                    <a:pt x="1361" y="747"/>
                  </a:lnTo>
                  <a:lnTo>
                    <a:pt x="1361" y="747"/>
                  </a:lnTo>
                  <a:lnTo>
                    <a:pt x="1361" y="747"/>
                  </a:lnTo>
                  <a:lnTo>
                    <a:pt x="1356" y="747"/>
                  </a:lnTo>
                  <a:lnTo>
                    <a:pt x="1356" y="747"/>
                  </a:lnTo>
                  <a:lnTo>
                    <a:pt x="1356" y="747"/>
                  </a:lnTo>
                  <a:lnTo>
                    <a:pt x="1358" y="749"/>
                  </a:lnTo>
                  <a:lnTo>
                    <a:pt x="1356" y="749"/>
                  </a:lnTo>
                  <a:lnTo>
                    <a:pt x="1356" y="749"/>
                  </a:lnTo>
                  <a:lnTo>
                    <a:pt x="1354" y="749"/>
                  </a:lnTo>
                  <a:lnTo>
                    <a:pt x="1354" y="749"/>
                  </a:lnTo>
                  <a:lnTo>
                    <a:pt x="1356" y="749"/>
                  </a:lnTo>
                  <a:lnTo>
                    <a:pt x="1356" y="752"/>
                  </a:lnTo>
                  <a:lnTo>
                    <a:pt x="1356" y="752"/>
                  </a:lnTo>
                  <a:lnTo>
                    <a:pt x="1354" y="749"/>
                  </a:lnTo>
                  <a:close/>
                  <a:moveTo>
                    <a:pt x="1380" y="707"/>
                  </a:moveTo>
                  <a:lnTo>
                    <a:pt x="1380" y="707"/>
                  </a:lnTo>
                  <a:lnTo>
                    <a:pt x="1377" y="709"/>
                  </a:lnTo>
                  <a:lnTo>
                    <a:pt x="1377" y="709"/>
                  </a:lnTo>
                  <a:lnTo>
                    <a:pt x="1377" y="709"/>
                  </a:lnTo>
                  <a:lnTo>
                    <a:pt x="1377" y="709"/>
                  </a:lnTo>
                  <a:lnTo>
                    <a:pt x="1377" y="712"/>
                  </a:lnTo>
                  <a:lnTo>
                    <a:pt x="1377" y="712"/>
                  </a:lnTo>
                  <a:lnTo>
                    <a:pt x="1377" y="712"/>
                  </a:lnTo>
                  <a:lnTo>
                    <a:pt x="1377" y="712"/>
                  </a:lnTo>
                  <a:lnTo>
                    <a:pt x="1380" y="714"/>
                  </a:lnTo>
                  <a:lnTo>
                    <a:pt x="1380" y="712"/>
                  </a:lnTo>
                  <a:lnTo>
                    <a:pt x="1382" y="712"/>
                  </a:lnTo>
                  <a:lnTo>
                    <a:pt x="1382" y="712"/>
                  </a:lnTo>
                  <a:lnTo>
                    <a:pt x="1382" y="712"/>
                  </a:lnTo>
                  <a:lnTo>
                    <a:pt x="1382" y="714"/>
                  </a:lnTo>
                  <a:lnTo>
                    <a:pt x="1382" y="714"/>
                  </a:lnTo>
                  <a:lnTo>
                    <a:pt x="1384" y="712"/>
                  </a:lnTo>
                  <a:lnTo>
                    <a:pt x="1384" y="712"/>
                  </a:lnTo>
                  <a:lnTo>
                    <a:pt x="1384" y="709"/>
                  </a:lnTo>
                  <a:lnTo>
                    <a:pt x="1384" y="709"/>
                  </a:lnTo>
                  <a:lnTo>
                    <a:pt x="1384" y="707"/>
                  </a:lnTo>
                  <a:lnTo>
                    <a:pt x="1382" y="705"/>
                  </a:lnTo>
                  <a:lnTo>
                    <a:pt x="1382" y="705"/>
                  </a:lnTo>
                  <a:lnTo>
                    <a:pt x="1380" y="705"/>
                  </a:lnTo>
                  <a:lnTo>
                    <a:pt x="1380" y="705"/>
                  </a:lnTo>
                  <a:lnTo>
                    <a:pt x="1382" y="707"/>
                  </a:lnTo>
                  <a:lnTo>
                    <a:pt x="1380" y="707"/>
                  </a:lnTo>
                  <a:lnTo>
                    <a:pt x="1380" y="707"/>
                  </a:lnTo>
                  <a:close/>
                  <a:moveTo>
                    <a:pt x="1373" y="714"/>
                  </a:moveTo>
                  <a:lnTo>
                    <a:pt x="1373" y="716"/>
                  </a:lnTo>
                  <a:lnTo>
                    <a:pt x="1373" y="719"/>
                  </a:lnTo>
                  <a:lnTo>
                    <a:pt x="1373" y="719"/>
                  </a:lnTo>
                  <a:lnTo>
                    <a:pt x="1373" y="719"/>
                  </a:lnTo>
                  <a:lnTo>
                    <a:pt x="1373" y="719"/>
                  </a:lnTo>
                  <a:lnTo>
                    <a:pt x="1373" y="719"/>
                  </a:lnTo>
                  <a:lnTo>
                    <a:pt x="1375" y="719"/>
                  </a:lnTo>
                  <a:lnTo>
                    <a:pt x="1375" y="719"/>
                  </a:lnTo>
                  <a:lnTo>
                    <a:pt x="1375" y="716"/>
                  </a:lnTo>
                  <a:lnTo>
                    <a:pt x="1375" y="716"/>
                  </a:lnTo>
                  <a:lnTo>
                    <a:pt x="1375" y="716"/>
                  </a:lnTo>
                  <a:lnTo>
                    <a:pt x="1375" y="716"/>
                  </a:lnTo>
                  <a:lnTo>
                    <a:pt x="1375" y="716"/>
                  </a:lnTo>
                  <a:lnTo>
                    <a:pt x="1375" y="714"/>
                  </a:lnTo>
                  <a:lnTo>
                    <a:pt x="1375" y="714"/>
                  </a:lnTo>
                  <a:lnTo>
                    <a:pt x="1375" y="714"/>
                  </a:lnTo>
                  <a:lnTo>
                    <a:pt x="1375" y="712"/>
                  </a:lnTo>
                  <a:lnTo>
                    <a:pt x="1373" y="712"/>
                  </a:lnTo>
                  <a:lnTo>
                    <a:pt x="1373" y="712"/>
                  </a:lnTo>
                  <a:lnTo>
                    <a:pt x="1375" y="714"/>
                  </a:lnTo>
                  <a:lnTo>
                    <a:pt x="1373" y="714"/>
                  </a:lnTo>
                  <a:lnTo>
                    <a:pt x="1373" y="714"/>
                  </a:lnTo>
                  <a:close/>
                  <a:moveTo>
                    <a:pt x="1429" y="752"/>
                  </a:moveTo>
                  <a:lnTo>
                    <a:pt x="1432" y="752"/>
                  </a:lnTo>
                  <a:lnTo>
                    <a:pt x="1434" y="752"/>
                  </a:lnTo>
                  <a:lnTo>
                    <a:pt x="1434" y="752"/>
                  </a:lnTo>
                  <a:lnTo>
                    <a:pt x="1434" y="752"/>
                  </a:lnTo>
                  <a:lnTo>
                    <a:pt x="1434" y="752"/>
                  </a:lnTo>
                  <a:lnTo>
                    <a:pt x="1436" y="749"/>
                  </a:lnTo>
                  <a:lnTo>
                    <a:pt x="1434" y="749"/>
                  </a:lnTo>
                  <a:lnTo>
                    <a:pt x="1434" y="749"/>
                  </a:lnTo>
                  <a:lnTo>
                    <a:pt x="1434" y="749"/>
                  </a:lnTo>
                  <a:lnTo>
                    <a:pt x="1436" y="749"/>
                  </a:lnTo>
                  <a:lnTo>
                    <a:pt x="1436" y="749"/>
                  </a:lnTo>
                  <a:lnTo>
                    <a:pt x="1434" y="749"/>
                  </a:lnTo>
                  <a:lnTo>
                    <a:pt x="1432" y="749"/>
                  </a:lnTo>
                  <a:lnTo>
                    <a:pt x="1429" y="749"/>
                  </a:lnTo>
                  <a:lnTo>
                    <a:pt x="1429" y="749"/>
                  </a:lnTo>
                  <a:lnTo>
                    <a:pt x="1429" y="749"/>
                  </a:lnTo>
                  <a:lnTo>
                    <a:pt x="1429" y="749"/>
                  </a:lnTo>
                  <a:lnTo>
                    <a:pt x="1429" y="749"/>
                  </a:lnTo>
                  <a:lnTo>
                    <a:pt x="1427" y="749"/>
                  </a:lnTo>
                  <a:lnTo>
                    <a:pt x="1425" y="749"/>
                  </a:lnTo>
                  <a:lnTo>
                    <a:pt x="1425" y="749"/>
                  </a:lnTo>
                  <a:lnTo>
                    <a:pt x="1425" y="749"/>
                  </a:lnTo>
                  <a:lnTo>
                    <a:pt x="1425" y="749"/>
                  </a:lnTo>
                  <a:lnTo>
                    <a:pt x="1420" y="749"/>
                  </a:lnTo>
                  <a:lnTo>
                    <a:pt x="1418" y="749"/>
                  </a:lnTo>
                  <a:lnTo>
                    <a:pt x="1418" y="749"/>
                  </a:lnTo>
                  <a:lnTo>
                    <a:pt x="1418" y="752"/>
                  </a:lnTo>
                  <a:lnTo>
                    <a:pt x="1418" y="752"/>
                  </a:lnTo>
                  <a:lnTo>
                    <a:pt x="1422" y="754"/>
                  </a:lnTo>
                  <a:lnTo>
                    <a:pt x="1425" y="752"/>
                  </a:lnTo>
                  <a:lnTo>
                    <a:pt x="1427" y="752"/>
                  </a:lnTo>
                  <a:lnTo>
                    <a:pt x="1427" y="752"/>
                  </a:lnTo>
                  <a:lnTo>
                    <a:pt x="1429" y="752"/>
                  </a:lnTo>
                  <a:close/>
                  <a:moveTo>
                    <a:pt x="1361" y="754"/>
                  </a:moveTo>
                  <a:lnTo>
                    <a:pt x="1361" y="754"/>
                  </a:lnTo>
                  <a:lnTo>
                    <a:pt x="1361" y="754"/>
                  </a:lnTo>
                  <a:lnTo>
                    <a:pt x="1361" y="754"/>
                  </a:lnTo>
                  <a:lnTo>
                    <a:pt x="1361" y="754"/>
                  </a:lnTo>
                  <a:lnTo>
                    <a:pt x="1361" y="754"/>
                  </a:lnTo>
                  <a:lnTo>
                    <a:pt x="1361" y="754"/>
                  </a:lnTo>
                  <a:lnTo>
                    <a:pt x="1358" y="754"/>
                  </a:lnTo>
                  <a:lnTo>
                    <a:pt x="1358" y="754"/>
                  </a:lnTo>
                  <a:lnTo>
                    <a:pt x="1356" y="754"/>
                  </a:lnTo>
                  <a:lnTo>
                    <a:pt x="1356" y="754"/>
                  </a:lnTo>
                  <a:lnTo>
                    <a:pt x="1356" y="754"/>
                  </a:lnTo>
                  <a:lnTo>
                    <a:pt x="1356" y="754"/>
                  </a:lnTo>
                  <a:lnTo>
                    <a:pt x="1356" y="754"/>
                  </a:lnTo>
                  <a:lnTo>
                    <a:pt x="1354" y="754"/>
                  </a:lnTo>
                  <a:lnTo>
                    <a:pt x="1354" y="754"/>
                  </a:lnTo>
                  <a:lnTo>
                    <a:pt x="1354" y="754"/>
                  </a:lnTo>
                  <a:lnTo>
                    <a:pt x="1354" y="754"/>
                  </a:lnTo>
                  <a:lnTo>
                    <a:pt x="1356" y="754"/>
                  </a:lnTo>
                  <a:lnTo>
                    <a:pt x="1354" y="754"/>
                  </a:lnTo>
                  <a:lnTo>
                    <a:pt x="1354" y="754"/>
                  </a:lnTo>
                  <a:lnTo>
                    <a:pt x="1354" y="754"/>
                  </a:lnTo>
                  <a:lnTo>
                    <a:pt x="1354" y="754"/>
                  </a:lnTo>
                  <a:lnTo>
                    <a:pt x="1354" y="754"/>
                  </a:lnTo>
                  <a:lnTo>
                    <a:pt x="1354" y="754"/>
                  </a:lnTo>
                  <a:lnTo>
                    <a:pt x="1354" y="754"/>
                  </a:lnTo>
                  <a:lnTo>
                    <a:pt x="1354" y="754"/>
                  </a:lnTo>
                  <a:lnTo>
                    <a:pt x="1354" y="757"/>
                  </a:lnTo>
                  <a:lnTo>
                    <a:pt x="1354" y="757"/>
                  </a:lnTo>
                  <a:lnTo>
                    <a:pt x="1354" y="757"/>
                  </a:lnTo>
                  <a:lnTo>
                    <a:pt x="1356" y="757"/>
                  </a:lnTo>
                  <a:lnTo>
                    <a:pt x="1356" y="757"/>
                  </a:lnTo>
                  <a:lnTo>
                    <a:pt x="1356" y="757"/>
                  </a:lnTo>
                  <a:lnTo>
                    <a:pt x="1358" y="757"/>
                  </a:lnTo>
                  <a:lnTo>
                    <a:pt x="1361" y="754"/>
                  </a:lnTo>
                  <a:lnTo>
                    <a:pt x="1361" y="754"/>
                  </a:lnTo>
                  <a:close/>
                  <a:moveTo>
                    <a:pt x="1235" y="749"/>
                  </a:moveTo>
                  <a:lnTo>
                    <a:pt x="1235" y="749"/>
                  </a:lnTo>
                  <a:lnTo>
                    <a:pt x="1235" y="749"/>
                  </a:lnTo>
                  <a:lnTo>
                    <a:pt x="1235" y="752"/>
                  </a:lnTo>
                  <a:lnTo>
                    <a:pt x="1235" y="752"/>
                  </a:lnTo>
                  <a:lnTo>
                    <a:pt x="1238" y="752"/>
                  </a:lnTo>
                  <a:lnTo>
                    <a:pt x="1238" y="749"/>
                  </a:lnTo>
                  <a:lnTo>
                    <a:pt x="1235" y="749"/>
                  </a:lnTo>
                  <a:close/>
                  <a:moveTo>
                    <a:pt x="1240" y="754"/>
                  </a:moveTo>
                  <a:lnTo>
                    <a:pt x="1238" y="754"/>
                  </a:lnTo>
                  <a:lnTo>
                    <a:pt x="1238" y="754"/>
                  </a:lnTo>
                  <a:lnTo>
                    <a:pt x="1238" y="754"/>
                  </a:lnTo>
                  <a:lnTo>
                    <a:pt x="1238" y="754"/>
                  </a:lnTo>
                  <a:lnTo>
                    <a:pt x="1238" y="757"/>
                  </a:lnTo>
                  <a:lnTo>
                    <a:pt x="1240" y="757"/>
                  </a:lnTo>
                  <a:lnTo>
                    <a:pt x="1240" y="757"/>
                  </a:lnTo>
                  <a:lnTo>
                    <a:pt x="1240" y="754"/>
                  </a:lnTo>
                  <a:lnTo>
                    <a:pt x="1240" y="754"/>
                  </a:lnTo>
                  <a:lnTo>
                    <a:pt x="1240" y="754"/>
                  </a:lnTo>
                  <a:close/>
                  <a:moveTo>
                    <a:pt x="1273" y="754"/>
                  </a:moveTo>
                  <a:lnTo>
                    <a:pt x="1273" y="752"/>
                  </a:lnTo>
                  <a:lnTo>
                    <a:pt x="1273" y="752"/>
                  </a:lnTo>
                  <a:lnTo>
                    <a:pt x="1271" y="754"/>
                  </a:lnTo>
                  <a:lnTo>
                    <a:pt x="1271" y="754"/>
                  </a:lnTo>
                  <a:lnTo>
                    <a:pt x="1271" y="754"/>
                  </a:lnTo>
                  <a:lnTo>
                    <a:pt x="1268" y="754"/>
                  </a:lnTo>
                  <a:lnTo>
                    <a:pt x="1268" y="757"/>
                  </a:lnTo>
                  <a:lnTo>
                    <a:pt x="1271" y="757"/>
                  </a:lnTo>
                  <a:lnTo>
                    <a:pt x="1271" y="757"/>
                  </a:lnTo>
                  <a:lnTo>
                    <a:pt x="1271" y="757"/>
                  </a:lnTo>
                  <a:lnTo>
                    <a:pt x="1273" y="757"/>
                  </a:lnTo>
                  <a:lnTo>
                    <a:pt x="1276" y="754"/>
                  </a:lnTo>
                  <a:lnTo>
                    <a:pt x="1276" y="754"/>
                  </a:lnTo>
                  <a:lnTo>
                    <a:pt x="1273" y="754"/>
                  </a:lnTo>
                  <a:close/>
                  <a:moveTo>
                    <a:pt x="1226" y="759"/>
                  </a:moveTo>
                  <a:lnTo>
                    <a:pt x="1226" y="759"/>
                  </a:lnTo>
                  <a:lnTo>
                    <a:pt x="1226" y="759"/>
                  </a:lnTo>
                  <a:lnTo>
                    <a:pt x="1223" y="759"/>
                  </a:lnTo>
                  <a:lnTo>
                    <a:pt x="1223" y="759"/>
                  </a:lnTo>
                  <a:lnTo>
                    <a:pt x="1223" y="759"/>
                  </a:lnTo>
                  <a:lnTo>
                    <a:pt x="1223" y="759"/>
                  </a:lnTo>
                  <a:lnTo>
                    <a:pt x="1223" y="759"/>
                  </a:lnTo>
                  <a:lnTo>
                    <a:pt x="1223" y="759"/>
                  </a:lnTo>
                  <a:lnTo>
                    <a:pt x="1223" y="759"/>
                  </a:lnTo>
                  <a:lnTo>
                    <a:pt x="1223" y="759"/>
                  </a:lnTo>
                  <a:lnTo>
                    <a:pt x="1223" y="759"/>
                  </a:lnTo>
                  <a:lnTo>
                    <a:pt x="1223" y="759"/>
                  </a:lnTo>
                  <a:lnTo>
                    <a:pt x="1223" y="759"/>
                  </a:lnTo>
                  <a:lnTo>
                    <a:pt x="1226" y="759"/>
                  </a:lnTo>
                  <a:lnTo>
                    <a:pt x="1226" y="759"/>
                  </a:lnTo>
                  <a:lnTo>
                    <a:pt x="1226" y="759"/>
                  </a:lnTo>
                  <a:lnTo>
                    <a:pt x="1226" y="759"/>
                  </a:lnTo>
                  <a:close/>
                  <a:moveTo>
                    <a:pt x="1285" y="754"/>
                  </a:moveTo>
                  <a:lnTo>
                    <a:pt x="1283" y="754"/>
                  </a:lnTo>
                  <a:lnTo>
                    <a:pt x="1280" y="754"/>
                  </a:lnTo>
                  <a:lnTo>
                    <a:pt x="1280" y="757"/>
                  </a:lnTo>
                  <a:lnTo>
                    <a:pt x="1280" y="757"/>
                  </a:lnTo>
                  <a:lnTo>
                    <a:pt x="1280" y="757"/>
                  </a:lnTo>
                  <a:lnTo>
                    <a:pt x="1283" y="757"/>
                  </a:lnTo>
                  <a:lnTo>
                    <a:pt x="1283" y="757"/>
                  </a:lnTo>
                  <a:lnTo>
                    <a:pt x="1283" y="757"/>
                  </a:lnTo>
                  <a:lnTo>
                    <a:pt x="1283" y="757"/>
                  </a:lnTo>
                  <a:lnTo>
                    <a:pt x="1283" y="757"/>
                  </a:lnTo>
                  <a:lnTo>
                    <a:pt x="1283" y="757"/>
                  </a:lnTo>
                  <a:lnTo>
                    <a:pt x="1283" y="757"/>
                  </a:lnTo>
                  <a:lnTo>
                    <a:pt x="1283" y="757"/>
                  </a:lnTo>
                  <a:lnTo>
                    <a:pt x="1283" y="757"/>
                  </a:lnTo>
                  <a:lnTo>
                    <a:pt x="1283" y="757"/>
                  </a:lnTo>
                  <a:lnTo>
                    <a:pt x="1283" y="757"/>
                  </a:lnTo>
                  <a:lnTo>
                    <a:pt x="1285" y="757"/>
                  </a:lnTo>
                  <a:lnTo>
                    <a:pt x="1285" y="757"/>
                  </a:lnTo>
                  <a:lnTo>
                    <a:pt x="1285" y="754"/>
                  </a:lnTo>
                  <a:lnTo>
                    <a:pt x="1285" y="754"/>
                  </a:lnTo>
                  <a:lnTo>
                    <a:pt x="1285" y="754"/>
                  </a:lnTo>
                  <a:lnTo>
                    <a:pt x="1285" y="754"/>
                  </a:lnTo>
                  <a:close/>
                  <a:moveTo>
                    <a:pt x="1380" y="749"/>
                  </a:moveTo>
                  <a:lnTo>
                    <a:pt x="1380" y="749"/>
                  </a:lnTo>
                  <a:lnTo>
                    <a:pt x="1384" y="749"/>
                  </a:lnTo>
                  <a:lnTo>
                    <a:pt x="1384" y="749"/>
                  </a:lnTo>
                  <a:lnTo>
                    <a:pt x="1384" y="749"/>
                  </a:lnTo>
                  <a:lnTo>
                    <a:pt x="1384" y="747"/>
                  </a:lnTo>
                  <a:lnTo>
                    <a:pt x="1384" y="747"/>
                  </a:lnTo>
                  <a:lnTo>
                    <a:pt x="1384" y="747"/>
                  </a:lnTo>
                  <a:lnTo>
                    <a:pt x="1384" y="747"/>
                  </a:lnTo>
                  <a:lnTo>
                    <a:pt x="1382" y="747"/>
                  </a:lnTo>
                  <a:lnTo>
                    <a:pt x="1382" y="747"/>
                  </a:lnTo>
                  <a:lnTo>
                    <a:pt x="1382" y="747"/>
                  </a:lnTo>
                  <a:lnTo>
                    <a:pt x="1382" y="747"/>
                  </a:lnTo>
                  <a:lnTo>
                    <a:pt x="1380" y="747"/>
                  </a:lnTo>
                  <a:lnTo>
                    <a:pt x="1380" y="747"/>
                  </a:lnTo>
                  <a:lnTo>
                    <a:pt x="1380" y="749"/>
                  </a:lnTo>
                  <a:lnTo>
                    <a:pt x="1380" y="749"/>
                  </a:lnTo>
                  <a:lnTo>
                    <a:pt x="1380" y="749"/>
                  </a:lnTo>
                  <a:close/>
                  <a:moveTo>
                    <a:pt x="1391" y="752"/>
                  </a:moveTo>
                  <a:lnTo>
                    <a:pt x="1394" y="749"/>
                  </a:lnTo>
                  <a:lnTo>
                    <a:pt x="1396" y="749"/>
                  </a:lnTo>
                  <a:lnTo>
                    <a:pt x="1391" y="747"/>
                  </a:lnTo>
                  <a:lnTo>
                    <a:pt x="1394" y="747"/>
                  </a:lnTo>
                  <a:lnTo>
                    <a:pt x="1394" y="747"/>
                  </a:lnTo>
                  <a:lnTo>
                    <a:pt x="1394" y="747"/>
                  </a:lnTo>
                  <a:lnTo>
                    <a:pt x="1394" y="747"/>
                  </a:lnTo>
                  <a:lnTo>
                    <a:pt x="1391" y="745"/>
                  </a:lnTo>
                  <a:lnTo>
                    <a:pt x="1391" y="747"/>
                  </a:lnTo>
                  <a:lnTo>
                    <a:pt x="1389" y="747"/>
                  </a:lnTo>
                  <a:lnTo>
                    <a:pt x="1389" y="747"/>
                  </a:lnTo>
                  <a:lnTo>
                    <a:pt x="1391" y="747"/>
                  </a:lnTo>
                  <a:lnTo>
                    <a:pt x="1391" y="749"/>
                  </a:lnTo>
                  <a:lnTo>
                    <a:pt x="1391" y="749"/>
                  </a:lnTo>
                  <a:lnTo>
                    <a:pt x="1389" y="749"/>
                  </a:lnTo>
                  <a:lnTo>
                    <a:pt x="1389" y="749"/>
                  </a:lnTo>
                  <a:lnTo>
                    <a:pt x="1389" y="749"/>
                  </a:lnTo>
                  <a:lnTo>
                    <a:pt x="1389" y="749"/>
                  </a:lnTo>
                  <a:lnTo>
                    <a:pt x="1389" y="749"/>
                  </a:lnTo>
                  <a:lnTo>
                    <a:pt x="1389" y="749"/>
                  </a:lnTo>
                  <a:lnTo>
                    <a:pt x="1389" y="749"/>
                  </a:lnTo>
                  <a:lnTo>
                    <a:pt x="1389" y="749"/>
                  </a:lnTo>
                  <a:lnTo>
                    <a:pt x="1389" y="749"/>
                  </a:lnTo>
                  <a:lnTo>
                    <a:pt x="1389" y="752"/>
                  </a:lnTo>
                  <a:lnTo>
                    <a:pt x="1389" y="752"/>
                  </a:lnTo>
                  <a:lnTo>
                    <a:pt x="1389" y="752"/>
                  </a:lnTo>
                  <a:lnTo>
                    <a:pt x="1387" y="752"/>
                  </a:lnTo>
                  <a:lnTo>
                    <a:pt x="1387" y="752"/>
                  </a:lnTo>
                  <a:lnTo>
                    <a:pt x="1387" y="752"/>
                  </a:lnTo>
                  <a:lnTo>
                    <a:pt x="1387" y="752"/>
                  </a:lnTo>
                  <a:lnTo>
                    <a:pt x="1387" y="752"/>
                  </a:lnTo>
                  <a:lnTo>
                    <a:pt x="1384" y="752"/>
                  </a:lnTo>
                  <a:lnTo>
                    <a:pt x="1384" y="752"/>
                  </a:lnTo>
                  <a:lnTo>
                    <a:pt x="1384" y="752"/>
                  </a:lnTo>
                  <a:lnTo>
                    <a:pt x="1382" y="754"/>
                  </a:lnTo>
                  <a:lnTo>
                    <a:pt x="1382" y="754"/>
                  </a:lnTo>
                  <a:lnTo>
                    <a:pt x="1382" y="754"/>
                  </a:lnTo>
                  <a:lnTo>
                    <a:pt x="1382" y="754"/>
                  </a:lnTo>
                  <a:lnTo>
                    <a:pt x="1380" y="757"/>
                  </a:lnTo>
                  <a:lnTo>
                    <a:pt x="1380" y="757"/>
                  </a:lnTo>
                  <a:lnTo>
                    <a:pt x="1375" y="759"/>
                  </a:lnTo>
                  <a:lnTo>
                    <a:pt x="1375" y="759"/>
                  </a:lnTo>
                  <a:lnTo>
                    <a:pt x="1370" y="759"/>
                  </a:lnTo>
                  <a:lnTo>
                    <a:pt x="1368" y="759"/>
                  </a:lnTo>
                  <a:lnTo>
                    <a:pt x="1368" y="761"/>
                  </a:lnTo>
                  <a:lnTo>
                    <a:pt x="1368" y="761"/>
                  </a:lnTo>
                  <a:lnTo>
                    <a:pt x="1368" y="761"/>
                  </a:lnTo>
                  <a:lnTo>
                    <a:pt x="1368" y="761"/>
                  </a:lnTo>
                  <a:lnTo>
                    <a:pt x="1365" y="761"/>
                  </a:lnTo>
                  <a:lnTo>
                    <a:pt x="1365" y="761"/>
                  </a:lnTo>
                  <a:lnTo>
                    <a:pt x="1363" y="761"/>
                  </a:lnTo>
                  <a:lnTo>
                    <a:pt x="1363" y="764"/>
                  </a:lnTo>
                  <a:lnTo>
                    <a:pt x="1365" y="764"/>
                  </a:lnTo>
                  <a:lnTo>
                    <a:pt x="1365" y="764"/>
                  </a:lnTo>
                  <a:lnTo>
                    <a:pt x="1363" y="764"/>
                  </a:lnTo>
                  <a:lnTo>
                    <a:pt x="1363" y="764"/>
                  </a:lnTo>
                  <a:lnTo>
                    <a:pt x="1363" y="764"/>
                  </a:lnTo>
                  <a:lnTo>
                    <a:pt x="1361" y="764"/>
                  </a:lnTo>
                  <a:lnTo>
                    <a:pt x="1361" y="764"/>
                  </a:lnTo>
                  <a:lnTo>
                    <a:pt x="1358" y="766"/>
                  </a:lnTo>
                  <a:lnTo>
                    <a:pt x="1358" y="766"/>
                  </a:lnTo>
                  <a:lnTo>
                    <a:pt x="1358" y="768"/>
                  </a:lnTo>
                  <a:lnTo>
                    <a:pt x="1358" y="768"/>
                  </a:lnTo>
                  <a:lnTo>
                    <a:pt x="1358" y="768"/>
                  </a:lnTo>
                  <a:lnTo>
                    <a:pt x="1358" y="768"/>
                  </a:lnTo>
                  <a:lnTo>
                    <a:pt x="1358" y="768"/>
                  </a:lnTo>
                  <a:lnTo>
                    <a:pt x="1361" y="768"/>
                  </a:lnTo>
                  <a:lnTo>
                    <a:pt x="1363" y="768"/>
                  </a:lnTo>
                  <a:lnTo>
                    <a:pt x="1365" y="768"/>
                  </a:lnTo>
                  <a:lnTo>
                    <a:pt x="1365" y="768"/>
                  </a:lnTo>
                  <a:lnTo>
                    <a:pt x="1365" y="768"/>
                  </a:lnTo>
                  <a:lnTo>
                    <a:pt x="1368" y="768"/>
                  </a:lnTo>
                  <a:lnTo>
                    <a:pt x="1370" y="768"/>
                  </a:lnTo>
                  <a:lnTo>
                    <a:pt x="1370" y="768"/>
                  </a:lnTo>
                  <a:lnTo>
                    <a:pt x="1373" y="768"/>
                  </a:lnTo>
                  <a:lnTo>
                    <a:pt x="1373" y="768"/>
                  </a:lnTo>
                  <a:lnTo>
                    <a:pt x="1373" y="766"/>
                  </a:lnTo>
                  <a:lnTo>
                    <a:pt x="1373" y="766"/>
                  </a:lnTo>
                  <a:lnTo>
                    <a:pt x="1373" y="766"/>
                  </a:lnTo>
                  <a:lnTo>
                    <a:pt x="1373" y="766"/>
                  </a:lnTo>
                  <a:lnTo>
                    <a:pt x="1373" y="766"/>
                  </a:lnTo>
                  <a:lnTo>
                    <a:pt x="1375" y="764"/>
                  </a:lnTo>
                  <a:lnTo>
                    <a:pt x="1375" y="764"/>
                  </a:lnTo>
                  <a:lnTo>
                    <a:pt x="1377" y="766"/>
                  </a:lnTo>
                  <a:lnTo>
                    <a:pt x="1377" y="764"/>
                  </a:lnTo>
                  <a:lnTo>
                    <a:pt x="1377" y="764"/>
                  </a:lnTo>
                  <a:lnTo>
                    <a:pt x="1377" y="764"/>
                  </a:lnTo>
                  <a:lnTo>
                    <a:pt x="1377" y="764"/>
                  </a:lnTo>
                  <a:lnTo>
                    <a:pt x="1377" y="761"/>
                  </a:lnTo>
                  <a:lnTo>
                    <a:pt x="1380" y="761"/>
                  </a:lnTo>
                  <a:lnTo>
                    <a:pt x="1384" y="759"/>
                  </a:lnTo>
                  <a:lnTo>
                    <a:pt x="1394" y="754"/>
                  </a:lnTo>
                  <a:lnTo>
                    <a:pt x="1394" y="754"/>
                  </a:lnTo>
                  <a:lnTo>
                    <a:pt x="1396" y="752"/>
                  </a:lnTo>
                  <a:lnTo>
                    <a:pt x="1396" y="752"/>
                  </a:lnTo>
                  <a:lnTo>
                    <a:pt x="1396" y="752"/>
                  </a:lnTo>
                  <a:lnTo>
                    <a:pt x="1396" y="752"/>
                  </a:lnTo>
                  <a:lnTo>
                    <a:pt x="1396" y="752"/>
                  </a:lnTo>
                  <a:lnTo>
                    <a:pt x="1396" y="752"/>
                  </a:lnTo>
                  <a:lnTo>
                    <a:pt x="1391" y="752"/>
                  </a:lnTo>
                  <a:lnTo>
                    <a:pt x="1391" y="752"/>
                  </a:lnTo>
                  <a:close/>
                  <a:moveTo>
                    <a:pt x="1391" y="726"/>
                  </a:moveTo>
                  <a:lnTo>
                    <a:pt x="1389" y="726"/>
                  </a:lnTo>
                  <a:lnTo>
                    <a:pt x="1391" y="726"/>
                  </a:lnTo>
                  <a:lnTo>
                    <a:pt x="1391" y="726"/>
                  </a:lnTo>
                  <a:lnTo>
                    <a:pt x="1391" y="728"/>
                  </a:lnTo>
                  <a:lnTo>
                    <a:pt x="1391" y="728"/>
                  </a:lnTo>
                  <a:lnTo>
                    <a:pt x="1389" y="728"/>
                  </a:lnTo>
                  <a:lnTo>
                    <a:pt x="1391" y="728"/>
                  </a:lnTo>
                  <a:lnTo>
                    <a:pt x="1391" y="728"/>
                  </a:lnTo>
                  <a:lnTo>
                    <a:pt x="1394" y="728"/>
                  </a:lnTo>
                  <a:lnTo>
                    <a:pt x="1394" y="728"/>
                  </a:lnTo>
                  <a:lnTo>
                    <a:pt x="1394" y="728"/>
                  </a:lnTo>
                  <a:lnTo>
                    <a:pt x="1394" y="728"/>
                  </a:lnTo>
                  <a:lnTo>
                    <a:pt x="1396" y="728"/>
                  </a:lnTo>
                  <a:lnTo>
                    <a:pt x="1396" y="728"/>
                  </a:lnTo>
                  <a:lnTo>
                    <a:pt x="1394" y="728"/>
                  </a:lnTo>
                  <a:lnTo>
                    <a:pt x="1394" y="728"/>
                  </a:lnTo>
                  <a:lnTo>
                    <a:pt x="1394" y="728"/>
                  </a:lnTo>
                  <a:lnTo>
                    <a:pt x="1394" y="728"/>
                  </a:lnTo>
                  <a:lnTo>
                    <a:pt x="1394" y="728"/>
                  </a:lnTo>
                  <a:lnTo>
                    <a:pt x="1394" y="726"/>
                  </a:lnTo>
                  <a:lnTo>
                    <a:pt x="1394" y="726"/>
                  </a:lnTo>
                  <a:lnTo>
                    <a:pt x="1394" y="726"/>
                  </a:lnTo>
                  <a:lnTo>
                    <a:pt x="1394" y="723"/>
                  </a:lnTo>
                  <a:lnTo>
                    <a:pt x="1391" y="726"/>
                  </a:lnTo>
                  <a:lnTo>
                    <a:pt x="1391" y="726"/>
                  </a:lnTo>
                  <a:lnTo>
                    <a:pt x="1391" y="726"/>
                  </a:lnTo>
                  <a:lnTo>
                    <a:pt x="1391" y="726"/>
                  </a:lnTo>
                  <a:lnTo>
                    <a:pt x="1391" y="726"/>
                  </a:lnTo>
                  <a:lnTo>
                    <a:pt x="1391" y="726"/>
                  </a:lnTo>
                  <a:lnTo>
                    <a:pt x="1391" y="726"/>
                  </a:lnTo>
                  <a:close/>
                  <a:moveTo>
                    <a:pt x="1403" y="719"/>
                  </a:moveTo>
                  <a:lnTo>
                    <a:pt x="1403" y="719"/>
                  </a:lnTo>
                  <a:lnTo>
                    <a:pt x="1403" y="719"/>
                  </a:lnTo>
                  <a:lnTo>
                    <a:pt x="1403" y="719"/>
                  </a:lnTo>
                  <a:lnTo>
                    <a:pt x="1403" y="719"/>
                  </a:lnTo>
                  <a:lnTo>
                    <a:pt x="1403" y="719"/>
                  </a:lnTo>
                  <a:lnTo>
                    <a:pt x="1403" y="719"/>
                  </a:lnTo>
                  <a:lnTo>
                    <a:pt x="1403" y="719"/>
                  </a:lnTo>
                  <a:lnTo>
                    <a:pt x="1403" y="719"/>
                  </a:lnTo>
                  <a:lnTo>
                    <a:pt x="1406" y="721"/>
                  </a:lnTo>
                  <a:lnTo>
                    <a:pt x="1406" y="721"/>
                  </a:lnTo>
                  <a:lnTo>
                    <a:pt x="1406" y="719"/>
                  </a:lnTo>
                  <a:lnTo>
                    <a:pt x="1408" y="719"/>
                  </a:lnTo>
                  <a:lnTo>
                    <a:pt x="1408" y="719"/>
                  </a:lnTo>
                  <a:lnTo>
                    <a:pt x="1406" y="719"/>
                  </a:lnTo>
                  <a:lnTo>
                    <a:pt x="1406" y="719"/>
                  </a:lnTo>
                  <a:lnTo>
                    <a:pt x="1406" y="719"/>
                  </a:lnTo>
                  <a:lnTo>
                    <a:pt x="1406" y="719"/>
                  </a:lnTo>
                  <a:lnTo>
                    <a:pt x="1406" y="719"/>
                  </a:lnTo>
                  <a:lnTo>
                    <a:pt x="1406" y="719"/>
                  </a:lnTo>
                  <a:lnTo>
                    <a:pt x="1406" y="719"/>
                  </a:lnTo>
                  <a:lnTo>
                    <a:pt x="1406" y="719"/>
                  </a:lnTo>
                  <a:lnTo>
                    <a:pt x="1406" y="719"/>
                  </a:lnTo>
                  <a:lnTo>
                    <a:pt x="1406" y="719"/>
                  </a:lnTo>
                  <a:lnTo>
                    <a:pt x="1406" y="719"/>
                  </a:lnTo>
                  <a:lnTo>
                    <a:pt x="1406" y="719"/>
                  </a:lnTo>
                  <a:lnTo>
                    <a:pt x="1406" y="719"/>
                  </a:lnTo>
                  <a:lnTo>
                    <a:pt x="1406" y="719"/>
                  </a:lnTo>
                  <a:lnTo>
                    <a:pt x="1406" y="716"/>
                  </a:lnTo>
                  <a:lnTo>
                    <a:pt x="1406" y="716"/>
                  </a:lnTo>
                  <a:lnTo>
                    <a:pt x="1406" y="719"/>
                  </a:lnTo>
                  <a:lnTo>
                    <a:pt x="1406" y="719"/>
                  </a:lnTo>
                  <a:lnTo>
                    <a:pt x="1406" y="716"/>
                  </a:lnTo>
                  <a:lnTo>
                    <a:pt x="1406" y="716"/>
                  </a:lnTo>
                  <a:lnTo>
                    <a:pt x="1406" y="716"/>
                  </a:lnTo>
                  <a:lnTo>
                    <a:pt x="1403" y="716"/>
                  </a:lnTo>
                  <a:lnTo>
                    <a:pt x="1403" y="716"/>
                  </a:lnTo>
                  <a:lnTo>
                    <a:pt x="1403" y="716"/>
                  </a:lnTo>
                  <a:lnTo>
                    <a:pt x="1403" y="716"/>
                  </a:lnTo>
                  <a:lnTo>
                    <a:pt x="1403" y="716"/>
                  </a:lnTo>
                  <a:lnTo>
                    <a:pt x="1403" y="716"/>
                  </a:lnTo>
                  <a:lnTo>
                    <a:pt x="1403" y="716"/>
                  </a:lnTo>
                  <a:lnTo>
                    <a:pt x="1403" y="716"/>
                  </a:lnTo>
                  <a:lnTo>
                    <a:pt x="1403" y="716"/>
                  </a:lnTo>
                  <a:lnTo>
                    <a:pt x="1403" y="716"/>
                  </a:lnTo>
                  <a:lnTo>
                    <a:pt x="1401" y="716"/>
                  </a:lnTo>
                  <a:lnTo>
                    <a:pt x="1401" y="716"/>
                  </a:lnTo>
                  <a:lnTo>
                    <a:pt x="1401" y="716"/>
                  </a:lnTo>
                  <a:lnTo>
                    <a:pt x="1401" y="716"/>
                  </a:lnTo>
                  <a:lnTo>
                    <a:pt x="1401" y="716"/>
                  </a:lnTo>
                  <a:lnTo>
                    <a:pt x="1401" y="716"/>
                  </a:lnTo>
                  <a:lnTo>
                    <a:pt x="1401" y="716"/>
                  </a:lnTo>
                  <a:lnTo>
                    <a:pt x="1401" y="716"/>
                  </a:lnTo>
                  <a:lnTo>
                    <a:pt x="1401" y="716"/>
                  </a:lnTo>
                  <a:lnTo>
                    <a:pt x="1401" y="719"/>
                  </a:lnTo>
                  <a:lnTo>
                    <a:pt x="1403" y="719"/>
                  </a:lnTo>
                  <a:lnTo>
                    <a:pt x="1403" y="719"/>
                  </a:lnTo>
                  <a:lnTo>
                    <a:pt x="1403" y="719"/>
                  </a:lnTo>
                  <a:close/>
                  <a:moveTo>
                    <a:pt x="1420" y="757"/>
                  </a:moveTo>
                  <a:lnTo>
                    <a:pt x="1420" y="757"/>
                  </a:lnTo>
                  <a:lnTo>
                    <a:pt x="1420" y="757"/>
                  </a:lnTo>
                  <a:lnTo>
                    <a:pt x="1422" y="757"/>
                  </a:lnTo>
                  <a:lnTo>
                    <a:pt x="1422" y="754"/>
                  </a:lnTo>
                  <a:lnTo>
                    <a:pt x="1420" y="754"/>
                  </a:lnTo>
                  <a:lnTo>
                    <a:pt x="1418" y="754"/>
                  </a:lnTo>
                  <a:lnTo>
                    <a:pt x="1415" y="754"/>
                  </a:lnTo>
                  <a:lnTo>
                    <a:pt x="1415" y="754"/>
                  </a:lnTo>
                  <a:lnTo>
                    <a:pt x="1415" y="752"/>
                  </a:lnTo>
                  <a:lnTo>
                    <a:pt x="1415" y="752"/>
                  </a:lnTo>
                  <a:lnTo>
                    <a:pt x="1415" y="749"/>
                  </a:lnTo>
                  <a:lnTo>
                    <a:pt x="1415" y="749"/>
                  </a:lnTo>
                  <a:lnTo>
                    <a:pt x="1415" y="749"/>
                  </a:lnTo>
                  <a:lnTo>
                    <a:pt x="1415" y="749"/>
                  </a:lnTo>
                  <a:lnTo>
                    <a:pt x="1413" y="749"/>
                  </a:lnTo>
                  <a:lnTo>
                    <a:pt x="1410" y="749"/>
                  </a:lnTo>
                  <a:lnTo>
                    <a:pt x="1410" y="749"/>
                  </a:lnTo>
                  <a:lnTo>
                    <a:pt x="1410" y="747"/>
                  </a:lnTo>
                  <a:lnTo>
                    <a:pt x="1410" y="747"/>
                  </a:lnTo>
                  <a:lnTo>
                    <a:pt x="1410" y="747"/>
                  </a:lnTo>
                  <a:lnTo>
                    <a:pt x="1413" y="747"/>
                  </a:lnTo>
                  <a:lnTo>
                    <a:pt x="1410" y="747"/>
                  </a:lnTo>
                  <a:lnTo>
                    <a:pt x="1410" y="747"/>
                  </a:lnTo>
                  <a:lnTo>
                    <a:pt x="1408" y="747"/>
                  </a:lnTo>
                  <a:lnTo>
                    <a:pt x="1408" y="747"/>
                  </a:lnTo>
                  <a:lnTo>
                    <a:pt x="1408" y="749"/>
                  </a:lnTo>
                  <a:lnTo>
                    <a:pt x="1408" y="749"/>
                  </a:lnTo>
                  <a:lnTo>
                    <a:pt x="1408" y="749"/>
                  </a:lnTo>
                  <a:lnTo>
                    <a:pt x="1406" y="749"/>
                  </a:lnTo>
                  <a:lnTo>
                    <a:pt x="1403" y="749"/>
                  </a:lnTo>
                  <a:lnTo>
                    <a:pt x="1403" y="752"/>
                  </a:lnTo>
                  <a:lnTo>
                    <a:pt x="1406" y="754"/>
                  </a:lnTo>
                  <a:lnTo>
                    <a:pt x="1406" y="754"/>
                  </a:lnTo>
                  <a:lnTo>
                    <a:pt x="1406" y="754"/>
                  </a:lnTo>
                  <a:lnTo>
                    <a:pt x="1406" y="752"/>
                  </a:lnTo>
                  <a:lnTo>
                    <a:pt x="1408" y="752"/>
                  </a:lnTo>
                  <a:lnTo>
                    <a:pt x="1408" y="752"/>
                  </a:lnTo>
                  <a:lnTo>
                    <a:pt x="1408" y="754"/>
                  </a:lnTo>
                  <a:lnTo>
                    <a:pt x="1408" y="754"/>
                  </a:lnTo>
                  <a:lnTo>
                    <a:pt x="1410" y="754"/>
                  </a:lnTo>
                  <a:lnTo>
                    <a:pt x="1410" y="754"/>
                  </a:lnTo>
                  <a:lnTo>
                    <a:pt x="1403" y="757"/>
                  </a:lnTo>
                  <a:lnTo>
                    <a:pt x="1403" y="757"/>
                  </a:lnTo>
                  <a:lnTo>
                    <a:pt x="1403" y="757"/>
                  </a:lnTo>
                  <a:lnTo>
                    <a:pt x="1403" y="759"/>
                  </a:lnTo>
                  <a:lnTo>
                    <a:pt x="1403" y="759"/>
                  </a:lnTo>
                  <a:lnTo>
                    <a:pt x="1403" y="759"/>
                  </a:lnTo>
                  <a:lnTo>
                    <a:pt x="1406" y="759"/>
                  </a:lnTo>
                  <a:lnTo>
                    <a:pt x="1406" y="759"/>
                  </a:lnTo>
                  <a:lnTo>
                    <a:pt x="1408" y="759"/>
                  </a:lnTo>
                  <a:lnTo>
                    <a:pt x="1413" y="757"/>
                  </a:lnTo>
                  <a:lnTo>
                    <a:pt x="1415" y="757"/>
                  </a:lnTo>
                  <a:lnTo>
                    <a:pt x="1415" y="759"/>
                  </a:lnTo>
                  <a:lnTo>
                    <a:pt x="1418" y="759"/>
                  </a:lnTo>
                  <a:lnTo>
                    <a:pt x="1418" y="759"/>
                  </a:lnTo>
                  <a:lnTo>
                    <a:pt x="1418" y="759"/>
                  </a:lnTo>
                  <a:lnTo>
                    <a:pt x="1418" y="759"/>
                  </a:lnTo>
                  <a:lnTo>
                    <a:pt x="1418" y="757"/>
                  </a:lnTo>
                  <a:lnTo>
                    <a:pt x="1418" y="757"/>
                  </a:lnTo>
                  <a:lnTo>
                    <a:pt x="1418" y="757"/>
                  </a:lnTo>
                  <a:lnTo>
                    <a:pt x="1422" y="757"/>
                  </a:lnTo>
                  <a:lnTo>
                    <a:pt x="1422" y="757"/>
                  </a:lnTo>
                  <a:lnTo>
                    <a:pt x="1422" y="757"/>
                  </a:lnTo>
                  <a:lnTo>
                    <a:pt x="1422" y="757"/>
                  </a:lnTo>
                  <a:lnTo>
                    <a:pt x="1422" y="757"/>
                  </a:lnTo>
                  <a:lnTo>
                    <a:pt x="1422" y="757"/>
                  </a:lnTo>
                  <a:lnTo>
                    <a:pt x="1420" y="757"/>
                  </a:lnTo>
                  <a:close/>
                  <a:moveTo>
                    <a:pt x="1415" y="728"/>
                  </a:moveTo>
                  <a:lnTo>
                    <a:pt x="1415" y="726"/>
                  </a:lnTo>
                  <a:lnTo>
                    <a:pt x="1415" y="726"/>
                  </a:lnTo>
                  <a:lnTo>
                    <a:pt x="1415" y="726"/>
                  </a:lnTo>
                  <a:lnTo>
                    <a:pt x="1415" y="723"/>
                  </a:lnTo>
                  <a:lnTo>
                    <a:pt x="1415" y="723"/>
                  </a:lnTo>
                  <a:lnTo>
                    <a:pt x="1415" y="723"/>
                  </a:lnTo>
                  <a:lnTo>
                    <a:pt x="1415" y="723"/>
                  </a:lnTo>
                  <a:lnTo>
                    <a:pt x="1413" y="723"/>
                  </a:lnTo>
                  <a:lnTo>
                    <a:pt x="1413" y="726"/>
                  </a:lnTo>
                  <a:lnTo>
                    <a:pt x="1413" y="726"/>
                  </a:lnTo>
                  <a:lnTo>
                    <a:pt x="1413" y="726"/>
                  </a:lnTo>
                  <a:lnTo>
                    <a:pt x="1413" y="728"/>
                  </a:lnTo>
                  <a:lnTo>
                    <a:pt x="1415" y="728"/>
                  </a:lnTo>
                  <a:close/>
                  <a:moveTo>
                    <a:pt x="1391" y="806"/>
                  </a:moveTo>
                  <a:lnTo>
                    <a:pt x="1391" y="809"/>
                  </a:lnTo>
                  <a:lnTo>
                    <a:pt x="1391" y="809"/>
                  </a:lnTo>
                  <a:lnTo>
                    <a:pt x="1391" y="806"/>
                  </a:lnTo>
                  <a:lnTo>
                    <a:pt x="1394" y="806"/>
                  </a:lnTo>
                  <a:lnTo>
                    <a:pt x="1394" y="806"/>
                  </a:lnTo>
                  <a:lnTo>
                    <a:pt x="1391" y="806"/>
                  </a:lnTo>
                  <a:lnTo>
                    <a:pt x="1391" y="806"/>
                  </a:lnTo>
                  <a:close/>
                  <a:moveTo>
                    <a:pt x="1368" y="735"/>
                  </a:moveTo>
                  <a:lnTo>
                    <a:pt x="1365" y="735"/>
                  </a:lnTo>
                  <a:lnTo>
                    <a:pt x="1365" y="738"/>
                  </a:lnTo>
                  <a:lnTo>
                    <a:pt x="1365" y="738"/>
                  </a:lnTo>
                  <a:lnTo>
                    <a:pt x="1365" y="738"/>
                  </a:lnTo>
                  <a:lnTo>
                    <a:pt x="1365" y="740"/>
                  </a:lnTo>
                  <a:lnTo>
                    <a:pt x="1365" y="740"/>
                  </a:lnTo>
                  <a:lnTo>
                    <a:pt x="1368" y="740"/>
                  </a:lnTo>
                  <a:lnTo>
                    <a:pt x="1368" y="740"/>
                  </a:lnTo>
                  <a:lnTo>
                    <a:pt x="1368" y="738"/>
                  </a:lnTo>
                  <a:lnTo>
                    <a:pt x="1368" y="738"/>
                  </a:lnTo>
                  <a:lnTo>
                    <a:pt x="1370" y="735"/>
                  </a:lnTo>
                  <a:lnTo>
                    <a:pt x="1370" y="735"/>
                  </a:lnTo>
                  <a:lnTo>
                    <a:pt x="1370" y="735"/>
                  </a:lnTo>
                  <a:lnTo>
                    <a:pt x="1368" y="735"/>
                  </a:lnTo>
                  <a:close/>
                  <a:moveTo>
                    <a:pt x="1365" y="754"/>
                  </a:moveTo>
                  <a:lnTo>
                    <a:pt x="1365" y="754"/>
                  </a:lnTo>
                  <a:lnTo>
                    <a:pt x="1365" y="754"/>
                  </a:lnTo>
                  <a:lnTo>
                    <a:pt x="1363" y="754"/>
                  </a:lnTo>
                  <a:lnTo>
                    <a:pt x="1361" y="757"/>
                  </a:lnTo>
                  <a:lnTo>
                    <a:pt x="1358" y="757"/>
                  </a:lnTo>
                  <a:lnTo>
                    <a:pt x="1358" y="757"/>
                  </a:lnTo>
                  <a:lnTo>
                    <a:pt x="1358" y="759"/>
                  </a:lnTo>
                  <a:lnTo>
                    <a:pt x="1361" y="759"/>
                  </a:lnTo>
                  <a:lnTo>
                    <a:pt x="1361" y="759"/>
                  </a:lnTo>
                  <a:lnTo>
                    <a:pt x="1363" y="757"/>
                  </a:lnTo>
                  <a:lnTo>
                    <a:pt x="1363" y="757"/>
                  </a:lnTo>
                  <a:lnTo>
                    <a:pt x="1365" y="757"/>
                  </a:lnTo>
                  <a:lnTo>
                    <a:pt x="1365" y="754"/>
                  </a:lnTo>
                  <a:lnTo>
                    <a:pt x="1368" y="754"/>
                  </a:lnTo>
                  <a:lnTo>
                    <a:pt x="1368" y="754"/>
                  </a:lnTo>
                  <a:lnTo>
                    <a:pt x="1365" y="754"/>
                  </a:lnTo>
                  <a:lnTo>
                    <a:pt x="1365" y="754"/>
                  </a:lnTo>
                  <a:close/>
                  <a:moveTo>
                    <a:pt x="1363" y="749"/>
                  </a:moveTo>
                  <a:lnTo>
                    <a:pt x="1363" y="749"/>
                  </a:lnTo>
                  <a:lnTo>
                    <a:pt x="1361" y="749"/>
                  </a:lnTo>
                  <a:lnTo>
                    <a:pt x="1361" y="749"/>
                  </a:lnTo>
                  <a:lnTo>
                    <a:pt x="1358" y="752"/>
                  </a:lnTo>
                  <a:lnTo>
                    <a:pt x="1358" y="752"/>
                  </a:lnTo>
                  <a:lnTo>
                    <a:pt x="1356" y="754"/>
                  </a:lnTo>
                  <a:lnTo>
                    <a:pt x="1358" y="754"/>
                  </a:lnTo>
                  <a:lnTo>
                    <a:pt x="1358" y="754"/>
                  </a:lnTo>
                  <a:lnTo>
                    <a:pt x="1361" y="752"/>
                  </a:lnTo>
                  <a:lnTo>
                    <a:pt x="1361" y="752"/>
                  </a:lnTo>
                  <a:lnTo>
                    <a:pt x="1361" y="752"/>
                  </a:lnTo>
                  <a:lnTo>
                    <a:pt x="1361" y="752"/>
                  </a:lnTo>
                  <a:lnTo>
                    <a:pt x="1361" y="752"/>
                  </a:lnTo>
                  <a:lnTo>
                    <a:pt x="1363" y="752"/>
                  </a:lnTo>
                  <a:lnTo>
                    <a:pt x="1365" y="752"/>
                  </a:lnTo>
                  <a:lnTo>
                    <a:pt x="1365" y="752"/>
                  </a:lnTo>
                  <a:lnTo>
                    <a:pt x="1365" y="752"/>
                  </a:lnTo>
                  <a:lnTo>
                    <a:pt x="1365" y="749"/>
                  </a:lnTo>
                  <a:lnTo>
                    <a:pt x="1365" y="749"/>
                  </a:lnTo>
                  <a:lnTo>
                    <a:pt x="1365" y="749"/>
                  </a:lnTo>
                  <a:lnTo>
                    <a:pt x="1365" y="749"/>
                  </a:lnTo>
                  <a:lnTo>
                    <a:pt x="1365" y="749"/>
                  </a:lnTo>
                  <a:lnTo>
                    <a:pt x="1365" y="747"/>
                  </a:lnTo>
                  <a:lnTo>
                    <a:pt x="1365" y="747"/>
                  </a:lnTo>
                  <a:lnTo>
                    <a:pt x="1365" y="747"/>
                  </a:lnTo>
                  <a:lnTo>
                    <a:pt x="1363" y="749"/>
                  </a:lnTo>
                  <a:lnTo>
                    <a:pt x="1363" y="749"/>
                  </a:lnTo>
                  <a:close/>
                  <a:moveTo>
                    <a:pt x="1380" y="716"/>
                  </a:moveTo>
                  <a:lnTo>
                    <a:pt x="1380" y="716"/>
                  </a:lnTo>
                  <a:lnTo>
                    <a:pt x="1380" y="716"/>
                  </a:lnTo>
                  <a:lnTo>
                    <a:pt x="1380" y="716"/>
                  </a:lnTo>
                  <a:lnTo>
                    <a:pt x="1380" y="716"/>
                  </a:lnTo>
                  <a:lnTo>
                    <a:pt x="1380" y="719"/>
                  </a:lnTo>
                  <a:lnTo>
                    <a:pt x="1380" y="719"/>
                  </a:lnTo>
                  <a:lnTo>
                    <a:pt x="1380" y="716"/>
                  </a:lnTo>
                  <a:lnTo>
                    <a:pt x="1380" y="716"/>
                  </a:lnTo>
                  <a:lnTo>
                    <a:pt x="1377" y="716"/>
                  </a:lnTo>
                  <a:lnTo>
                    <a:pt x="1377" y="719"/>
                  </a:lnTo>
                  <a:lnTo>
                    <a:pt x="1380" y="721"/>
                  </a:lnTo>
                  <a:lnTo>
                    <a:pt x="1380" y="721"/>
                  </a:lnTo>
                  <a:lnTo>
                    <a:pt x="1380" y="721"/>
                  </a:lnTo>
                  <a:lnTo>
                    <a:pt x="1380" y="721"/>
                  </a:lnTo>
                  <a:lnTo>
                    <a:pt x="1380" y="721"/>
                  </a:lnTo>
                  <a:lnTo>
                    <a:pt x="1380" y="721"/>
                  </a:lnTo>
                  <a:lnTo>
                    <a:pt x="1382" y="721"/>
                  </a:lnTo>
                  <a:lnTo>
                    <a:pt x="1382" y="721"/>
                  </a:lnTo>
                  <a:lnTo>
                    <a:pt x="1382" y="719"/>
                  </a:lnTo>
                  <a:lnTo>
                    <a:pt x="1382" y="719"/>
                  </a:lnTo>
                  <a:lnTo>
                    <a:pt x="1382" y="719"/>
                  </a:lnTo>
                  <a:lnTo>
                    <a:pt x="1382" y="716"/>
                  </a:lnTo>
                  <a:lnTo>
                    <a:pt x="1382" y="716"/>
                  </a:lnTo>
                  <a:lnTo>
                    <a:pt x="1380" y="716"/>
                  </a:lnTo>
                  <a:lnTo>
                    <a:pt x="1380" y="719"/>
                  </a:lnTo>
                  <a:lnTo>
                    <a:pt x="1380" y="716"/>
                  </a:lnTo>
                  <a:lnTo>
                    <a:pt x="1380" y="716"/>
                  </a:lnTo>
                  <a:close/>
                  <a:moveTo>
                    <a:pt x="857" y="799"/>
                  </a:moveTo>
                  <a:lnTo>
                    <a:pt x="857" y="799"/>
                  </a:lnTo>
                  <a:lnTo>
                    <a:pt x="857" y="799"/>
                  </a:lnTo>
                  <a:lnTo>
                    <a:pt x="857" y="799"/>
                  </a:lnTo>
                  <a:lnTo>
                    <a:pt x="857" y="799"/>
                  </a:lnTo>
                  <a:lnTo>
                    <a:pt x="857" y="797"/>
                  </a:lnTo>
                  <a:lnTo>
                    <a:pt x="854" y="794"/>
                  </a:lnTo>
                  <a:lnTo>
                    <a:pt x="852" y="794"/>
                  </a:lnTo>
                  <a:lnTo>
                    <a:pt x="852" y="794"/>
                  </a:lnTo>
                  <a:lnTo>
                    <a:pt x="852" y="794"/>
                  </a:lnTo>
                  <a:lnTo>
                    <a:pt x="852" y="797"/>
                  </a:lnTo>
                  <a:lnTo>
                    <a:pt x="850" y="797"/>
                  </a:lnTo>
                  <a:lnTo>
                    <a:pt x="852" y="797"/>
                  </a:lnTo>
                  <a:lnTo>
                    <a:pt x="852" y="797"/>
                  </a:lnTo>
                  <a:lnTo>
                    <a:pt x="852" y="797"/>
                  </a:lnTo>
                  <a:lnTo>
                    <a:pt x="852" y="799"/>
                  </a:lnTo>
                  <a:lnTo>
                    <a:pt x="852" y="799"/>
                  </a:lnTo>
                  <a:lnTo>
                    <a:pt x="854" y="799"/>
                  </a:lnTo>
                  <a:lnTo>
                    <a:pt x="854" y="797"/>
                  </a:lnTo>
                  <a:lnTo>
                    <a:pt x="854" y="797"/>
                  </a:lnTo>
                  <a:lnTo>
                    <a:pt x="854" y="797"/>
                  </a:lnTo>
                  <a:lnTo>
                    <a:pt x="854" y="799"/>
                  </a:lnTo>
                  <a:lnTo>
                    <a:pt x="854" y="799"/>
                  </a:lnTo>
                  <a:lnTo>
                    <a:pt x="852" y="799"/>
                  </a:lnTo>
                  <a:lnTo>
                    <a:pt x="852" y="799"/>
                  </a:lnTo>
                  <a:lnTo>
                    <a:pt x="852" y="802"/>
                  </a:lnTo>
                  <a:lnTo>
                    <a:pt x="852" y="802"/>
                  </a:lnTo>
                  <a:lnTo>
                    <a:pt x="852" y="802"/>
                  </a:lnTo>
                  <a:lnTo>
                    <a:pt x="852" y="802"/>
                  </a:lnTo>
                  <a:lnTo>
                    <a:pt x="854" y="802"/>
                  </a:lnTo>
                  <a:lnTo>
                    <a:pt x="854" y="802"/>
                  </a:lnTo>
                  <a:lnTo>
                    <a:pt x="854" y="802"/>
                  </a:lnTo>
                  <a:lnTo>
                    <a:pt x="854" y="804"/>
                  </a:lnTo>
                  <a:lnTo>
                    <a:pt x="854" y="802"/>
                  </a:lnTo>
                  <a:lnTo>
                    <a:pt x="857" y="802"/>
                  </a:lnTo>
                  <a:lnTo>
                    <a:pt x="857" y="802"/>
                  </a:lnTo>
                  <a:lnTo>
                    <a:pt x="857" y="802"/>
                  </a:lnTo>
                  <a:lnTo>
                    <a:pt x="857" y="799"/>
                  </a:lnTo>
                  <a:close/>
                  <a:moveTo>
                    <a:pt x="1112" y="175"/>
                  </a:moveTo>
                  <a:lnTo>
                    <a:pt x="1115" y="175"/>
                  </a:lnTo>
                  <a:lnTo>
                    <a:pt x="1115" y="175"/>
                  </a:lnTo>
                  <a:lnTo>
                    <a:pt x="1115" y="175"/>
                  </a:lnTo>
                  <a:lnTo>
                    <a:pt x="1112" y="172"/>
                  </a:lnTo>
                  <a:lnTo>
                    <a:pt x="1112" y="172"/>
                  </a:lnTo>
                  <a:lnTo>
                    <a:pt x="1112" y="175"/>
                  </a:lnTo>
                  <a:lnTo>
                    <a:pt x="1110" y="175"/>
                  </a:lnTo>
                  <a:lnTo>
                    <a:pt x="1110" y="175"/>
                  </a:lnTo>
                  <a:lnTo>
                    <a:pt x="1112" y="175"/>
                  </a:lnTo>
                  <a:lnTo>
                    <a:pt x="1112" y="175"/>
                  </a:lnTo>
                  <a:close/>
                  <a:moveTo>
                    <a:pt x="1093" y="175"/>
                  </a:moveTo>
                  <a:lnTo>
                    <a:pt x="1098" y="175"/>
                  </a:lnTo>
                  <a:lnTo>
                    <a:pt x="1098" y="175"/>
                  </a:lnTo>
                  <a:lnTo>
                    <a:pt x="1100" y="175"/>
                  </a:lnTo>
                  <a:lnTo>
                    <a:pt x="1100" y="175"/>
                  </a:lnTo>
                  <a:lnTo>
                    <a:pt x="1100" y="175"/>
                  </a:lnTo>
                  <a:lnTo>
                    <a:pt x="1103" y="175"/>
                  </a:lnTo>
                  <a:lnTo>
                    <a:pt x="1105" y="175"/>
                  </a:lnTo>
                  <a:lnTo>
                    <a:pt x="1108" y="175"/>
                  </a:lnTo>
                  <a:lnTo>
                    <a:pt x="1108" y="175"/>
                  </a:lnTo>
                  <a:lnTo>
                    <a:pt x="1108" y="175"/>
                  </a:lnTo>
                  <a:lnTo>
                    <a:pt x="1110" y="175"/>
                  </a:lnTo>
                  <a:lnTo>
                    <a:pt x="1108" y="172"/>
                  </a:lnTo>
                  <a:lnTo>
                    <a:pt x="1108" y="172"/>
                  </a:lnTo>
                  <a:lnTo>
                    <a:pt x="1105" y="172"/>
                  </a:lnTo>
                  <a:lnTo>
                    <a:pt x="1091" y="172"/>
                  </a:lnTo>
                  <a:lnTo>
                    <a:pt x="1091" y="172"/>
                  </a:lnTo>
                  <a:lnTo>
                    <a:pt x="1091" y="175"/>
                  </a:lnTo>
                  <a:lnTo>
                    <a:pt x="1093" y="175"/>
                  </a:lnTo>
                  <a:lnTo>
                    <a:pt x="1093" y="175"/>
                  </a:lnTo>
                  <a:close/>
                  <a:moveTo>
                    <a:pt x="1058" y="175"/>
                  </a:moveTo>
                  <a:lnTo>
                    <a:pt x="1058" y="175"/>
                  </a:lnTo>
                  <a:lnTo>
                    <a:pt x="1058" y="175"/>
                  </a:lnTo>
                  <a:lnTo>
                    <a:pt x="1060" y="175"/>
                  </a:lnTo>
                  <a:lnTo>
                    <a:pt x="1060" y="175"/>
                  </a:lnTo>
                  <a:lnTo>
                    <a:pt x="1060" y="175"/>
                  </a:lnTo>
                  <a:lnTo>
                    <a:pt x="1060" y="175"/>
                  </a:lnTo>
                  <a:lnTo>
                    <a:pt x="1060" y="175"/>
                  </a:lnTo>
                  <a:lnTo>
                    <a:pt x="1058" y="175"/>
                  </a:lnTo>
                  <a:lnTo>
                    <a:pt x="1058" y="175"/>
                  </a:lnTo>
                  <a:lnTo>
                    <a:pt x="1058" y="175"/>
                  </a:lnTo>
                  <a:lnTo>
                    <a:pt x="1055" y="175"/>
                  </a:lnTo>
                  <a:lnTo>
                    <a:pt x="1058" y="175"/>
                  </a:lnTo>
                  <a:lnTo>
                    <a:pt x="1058" y="175"/>
                  </a:lnTo>
                  <a:close/>
                  <a:moveTo>
                    <a:pt x="1297" y="30"/>
                  </a:moveTo>
                  <a:lnTo>
                    <a:pt x="1297" y="28"/>
                  </a:lnTo>
                  <a:lnTo>
                    <a:pt x="1299" y="26"/>
                  </a:lnTo>
                  <a:lnTo>
                    <a:pt x="1302" y="23"/>
                  </a:lnTo>
                  <a:lnTo>
                    <a:pt x="1302" y="23"/>
                  </a:lnTo>
                  <a:lnTo>
                    <a:pt x="1302" y="23"/>
                  </a:lnTo>
                  <a:lnTo>
                    <a:pt x="1302" y="23"/>
                  </a:lnTo>
                  <a:lnTo>
                    <a:pt x="1299" y="26"/>
                  </a:lnTo>
                  <a:lnTo>
                    <a:pt x="1297" y="28"/>
                  </a:lnTo>
                  <a:lnTo>
                    <a:pt x="1297" y="28"/>
                  </a:lnTo>
                  <a:lnTo>
                    <a:pt x="1294" y="30"/>
                  </a:lnTo>
                  <a:lnTo>
                    <a:pt x="1294" y="30"/>
                  </a:lnTo>
                  <a:lnTo>
                    <a:pt x="1294" y="33"/>
                  </a:lnTo>
                  <a:lnTo>
                    <a:pt x="1292" y="35"/>
                  </a:lnTo>
                  <a:lnTo>
                    <a:pt x="1297" y="30"/>
                  </a:lnTo>
                  <a:lnTo>
                    <a:pt x="1297" y="30"/>
                  </a:lnTo>
                  <a:close/>
                  <a:moveTo>
                    <a:pt x="1077" y="175"/>
                  </a:moveTo>
                  <a:lnTo>
                    <a:pt x="1079" y="175"/>
                  </a:lnTo>
                  <a:lnTo>
                    <a:pt x="1079" y="175"/>
                  </a:lnTo>
                  <a:lnTo>
                    <a:pt x="1079" y="175"/>
                  </a:lnTo>
                  <a:lnTo>
                    <a:pt x="1079" y="175"/>
                  </a:lnTo>
                  <a:lnTo>
                    <a:pt x="1079" y="175"/>
                  </a:lnTo>
                  <a:lnTo>
                    <a:pt x="1084" y="175"/>
                  </a:lnTo>
                  <a:lnTo>
                    <a:pt x="1084" y="175"/>
                  </a:lnTo>
                  <a:lnTo>
                    <a:pt x="1089" y="175"/>
                  </a:lnTo>
                  <a:lnTo>
                    <a:pt x="1089" y="175"/>
                  </a:lnTo>
                  <a:lnTo>
                    <a:pt x="1089" y="175"/>
                  </a:lnTo>
                  <a:lnTo>
                    <a:pt x="1089" y="172"/>
                  </a:lnTo>
                  <a:lnTo>
                    <a:pt x="1089" y="175"/>
                  </a:lnTo>
                  <a:lnTo>
                    <a:pt x="1077" y="175"/>
                  </a:lnTo>
                  <a:lnTo>
                    <a:pt x="1077" y="175"/>
                  </a:lnTo>
                  <a:lnTo>
                    <a:pt x="1077" y="175"/>
                  </a:lnTo>
                  <a:lnTo>
                    <a:pt x="1077" y="175"/>
                  </a:lnTo>
                  <a:close/>
                  <a:moveTo>
                    <a:pt x="1117" y="175"/>
                  </a:moveTo>
                  <a:lnTo>
                    <a:pt x="1119" y="175"/>
                  </a:lnTo>
                  <a:lnTo>
                    <a:pt x="1119" y="175"/>
                  </a:lnTo>
                  <a:lnTo>
                    <a:pt x="1122" y="175"/>
                  </a:lnTo>
                  <a:lnTo>
                    <a:pt x="1122" y="175"/>
                  </a:lnTo>
                  <a:lnTo>
                    <a:pt x="1119" y="172"/>
                  </a:lnTo>
                  <a:lnTo>
                    <a:pt x="1119" y="172"/>
                  </a:lnTo>
                  <a:lnTo>
                    <a:pt x="1117" y="175"/>
                  </a:lnTo>
                  <a:lnTo>
                    <a:pt x="1117" y="175"/>
                  </a:lnTo>
                  <a:lnTo>
                    <a:pt x="1115" y="175"/>
                  </a:lnTo>
                  <a:lnTo>
                    <a:pt x="1115" y="175"/>
                  </a:lnTo>
                  <a:lnTo>
                    <a:pt x="1117" y="175"/>
                  </a:lnTo>
                  <a:lnTo>
                    <a:pt x="1117" y="175"/>
                  </a:lnTo>
                  <a:close/>
                  <a:moveTo>
                    <a:pt x="1141" y="175"/>
                  </a:moveTo>
                  <a:lnTo>
                    <a:pt x="1141" y="175"/>
                  </a:lnTo>
                  <a:lnTo>
                    <a:pt x="1143" y="175"/>
                  </a:lnTo>
                  <a:lnTo>
                    <a:pt x="1143" y="177"/>
                  </a:lnTo>
                  <a:lnTo>
                    <a:pt x="1148" y="177"/>
                  </a:lnTo>
                  <a:lnTo>
                    <a:pt x="1148" y="177"/>
                  </a:lnTo>
                  <a:lnTo>
                    <a:pt x="1148" y="177"/>
                  </a:lnTo>
                  <a:lnTo>
                    <a:pt x="1150" y="177"/>
                  </a:lnTo>
                  <a:lnTo>
                    <a:pt x="1150" y="177"/>
                  </a:lnTo>
                  <a:lnTo>
                    <a:pt x="1150" y="177"/>
                  </a:lnTo>
                  <a:lnTo>
                    <a:pt x="1150" y="177"/>
                  </a:lnTo>
                  <a:lnTo>
                    <a:pt x="1150" y="177"/>
                  </a:lnTo>
                  <a:lnTo>
                    <a:pt x="1150" y="177"/>
                  </a:lnTo>
                  <a:lnTo>
                    <a:pt x="1152" y="177"/>
                  </a:lnTo>
                  <a:lnTo>
                    <a:pt x="1152" y="177"/>
                  </a:lnTo>
                  <a:lnTo>
                    <a:pt x="1152" y="177"/>
                  </a:lnTo>
                  <a:lnTo>
                    <a:pt x="1152" y="177"/>
                  </a:lnTo>
                  <a:lnTo>
                    <a:pt x="1152" y="177"/>
                  </a:lnTo>
                  <a:lnTo>
                    <a:pt x="1152" y="177"/>
                  </a:lnTo>
                  <a:lnTo>
                    <a:pt x="1152" y="177"/>
                  </a:lnTo>
                  <a:lnTo>
                    <a:pt x="1145" y="177"/>
                  </a:lnTo>
                  <a:lnTo>
                    <a:pt x="1136" y="175"/>
                  </a:lnTo>
                  <a:lnTo>
                    <a:pt x="1138" y="175"/>
                  </a:lnTo>
                  <a:lnTo>
                    <a:pt x="1141" y="175"/>
                  </a:lnTo>
                  <a:close/>
                  <a:moveTo>
                    <a:pt x="1136" y="175"/>
                  </a:moveTo>
                  <a:lnTo>
                    <a:pt x="1136" y="175"/>
                  </a:lnTo>
                  <a:lnTo>
                    <a:pt x="1136" y="175"/>
                  </a:lnTo>
                  <a:lnTo>
                    <a:pt x="1136" y="175"/>
                  </a:lnTo>
                  <a:close/>
                  <a:moveTo>
                    <a:pt x="1136" y="175"/>
                  </a:moveTo>
                  <a:lnTo>
                    <a:pt x="1136" y="175"/>
                  </a:lnTo>
                  <a:lnTo>
                    <a:pt x="1134" y="175"/>
                  </a:lnTo>
                  <a:lnTo>
                    <a:pt x="1136" y="175"/>
                  </a:lnTo>
                  <a:lnTo>
                    <a:pt x="1136" y="175"/>
                  </a:lnTo>
                  <a:close/>
                  <a:moveTo>
                    <a:pt x="1126" y="175"/>
                  </a:moveTo>
                  <a:lnTo>
                    <a:pt x="1126" y="175"/>
                  </a:lnTo>
                  <a:lnTo>
                    <a:pt x="1129" y="175"/>
                  </a:lnTo>
                  <a:lnTo>
                    <a:pt x="1129" y="175"/>
                  </a:lnTo>
                  <a:lnTo>
                    <a:pt x="1131" y="175"/>
                  </a:lnTo>
                  <a:lnTo>
                    <a:pt x="1131" y="175"/>
                  </a:lnTo>
                  <a:lnTo>
                    <a:pt x="1131" y="175"/>
                  </a:lnTo>
                  <a:lnTo>
                    <a:pt x="1131" y="175"/>
                  </a:lnTo>
                  <a:lnTo>
                    <a:pt x="1126" y="172"/>
                  </a:lnTo>
                  <a:lnTo>
                    <a:pt x="1126" y="172"/>
                  </a:lnTo>
                  <a:lnTo>
                    <a:pt x="1126" y="175"/>
                  </a:lnTo>
                  <a:lnTo>
                    <a:pt x="1126" y="175"/>
                  </a:lnTo>
                  <a:lnTo>
                    <a:pt x="1126" y="175"/>
                  </a:lnTo>
                  <a:close/>
                  <a:moveTo>
                    <a:pt x="1134" y="175"/>
                  </a:moveTo>
                  <a:lnTo>
                    <a:pt x="1131" y="175"/>
                  </a:lnTo>
                  <a:lnTo>
                    <a:pt x="1131" y="175"/>
                  </a:lnTo>
                  <a:lnTo>
                    <a:pt x="1134" y="175"/>
                  </a:lnTo>
                  <a:lnTo>
                    <a:pt x="1134" y="175"/>
                  </a:lnTo>
                  <a:close/>
                  <a:moveTo>
                    <a:pt x="1060" y="177"/>
                  </a:moveTo>
                  <a:lnTo>
                    <a:pt x="1060" y="177"/>
                  </a:lnTo>
                  <a:lnTo>
                    <a:pt x="1060" y="177"/>
                  </a:lnTo>
                  <a:lnTo>
                    <a:pt x="1063" y="175"/>
                  </a:lnTo>
                  <a:lnTo>
                    <a:pt x="1063" y="175"/>
                  </a:lnTo>
                  <a:lnTo>
                    <a:pt x="1063" y="175"/>
                  </a:lnTo>
                  <a:lnTo>
                    <a:pt x="1063" y="175"/>
                  </a:lnTo>
                  <a:lnTo>
                    <a:pt x="1065" y="175"/>
                  </a:lnTo>
                  <a:lnTo>
                    <a:pt x="1065" y="175"/>
                  </a:lnTo>
                  <a:lnTo>
                    <a:pt x="1065" y="175"/>
                  </a:lnTo>
                  <a:lnTo>
                    <a:pt x="1063" y="175"/>
                  </a:lnTo>
                  <a:lnTo>
                    <a:pt x="1063" y="175"/>
                  </a:lnTo>
                  <a:lnTo>
                    <a:pt x="1060" y="175"/>
                  </a:lnTo>
                  <a:lnTo>
                    <a:pt x="1060" y="175"/>
                  </a:lnTo>
                  <a:lnTo>
                    <a:pt x="1060" y="175"/>
                  </a:lnTo>
                  <a:lnTo>
                    <a:pt x="1060" y="175"/>
                  </a:lnTo>
                  <a:lnTo>
                    <a:pt x="1060" y="177"/>
                  </a:lnTo>
                  <a:close/>
                  <a:moveTo>
                    <a:pt x="885" y="234"/>
                  </a:moveTo>
                  <a:lnTo>
                    <a:pt x="885" y="236"/>
                  </a:lnTo>
                  <a:lnTo>
                    <a:pt x="885" y="236"/>
                  </a:lnTo>
                  <a:lnTo>
                    <a:pt x="885" y="236"/>
                  </a:lnTo>
                  <a:lnTo>
                    <a:pt x="887" y="236"/>
                  </a:lnTo>
                  <a:lnTo>
                    <a:pt x="887" y="236"/>
                  </a:lnTo>
                  <a:lnTo>
                    <a:pt x="887" y="236"/>
                  </a:lnTo>
                  <a:lnTo>
                    <a:pt x="887" y="236"/>
                  </a:lnTo>
                  <a:lnTo>
                    <a:pt x="887" y="241"/>
                  </a:lnTo>
                  <a:lnTo>
                    <a:pt x="890" y="241"/>
                  </a:lnTo>
                  <a:lnTo>
                    <a:pt x="890" y="241"/>
                  </a:lnTo>
                  <a:lnTo>
                    <a:pt x="892" y="241"/>
                  </a:lnTo>
                  <a:lnTo>
                    <a:pt x="892" y="241"/>
                  </a:lnTo>
                  <a:lnTo>
                    <a:pt x="892" y="241"/>
                  </a:lnTo>
                  <a:lnTo>
                    <a:pt x="895" y="239"/>
                  </a:lnTo>
                  <a:lnTo>
                    <a:pt x="895" y="239"/>
                  </a:lnTo>
                  <a:lnTo>
                    <a:pt x="895" y="239"/>
                  </a:lnTo>
                  <a:lnTo>
                    <a:pt x="897" y="241"/>
                  </a:lnTo>
                  <a:lnTo>
                    <a:pt x="899" y="241"/>
                  </a:lnTo>
                  <a:lnTo>
                    <a:pt x="899" y="239"/>
                  </a:lnTo>
                  <a:lnTo>
                    <a:pt x="899" y="239"/>
                  </a:lnTo>
                  <a:lnTo>
                    <a:pt x="902" y="241"/>
                  </a:lnTo>
                  <a:lnTo>
                    <a:pt x="902" y="241"/>
                  </a:lnTo>
                  <a:lnTo>
                    <a:pt x="902" y="241"/>
                  </a:lnTo>
                  <a:lnTo>
                    <a:pt x="902" y="239"/>
                  </a:lnTo>
                  <a:lnTo>
                    <a:pt x="906" y="243"/>
                  </a:lnTo>
                  <a:lnTo>
                    <a:pt x="906" y="243"/>
                  </a:lnTo>
                  <a:lnTo>
                    <a:pt x="906" y="243"/>
                  </a:lnTo>
                  <a:lnTo>
                    <a:pt x="906" y="243"/>
                  </a:lnTo>
                  <a:lnTo>
                    <a:pt x="906" y="246"/>
                  </a:lnTo>
                  <a:lnTo>
                    <a:pt x="906" y="246"/>
                  </a:lnTo>
                  <a:lnTo>
                    <a:pt x="906" y="246"/>
                  </a:lnTo>
                  <a:lnTo>
                    <a:pt x="909" y="248"/>
                  </a:lnTo>
                  <a:lnTo>
                    <a:pt x="909" y="248"/>
                  </a:lnTo>
                  <a:lnTo>
                    <a:pt x="909" y="248"/>
                  </a:lnTo>
                  <a:lnTo>
                    <a:pt x="909" y="248"/>
                  </a:lnTo>
                  <a:lnTo>
                    <a:pt x="909" y="248"/>
                  </a:lnTo>
                  <a:lnTo>
                    <a:pt x="911" y="250"/>
                  </a:lnTo>
                  <a:lnTo>
                    <a:pt x="911" y="255"/>
                  </a:lnTo>
                  <a:lnTo>
                    <a:pt x="911" y="255"/>
                  </a:lnTo>
                  <a:lnTo>
                    <a:pt x="913" y="260"/>
                  </a:lnTo>
                  <a:lnTo>
                    <a:pt x="913" y="260"/>
                  </a:lnTo>
                  <a:lnTo>
                    <a:pt x="913" y="262"/>
                  </a:lnTo>
                  <a:lnTo>
                    <a:pt x="913" y="262"/>
                  </a:lnTo>
                  <a:lnTo>
                    <a:pt x="913" y="262"/>
                  </a:lnTo>
                  <a:lnTo>
                    <a:pt x="913" y="262"/>
                  </a:lnTo>
                  <a:lnTo>
                    <a:pt x="913" y="262"/>
                  </a:lnTo>
                  <a:lnTo>
                    <a:pt x="913" y="265"/>
                  </a:lnTo>
                  <a:lnTo>
                    <a:pt x="911" y="265"/>
                  </a:lnTo>
                  <a:lnTo>
                    <a:pt x="911" y="265"/>
                  </a:lnTo>
                  <a:lnTo>
                    <a:pt x="911" y="265"/>
                  </a:lnTo>
                  <a:lnTo>
                    <a:pt x="911" y="265"/>
                  </a:lnTo>
                  <a:lnTo>
                    <a:pt x="911" y="265"/>
                  </a:lnTo>
                  <a:lnTo>
                    <a:pt x="911" y="265"/>
                  </a:lnTo>
                  <a:lnTo>
                    <a:pt x="911" y="267"/>
                  </a:lnTo>
                  <a:lnTo>
                    <a:pt x="911" y="267"/>
                  </a:lnTo>
                  <a:lnTo>
                    <a:pt x="911" y="267"/>
                  </a:lnTo>
                  <a:lnTo>
                    <a:pt x="911" y="267"/>
                  </a:lnTo>
                  <a:lnTo>
                    <a:pt x="913" y="267"/>
                  </a:lnTo>
                  <a:lnTo>
                    <a:pt x="913" y="267"/>
                  </a:lnTo>
                  <a:lnTo>
                    <a:pt x="913" y="267"/>
                  </a:lnTo>
                  <a:lnTo>
                    <a:pt x="913" y="269"/>
                  </a:lnTo>
                  <a:lnTo>
                    <a:pt x="913" y="269"/>
                  </a:lnTo>
                  <a:lnTo>
                    <a:pt x="913" y="269"/>
                  </a:lnTo>
                  <a:lnTo>
                    <a:pt x="913" y="269"/>
                  </a:lnTo>
                  <a:lnTo>
                    <a:pt x="913" y="269"/>
                  </a:lnTo>
                  <a:lnTo>
                    <a:pt x="913" y="269"/>
                  </a:lnTo>
                  <a:lnTo>
                    <a:pt x="913" y="272"/>
                  </a:lnTo>
                  <a:lnTo>
                    <a:pt x="916" y="272"/>
                  </a:lnTo>
                  <a:lnTo>
                    <a:pt x="916" y="272"/>
                  </a:lnTo>
                  <a:lnTo>
                    <a:pt x="916" y="274"/>
                  </a:lnTo>
                  <a:lnTo>
                    <a:pt x="918" y="276"/>
                  </a:lnTo>
                  <a:lnTo>
                    <a:pt x="918" y="279"/>
                  </a:lnTo>
                  <a:lnTo>
                    <a:pt x="916" y="281"/>
                  </a:lnTo>
                  <a:lnTo>
                    <a:pt x="916" y="281"/>
                  </a:lnTo>
                  <a:lnTo>
                    <a:pt x="918" y="281"/>
                  </a:lnTo>
                  <a:lnTo>
                    <a:pt x="918" y="281"/>
                  </a:lnTo>
                  <a:lnTo>
                    <a:pt x="916" y="283"/>
                  </a:lnTo>
                  <a:lnTo>
                    <a:pt x="916" y="283"/>
                  </a:lnTo>
                  <a:lnTo>
                    <a:pt x="916" y="283"/>
                  </a:lnTo>
                  <a:lnTo>
                    <a:pt x="913" y="283"/>
                  </a:lnTo>
                  <a:lnTo>
                    <a:pt x="913" y="283"/>
                  </a:lnTo>
                  <a:lnTo>
                    <a:pt x="913" y="283"/>
                  </a:lnTo>
                  <a:lnTo>
                    <a:pt x="913" y="286"/>
                  </a:lnTo>
                  <a:lnTo>
                    <a:pt x="913" y="286"/>
                  </a:lnTo>
                  <a:lnTo>
                    <a:pt x="913" y="286"/>
                  </a:lnTo>
                  <a:lnTo>
                    <a:pt x="913" y="286"/>
                  </a:lnTo>
                  <a:lnTo>
                    <a:pt x="913" y="288"/>
                  </a:lnTo>
                  <a:lnTo>
                    <a:pt x="916" y="288"/>
                  </a:lnTo>
                  <a:lnTo>
                    <a:pt x="916" y="288"/>
                  </a:lnTo>
                  <a:lnTo>
                    <a:pt x="916" y="288"/>
                  </a:lnTo>
                  <a:lnTo>
                    <a:pt x="918" y="288"/>
                  </a:lnTo>
                  <a:lnTo>
                    <a:pt x="918" y="288"/>
                  </a:lnTo>
                  <a:lnTo>
                    <a:pt x="918" y="288"/>
                  </a:lnTo>
                  <a:lnTo>
                    <a:pt x="918" y="286"/>
                  </a:lnTo>
                  <a:lnTo>
                    <a:pt x="918" y="286"/>
                  </a:lnTo>
                  <a:lnTo>
                    <a:pt x="921" y="283"/>
                  </a:lnTo>
                  <a:lnTo>
                    <a:pt x="921" y="283"/>
                  </a:lnTo>
                  <a:lnTo>
                    <a:pt x="921" y="283"/>
                  </a:lnTo>
                  <a:lnTo>
                    <a:pt x="923" y="283"/>
                  </a:lnTo>
                  <a:lnTo>
                    <a:pt x="923" y="283"/>
                  </a:lnTo>
                  <a:lnTo>
                    <a:pt x="923" y="283"/>
                  </a:lnTo>
                  <a:lnTo>
                    <a:pt x="925" y="283"/>
                  </a:lnTo>
                  <a:lnTo>
                    <a:pt x="928" y="283"/>
                  </a:lnTo>
                  <a:lnTo>
                    <a:pt x="928" y="283"/>
                  </a:lnTo>
                  <a:lnTo>
                    <a:pt x="928" y="283"/>
                  </a:lnTo>
                  <a:lnTo>
                    <a:pt x="928" y="281"/>
                  </a:lnTo>
                  <a:lnTo>
                    <a:pt x="930" y="281"/>
                  </a:lnTo>
                  <a:lnTo>
                    <a:pt x="932" y="281"/>
                  </a:lnTo>
                  <a:lnTo>
                    <a:pt x="935" y="283"/>
                  </a:lnTo>
                  <a:lnTo>
                    <a:pt x="935" y="283"/>
                  </a:lnTo>
                  <a:lnTo>
                    <a:pt x="935" y="283"/>
                  </a:lnTo>
                  <a:lnTo>
                    <a:pt x="932" y="283"/>
                  </a:lnTo>
                  <a:lnTo>
                    <a:pt x="932" y="283"/>
                  </a:lnTo>
                  <a:lnTo>
                    <a:pt x="930" y="283"/>
                  </a:lnTo>
                  <a:lnTo>
                    <a:pt x="932" y="283"/>
                  </a:lnTo>
                  <a:lnTo>
                    <a:pt x="937" y="286"/>
                  </a:lnTo>
                  <a:lnTo>
                    <a:pt x="937" y="286"/>
                  </a:lnTo>
                  <a:lnTo>
                    <a:pt x="937" y="288"/>
                  </a:lnTo>
                  <a:lnTo>
                    <a:pt x="937" y="288"/>
                  </a:lnTo>
                  <a:lnTo>
                    <a:pt x="939" y="291"/>
                  </a:lnTo>
                  <a:lnTo>
                    <a:pt x="942" y="291"/>
                  </a:lnTo>
                  <a:lnTo>
                    <a:pt x="944" y="291"/>
                  </a:lnTo>
                  <a:lnTo>
                    <a:pt x="947" y="288"/>
                  </a:lnTo>
                  <a:lnTo>
                    <a:pt x="947" y="288"/>
                  </a:lnTo>
                  <a:lnTo>
                    <a:pt x="947" y="286"/>
                  </a:lnTo>
                  <a:lnTo>
                    <a:pt x="947" y="286"/>
                  </a:lnTo>
                  <a:lnTo>
                    <a:pt x="949" y="286"/>
                  </a:lnTo>
                  <a:lnTo>
                    <a:pt x="949" y="286"/>
                  </a:lnTo>
                  <a:lnTo>
                    <a:pt x="949" y="286"/>
                  </a:lnTo>
                  <a:lnTo>
                    <a:pt x="944" y="279"/>
                  </a:lnTo>
                  <a:lnTo>
                    <a:pt x="944" y="279"/>
                  </a:lnTo>
                  <a:lnTo>
                    <a:pt x="944" y="279"/>
                  </a:lnTo>
                  <a:lnTo>
                    <a:pt x="942" y="279"/>
                  </a:lnTo>
                  <a:lnTo>
                    <a:pt x="939" y="274"/>
                  </a:lnTo>
                  <a:lnTo>
                    <a:pt x="939" y="276"/>
                  </a:lnTo>
                  <a:lnTo>
                    <a:pt x="939" y="276"/>
                  </a:lnTo>
                  <a:lnTo>
                    <a:pt x="942" y="279"/>
                  </a:lnTo>
                  <a:lnTo>
                    <a:pt x="942" y="279"/>
                  </a:lnTo>
                  <a:lnTo>
                    <a:pt x="939" y="279"/>
                  </a:lnTo>
                  <a:lnTo>
                    <a:pt x="939" y="279"/>
                  </a:lnTo>
                  <a:lnTo>
                    <a:pt x="937" y="279"/>
                  </a:lnTo>
                  <a:lnTo>
                    <a:pt x="937" y="276"/>
                  </a:lnTo>
                  <a:lnTo>
                    <a:pt x="937" y="274"/>
                  </a:lnTo>
                  <a:lnTo>
                    <a:pt x="937" y="274"/>
                  </a:lnTo>
                  <a:lnTo>
                    <a:pt x="937" y="272"/>
                  </a:lnTo>
                  <a:lnTo>
                    <a:pt x="935" y="272"/>
                  </a:lnTo>
                  <a:lnTo>
                    <a:pt x="935" y="272"/>
                  </a:lnTo>
                  <a:lnTo>
                    <a:pt x="935" y="272"/>
                  </a:lnTo>
                  <a:lnTo>
                    <a:pt x="935" y="272"/>
                  </a:lnTo>
                  <a:lnTo>
                    <a:pt x="932" y="272"/>
                  </a:lnTo>
                  <a:lnTo>
                    <a:pt x="932" y="269"/>
                  </a:lnTo>
                  <a:lnTo>
                    <a:pt x="932" y="269"/>
                  </a:lnTo>
                  <a:lnTo>
                    <a:pt x="932" y="267"/>
                  </a:lnTo>
                  <a:lnTo>
                    <a:pt x="932" y="267"/>
                  </a:lnTo>
                  <a:lnTo>
                    <a:pt x="932" y="265"/>
                  </a:lnTo>
                  <a:lnTo>
                    <a:pt x="932" y="265"/>
                  </a:lnTo>
                  <a:lnTo>
                    <a:pt x="930" y="262"/>
                  </a:lnTo>
                  <a:lnTo>
                    <a:pt x="928" y="260"/>
                  </a:lnTo>
                  <a:lnTo>
                    <a:pt x="930" y="260"/>
                  </a:lnTo>
                  <a:lnTo>
                    <a:pt x="930" y="262"/>
                  </a:lnTo>
                  <a:lnTo>
                    <a:pt x="930" y="262"/>
                  </a:lnTo>
                  <a:lnTo>
                    <a:pt x="928" y="260"/>
                  </a:lnTo>
                  <a:lnTo>
                    <a:pt x="928" y="257"/>
                  </a:lnTo>
                  <a:lnTo>
                    <a:pt x="928" y="255"/>
                  </a:lnTo>
                  <a:lnTo>
                    <a:pt x="925" y="255"/>
                  </a:lnTo>
                  <a:lnTo>
                    <a:pt x="925" y="255"/>
                  </a:lnTo>
                  <a:lnTo>
                    <a:pt x="925" y="255"/>
                  </a:lnTo>
                  <a:lnTo>
                    <a:pt x="925" y="253"/>
                  </a:lnTo>
                  <a:lnTo>
                    <a:pt x="925" y="253"/>
                  </a:lnTo>
                  <a:lnTo>
                    <a:pt x="928" y="253"/>
                  </a:lnTo>
                  <a:lnTo>
                    <a:pt x="928" y="253"/>
                  </a:lnTo>
                  <a:lnTo>
                    <a:pt x="928" y="250"/>
                  </a:lnTo>
                  <a:lnTo>
                    <a:pt x="928" y="250"/>
                  </a:lnTo>
                  <a:lnTo>
                    <a:pt x="928" y="250"/>
                  </a:lnTo>
                  <a:lnTo>
                    <a:pt x="928" y="250"/>
                  </a:lnTo>
                  <a:lnTo>
                    <a:pt x="928" y="250"/>
                  </a:lnTo>
                  <a:lnTo>
                    <a:pt x="930" y="248"/>
                  </a:lnTo>
                  <a:lnTo>
                    <a:pt x="930" y="248"/>
                  </a:lnTo>
                  <a:lnTo>
                    <a:pt x="930" y="248"/>
                  </a:lnTo>
                  <a:lnTo>
                    <a:pt x="928" y="246"/>
                  </a:lnTo>
                  <a:lnTo>
                    <a:pt x="928" y="246"/>
                  </a:lnTo>
                  <a:lnTo>
                    <a:pt x="928" y="243"/>
                  </a:lnTo>
                  <a:lnTo>
                    <a:pt x="928" y="241"/>
                  </a:lnTo>
                  <a:lnTo>
                    <a:pt x="928" y="241"/>
                  </a:lnTo>
                  <a:lnTo>
                    <a:pt x="928" y="241"/>
                  </a:lnTo>
                  <a:lnTo>
                    <a:pt x="928" y="241"/>
                  </a:lnTo>
                  <a:lnTo>
                    <a:pt x="928" y="241"/>
                  </a:lnTo>
                  <a:lnTo>
                    <a:pt x="928" y="239"/>
                  </a:lnTo>
                  <a:lnTo>
                    <a:pt x="925" y="239"/>
                  </a:lnTo>
                  <a:lnTo>
                    <a:pt x="925" y="239"/>
                  </a:lnTo>
                  <a:lnTo>
                    <a:pt x="925" y="239"/>
                  </a:lnTo>
                  <a:lnTo>
                    <a:pt x="925" y="236"/>
                  </a:lnTo>
                  <a:lnTo>
                    <a:pt x="923" y="236"/>
                  </a:lnTo>
                  <a:lnTo>
                    <a:pt x="923" y="236"/>
                  </a:lnTo>
                  <a:lnTo>
                    <a:pt x="921" y="236"/>
                  </a:lnTo>
                  <a:lnTo>
                    <a:pt x="918" y="236"/>
                  </a:lnTo>
                  <a:lnTo>
                    <a:pt x="921" y="234"/>
                  </a:lnTo>
                  <a:lnTo>
                    <a:pt x="918" y="236"/>
                  </a:lnTo>
                  <a:lnTo>
                    <a:pt x="916" y="236"/>
                  </a:lnTo>
                  <a:lnTo>
                    <a:pt x="913" y="236"/>
                  </a:lnTo>
                  <a:lnTo>
                    <a:pt x="911" y="236"/>
                  </a:lnTo>
                  <a:lnTo>
                    <a:pt x="911" y="236"/>
                  </a:lnTo>
                  <a:lnTo>
                    <a:pt x="909" y="236"/>
                  </a:lnTo>
                  <a:lnTo>
                    <a:pt x="909" y="234"/>
                  </a:lnTo>
                  <a:lnTo>
                    <a:pt x="909" y="234"/>
                  </a:lnTo>
                  <a:lnTo>
                    <a:pt x="909" y="234"/>
                  </a:lnTo>
                  <a:lnTo>
                    <a:pt x="909" y="234"/>
                  </a:lnTo>
                  <a:lnTo>
                    <a:pt x="909" y="234"/>
                  </a:lnTo>
                  <a:lnTo>
                    <a:pt x="906" y="234"/>
                  </a:lnTo>
                  <a:lnTo>
                    <a:pt x="906" y="231"/>
                  </a:lnTo>
                  <a:lnTo>
                    <a:pt x="906" y="231"/>
                  </a:lnTo>
                  <a:lnTo>
                    <a:pt x="906" y="231"/>
                  </a:lnTo>
                  <a:lnTo>
                    <a:pt x="904" y="231"/>
                  </a:lnTo>
                  <a:lnTo>
                    <a:pt x="904" y="231"/>
                  </a:lnTo>
                  <a:lnTo>
                    <a:pt x="904" y="231"/>
                  </a:lnTo>
                  <a:lnTo>
                    <a:pt x="904" y="229"/>
                  </a:lnTo>
                  <a:lnTo>
                    <a:pt x="906" y="229"/>
                  </a:lnTo>
                  <a:lnTo>
                    <a:pt x="902" y="224"/>
                  </a:lnTo>
                  <a:lnTo>
                    <a:pt x="902" y="227"/>
                  </a:lnTo>
                  <a:lnTo>
                    <a:pt x="902" y="227"/>
                  </a:lnTo>
                  <a:lnTo>
                    <a:pt x="902" y="227"/>
                  </a:lnTo>
                  <a:lnTo>
                    <a:pt x="902" y="227"/>
                  </a:lnTo>
                  <a:lnTo>
                    <a:pt x="902" y="227"/>
                  </a:lnTo>
                  <a:lnTo>
                    <a:pt x="897" y="224"/>
                  </a:lnTo>
                  <a:lnTo>
                    <a:pt x="897" y="224"/>
                  </a:lnTo>
                  <a:lnTo>
                    <a:pt x="897" y="224"/>
                  </a:lnTo>
                  <a:lnTo>
                    <a:pt x="897" y="224"/>
                  </a:lnTo>
                  <a:lnTo>
                    <a:pt x="897" y="224"/>
                  </a:lnTo>
                  <a:lnTo>
                    <a:pt x="897" y="224"/>
                  </a:lnTo>
                  <a:lnTo>
                    <a:pt x="897" y="224"/>
                  </a:lnTo>
                  <a:lnTo>
                    <a:pt x="897" y="222"/>
                  </a:lnTo>
                  <a:lnTo>
                    <a:pt x="899" y="222"/>
                  </a:lnTo>
                  <a:lnTo>
                    <a:pt x="899" y="222"/>
                  </a:lnTo>
                  <a:lnTo>
                    <a:pt x="899" y="222"/>
                  </a:lnTo>
                  <a:lnTo>
                    <a:pt x="902" y="224"/>
                  </a:lnTo>
                  <a:lnTo>
                    <a:pt x="902" y="224"/>
                  </a:lnTo>
                  <a:lnTo>
                    <a:pt x="902" y="222"/>
                  </a:lnTo>
                  <a:lnTo>
                    <a:pt x="899" y="220"/>
                  </a:lnTo>
                  <a:lnTo>
                    <a:pt x="899" y="217"/>
                  </a:lnTo>
                  <a:lnTo>
                    <a:pt x="899" y="217"/>
                  </a:lnTo>
                  <a:lnTo>
                    <a:pt x="899" y="217"/>
                  </a:lnTo>
                  <a:lnTo>
                    <a:pt x="899" y="215"/>
                  </a:lnTo>
                  <a:lnTo>
                    <a:pt x="899" y="215"/>
                  </a:lnTo>
                  <a:lnTo>
                    <a:pt x="902" y="215"/>
                  </a:lnTo>
                  <a:lnTo>
                    <a:pt x="902" y="215"/>
                  </a:lnTo>
                  <a:lnTo>
                    <a:pt x="902" y="213"/>
                  </a:lnTo>
                  <a:lnTo>
                    <a:pt x="902" y="213"/>
                  </a:lnTo>
                  <a:lnTo>
                    <a:pt x="899" y="213"/>
                  </a:lnTo>
                  <a:lnTo>
                    <a:pt x="899" y="213"/>
                  </a:lnTo>
                  <a:lnTo>
                    <a:pt x="899" y="213"/>
                  </a:lnTo>
                  <a:lnTo>
                    <a:pt x="899" y="213"/>
                  </a:lnTo>
                  <a:lnTo>
                    <a:pt x="899" y="213"/>
                  </a:lnTo>
                  <a:lnTo>
                    <a:pt x="899" y="213"/>
                  </a:lnTo>
                  <a:lnTo>
                    <a:pt x="899" y="213"/>
                  </a:lnTo>
                  <a:lnTo>
                    <a:pt x="899" y="213"/>
                  </a:lnTo>
                  <a:lnTo>
                    <a:pt x="899" y="213"/>
                  </a:lnTo>
                  <a:lnTo>
                    <a:pt x="899" y="215"/>
                  </a:lnTo>
                  <a:lnTo>
                    <a:pt x="897" y="215"/>
                  </a:lnTo>
                  <a:lnTo>
                    <a:pt x="897" y="215"/>
                  </a:lnTo>
                  <a:lnTo>
                    <a:pt x="895" y="217"/>
                  </a:lnTo>
                  <a:lnTo>
                    <a:pt x="895" y="217"/>
                  </a:lnTo>
                  <a:lnTo>
                    <a:pt x="895" y="217"/>
                  </a:lnTo>
                  <a:lnTo>
                    <a:pt x="895" y="217"/>
                  </a:lnTo>
                  <a:lnTo>
                    <a:pt x="892" y="217"/>
                  </a:lnTo>
                  <a:lnTo>
                    <a:pt x="892" y="217"/>
                  </a:lnTo>
                  <a:lnTo>
                    <a:pt x="892" y="217"/>
                  </a:lnTo>
                  <a:lnTo>
                    <a:pt x="892" y="217"/>
                  </a:lnTo>
                  <a:lnTo>
                    <a:pt x="892" y="220"/>
                  </a:lnTo>
                  <a:lnTo>
                    <a:pt x="892" y="220"/>
                  </a:lnTo>
                  <a:lnTo>
                    <a:pt x="892" y="220"/>
                  </a:lnTo>
                  <a:lnTo>
                    <a:pt x="892" y="220"/>
                  </a:lnTo>
                  <a:lnTo>
                    <a:pt x="890" y="220"/>
                  </a:lnTo>
                  <a:lnTo>
                    <a:pt x="890" y="220"/>
                  </a:lnTo>
                  <a:lnTo>
                    <a:pt x="890" y="220"/>
                  </a:lnTo>
                  <a:lnTo>
                    <a:pt x="890" y="220"/>
                  </a:lnTo>
                  <a:lnTo>
                    <a:pt x="890" y="220"/>
                  </a:lnTo>
                  <a:lnTo>
                    <a:pt x="887" y="222"/>
                  </a:lnTo>
                  <a:lnTo>
                    <a:pt x="887" y="222"/>
                  </a:lnTo>
                  <a:lnTo>
                    <a:pt x="887" y="222"/>
                  </a:lnTo>
                  <a:lnTo>
                    <a:pt x="887" y="222"/>
                  </a:lnTo>
                  <a:lnTo>
                    <a:pt x="887" y="222"/>
                  </a:lnTo>
                  <a:lnTo>
                    <a:pt x="887" y="222"/>
                  </a:lnTo>
                  <a:lnTo>
                    <a:pt x="887" y="222"/>
                  </a:lnTo>
                  <a:lnTo>
                    <a:pt x="887" y="224"/>
                  </a:lnTo>
                  <a:lnTo>
                    <a:pt x="885" y="224"/>
                  </a:lnTo>
                  <a:lnTo>
                    <a:pt x="885" y="224"/>
                  </a:lnTo>
                  <a:lnTo>
                    <a:pt x="885" y="227"/>
                  </a:lnTo>
                  <a:lnTo>
                    <a:pt x="885" y="227"/>
                  </a:lnTo>
                  <a:lnTo>
                    <a:pt x="885" y="227"/>
                  </a:lnTo>
                  <a:lnTo>
                    <a:pt x="883" y="231"/>
                  </a:lnTo>
                  <a:lnTo>
                    <a:pt x="883" y="231"/>
                  </a:lnTo>
                  <a:lnTo>
                    <a:pt x="885" y="234"/>
                  </a:lnTo>
                  <a:lnTo>
                    <a:pt x="885" y="234"/>
                  </a:lnTo>
                  <a:close/>
                  <a:moveTo>
                    <a:pt x="906" y="231"/>
                  </a:moveTo>
                  <a:lnTo>
                    <a:pt x="906" y="231"/>
                  </a:lnTo>
                  <a:lnTo>
                    <a:pt x="906" y="231"/>
                  </a:lnTo>
                  <a:lnTo>
                    <a:pt x="906" y="231"/>
                  </a:lnTo>
                  <a:close/>
                  <a:moveTo>
                    <a:pt x="906" y="231"/>
                  </a:moveTo>
                  <a:lnTo>
                    <a:pt x="906" y="229"/>
                  </a:lnTo>
                  <a:lnTo>
                    <a:pt x="906" y="231"/>
                  </a:lnTo>
                  <a:lnTo>
                    <a:pt x="906" y="231"/>
                  </a:lnTo>
                  <a:close/>
                  <a:moveTo>
                    <a:pt x="911" y="257"/>
                  </a:moveTo>
                  <a:lnTo>
                    <a:pt x="911" y="255"/>
                  </a:lnTo>
                  <a:lnTo>
                    <a:pt x="906" y="248"/>
                  </a:lnTo>
                  <a:lnTo>
                    <a:pt x="911" y="255"/>
                  </a:lnTo>
                  <a:lnTo>
                    <a:pt x="911" y="260"/>
                  </a:lnTo>
                  <a:lnTo>
                    <a:pt x="911" y="262"/>
                  </a:lnTo>
                  <a:lnTo>
                    <a:pt x="911" y="257"/>
                  </a:lnTo>
                  <a:close/>
                  <a:moveTo>
                    <a:pt x="916" y="281"/>
                  </a:moveTo>
                  <a:lnTo>
                    <a:pt x="916" y="281"/>
                  </a:lnTo>
                  <a:lnTo>
                    <a:pt x="916" y="281"/>
                  </a:lnTo>
                  <a:lnTo>
                    <a:pt x="916" y="279"/>
                  </a:lnTo>
                  <a:lnTo>
                    <a:pt x="916" y="276"/>
                  </a:lnTo>
                  <a:lnTo>
                    <a:pt x="916" y="274"/>
                  </a:lnTo>
                  <a:lnTo>
                    <a:pt x="916" y="274"/>
                  </a:lnTo>
                  <a:lnTo>
                    <a:pt x="916" y="276"/>
                  </a:lnTo>
                  <a:lnTo>
                    <a:pt x="916" y="279"/>
                  </a:lnTo>
                  <a:lnTo>
                    <a:pt x="916" y="281"/>
                  </a:lnTo>
                  <a:close/>
                  <a:moveTo>
                    <a:pt x="966" y="395"/>
                  </a:moveTo>
                  <a:lnTo>
                    <a:pt x="966" y="395"/>
                  </a:lnTo>
                  <a:lnTo>
                    <a:pt x="966" y="395"/>
                  </a:lnTo>
                  <a:lnTo>
                    <a:pt x="968" y="395"/>
                  </a:lnTo>
                  <a:lnTo>
                    <a:pt x="968" y="395"/>
                  </a:lnTo>
                  <a:lnTo>
                    <a:pt x="968" y="395"/>
                  </a:lnTo>
                  <a:lnTo>
                    <a:pt x="968" y="395"/>
                  </a:lnTo>
                  <a:lnTo>
                    <a:pt x="968" y="395"/>
                  </a:lnTo>
                  <a:lnTo>
                    <a:pt x="968" y="395"/>
                  </a:lnTo>
                  <a:lnTo>
                    <a:pt x="968" y="395"/>
                  </a:lnTo>
                  <a:lnTo>
                    <a:pt x="968" y="395"/>
                  </a:lnTo>
                  <a:lnTo>
                    <a:pt x="968" y="395"/>
                  </a:lnTo>
                  <a:lnTo>
                    <a:pt x="968" y="392"/>
                  </a:lnTo>
                  <a:lnTo>
                    <a:pt x="968" y="392"/>
                  </a:lnTo>
                  <a:lnTo>
                    <a:pt x="968" y="392"/>
                  </a:lnTo>
                  <a:lnTo>
                    <a:pt x="968" y="392"/>
                  </a:lnTo>
                  <a:lnTo>
                    <a:pt x="968" y="392"/>
                  </a:lnTo>
                  <a:lnTo>
                    <a:pt x="968" y="392"/>
                  </a:lnTo>
                  <a:lnTo>
                    <a:pt x="966" y="392"/>
                  </a:lnTo>
                  <a:lnTo>
                    <a:pt x="966" y="392"/>
                  </a:lnTo>
                  <a:lnTo>
                    <a:pt x="966" y="395"/>
                  </a:lnTo>
                  <a:lnTo>
                    <a:pt x="966" y="395"/>
                  </a:lnTo>
                  <a:close/>
                  <a:moveTo>
                    <a:pt x="932" y="269"/>
                  </a:moveTo>
                  <a:lnTo>
                    <a:pt x="935" y="272"/>
                  </a:lnTo>
                  <a:lnTo>
                    <a:pt x="932" y="269"/>
                  </a:lnTo>
                  <a:lnTo>
                    <a:pt x="932" y="269"/>
                  </a:lnTo>
                  <a:lnTo>
                    <a:pt x="932" y="269"/>
                  </a:lnTo>
                  <a:lnTo>
                    <a:pt x="932" y="269"/>
                  </a:lnTo>
                  <a:close/>
                  <a:moveTo>
                    <a:pt x="1022" y="213"/>
                  </a:moveTo>
                  <a:lnTo>
                    <a:pt x="1025" y="213"/>
                  </a:lnTo>
                  <a:lnTo>
                    <a:pt x="1025" y="210"/>
                  </a:lnTo>
                  <a:lnTo>
                    <a:pt x="1025" y="210"/>
                  </a:lnTo>
                  <a:lnTo>
                    <a:pt x="1025" y="210"/>
                  </a:lnTo>
                  <a:lnTo>
                    <a:pt x="1022" y="210"/>
                  </a:lnTo>
                  <a:lnTo>
                    <a:pt x="1022" y="210"/>
                  </a:lnTo>
                  <a:lnTo>
                    <a:pt x="1022" y="213"/>
                  </a:lnTo>
                  <a:lnTo>
                    <a:pt x="1022" y="213"/>
                  </a:lnTo>
                  <a:close/>
                  <a:moveTo>
                    <a:pt x="1034" y="158"/>
                  </a:moveTo>
                  <a:lnTo>
                    <a:pt x="1034" y="158"/>
                  </a:lnTo>
                  <a:lnTo>
                    <a:pt x="1034" y="158"/>
                  </a:lnTo>
                  <a:lnTo>
                    <a:pt x="1034" y="156"/>
                  </a:lnTo>
                  <a:lnTo>
                    <a:pt x="1034" y="156"/>
                  </a:lnTo>
                  <a:lnTo>
                    <a:pt x="1034" y="156"/>
                  </a:lnTo>
                  <a:lnTo>
                    <a:pt x="1034" y="156"/>
                  </a:lnTo>
                  <a:lnTo>
                    <a:pt x="1034" y="158"/>
                  </a:lnTo>
                  <a:lnTo>
                    <a:pt x="1034" y="158"/>
                  </a:lnTo>
                  <a:lnTo>
                    <a:pt x="1034" y="158"/>
                  </a:lnTo>
                  <a:close/>
                  <a:moveTo>
                    <a:pt x="1034" y="364"/>
                  </a:moveTo>
                  <a:lnTo>
                    <a:pt x="1034" y="364"/>
                  </a:lnTo>
                  <a:lnTo>
                    <a:pt x="1034" y="364"/>
                  </a:lnTo>
                  <a:lnTo>
                    <a:pt x="1034" y="364"/>
                  </a:lnTo>
                  <a:lnTo>
                    <a:pt x="1034" y="364"/>
                  </a:lnTo>
                  <a:lnTo>
                    <a:pt x="1034" y="364"/>
                  </a:lnTo>
                  <a:lnTo>
                    <a:pt x="1034" y="364"/>
                  </a:lnTo>
                  <a:lnTo>
                    <a:pt x="1034" y="364"/>
                  </a:lnTo>
                  <a:lnTo>
                    <a:pt x="1034" y="364"/>
                  </a:lnTo>
                  <a:lnTo>
                    <a:pt x="1034" y="364"/>
                  </a:lnTo>
                  <a:close/>
                  <a:moveTo>
                    <a:pt x="1929" y="1611"/>
                  </a:moveTo>
                  <a:lnTo>
                    <a:pt x="1929" y="1611"/>
                  </a:lnTo>
                  <a:lnTo>
                    <a:pt x="1929" y="1611"/>
                  </a:lnTo>
                  <a:lnTo>
                    <a:pt x="1929" y="1611"/>
                  </a:lnTo>
                  <a:lnTo>
                    <a:pt x="1929" y="1608"/>
                  </a:lnTo>
                  <a:lnTo>
                    <a:pt x="1929" y="1608"/>
                  </a:lnTo>
                  <a:lnTo>
                    <a:pt x="1931" y="1608"/>
                  </a:lnTo>
                  <a:lnTo>
                    <a:pt x="1931" y="1611"/>
                  </a:lnTo>
                  <a:lnTo>
                    <a:pt x="1931" y="1611"/>
                  </a:lnTo>
                  <a:lnTo>
                    <a:pt x="1931" y="1611"/>
                  </a:lnTo>
                  <a:lnTo>
                    <a:pt x="1931" y="1611"/>
                  </a:lnTo>
                  <a:lnTo>
                    <a:pt x="1931" y="1613"/>
                  </a:lnTo>
                  <a:lnTo>
                    <a:pt x="1933" y="1613"/>
                  </a:lnTo>
                  <a:lnTo>
                    <a:pt x="1933" y="1613"/>
                  </a:lnTo>
                  <a:lnTo>
                    <a:pt x="1933" y="1611"/>
                  </a:lnTo>
                  <a:lnTo>
                    <a:pt x="1933" y="1608"/>
                  </a:lnTo>
                  <a:lnTo>
                    <a:pt x="1933" y="1608"/>
                  </a:lnTo>
                  <a:lnTo>
                    <a:pt x="1933" y="1608"/>
                  </a:lnTo>
                  <a:lnTo>
                    <a:pt x="1933" y="1608"/>
                  </a:lnTo>
                  <a:lnTo>
                    <a:pt x="1933" y="1606"/>
                  </a:lnTo>
                  <a:lnTo>
                    <a:pt x="1933" y="1606"/>
                  </a:lnTo>
                  <a:lnTo>
                    <a:pt x="1933" y="1606"/>
                  </a:lnTo>
                  <a:lnTo>
                    <a:pt x="1933" y="1606"/>
                  </a:lnTo>
                  <a:lnTo>
                    <a:pt x="1933" y="1608"/>
                  </a:lnTo>
                  <a:lnTo>
                    <a:pt x="1933" y="1608"/>
                  </a:lnTo>
                  <a:lnTo>
                    <a:pt x="1933" y="1608"/>
                  </a:lnTo>
                  <a:lnTo>
                    <a:pt x="1933" y="1611"/>
                  </a:lnTo>
                  <a:lnTo>
                    <a:pt x="1933" y="1611"/>
                  </a:lnTo>
                  <a:lnTo>
                    <a:pt x="1936" y="1611"/>
                  </a:lnTo>
                  <a:lnTo>
                    <a:pt x="1936" y="1611"/>
                  </a:lnTo>
                  <a:lnTo>
                    <a:pt x="1936" y="1611"/>
                  </a:lnTo>
                  <a:lnTo>
                    <a:pt x="1936" y="1611"/>
                  </a:lnTo>
                  <a:lnTo>
                    <a:pt x="1936" y="1611"/>
                  </a:lnTo>
                  <a:lnTo>
                    <a:pt x="1938" y="1611"/>
                  </a:lnTo>
                  <a:lnTo>
                    <a:pt x="1938" y="1611"/>
                  </a:lnTo>
                  <a:lnTo>
                    <a:pt x="1938" y="1608"/>
                  </a:lnTo>
                  <a:lnTo>
                    <a:pt x="1936" y="1606"/>
                  </a:lnTo>
                  <a:lnTo>
                    <a:pt x="1933" y="1606"/>
                  </a:lnTo>
                  <a:lnTo>
                    <a:pt x="1933" y="1606"/>
                  </a:lnTo>
                  <a:lnTo>
                    <a:pt x="1933" y="1606"/>
                  </a:lnTo>
                  <a:lnTo>
                    <a:pt x="1931" y="1608"/>
                  </a:lnTo>
                  <a:lnTo>
                    <a:pt x="1929" y="1608"/>
                  </a:lnTo>
                  <a:lnTo>
                    <a:pt x="1929" y="1608"/>
                  </a:lnTo>
                  <a:lnTo>
                    <a:pt x="1929" y="1608"/>
                  </a:lnTo>
                  <a:lnTo>
                    <a:pt x="1929" y="1608"/>
                  </a:lnTo>
                  <a:lnTo>
                    <a:pt x="1929" y="1608"/>
                  </a:lnTo>
                  <a:lnTo>
                    <a:pt x="1929" y="1611"/>
                  </a:lnTo>
                  <a:lnTo>
                    <a:pt x="1929" y="1611"/>
                  </a:lnTo>
                  <a:close/>
                  <a:moveTo>
                    <a:pt x="3145" y="1748"/>
                  </a:moveTo>
                  <a:lnTo>
                    <a:pt x="3145" y="1748"/>
                  </a:lnTo>
                  <a:lnTo>
                    <a:pt x="3145" y="1750"/>
                  </a:lnTo>
                  <a:lnTo>
                    <a:pt x="3145" y="1752"/>
                  </a:lnTo>
                  <a:lnTo>
                    <a:pt x="3147" y="1750"/>
                  </a:lnTo>
                  <a:lnTo>
                    <a:pt x="3150" y="1752"/>
                  </a:lnTo>
                  <a:lnTo>
                    <a:pt x="3150" y="1752"/>
                  </a:lnTo>
                  <a:lnTo>
                    <a:pt x="3150" y="1752"/>
                  </a:lnTo>
                  <a:lnTo>
                    <a:pt x="3152" y="1752"/>
                  </a:lnTo>
                  <a:lnTo>
                    <a:pt x="3152" y="1752"/>
                  </a:lnTo>
                  <a:lnTo>
                    <a:pt x="3152" y="1750"/>
                  </a:lnTo>
                  <a:lnTo>
                    <a:pt x="3152" y="1750"/>
                  </a:lnTo>
                  <a:lnTo>
                    <a:pt x="3150" y="1750"/>
                  </a:lnTo>
                  <a:lnTo>
                    <a:pt x="3150" y="1750"/>
                  </a:lnTo>
                  <a:lnTo>
                    <a:pt x="3152" y="1748"/>
                  </a:lnTo>
                  <a:lnTo>
                    <a:pt x="3152" y="1748"/>
                  </a:lnTo>
                  <a:lnTo>
                    <a:pt x="3152" y="1748"/>
                  </a:lnTo>
                  <a:lnTo>
                    <a:pt x="3152" y="1748"/>
                  </a:lnTo>
                  <a:lnTo>
                    <a:pt x="3152" y="1750"/>
                  </a:lnTo>
                  <a:lnTo>
                    <a:pt x="3152" y="1750"/>
                  </a:lnTo>
                  <a:lnTo>
                    <a:pt x="3152" y="1752"/>
                  </a:lnTo>
                  <a:lnTo>
                    <a:pt x="3152" y="1752"/>
                  </a:lnTo>
                  <a:lnTo>
                    <a:pt x="3150" y="1752"/>
                  </a:lnTo>
                  <a:lnTo>
                    <a:pt x="3150" y="1755"/>
                  </a:lnTo>
                  <a:lnTo>
                    <a:pt x="3150" y="1755"/>
                  </a:lnTo>
                  <a:lnTo>
                    <a:pt x="3150" y="1755"/>
                  </a:lnTo>
                  <a:lnTo>
                    <a:pt x="3152" y="1757"/>
                  </a:lnTo>
                  <a:lnTo>
                    <a:pt x="3152" y="1757"/>
                  </a:lnTo>
                  <a:lnTo>
                    <a:pt x="3152" y="1757"/>
                  </a:lnTo>
                  <a:lnTo>
                    <a:pt x="3154" y="1755"/>
                  </a:lnTo>
                  <a:lnTo>
                    <a:pt x="3154" y="1752"/>
                  </a:lnTo>
                  <a:lnTo>
                    <a:pt x="3154" y="1752"/>
                  </a:lnTo>
                  <a:lnTo>
                    <a:pt x="3157" y="1752"/>
                  </a:lnTo>
                  <a:lnTo>
                    <a:pt x="3157" y="1750"/>
                  </a:lnTo>
                  <a:lnTo>
                    <a:pt x="3157" y="1750"/>
                  </a:lnTo>
                  <a:lnTo>
                    <a:pt x="3157" y="1750"/>
                  </a:lnTo>
                  <a:lnTo>
                    <a:pt x="3157" y="1750"/>
                  </a:lnTo>
                  <a:lnTo>
                    <a:pt x="3159" y="1750"/>
                  </a:lnTo>
                  <a:lnTo>
                    <a:pt x="3159" y="1750"/>
                  </a:lnTo>
                  <a:lnTo>
                    <a:pt x="3157" y="1748"/>
                  </a:lnTo>
                  <a:lnTo>
                    <a:pt x="3157" y="1748"/>
                  </a:lnTo>
                  <a:lnTo>
                    <a:pt x="3159" y="1745"/>
                  </a:lnTo>
                  <a:lnTo>
                    <a:pt x="3159" y="1745"/>
                  </a:lnTo>
                  <a:lnTo>
                    <a:pt x="3159" y="1745"/>
                  </a:lnTo>
                  <a:lnTo>
                    <a:pt x="3159" y="1745"/>
                  </a:lnTo>
                  <a:lnTo>
                    <a:pt x="3159" y="1745"/>
                  </a:lnTo>
                  <a:lnTo>
                    <a:pt x="3162" y="1745"/>
                  </a:lnTo>
                  <a:lnTo>
                    <a:pt x="3162" y="1743"/>
                  </a:lnTo>
                  <a:lnTo>
                    <a:pt x="3162" y="1743"/>
                  </a:lnTo>
                  <a:lnTo>
                    <a:pt x="3164" y="1743"/>
                  </a:lnTo>
                  <a:lnTo>
                    <a:pt x="3164" y="1743"/>
                  </a:lnTo>
                  <a:lnTo>
                    <a:pt x="3164" y="1741"/>
                  </a:lnTo>
                  <a:lnTo>
                    <a:pt x="3164" y="1741"/>
                  </a:lnTo>
                  <a:lnTo>
                    <a:pt x="3164" y="1741"/>
                  </a:lnTo>
                  <a:lnTo>
                    <a:pt x="3166" y="1741"/>
                  </a:lnTo>
                  <a:lnTo>
                    <a:pt x="3166" y="1738"/>
                  </a:lnTo>
                  <a:lnTo>
                    <a:pt x="3166" y="1736"/>
                  </a:lnTo>
                  <a:lnTo>
                    <a:pt x="3166" y="1736"/>
                  </a:lnTo>
                  <a:lnTo>
                    <a:pt x="3164" y="1736"/>
                  </a:lnTo>
                  <a:lnTo>
                    <a:pt x="3164" y="1736"/>
                  </a:lnTo>
                  <a:lnTo>
                    <a:pt x="3166" y="1736"/>
                  </a:lnTo>
                  <a:lnTo>
                    <a:pt x="3166" y="1736"/>
                  </a:lnTo>
                  <a:lnTo>
                    <a:pt x="3169" y="1734"/>
                  </a:lnTo>
                  <a:lnTo>
                    <a:pt x="3169" y="1734"/>
                  </a:lnTo>
                  <a:lnTo>
                    <a:pt x="3171" y="1734"/>
                  </a:lnTo>
                  <a:lnTo>
                    <a:pt x="3171" y="1734"/>
                  </a:lnTo>
                  <a:lnTo>
                    <a:pt x="3173" y="1736"/>
                  </a:lnTo>
                  <a:lnTo>
                    <a:pt x="3173" y="1734"/>
                  </a:lnTo>
                  <a:lnTo>
                    <a:pt x="3173" y="1734"/>
                  </a:lnTo>
                  <a:lnTo>
                    <a:pt x="3176" y="1734"/>
                  </a:lnTo>
                  <a:lnTo>
                    <a:pt x="3176" y="1734"/>
                  </a:lnTo>
                  <a:lnTo>
                    <a:pt x="3176" y="1734"/>
                  </a:lnTo>
                  <a:lnTo>
                    <a:pt x="3173" y="1731"/>
                  </a:lnTo>
                  <a:lnTo>
                    <a:pt x="3173" y="1731"/>
                  </a:lnTo>
                  <a:lnTo>
                    <a:pt x="3171" y="1731"/>
                  </a:lnTo>
                  <a:lnTo>
                    <a:pt x="3171" y="1731"/>
                  </a:lnTo>
                  <a:lnTo>
                    <a:pt x="3164" y="1731"/>
                  </a:lnTo>
                  <a:lnTo>
                    <a:pt x="3159" y="1731"/>
                  </a:lnTo>
                  <a:lnTo>
                    <a:pt x="3157" y="1734"/>
                  </a:lnTo>
                  <a:lnTo>
                    <a:pt x="3157" y="1734"/>
                  </a:lnTo>
                  <a:lnTo>
                    <a:pt x="3157" y="1734"/>
                  </a:lnTo>
                  <a:lnTo>
                    <a:pt x="3157" y="1736"/>
                  </a:lnTo>
                  <a:lnTo>
                    <a:pt x="3157" y="1734"/>
                  </a:lnTo>
                  <a:lnTo>
                    <a:pt x="3154" y="1734"/>
                  </a:lnTo>
                  <a:lnTo>
                    <a:pt x="3154" y="1734"/>
                  </a:lnTo>
                  <a:lnTo>
                    <a:pt x="3154" y="1734"/>
                  </a:lnTo>
                  <a:lnTo>
                    <a:pt x="3154" y="1736"/>
                  </a:lnTo>
                  <a:lnTo>
                    <a:pt x="3152" y="1738"/>
                  </a:lnTo>
                  <a:lnTo>
                    <a:pt x="3150" y="1738"/>
                  </a:lnTo>
                  <a:lnTo>
                    <a:pt x="3147" y="1743"/>
                  </a:lnTo>
                  <a:lnTo>
                    <a:pt x="3147" y="1745"/>
                  </a:lnTo>
                  <a:lnTo>
                    <a:pt x="3145" y="1745"/>
                  </a:lnTo>
                  <a:lnTo>
                    <a:pt x="3145" y="1745"/>
                  </a:lnTo>
                  <a:lnTo>
                    <a:pt x="3145" y="1748"/>
                  </a:lnTo>
                  <a:close/>
                  <a:moveTo>
                    <a:pt x="1940" y="1625"/>
                  </a:moveTo>
                  <a:lnTo>
                    <a:pt x="1940" y="1625"/>
                  </a:lnTo>
                  <a:lnTo>
                    <a:pt x="1940" y="1625"/>
                  </a:lnTo>
                  <a:lnTo>
                    <a:pt x="1938" y="1625"/>
                  </a:lnTo>
                  <a:lnTo>
                    <a:pt x="1938" y="1625"/>
                  </a:lnTo>
                  <a:lnTo>
                    <a:pt x="1938" y="1625"/>
                  </a:lnTo>
                  <a:lnTo>
                    <a:pt x="1933" y="1632"/>
                  </a:lnTo>
                  <a:lnTo>
                    <a:pt x="1933" y="1632"/>
                  </a:lnTo>
                  <a:lnTo>
                    <a:pt x="1933" y="1634"/>
                  </a:lnTo>
                  <a:lnTo>
                    <a:pt x="1933" y="1634"/>
                  </a:lnTo>
                  <a:lnTo>
                    <a:pt x="1933" y="1634"/>
                  </a:lnTo>
                  <a:lnTo>
                    <a:pt x="1933" y="1634"/>
                  </a:lnTo>
                  <a:lnTo>
                    <a:pt x="1933" y="1634"/>
                  </a:lnTo>
                  <a:lnTo>
                    <a:pt x="1936" y="1634"/>
                  </a:lnTo>
                  <a:lnTo>
                    <a:pt x="1936" y="1637"/>
                  </a:lnTo>
                  <a:lnTo>
                    <a:pt x="1936" y="1637"/>
                  </a:lnTo>
                  <a:lnTo>
                    <a:pt x="1936" y="1637"/>
                  </a:lnTo>
                  <a:lnTo>
                    <a:pt x="1938" y="1637"/>
                  </a:lnTo>
                  <a:lnTo>
                    <a:pt x="1938" y="1639"/>
                  </a:lnTo>
                  <a:lnTo>
                    <a:pt x="1936" y="1641"/>
                  </a:lnTo>
                  <a:lnTo>
                    <a:pt x="1936" y="1641"/>
                  </a:lnTo>
                  <a:lnTo>
                    <a:pt x="1936" y="1644"/>
                  </a:lnTo>
                  <a:lnTo>
                    <a:pt x="1936" y="1644"/>
                  </a:lnTo>
                  <a:lnTo>
                    <a:pt x="1936" y="1644"/>
                  </a:lnTo>
                  <a:lnTo>
                    <a:pt x="1938" y="1646"/>
                  </a:lnTo>
                  <a:lnTo>
                    <a:pt x="1938" y="1646"/>
                  </a:lnTo>
                  <a:lnTo>
                    <a:pt x="1938" y="1646"/>
                  </a:lnTo>
                  <a:lnTo>
                    <a:pt x="1938" y="1646"/>
                  </a:lnTo>
                  <a:lnTo>
                    <a:pt x="1938" y="1648"/>
                  </a:lnTo>
                  <a:lnTo>
                    <a:pt x="1938" y="1646"/>
                  </a:lnTo>
                  <a:lnTo>
                    <a:pt x="1940" y="1646"/>
                  </a:lnTo>
                  <a:lnTo>
                    <a:pt x="1940" y="1646"/>
                  </a:lnTo>
                  <a:lnTo>
                    <a:pt x="1940" y="1646"/>
                  </a:lnTo>
                  <a:lnTo>
                    <a:pt x="1940" y="1648"/>
                  </a:lnTo>
                  <a:lnTo>
                    <a:pt x="1940" y="1648"/>
                  </a:lnTo>
                  <a:lnTo>
                    <a:pt x="1940" y="1651"/>
                  </a:lnTo>
                  <a:lnTo>
                    <a:pt x="1940" y="1651"/>
                  </a:lnTo>
                  <a:lnTo>
                    <a:pt x="1940" y="1651"/>
                  </a:lnTo>
                  <a:lnTo>
                    <a:pt x="1943" y="1651"/>
                  </a:lnTo>
                  <a:lnTo>
                    <a:pt x="1943" y="1651"/>
                  </a:lnTo>
                  <a:lnTo>
                    <a:pt x="1943" y="1651"/>
                  </a:lnTo>
                  <a:lnTo>
                    <a:pt x="1943" y="1651"/>
                  </a:lnTo>
                  <a:lnTo>
                    <a:pt x="1943" y="1651"/>
                  </a:lnTo>
                  <a:lnTo>
                    <a:pt x="1943" y="1651"/>
                  </a:lnTo>
                  <a:lnTo>
                    <a:pt x="1943" y="1651"/>
                  </a:lnTo>
                  <a:lnTo>
                    <a:pt x="1943" y="1651"/>
                  </a:lnTo>
                  <a:lnTo>
                    <a:pt x="1943" y="1651"/>
                  </a:lnTo>
                  <a:lnTo>
                    <a:pt x="1945" y="1648"/>
                  </a:lnTo>
                  <a:lnTo>
                    <a:pt x="1945" y="1648"/>
                  </a:lnTo>
                  <a:lnTo>
                    <a:pt x="1945" y="1648"/>
                  </a:lnTo>
                  <a:lnTo>
                    <a:pt x="1945" y="1648"/>
                  </a:lnTo>
                  <a:lnTo>
                    <a:pt x="1945" y="1646"/>
                  </a:lnTo>
                  <a:lnTo>
                    <a:pt x="1943" y="1646"/>
                  </a:lnTo>
                  <a:lnTo>
                    <a:pt x="1940" y="1644"/>
                  </a:lnTo>
                  <a:lnTo>
                    <a:pt x="1940" y="1641"/>
                  </a:lnTo>
                  <a:lnTo>
                    <a:pt x="1940" y="1641"/>
                  </a:lnTo>
                  <a:lnTo>
                    <a:pt x="1940" y="1641"/>
                  </a:lnTo>
                  <a:lnTo>
                    <a:pt x="1940" y="1641"/>
                  </a:lnTo>
                  <a:lnTo>
                    <a:pt x="1938" y="1641"/>
                  </a:lnTo>
                  <a:lnTo>
                    <a:pt x="1940" y="1644"/>
                  </a:lnTo>
                  <a:lnTo>
                    <a:pt x="1938" y="1644"/>
                  </a:lnTo>
                  <a:lnTo>
                    <a:pt x="1938" y="1646"/>
                  </a:lnTo>
                  <a:lnTo>
                    <a:pt x="1938" y="1644"/>
                  </a:lnTo>
                  <a:lnTo>
                    <a:pt x="1938" y="1641"/>
                  </a:lnTo>
                  <a:lnTo>
                    <a:pt x="1938" y="1639"/>
                  </a:lnTo>
                  <a:lnTo>
                    <a:pt x="1938" y="1637"/>
                  </a:lnTo>
                  <a:lnTo>
                    <a:pt x="1938" y="1634"/>
                  </a:lnTo>
                  <a:lnTo>
                    <a:pt x="1938" y="1634"/>
                  </a:lnTo>
                  <a:lnTo>
                    <a:pt x="1938" y="1634"/>
                  </a:lnTo>
                  <a:lnTo>
                    <a:pt x="1938" y="1634"/>
                  </a:lnTo>
                  <a:lnTo>
                    <a:pt x="1936" y="1632"/>
                  </a:lnTo>
                  <a:lnTo>
                    <a:pt x="1936" y="1632"/>
                  </a:lnTo>
                  <a:lnTo>
                    <a:pt x="1936" y="1632"/>
                  </a:lnTo>
                  <a:lnTo>
                    <a:pt x="1933" y="1632"/>
                  </a:lnTo>
                  <a:lnTo>
                    <a:pt x="1933" y="1632"/>
                  </a:lnTo>
                  <a:lnTo>
                    <a:pt x="1936" y="1632"/>
                  </a:lnTo>
                  <a:lnTo>
                    <a:pt x="1936" y="1632"/>
                  </a:lnTo>
                  <a:lnTo>
                    <a:pt x="1938" y="1632"/>
                  </a:lnTo>
                  <a:lnTo>
                    <a:pt x="1938" y="1629"/>
                  </a:lnTo>
                  <a:lnTo>
                    <a:pt x="1938" y="1629"/>
                  </a:lnTo>
                  <a:lnTo>
                    <a:pt x="1938" y="1632"/>
                  </a:lnTo>
                  <a:lnTo>
                    <a:pt x="1938" y="1629"/>
                  </a:lnTo>
                  <a:lnTo>
                    <a:pt x="1938" y="1629"/>
                  </a:lnTo>
                  <a:lnTo>
                    <a:pt x="1940" y="1629"/>
                  </a:lnTo>
                  <a:lnTo>
                    <a:pt x="1940" y="1629"/>
                  </a:lnTo>
                  <a:lnTo>
                    <a:pt x="1940" y="1629"/>
                  </a:lnTo>
                  <a:lnTo>
                    <a:pt x="1940" y="1629"/>
                  </a:lnTo>
                  <a:lnTo>
                    <a:pt x="1940" y="1629"/>
                  </a:lnTo>
                  <a:lnTo>
                    <a:pt x="1943" y="1629"/>
                  </a:lnTo>
                  <a:lnTo>
                    <a:pt x="1943" y="1629"/>
                  </a:lnTo>
                  <a:lnTo>
                    <a:pt x="1940" y="1627"/>
                  </a:lnTo>
                  <a:lnTo>
                    <a:pt x="1940" y="1625"/>
                  </a:lnTo>
                  <a:lnTo>
                    <a:pt x="1940" y="1625"/>
                  </a:lnTo>
                  <a:lnTo>
                    <a:pt x="1940" y="1625"/>
                  </a:lnTo>
                  <a:lnTo>
                    <a:pt x="1940" y="1625"/>
                  </a:lnTo>
                  <a:lnTo>
                    <a:pt x="1940" y="1625"/>
                  </a:lnTo>
                  <a:close/>
                  <a:moveTo>
                    <a:pt x="3311" y="1776"/>
                  </a:moveTo>
                  <a:lnTo>
                    <a:pt x="3311" y="1778"/>
                  </a:lnTo>
                  <a:lnTo>
                    <a:pt x="3311" y="1778"/>
                  </a:lnTo>
                  <a:lnTo>
                    <a:pt x="3313" y="1778"/>
                  </a:lnTo>
                  <a:lnTo>
                    <a:pt x="3313" y="1776"/>
                  </a:lnTo>
                  <a:lnTo>
                    <a:pt x="3311" y="1776"/>
                  </a:lnTo>
                  <a:lnTo>
                    <a:pt x="3311" y="1774"/>
                  </a:lnTo>
                  <a:lnTo>
                    <a:pt x="3311" y="1774"/>
                  </a:lnTo>
                  <a:lnTo>
                    <a:pt x="3308" y="1774"/>
                  </a:lnTo>
                  <a:lnTo>
                    <a:pt x="3308" y="1774"/>
                  </a:lnTo>
                  <a:lnTo>
                    <a:pt x="3308" y="1776"/>
                  </a:lnTo>
                  <a:lnTo>
                    <a:pt x="3308" y="1776"/>
                  </a:lnTo>
                  <a:lnTo>
                    <a:pt x="3311" y="1776"/>
                  </a:lnTo>
                  <a:close/>
                  <a:moveTo>
                    <a:pt x="3121" y="1712"/>
                  </a:moveTo>
                  <a:lnTo>
                    <a:pt x="3121" y="1712"/>
                  </a:lnTo>
                  <a:lnTo>
                    <a:pt x="3121" y="1712"/>
                  </a:lnTo>
                  <a:lnTo>
                    <a:pt x="3119" y="1715"/>
                  </a:lnTo>
                  <a:lnTo>
                    <a:pt x="3119" y="1715"/>
                  </a:lnTo>
                  <a:lnTo>
                    <a:pt x="3119" y="1715"/>
                  </a:lnTo>
                  <a:lnTo>
                    <a:pt x="3119" y="1715"/>
                  </a:lnTo>
                  <a:lnTo>
                    <a:pt x="3119" y="1715"/>
                  </a:lnTo>
                  <a:lnTo>
                    <a:pt x="3119" y="1715"/>
                  </a:lnTo>
                  <a:lnTo>
                    <a:pt x="3119" y="1717"/>
                  </a:lnTo>
                  <a:lnTo>
                    <a:pt x="3121" y="1717"/>
                  </a:lnTo>
                  <a:lnTo>
                    <a:pt x="3121" y="1717"/>
                  </a:lnTo>
                  <a:lnTo>
                    <a:pt x="3121" y="1717"/>
                  </a:lnTo>
                  <a:lnTo>
                    <a:pt x="3128" y="1712"/>
                  </a:lnTo>
                  <a:lnTo>
                    <a:pt x="3131" y="1712"/>
                  </a:lnTo>
                  <a:lnTo>
                    <a:pt x="3131" y="1712"/>
                  </a:lnTo>
                  <a:lnTo>
                    <a:pt x="3126" y="1712"/>
                  </a:lnTo>
                  <a:lnTo>
                    <a:pt x="3126" y="1712"/>
                  </a:lnTo>
                  <a:lnTo>
                    <a:pt x="3128" y="1710"/>
                  </a:lnTo>
                  <a:lnTo>
                    <a:pt x="3128" y="1710"/>
                  </a:lnTo>
                  <a:lnTo>
                    <a:pt x="3138" y="1705"/>
                  </a:lnTo>
                  <a:lnTo>
                    <a:pt x="3140" y="1705"/>
                  </a:lnTo>
                  <a:lnTo>
                    <a:pt x="3140" y="1703"/>
                  </a:lnTo>
                  <a:lnTo>
                    <a:pt x="3140" y="1703"/>
                  </a:lnTo>
                  <a:lnTo>
                    <a:pt x="3140" y="1703"/>
                  </a:lnTo>
                  <a:lnTo>
                    <a:pt x="3140" y="1700"/>
                  </a:lnTo>
                  <a:lnTo>
                    <a:pt x="3140" y="1700"/>
                  </a:lnTo>
                  <a:lnTo>
                    <a:pt x="3140" y="1700"/>
                  </a:lnTo>
                  <a:lnTo>
                    <a:pt x="3143" y="1698"/>
                  </a:lnTo>
                  <a:lnTo>
                    <a:pt x="3145" y="1698"/>
                  </a:lnTo>
                  <a:lnTo>
                    <a:pt x="3145" y="1696"/>
                  </a:lnTo>
                  <a:lnTo>
                    <a:pt x="3145" y="1696"/>
                  </a:lnTo>
                  <a:lnTo>
                    <a:pt x="3145" y="1696"/>
                  </a:lnTo>
                  <a:lnTo>
                    <a:pt x="3145" y="1696"/>
                  </a:lnTo>
                  <a:lnTo>
                    <a:pt x="3145" y="1696"/>
                  </a:lnTo>
                  <a:lnTo>
                    <a:pt x="3143" y="1698"/>
                  </a:lnTo>
                  <a:lnTo>
                    <a:pt x="3143" y="1696"/>
                  </a:lnTo>
                  <a:lnTo>
                    <a:pt x="3143" y="1696"/>
                  </a:lnTo>
                  <a:lnTo>
                    <a:pt x="3145" y="1696"/>
                  </a:lnTo>
                  <a:lnTo>
                    <a:pt x="3143" y="1698"/>
                  </a:lnTo>
                  <a:lnTo>
                    <a:pt x="3140" y="1698"/>
                  </a:lnTo>
                  <a:lnTo>
                    <a:pt x="3140" y="1698"/>
                  </a:lnTo>
                  <a:lnTo>
                    <a:pt x="3138" y="1698"/>
                  </a:lnTo>
                  <a:lnTo>
                    <a:pt x="3138" y="1698"/>
                  </a:lnTo>
                  <a:lnTo>
                    <a:pt x="3136" y="1700"/>
                  </a:lnTo>
                  <a:lnTo>
                    <a:pt x="3136" y="1700"/>
                  </a:lnTo>
                  <a:lnTo>
                    <a:pt x="3136" y="1700"/>
                  </a:lnTo>
                  <a:lnTo>
                    <a:pt x="3133" y="1703"/>
                  </a:lnTo>
                  <a:lnTo>
                    <a:pt x="3133" y="1703"/>
                  </a:lnTo>
                  <a:lnTo>
                    <a:pt x="3131" y="1703"/>
                  </a:lnTo>
                  <a:lnTo>
                    <a:pt x="3131" y="1705"/>
                  </a:lnTo>
                  <a:lnTo>
                    <a:pt x="3131" y="1705"/>
                  </a:lnTo>
                  <a:lnTo>
                    <a:pt x="3128" y="1705"/>
                  </a:lnTo>
                  <a:lnTo>
                    <a:pt x="3128" y="1705"/>
                  </a:lnTo>
                  <a:lnTo>
                    <a:pt x="3126" y="1708"/>
                  </a:lnTo>
                  <a:lnTo>
                    <a:pt x="3121" y="1710"/>
                  </a:lnTo>
                  <a:lnTo>
                    <a:pt x="3119" y="1712"/>
                  </a:lnTo>
                  <a:lnTo>
                    <a:pt x="3119" y="1712"/>
                  </a:lnTo>
                  <a:lnTo>
                    <a:pt x="3121" y="1712"/>
                  </a:lnTo>
                  <a:close/>
                  <a:moveTo>
                    <a:pt x="1938" y="1613"/>
                  </a:moveTo>
                  <a:lnTo>
                    <a:pt x="1938" y="1613"/>
                  </a:lnTo>
                  <a:lnTo>
                    <a:pt x="1938" y="1615"/>
                  </a:lnTo>
                  <a:lnTo>
                    <a:pt x="1938" y="1615"/>
                  </a:lnTo>
                  <a:lnTo>
                    <a:pt x="1938" y="1615"/>
                  </a:lnTo>
                  <a:lnTo>
                    <a:pt x="1938" y="1615"/>
                  </a:lnTo>
                  <a:lnTo>
                    <a:pt x="1938" y="1615"/>
                  </a:lnTo>
                  <a:lnTo>
                    <a:pt x="1938" y="1615"/>
                  </a:lnTo>
                  <a:lnTo>
                    <a:pt x="1938" y="1615"/>
                  </a:lnTo>
                  <a:lnTo>
                    <a:pt x="1940" y="1615"/>
                  </a:lnTo>
                  <a:lnTo>
                    <a:pt x="1940" y="1615"/>
                  </a:lnTo>
                  <a:lnTo>
                    <a:pt x="1938" y="1613"/>
                  </a:lnTo>
                  <a:lnTo>
                    <a:pt x="1938" y="1613"/>
                  </a:lnTo>
                  <a:lnTo>
                    <a:pt x="1938" y="1613"/>
                  </a:lnTo>
                  <a:lnTo>
                    <a:pt x="1938" y="1613"/>
                  </a:lnTo>
                  <a:lnTo>
                    <a:pt x="1938" y="1613"/>
                  </a:lnTo>
                  <a:lnTo>
                    <a:pt x="1938" y="1613"/>
                  </a:lnTo>
                  <a:close/>
                  <a:moveTo>
                    <a:pt x="3218" y="1776"/>
                  </a:moveTo>
                  <a:lnTo>
                    <a:pt x="3218" y="1776"/>
                  </a:lnTo>
                  <a:lnTo>
                    <a:pt x="3218" y="1776"/>
                  </a:lnTo>
                  <a:lnTo>
                    <a:pt x="3218" y="1776"/>
                  </a:lnTo>
                  <a:lnTo>
                    <a:pt x="3218" y="1778"/>
                  </a:lnTo>
                  <a:lnTo>
                    <a:pt x="3218" y="1778"/>
                  </a:lnTo>
                  <a:lnTo>
                    <a:pt x="3218" y="1778"/>
                  </a:lnTo>
                  <a:lnTo>
                    <a:pt x="3218" y="1778"/>
                  </a:lnTo>
                  <a:lnTo>
                    <a:pt x="3218" y="1778"/>
                  </a:lnTo>
                  <a:lnTo>
                    <a:pt x="3218" y="1778"/>
                  </a:lnTo>
                  <a:lnTo>
                    <a:pt x="3218" y="1778"/>
                  </a:lnTo>
                  <a:lnTo>
                    <a:pt x="3218" y="1778"/>
                  </a:lnTo>
                  <a:lnTo>
                    <a:pt x="3221" y="1778"/>
                  </a:lnTo>
                  <a:lnTo>
                    <a:pt x="3221" y="1778"/>
                  </a:lnTo>
                  <a:lnTo>
                    <a:pt x="3221" y="1778"/>
                  </a:lnTo>
                  <a:lnTo>
                    <a:pt x="3221" y="1778"/>
                  </a:lnTo>
                  <a:lnTo>
                    <a:pt x="3221" y="1778"/>
                  </a:lnTo>
                  <a:lnTo>
                    <a:pt x="3221" y="1778"/>
                  </a:lnTo>
                  <a:lnTo>
                    <a:pt x="3221" y="1776"/>
                  </a:lnTo>
                  <a:lnTo>
                    <a:pt x="3221" y="1776"/>
                  </a:lnTo>
                  <a:lnTo>
                    <a:pt x="3221" y="1776"/>
                  </a:lnTo>
                  <a:lnTo>
                    <a:pt x="3221" y="1776"/>
                  </a:lnTo>
                  <a:lnTo>
                    <a:pt x="3218" y="1776"/>
                  </a:lnTo>
                  <a:lnTo>
                    <a:pt x="3221" y="1776"/>
                  </a:lnTo>
                  <a:lnTo>
                    <a:pt x="3221" y="1776"/>
                  </a:lnTo>
                  <a:lnTo>
                    <a:pt x="3221" y="1774"/>
                  </a:lnTo>
                  <a:lnTo>
                    <a:pt x="3218" y="1774"/>
                  </a:lnTo>
                  <a:lnTo>
                    <a:pt x="3218" y="1774"/>
                  </a:lnTo>
                  <a:lnTo>
                    <a:pt x="3218" y="1774"/>
                  </a:lnTo>
                  <a:lnTo>
                    <a:pt x="3218" y="1774"/>
                  </a:lnTo>
                  <a:lnTo>
                    <a:pt x="3216" y="1774"/>
                  </a:lnTo>
                  <a:lnTo>
                    <a:pt x="3216" y="1776"/>
                  </a:lnTo>
                  <a:lnTo>
                    <a:pt x="3218" y="1776"/>
                  </a:lnTo>
                  <a:close/>
                  <a:moveTo>
                    <a:pt x="3940" y="1708"/>
                  </a:moveTo>
                  <a:lnTo>
                    <a:pt x="3940" y="1708"/>
                  </a:lnTo>
                  <a:lnTo>
                    <a:pt x="3942" y="1708"/>
                  </a:lnTo>
                  <a:lnTo>
                    <a:pt x="3942" y="1708"/>
                  </a:lnTo>
                  <a:lnTo>
                    <a:pt x="3940" y="1708"/>
                  </a:lnTo>
                  <a:lnTo>
                    <a:pt x="3940" y="1708"/>
                  </a:lnTo>
                  <a:lnTo>
                    <a:pt x="3940" y="1705"/>
                  </a:lnTo>
                  <a:lnTo>
                    <a:pt x="3940" y="1708"/>
                  </a:lnTo>
                  <a:lnTo>
                    <a:pt x="3940" y="1708"/>
                  </a:lnTo>
                  <a:lnTo>
                    <a:pt x="3940" y="1708"/>
                  </a:lnTo>
                  <a:close/>
                  <a:moveTo>
                    <a:pt x="3940" y="1705"/>
                  </a:moveTo>
                  <a:lnTo>
                    <a:pt x="3942" y="1708"/>
                  </a:lnTo>
                  <a:lnTo>
                    <a:pt x="3942" y="1708"/>
                  </a:lnTo>
                  <a:lnTo>
                    <a:pt x="3942" y="1705"/>
                  </a:lnTo>
                  <a:lnTo>
                    <a:pt x="3942" y="1703"/>
                  </a:lnTo>
                  <a:lnTo>
                    <a:pt x="3942" y="1703"/>
                  </a:lnTo>
                  <a:lnTo>
                    <a:pt x="3942" y="1703"/>
                  </a:lnTo>
                  <a:lnTo>
                    <a:pt x="3942" y="1700"/>
                  </a:lnTo>
                  <a:lnTo>
                    <a:pt x="3940" y="1700"/>
                  </a:lnTo>
                  <a:lnTo>
                    <a:pt x="3940" y="1703"/>
                  </a:lnTo>
                  <a:lnTo>
                    <a:pt x="3940" y="1703"/>
                  </a:lnTo>
                  <a:lnTo>
                    <a:pt x="3940" y="1705"/>
                  </a:lnTo>
                  <a:lnTo>
                    <a:pt x="3940" y="1705"/>
                  </a:lnTo>
                  <a:lnTo>
                    <a:pt x="3940" y="1705"/>
                  </a:lnTo>
                  <a:lnTo>
                    <a:pt x="3940" y="1705"/>
                  </a:lnTo>
                  <a:close/>
                  <a:moveTo>
                    <a:pt x="3322" y="1790"/>
                  </a:moveTo>
                  <a:lnTo>
                    <a:pt x="3322" y="1790"/>
                  </a:lnTo>
                  <a:lnTo>
                    <a:pt x="3322" y="1790"/>
                  </a:lnTo>
                  <a:lnTo>
                    <a:pt x="3322" y="1790"/>
                  </a:lnTo>
                  <a:lnTo>
                    <a:pt x="3325" y="1790"/>
                  </a:lnTo>
                  <a:lnTo>
                    <a:pt x="3325" y="1790"/>
                  </a:lnTo>
                  <a:lnTo>
                    <a:pt x="3325" y="1790"/>
                  </a:lnTo>
                  <a:lnTo>
                    <a:pt x="3325" y="1790"/>
                  </a:lnTo>
                  <a:lnTo>
                    <a:pt x="3325" y="1790"/>
                  </a:lnTo>
                  <a:lnTo>
                    <a:pt x="3325" y="1793"/>
                  </a:lnTo>
                  <a:lnTo>
                    <a:pt x="3325" y="1793"/>
                  </a:lnTo>
                  <a:lnTo>
                    <a:pt x="3327" y="1793"/>
                  </a:lnTo>
                  <a:lnTo>
                    <a:pt x="3327" y="1793"/>
                  </a:lnTo>
                  <a:lnTo>
                    <a:pt x="3327" y="1793"/>
                  </a:lnTo>
                  <a:lnTo>
                    <a:pt x="3327" y="1790"/>
                  </a:lnTo>
                  <a:lnTo>
                    <a:pt x="3330" y="1790"/>
                  </a:lnTo>
                  <a:lnTo>
                    <a:pt x="3330" y="1793"/>
                  </a:lnTo>
                  <a:lnTo>
                    <a:pt x="3330" y="1793"/>
                  </a:lnTo>
                  <a:lnTo>
                    <a:pt x="3330" y="1793"/>
                  </a:lnTo>
                  <a:lnTo>
                    <a:pt x="3330" y="1790"/>
                  </a:lnTo>
                  <a:lnTo>
                    <a:pt x="3332" y="1790"/>
                  </a:lnTo>
                  <a:lnTo>
                    <a:pt x="3332" y="1790"/>
                  </a:lnTo>
                  <a:lnTo>
                    <a:pt x="3334" y="1793"/>
                  </a:lnTo>
                  <a:lnTo>
                    <a:pt x="3334" y="1793"/>
                  </a:lnTo>
                  <a:lnTo>
                    <a:pt x="3337" y="1790"/>
                  </a:lnTo>
                  <a:lnTo>
                    <a:pt x="3337" y="1790"/>
                  </a:lnTo>
                  <a:lnTo>
                    <a:pt x="3337" y="1788"/>
                  </a:lnTo>
                  <a:lnTo>
                    <a:pt x="3337" y="1788"/>
                  </a:lnTo>
                  <a:lnTo>
                    <a:pt x="3337" y="1786"/>
                  </a:lnTo>
                  <a:lnTo>
                    <a:pt x="3334" y="1786"/>
                  </a:lnTo>
                  <a:lnTo>
                    <a:pt x="3334" y="1786"/>
                  </a:lnTo>
                  <a:lnTo>
                    <a:pt x="3334" y="1786"/>
                  </a:lnTo>
                  <a:lnTo>
                    <a:pt x="3334" y="1783"/>
                  </a:lnTo>
                  <a:lnTo>
                    <a:pt x="3332" y="1783"/>
                  </a:lnTo>
                  <a:lnTo>
                    <a:pt x="3332" y="1783"/>
                  </a:lnTo>
                  <a:lnTo>
                    <a:pt x="3330" y="1783"/>
                  </a:lnTo>
                  <a:lnTo>
                    <a:pt x="3327" y="1783"/>
                  </a:lnTo>
                  <a:lnTo>
                    <a:pt x="3327" y="1783"/>
                  </a:lnTo>
                  <a:lnTo>
                    <a:pt x="3330" y="1783"/>
                  </a:lnTo>
                  <a:lnTo>
                    <a:pt x="3330" y="1783"/>
                  </a:lnTo>
                  <a:lnTo>
                    <a:pt x="3330" y="1786"/>
                  </a:lnTo>
                  <a:lnTo>
                    <a:pt x="3330" y="1786"/>
                  </a:lnTo>
                  <a:lnTo>
                    <a:pt x="3330" y="1786"/>
                  </a:lnTo>
                  <a:lnTo>
                    <a:pt x="3330" y="1786"/>
                  </a:lnTo>
                  <a:lnTo>
                    <a:pt x="3327" y="1786"/>
                  </a:lnTo>
                  <a:lnTo>
                    <a:pt x="3327" y="1788"/>
                  </a:lnTo>
                  <a:lnTo>
                    <a:pt x="3327" y="1788"/>
                  </a:lnTo>
                  <a:lnTo>
                    <a:pt x="3327" y="1788"/>
                  </a:lnTo>
                  <a:lnTo>
                    <a:pt x="3327" y="1788"/>
                  </a:lnTo>
                  <a:lnTo>
                    <a:pt x="3325" y="1788"/>
                  </a:lnTo>
                  <a:lnTo>
                    <a:pt x="3325" y="1790"/>
                  </a:lnTo>
                  <a:lnTo>
                    <a:pt x="3325" y="1788"/>
                  </a:lnTo>
                  <a:lnTo>
                    <a:pt x="3325" y="1788"/>
                  </a:lnTo>
                  <a:lnTo>
                    <a:pt x="3322" y="1788"/>
                  </a:lnTo>
                  <a:lnTo>
                    <a:pt x="3322" y="1790"/>
                  </a:lnTo>
                  <a:lnTo>
                    <a:pt x="3322" y="1790"/>
                  </a:lnTo>
                  <a:lnTo>
                    <a:pt x="3322" y="1790"/>
                  </a:lnTo>
                  <a:close/>
                  <a:moveTo>
                    <a:pt x="3621" y="1828"/>
                  </a:moveTo>
                  <a:lnTo>
                    <a:pt x="3621" y="1828"/>
                  </a:lnTo>
                  <a:lnTo>
                    <a:pt x="3621" y="1826"/>
                  </a:lnTo>
                  <a:lnTo>
                    <a:pt x="3623" y="1826"/>
                  </a:lnTo>
                  <a:lnTo>
                    <a:pt x="3623" y="1826"/>
                  </a:lnTo>
                  <a:lnTo>
                    <a:pt x="3623" y="1823"/>
                  </a:lnTo>
                  <a:lnTo>
                    <a:pt x="3623" y="1823"/>
                  </a:lnTo>
                  <a:lnTo>
                    <a:pt x="3623" y="1823"/>
                  </a:lnTo>
                  <a:lnTo>
                    <a:pt x="3623" y="1823"/>
                  </a:lnTo>
                  <a:lnTo>
                    <a:pt x="3623" y="1823"/>
                  </a:lnTo>
                  <a:lnTo>
                    <a:pt x="3621" y="1823"/>
                  </a:lnTo>
                  <a:lnTo>
                    <a:pt x="3621" y="1823"/>
                  </a:lnTo>
                  <a:lnTo>
                    <a:pt x="3621" y="1826"/>
                  </a:lnTo>
                  <a:lnTo>
                    <a:pt x="3621" y="1826"/>
                  </a:lnTo>
                  <a:lnTo>
                    <a:pt x="3621" y="1826"/>
                  </a:lnTo>
                  <a:lnTo>
                    <a:pt x="3621" y="1826"/>
                  </a:lnTo>
                  <a:lnTo>
                    <a:pt x="3621" y="1826"/>
                  </a:lnTo>
                  <a:lnTo>
                    <a:pt x="3621" y="1828"/>
                  </a:lnTo>
                  <a:close/>
                  <a:moveTo>
                    <a:pt x="1309" y="19"/>
                  </a:moveTo>
                  <a:lnTo>
                    <a:pt x="1309" y="16"/>
                  </a:lnTo>
                  <a:lnTo>
                    <a:pt x="1316" y="14"/>
                  </a:lnTo>
                  <a:lnTo>
                    <a:pt x="1316" y="14"/>
                  </a:lnTo>
                  <a:lnTo>
                    <a:pt x="1311" y="16"/>
                  </a:lnTo>
                  <a:lnTo>
                    <a:pt x="1309" y="16"/>
                  </a:lnTo>
                  <a:lnTo>
                    <a:pt x="1309" y="19"/>
                  </a:lnTo>
                  <a:lnTo>
                    <a:pt x="1302" y="23"/>
                  </a:lnTo>
                  <a:lnTo>
                    <a:pt x="1304" y="21"/>
                  </a:lnTo>
                  <a:lnTo>
                    <a:pt x="1309" y="19"/>
                  </a:lnTo>
                  <a:close/>
                  <a:moveTo>
                    <a:pt x="3623" y="1823"/>
                  </a:moveTo>
                  <a:lnTo>
                    <a:pt x="3623" y="1823"/>
                  </a:lnTo>
                  <a:lnTo>
                    <a:pt x="3623" y="1823"/>
                  </a:lnTo>
                  <a:lnTo>
                    <a:pt x="3623" y="1823"/>
                  </a:lnTo>
                  <a:lnTo>
                    <a:pt x="3625" y="1823"/>
                  </a:lnTo>
                  <a:lnTo>
                    <a:pt x="3625" y="1823"/>
                  </a:lnTo>
                  <a:lnTo>
                    <a:pt x="3625" y="1823"/>
                  </a:lnTo>
                  <a:lnTo>
                    <a:pt x="3628" y="1821"/>
                  </a:lnTo>
                  <a:lnTo>
                    <a:pt x="3628" y="1821"/>
                  </a:lnTo>
                  <a:lnTo>
                    <a:pt x="3628" y="1821"/>
                  </a:lnTo>
                  <a:lnTo>
                    <a:pt x="3628" y="1819"/>
                  </a:lnTo>
                  <a:lnTo>
                    <a:pt x="3628" y="1819"/>
                  </a:lnTo>
                  <a:lnTo>
                    <a:pt x="3628" y="1819"/>
                  </a:lnTo>
                  <a:lnTo>
                    <a:pt x="3628" y="1819"/>
                  </a:lnTo>
                  <a:lnTo>
                    <a:pt x="3628" y="1819"/>
                  </a:lnTo>
                  <a:lnTo>
                    <a:pt x="3625" y="1821"/>
                  </a:lnTo>
                  <a:lnTo>
                    <a:pt x="3625" y="1821"/>
                  </a:lnTo>
                  <a:lnTo>
                    <a:pt x="3625" y="1821"/>
                  </a:lnTo>
                  <a:lnTo>
                    <a:pt x="3625" y="1821"/>
                  </a:lnTo>
                  <a:lnTo>
                    <a:pt x="3625" y="1821"/>
                  </a:lnTo>
                  <a:lnTo>
                    <a:pt x="3625" y="1821"/>
                  </a:lnTo>
                  <a:lnTo>
                    <a:pt x="3625" y="1821"/>
                  </a:lnTo>
                  <a:lnTo>
                    <a:pt x="3625" y="1821"/>
                  </a:lnTo>
                  <a:lnTo>
                    <a:pt x="3625" y="1821"/>
                  </a:lnTo>
                  <a:lnTo>
                    <a:pt x="3625" y="1821"/>
                  </a:lnTo>
                  <a:lnTo>
                    <a:pt x="3623" y="1821"/>
                  </a:lnTo>
                  <a:lnTo>
                    <a:pt x="3623" y="1821"/>
                  </a:lnTo>
                  <a:lnTo>
                    <a:pt x="3623" y="1823"/>
                  </a:lnTo>
                  <a:lnTo>
                    <a:pt x="3623" y="1823"/>
                  </a:lnTo>
                  <a:lnTo>
                    <a:pt x="3623" y="1823"/>
                  </a:lnTo>
                  <a:lnTo>
                    <a:pt x="3623" y="1823"/>
                  </a:lnTo>
                  <a:lnTo>
                    <a:pt x="3623" y="1823"/>
                  </a:lnTo>
                  <a:lnTo>
                    <a:pt x="3623" y="1823"/>
                  </a:lnTo>
                  <a:lnTo>
                    <a:pt x="3623" y="1823"/>
                  </a:lnTo>
                  <a:close/>
                  <a:moveTo>
                    <a:pt x="1351" y="2"/>
                  </a:moveTo>
                  <a:lnTo>
                    <a:pt x="1358" y="7"/>
                  </a:lnTo>
                  <a:lnTo>
                    <a:pt x="1351" y="0"/>
                  </a:lnTo>
                  <a:lnTo>
                    <a:pt x="1349" y="0"/>
                  </a:lnTo>
                  <a:lnTo>
                    <a:pt x="1349" y="2"/>
                  </a:lnTo>
                  <a:lnTo>
                    <a:pt x="1349" y="2"/>
                  </a:lnTo>
                  <a:lnTo>
                    <a:pt x="1351" y="0"/>
                  </a:lnTo>
                  <a:lnTo>
                    <a:pt x="1351" y="2"/>
                  </a:lnTo>
                  <a:close/>
                  <a:moveTo>
                    <a:pt x="1619" y="132"/>
                  </a:moveTo>
                  <a:lnTo>
                    <a:pt x="1621" y="137"/>
                  </a:lnTo>
                  <a:lnTo>
                    <a:pt x="1621" y="139"/>
                  </a:lnTo>
                  <a:lnTo>
                    <a:pt x="1623" y="139"/>
                  </a:lnTo>
                  <a:lnTo>
                    <a:pt x="1623" y="139"/>
                  </a:lnTo>
                  <a:lnTo>
                    <a:pt x="1626" y="142"/>
                  </a:lnTo>
                  <a:lnTo>
                    <a:pt x="1626" y="142"/>
                  </a:lnTo>
                  <a:lnTo>
                    <a:pt x="1623" y="139"/>
                  </a:lnTo>
                  <a:lnTo>
                    <a:pt x="1623" y="137"/>
                  </a:lnTo>
                  <a:lnTo>
                    <a:pt x="1623" y="137"/>
                  </a:lnTo>
                  <a:lnTo>
                    <a:pt x="1623" y="137"/>
                  </a:lnTo>
                  <a:lnTo>
                    <a:pt x="1621" y="137"/>
                  </a:lnTo>
                  <a:lnTo>
                    <a:pt x="1619" y="132"/>
                  </a:lnTo>
                  <a:lnTo>
                    <a:pt x="1619" y="132"/>
                  </a:lnTo>
                  <a:lnTo>
                    <a:pt x="1616" y="132"/>
                  </a:lnTo>
                  <a:lnTo>
                    <a:pt x="1616" y="132"/>
                  </a:lnTo>
                  <a:lnTo>
                    <a:pt x="1619" y="132"/>
                  </a:lnTo>
                  <a:lnTo>
                    <a:pt x="1619" y="132"/>
                  </a:lnTo>
                  <a:close/>
                  <a:moveTo>
                    <a:pt x="1933" y="1622"/>
                  </a:moveTo>
                  <a:lnTo>
                    <a:pt x="1933" y="1620"/>
                  </a:lnTo>
                  <a:lnTo>
                    <a:pt x="1933" y="1620"/>
                  </a:lnTo>
                  <a:lnTo>
                    <a:pt x="1933" y="1620"/>
                  </a:lnTo>
                  <a:lnTo>
                    <a:pt x="1933" y="1618"/>
                  </a:lnTo>
                  <a:lnTo>
                    <a:pt x="1933" y="1620"/>
                  </a:lnTo>
                  <a:lnTo>
                    <a:pt x="1933" y="1620"/>
                  </a:lnTo>
                  <a:lnTo>
                    <a:pt x="1931" y="1618"/>
                  </a:lnTo>
                  <a:lnTo>
                    <a:pt x="1931" y="1618"/>
                  </a:lnTo>
                  <a:lnTo>
                    <a:pt x="1933" y="1615"/>
                  </a:lnTo>
                  <a:lnTo>
                    <a:pt x="1933" y="1615"/>
                  </a:lnTo>
                  <a:lnTo>
                    <a:pt x="1933" y="1613"/>
                  </a:lnTo>
                  <a:lnTo>
                    <a:pt x="1931" y="1613"/>
                  </a:lnTo>
                  <a:lnTo>
                    <a:pt x="1931" y="1615"/>
                  </a:lnTo>
                  <a:lnTo>
                    <a:pt x="1931" y="1615"/>
                  </a:lnTo>
                  <a:lnTo>
                    <a:pt x="1931" y="1615"/>
                  </a:lnTo>
                  <a:lnTo>
                    <a:pt x="1931" y="1615"/>
                  </a:lnTo>
                  <a:lnTo>
                    <a:pt x="1931" y="1615"/>
                  </a:lnTo>
                  <a:lnTo>
                    <a:pt x="1931" y="1615"/>
                  </a:lnTo>
                  <a:lnTo>
                    <a:pt x="1929" y="1618"/>
                  </a:lnTo>
                  <a:lnTo>
                    <a:pt x="1929" y="1618"/>
                  </a:lnTo>
                  <a:lnTo>
                    <a:pt x="1929" y="1618"/>
                  </a:lnTo>
                  <a:lnTo>
                    <a:pt x="1929" y="1620"/>
                  </a:lnTo>
                  <a:lnTo>
                    <a:pt x="1931" y="1620"/>
                  </a:lnTo>
                  <a:lnTo>
                    <a:pt x="1931" y="1620"/>
                  </a:lnTo>
                  <a:lnTo>
                    <a:pt x="1931" y="1620"/>
                  </a:lnTo>
                  <a:lnTo>
                    <a:pt x="1933" y="1622"/>
                  </a:lnTo>
                  <a:close/>
                  <a:moveTo>
                    <a:pt x="703" y="775"/>
                  </a:moveTo>
                  <a:lnTo>
                    <a:pt x="703" y="775"/>
                  </a:lnTo>
                  <a:lnTo>
                    <a:pt x="700" y="773"/>
                  </a:lnTo>
                  <a:lnTo>
                    <a:pt x="700" y="773"/>
                  </a:lnTo>
                  <a:lnTo>
                    <a:pt x="700" y="773"/>
                  </a:lnTo>
                  <a:lnTo>
                    <a:pt x="700" y="773"/>
                  </a:lnTo>
                  <a:lnTo>
                    <a:pt x="698" y="775"/>
                  </a:lnTo>
                  <a:lnTo>
                    <a:pt x="698" y="775"/>
                  </a:lnTo>
                  <a:lnTo>
                    <a:pt x="700" y="775"/>
                  </a:lnTo>
                  <a:lnTo>
                    <a:pt x="700" y="775"/>
                  </a:lnTo>
                  <a:lnTo>
                    <a:pt x="700" y="775"/>
                  </a:lnTo>
                  <a:lnTo>
                    <a:pt x="703" y="775"/>
                  </a:lnTo>
                  <a:lnTo>
                    <a:pt x="703" y="775"/>
                  </a:lnTo>
                  <a:lnTo>
                    <a:pt x="703" y="775"/>
                  </a:lnTo>
                  <a:close/>
                  <a:moveTo>
                    <a:pt x="1758" y="250"/>
                  </a:moveTo>
                  <a:lnTo>
                    <a:pt x="1761" y="250"/>
                  </a:lnTo>
                  <a:lnTo>
                    <a:pt x="1761" y="250"/>
                  </a:lnTo>
                  <a:lnTo>
                    <a:pt x="1761" y="253"/>
                  </a:lnTo>
                  <a:lnTo>
                    <a:pt x="1763" y="255"/>
                  </a:lnTo>
                  <a:lnTo>
                    <a:pt x="1765" y="257"/>
                  </a:lnTo>
                  <a:lnTo>
                    <a:pt x="1765" y="260"/>
                  </a:lnTo>
                  <a:lnTo>
                    <a:pt x="1765" y="260"/>
                  </a:lnTo>
                  <a:lnTo>
                    <a:pt x="1765" y="260"/>
                  </a:lnTo>
                  <a:lnTo>
                    <a:pt x="1765" y="260"/>
                  </a:lnTo>
                  <a:lnTo>
                    <a:pt x="1765" y="257"/>
                  </a:lnTo>
                  <a:lnTo>
                    <a:pt x="1763" y="255"/>
                  </a:lnTo>
                  <a:lnTo>
                    <a:pt x="1758" y="248"/>
                  </a:lnTo>
                  <a:lnTo>
                    <a:pt x="1758" y="248"/>
                  </a:lnTo>
                  <a:lnTo>
                    <a:pt x="1758" y="248"/>
                  </a:lnTo>
                  <a:lnTo>
                    <a:pt x="1758" y="250"/>
                  </a:lnTo>
                  <a:close/>
                  <a:moveTo>
                    <a:pt x="1332" y="4"/>
                  </a:moveTo>
                  <a:lnTo>
                    <a:pt x="1332" y="4"/>
                  </a:lnTo>
                  <a:lnTo>
                    <a:pt x="1337" y="2"/>
                  </a:lnTo>
                  <a:lnTo>
                    <a:pt x="1342" y="2"/>
                  </a:lnTo>
                  <a:lnTo>
                    <a:pt x="1339" y="2"/>
                  </a:lnTo>
                  <a:lnTo>
                    <a:pt x="1332" y="4"/>
                  </a:lnTo>
                  <a:lnTo>
                    <a:pt x="1332" y="4"/>
                  </a:lnTo>
                  <a:lnTo>
                    <a:pt x="1330" y="7"/>
                  </a:lnTo>
                  <a:lnTo>
                    <a:pt x="1330" y="7"/>
                  </a:lnTo>
                  <a:lnTo>
                    <a:pt x="1332" y="4"/>
                  </a:lnTo>
                  <a:close/>
                  <a:moveTo>
                    <a:pt x="1931" y="1641"/>
                  </a:moveTo>
                  <a:lnTo>
                    <a:pt x="1931" y="1641"/>
                  </a:lnTo>
                  <a:lnTo>
                    <a:pt x="1931" y="1644"/>
                  </a:lnTo>
                  <a:lnTo>
                    <a:pt x="1933" y="1644"/>
                  </a:lnTo>
                  <a:lnTo>
                    <a:pt x="1933" y="1644"/>
                  </a:lnTo>
                  <a:lnTo>
                    <a:pt x="1933" y="1644"/>
                  </a:lnTo>
                  <a:lnTo>
                    <a:pt x="1933" y="1641"/>
                  </a:lnTo>
                  <a:lnTo>
                    <a:pt x="1933" y="1641"/>
                  </a:lnTo>
                  <a:lnTo>
                    <a:pt x="1933" y="1639"/>
                  </a:lnTo>
                  <a:lnTo>
                    <a:pt x="1933" y="1639"/>
                  </a:lnTo>
                  <a:lnTo>
                    <a:pt x="1933" y="1639"/>
                  </a:lnTo>
                  <a:lnTo>
                    <a:pt x="1933" y="1639"/>
                  </a:lnTo>
                  <a:lnTo>
                    <a:pt x="1933" y="1639"/>
                  </a:lnTo>
                  <a:lnTo>
                    <a:pt x="1933" y="1641"/>
                  </a:lnTo>
                  <a:lnTo>
                    <a:pt x="1933" y="1641"/>
                  </a:lnTo>
                  <a:lnTo>
                    <a:pt x="1933" y="1641"/>
                  </a:lnTo>
                  <a:lnTo>
                    <a:pt x="1933" y="1641"/>
                  </a:lnTo>
                  <a:lnTo>
                    <a:pt x="1933" y="1639"/>
                  </a:lnTo>
                  <a:lnTo>
                    <a:pt x="1933" y="1639"/>
                  </a:lnTo>
                  <a:lnTo>
                    <a:pt x="1931" y="1639"/>
                  </a:lnTo>
                  <a:lnTo>
                    <a:pt x="1931" y="1639"/>
                  </a:lnTo>
                  <a:lnTo>
                    <a:pt x="1931" y="1641"/>
                  </a:lnTo>
                  <a:close/>
                  <a:moveTo>
                    <a:pt x="1931" y="1589"/>
                  </a:moveTo>
                  <a:lnTo>
                    <a:pt x="1931" y="1589"/>
                  </a:lnTo>
                  <a:lnTo>
                    <a:pt x="1931" y="1589"/>
                  </a:lnTo>
                  <a:lnTo>
                    <a:pt x="1929" y="1589"/>
                  </a:lnTo>
                  <a:lnTo>
                    <a:pt x="1929" y="1589"/>
                  </a:lnTo>
                  <a:lnTo>
                    <a:pt x="1929" y="1592"/>
                  </a:lnTo>
                  <a:lnTo>
                    <a:pt x="1931" y="1589"/>
                  </a:lnTo>
                  <a:lnTo>
                    <a:pt x="1931" y="1589"/>
                  </a:lnTo>
                  <a:close/>
                  <a:moveTo>
                    <a:pt x="1922" y="1615"/>
                  </a:moveTo>
                  <a:lnTo>
                    <a:pt x="1922" y="1615"/>
                  </a:lnTo>
                  <a:lnTo>
                    <a:pt x="1924" y="1615"/>
                  </a:lnTo>
                  <a:lnTo>
                    <a:pt x="1924" y="1615"/>
                  </a:lnTo>
                  <a:lnTo>
                    <a:pt x="1924" y="1615"/>
                  </a:lnTo>
                  <a:lnTo>
                    <a:pt x="1924" y="1615"/>
                  </a:lnTo>
                  <a:lnTo>
                    <a:pt x="1924" y="1618"/>
                  </a:lnTo>
                  <a:lnTo>
                    <a:pt x="1924" y="1618"/>
                  </a:lnTo>
                  <a:lnTo>
                    <a:pt x="1926" y="1618"/>
                  </a:lnTo>
                  <a:lnTo>
                    <a:pt x="1926" y="1618"/>
                  </a:lnTo>
                  <a:lnTo>
                    <a:pt x="1926" y="1618"/>
                  </a:lnTo>
                  <a:lnTo>
                    <a:pt x="1926" y="1618"/>
                  </a:lnTo>
                  <a:lnTo>
                    <a:pt x="1926" y="1618"/>
                  </a:lnTo>
                  <a:lnTo>
                    <a:pt x="1926" y="1618"/>
                  </a:lnTo>
                  <a:lnTo>
                    <a:pt x="1926" y="1618"/>
                  </a:lnTo>
                  <a:lnTo>
                    <a:pt x="1929" y="1618"/>
                  </a:lnTo>
                  <a:lnTo>
                    <a:pt x="1929" y="1618"/>
                  </a:lnTo>
                  <a:lnTo>
                    <a:pt x="1929" y="1618"/>
                  </a:lnTo>
                  <a:lnTo>
                    <a:pt x="1929" y="1618"/>
                  </a:lnTo>
                  <a:lnTo>
                    <a:pt x="1926" y="1618"/>
                  </a:lnTo>
                  <a:lnTo>
                    <a:pt x="1926" y="1618"/>
                  </a:lnTo>
                  <a:lnTo>
                    <a:pt x="1926" y="1615"/>
                  </a:lnTo>
                  <a:lnTo>
                    <a:pt x="1926" y="1615"/>
                  </a:lnTo>
                  <a:lnTo>
                    <a:pt x="1926" y="1615"/>
                  </a:lnTo>
                  <a:lnTo>
                    <a:pt x="1926" y="1615"/>
                  </a:lnTo>
                  <a:lnTo>
                    <a:pt x="1929" y="1615"/>
                  </a:lnTo>
                  <a:lnTo>
                    <a:pt x="1929" y="1615"/>
                  </a:lnTo>
                  <a:lnTo>
                    <a:pt x="1929" y="1615"/>
                  </a:lnTo>
                  <a:lnTo>
                    <a:pt x="1929" y="1615"/>
                  </a:lnTo>
                  <a:lnTo>
                    <a:pt x="1929" y="1613"/>
                  </a:lnTo>
                  <a:lnTo>
                    <a:pt x="1926" y="1613"/>
                  </a:lnTo>
                  <a:lnTo>
                    <a:pt x="1926" y="1613"/>
                  </a:lnTo>
                  <a:lnTo>
                    <a:pt x="1926" y="1611"/>
                  </a:lnTo>
                  <a:lnTo>
                    <a:pt x="1926" y="1611"/>
                  </a:lnTo>
                  <a:lnTo>
                    <a:pt x="1926" y="1611"/>
                  </a:lnTo>
                  <a:lnTo>
                    <a:pt x="1924" y="1608"/>
                  </a:lnTo>
                  <a:lnTo>
                    <a:pt x="1924" y="1608"/>
                  </a:lnTo>
                  <a:lnTo>
                    <a:pt x="1922" y="1611"/>
                  </a:lnTo>
                  <a:lnTo>
                    <a:pt x="1922" y="1611"/>
                  </a:lnTo>
                  <a:lnTo>
                    <a:pt x="1922" y="1611"/>
                  </a:lnTo>
                  <a:lnTo>
                    <a:pt x="1922" y="1613"/>
                  </a:lnTo>
                  <a:lnTo>
                    <a:pt x="1922" y="1615"/>
                  </a:lnTo>
                  <a:lnTo>
                    <a:pt x="1922" y="1615"/>
                  </a:lnTo>
                  <a:close/>
                  <a:moveTo>
                    <a:pt x="902" y="241"/>
                  </a:moveTo>
                  <a:lnTo>
                    <a:pt x="902" y="243"/>
                  </a:lnTo>
                  <a:lnTo>
                    <a:pt x="906" y="246"/>
                  </a:lnTo>
                  <a:lnTo>
                    <a:pt x="902" y="241"/>
                  </a:lnTo>
                  <a:lnTo>
                    <a:pt x="902" y="241"/>
                  </a:lnTo>
                  <a:lnTo>
                    <a:pt x="902" y="241"/>
                  </a:lnTo>
                  <a:close/>
                  <a:moveTo>
                    <a:pt x="1323" y="11"/>
                  </a:moveTo>
                  <a:lnTo>
                    <a:pt x="1323" y="9"/>
                  </a:lnTo>
                  <a:lnTo>
                    <a:pt x="1328" y="7"/>
                  </a:lnTo>
                  <a:lnTo>
                    <a:pt x="1328" y="7"/>
                  </a:lnTo>
                  <a:lnTo>
                    <a:pt x="1328" y="7"/>
                  </a:lnTo>
                  <a:lnTo>
                    <a:pt x="1328" y="7"/>
                  </a:lnTo>
                  <a:lnTo>
                    <a:pt x="1325" y="7"/>
                  </a:lnTo>
                  <a:lnTo>
                    <a:pt x="1325" y="9"/>
                  </a:lnTo>
                  <a:lnTo>
                    <a:pt x="1323" y="9"/>
                  </a:lnTo>
                  <a:lnTo>
                    <a:pt x="1323" y="9"/>
                  </a:lnTo>
                  <a:lnTo>
                    <a:pt x="1320" y="11"/>
                  </a:lnTo>
                  <a:lnTo>
                    <a:pt x="1318" y="11"/>
                  </a:lnTo>
                  <a:lnTo>
                    <a:pt x="1320" y="11"/>
                  </a:lnTo>
                  <a:lnTo>
                    <a:pt x="1323" y="11"/>
                  </a:lnTo>
                  <a:close/>
                  <a:moveTo>
                    <a:pt x="319" y="636"/>
                  </a:moveTo>
                  <a:lnTo>
                    <a:pt x="319" y="636"/>
                  </a:lnTo>
                  <a:lnTo>
                    <a:pt x="319" y="636"/>
                  </a:lnTo>
                  <a:lnTo>
                    <a:pt x="319" y="636"/>
                  </a:lnTo>
                  <a:lnTo>
                    <a:pt x="319" y="636"/>
                  </a:lnTo>
                  <a:lnTo>
                    <a:pt x="322" y="636"/>
                  </a:lnTo>
                  <a:lnTo>
                    <a:pt x="322" y="636"/>
                  </a:lnTo>
                  <a:lnTo>
                    <a:pt x="324" y="636"/>
                  </a:lnTo>
                  <a:lnTo>
                    <a:pt x="324" y="636"/>
                  </a:lnTo>
                  <a:lnTo>
                    <a:pt x="324" y="638"/>
                  </a:lnTo>
                  <a:lnTo>
                    <a:pt x="327" y="638"/>
                  </a:lnTo>
                  <a:lnTo>
                    <a:pt x="327" y="636"/>
                  </a:lnTo>
                  <a:lnTo>
                    <a:pt x="327" y="636"/>
                  </a:lnTo>
                  <a:lnTo>
                    <a:pt x="324" y="636"/>
                  </a:lnTo>
                  <a:lnTo>
                    <a:pt x="322" y="634"/>
                  </a:lnTo>
                  <a:lnTo>
                    <a:pt x="322" y="631"/>
                  </a:lnTo>
                  <a:lnTo>
                    <a:pt x="319" y="631"/>
                  </a:lnTo>
                  <a:lnTo>
                    <a:pt x="322" y="629"/>
                  </a:lnTo>
                  <a:lnTo>
                    <a:pt x="322" y="629"/>
                  </a:lnTo>
                  <a:lnTo>
                    <a:pt x="322" y="629"/>
                  </a:lnTo>
                  <a:lnTo>
                    <a:pt x="322" y="626"/>
                  </a:lnTo>
                  <a:lnTo>
                    <a:pt x="322" y="626"/>
                  </a:lnTo>
                  <a:lnTo>
                    <a:pt x="322" y="626"/>
                  </a:lnTo>
                  <a:lnTo>
                    <a:pt x="315" y="622"/>
                  </a:lnTo>
                  <a:lnTo>
                    <a:pt x="315" y="622"/>
                  </a:lnTo>
                  <a:lnTo>
                    <a:pt x="312" y="622"/>
                  </a:lnTo>
                  <a:lnTo>
                    <a:pt x="312" y="624"/>
                  </a:lnTo>
                  <a:lnTo>
                    <a:pt x="315" y="626"/>
                  </a:lnTo>
                  <a:lnTo>
                    <a:pt x="315" y="629"/>
                  </a:lnTo>
                  <a:lnTo>
                    <a:pt x="315" y="629"/>
                  </a:lnTo>
                  <a:lnTo>
                    <a:pt x="315" y="631"/>
                  </a:lnTo>
                  <a:lnTo>
                    <a:pt x="315" y="631"/>
                  </a:lnTo>
                  <a:lnTo>
                    <a:pt x="315" y="634"/>
                  </a:lnTo>
                  <a:lnTo>
                    <a:pt x="315" y="634"/>
                  </a:lnTo>
                  <a:lnTo>
                    <a:pt x="315" y="634"/>
                  </a:lnTo>
                  <a:lnTo>
                    <a:pt x="312" y="634"/>
                  </a:lnTo>
                  <a:lnTo>
                    <a:pt x="312" y="634"/>
                  </a:lnTo>
                  <a:lnTo>
                    <a:pt x="312" y="634"/>
                  </a:lnTo>
                  <a:lnTo>
                    <a:pt x="312" y="634"/>
                  </a:lnTo>
                  <a:lnTo>
                    <a:pt x="310" y="634"/>
                  </a:lnTo>
                  <a:lnTo>
                    <a:pt x="310" y="634"/>
                  </a:lnTo>
                  <a:lnTo>
                    <a:pt x="310" y="634"/>
                  </a:lnTo>
                  <a:lnTo>
                    <a:pt x="308" y="634"/>
                  </a:lnTo>
                  <a:lnTo>
                    <a:pt x="308" y="634"/>
                  </a:lnTo>
                  <a:lnTo>
                    <a:pt x="310" y="636"/>
                  </a:lnTo>
                  <a:lnTo>
                    <a:pt x="310" y="636"/>
                  </a:lnTo>
                  <a:lnTo>
                    <a:pt x="310" y="636"/>
                  </a:lnTo>
                  <a:lnTo>
                    <a:pt x="310" y="638"/>
                  </a:lnTo>
                  <a:lnTo>
                    <a:pt x="310" y="638"/>
                  </a:lnTo>
                  <a:lnTo>
                    <a:pt x="310" y="638"/>
                  </a:lnTo>
                  <a:lnTo>
                    <a:pt x="310" y="641"/>
                  </a:lnTo>
                  <a:lnTo>
                    <a:pt x="310" y="641"/>
                  </a:lnTo>
                  <a:lnTo>
                    <a:pt x="310" y="641"/>
                  </a:lnTo>
                  <a:lnTo>
                    <a:pt x="310" y="641"/>
                  </a:lnTo>
                  <a:lnTo>
                    <a:pt x="310" y="641"/>
                  </a:lnTo>
                  <a:lnTo>
                    <a:pt x="310" y="641"/>
                  </a:lnTo>
                  <a:lnTo>
                    <a:pt x="312" y="638"/>
                  </a:lnTo>
                  <a:lnTo>
                    <a:pt x="312" y="638"/>
                  </a:lnTo>
                  <a:lnTo>
                    <a:pt x="312" y="638"/>
                  </a:lnTo>
                  <a:lnTo>
                    <a:pt x="312" y="638"/>
                  </a:lnTo>
                  <a:lnTo>
                    <a:pt x="312" y="638"/>
                  </a:lnTo>
                  <a:lnTo>
                    <a:pt x="312" y="638"/>
                  </a:lnTo>
                  <a:lnTo>
                    <a:pt x="315" y="638"/>
                  </a:lnTo>
                  <a:lnTo>
                    <a:pt x="315" y="638"/>
                  </a:lnTo>
                  <a:lnTo>
                    <a:pt x="315" y="638"/>
                  </a:lnTo>
                  <a:lnTo>
                    <a:pt x="315" y="638"/>
                  </a:lnTo>
                  <a:lnTo>
                    <a:pt x="315" y="638"/>
                  </a:lnTo>
                  <a:lnTo>
                    <a:pt x="317" y="638"/>
                  </a:lnTo>
                  <a:lnTo>
                    <a:pt x="317" y="638"/>
                  </a:lnTo>
                  <a:lnTo>
                    <a:pt x="317" y="638"/>
                  </a:lnTo>
                  <a:lnTo>
                    <a:pt x="319" y="636"/>
                  </a:lnTo>
                  <a:lnTo>
                    <a:pt x="319" y="636"/>
                  </a:lnTo>
                  <a:lnTo>
                    <a:pt x="319" y="636"/>
                  </a:lnTo>
                  <a:close/>
                  <a:moveTo>
                    <a:pt x="379" y="669"/>
                  </a:moveTo>
                  <a:lnTo>
                    <a:pt x="379" y="669"/>
                  </a:lnTo>
                  <a:lnTo>
                    <a:pt x="379" y="669"/>
                  </a:lnTo>
                  <a:lnTo>
                    <a:pt x="376" y="669"/>
                  </a:lnTo>
                  <a:lnTo>
                    <a:pt x="376" y="669"/>
                  </a:lnTo>
                  <a:lnTo>
                    <a:pt x="376" y="669"/>
                  </a:lnTo>
                  <a:lnTo>
                    <a:pt x="376" y="669"/>
                  </a:lnTo>
                  <a:lnTo>
                    <a:pt x="376" y="669"/>
                  </a:lnTo>
                  <a:lnTo>
                    <a:pt x="376" y="669"/>
                  </a:lnTo>
                  <a:lnTo>
                    <a:pt x="376" y="669"/>
                  </a:lnTo>
                  <a:lnTo>
                    <a:pt x="376" y="667"/>
                  </a:lnTo>
                  <a:lnTo>
                    <a:pt x="374" y="667"/>
                  </a:lnTo>
                  <a:lnTo>
                    <a:pt x="374" y="667"/>
                  </a:lnTo>
                  <a:lnTo>
                    <a:pt x="376" y="669"/>
                  </a:lnTo>
                  <a:lnTo>
                    <a:pt x="376" y="669"/>
                  </a:lnTo>
                  <a:lnTo>
                    <a:pt x="379" y="669"/>
                  </a:lnTo>
                  <a:lnTo>
                    <a:pt x="379" y="669"/>
                  </a:lnTo>
                  <a:close/>
                  <a:moveTo>
                    <a:pt x="381" y="674"/>
                  </a:moveTo>
                  <a:lnTo>
                    <a:pt x="381" y="671"/>
                  </a:lnTo>
                  <a:lnTo>
                    <a:pt x="379" y="674"/>
                  </a:lnTo>
                  <a:lnTo>
                    <a:pt x="379" y="674"/>
                  </a:lnTo>
                  <a:lnTo>
                    <a:pt x="379" y="674"/>
                  </a:lnTo>
                  <a:lnTo>
                    <a:pt x="379" y="674"/>
                  </a:lnTo>
                  <a:lnTo>
                    <a:pt x="379" y="674"/>
                  </a:lnTo>
                  <a:lnTo>
                    <a:pt x="379" y="674"/>
                  </a:lnTo>
                  <a:lnTo>
                    <a:pt x="381" y="674"/>
                  </a:lnTo>
                  <a:lnTo>
                    <a:pt x="381" y="674"/>
                  </a:lnTo>
                  <a:lnTo>
                    <a:pt x="381" y="674"/>
                  </a:lnTo>
                  <a:lnTo>
                    <a:pt x="381" y="674"/>
                  </a:lnTo>
                  <a:lnTo>
                    <a:pt x="381" y="674"/>
                  </a:lnTo>
                  <a:close/>
                  <a:moveTo>
                    <a:pt x="480" y="726"/>
                  </a:moveTo>
                  <a:lnTo>
                    <a:pt x="480" y="723"/>
                  </a:lnTo>
                  <a:lnTo>
                    <a:pt x="480" y="723"/>
                  </a:lnTo>
                  <a:lnTo>
                    <a:pt x="480" y="723"/>
                  </a:lnTo>
                  <a:lnTo>
                    <a:pt x="480" y="723"/>
                  </a:lnTo>
                  <a:lnTo>
                    <a:pt x="478" y="723"/>
                  </a:lnTo>
                  <a:lnTo>
                    <a:pt x="476" y="723"/>
                  </a:lnTo>
                  <a:lnTo>
                    <a:pt x="476" y="723"/>
                  </a:lnTo>
                  <a:lnTo>
                    <a:pt x="473" y="723"/>
                  </a:lnTo>
                  <a:lnTo>
                    <a:pt x="471" y="726"/>
                  </a:lnTo>
                  <a:lnTo>
                    <a:pt x="473" y="726"/>
                  </a:lnTo>
                  <a:lnTo>
                    <a:pt x="473" y="728"/>
                  </a:lnTo>
                  <a:lnTo>
                    <a:pt x="476" y="728"/>
                  </a:lnTo>
                  <a:lnTo>
                    <a:pt x="478" y="728"/>
                  </a:lnTo>
                  <a:lnTo>
                    <a:pt x="478" y="728"/>
                  </a:lnTo>
                  <a:lnTo>
                    <a:pt x="478" y="728"/>
                  </a:lnTo>
                  <a:lnTo>
                    <a:pt x="478" y="728"/>
                  </a:lnTo>
                  <a:lnTo>
                    <a:pt x="480" y="728"/>
                  </a:lnTo>
                  <a:lnTo>
                    <a:pt x="483" y="728"/>
                  </a:lnTo>
                  <a:lnTo>
                    <a:pt x="483" y="728"/>
                  </a:lnTo>
                  <a:lnTo>
                    <a:pt x="483" y="726"/>
                  </a:lnTo>
                  <a:lnTo>
                    <a:pt x="480" y="726"/>
                  </a:lnTo>
                  <a:close/>
                  <a:moveTo>
                    <a:pt x="428" y="697"/>
                  </a:moveTo>
                  <a:lnTo>
                    <a:pt x="428" y="695"/>
                  </a:lnTo>
                  <a:lnTo>
                    <a:pt x="428" y="695"/>
                  </a:lnTo>
                  <a:lnTo>
                    <a:pt x="428" y="695"/>
                  </a:lnTo>
                  <a:lnTo>
                    <a:pt x="428" y="695"/>
                  </a:lnTo>
                  <a:lnTo>
                    <a:pt x="431" y="695"/>
                  </a:lnTo>
                  <a:lnTo>
                    <a:pt x="433" y="697"/>
                  </a:lnTo>
                  <a:lnTo>
                    <a:pt x="433" y="697"/>
                  </a:lnTo>
                  <a:lnTo>
                    <a:pt x="433" y="695"/>
                  </a:lnTo>
                  <a:lnTo>
                    <a:pt x="433" y="695"/>
                  </a:lnTo>
                  <a:lnTo>
                    <a:pt x="435" y="695"/>
                  </a:lnTo>
                  <a:lnTo>
                    <a:pt x="435" y="695"/>
                  </a:lnTo>
                  <a:lnTo>
                    <a:pt x="435" y="695"/>
                  </a:lnTo>
                  <a:lnTo>
                    <a:pt x="435" y="695"/>
                  </a:lnTo>
                  <a:lnTo>
                    <a:pt x="435" y="695"/>
                  </a:lnTo>
                  <a:lnTo>
                    <a:pt x="435" y="695"/>
                  </a:lnTo>
                  <a:lnTo>
                    <a:pt x="438" y="695"/>
                  </a:lnTo>
                  <a:lnTo>
                    <a:pt x="438" y="693"/>
                  </a:lnTo>
                  <a:lnTo>
                    <a:pt x="438" y="693"/>
                  </a:lnTo>
                  <a:lnTo>
                    <a:pt x="438" y="693"/>
                  </a:lnTo>
                  <a:lnTo>
                    <a:pt x="438" y="693"/>
                  </a:lnTo>
                  <a:lnTo>
                    <a:pt x="438" y="690"/>
                  </a:lnTo>
                  <a:lnTo>
                    <a:pt x="438" y="690"/>
                  </a:lnTo>
                  <a:lnTo>
                    <a:pt x="438" y="688"/>
                  </a:lnTo>
                  <a:lnTo>
                    <a:pt x="438" y="688"/>
                  </a:lnTo>
                  <a:lnTo>
                    <a:pt x="438" y="688"/>
                  </a:lnTo>
                  <a:lnTo>
                    <a:pt x="435" y="688"/>
                  </a:lnTo>
                  <a:lnTo>
                    <a:pt x="435" y="686"/>
                  </a:lnTo>
                  <a:lnTo>
                    <a:pt x="435" y="686"/>
                  </a:lnTo>
                  <a:lnTo>
                    <a:pt x="433" y="686"/>
                  </a:lnTo>
                  <a:lnTo>
                    <a:pt x="433" y="686"/>
                  </a:lnTo>
                  <a:lnTo>
                    <a:pt x="431" y="686"/>
                  </a:lnTo>
                  <a:lnTo>
                    <a:pt x="431" y="686"/>
                  </a:lnTo>
                  <a:lnTo>
                    <a:pt x="431" y="686"/>
                  </a:lnTo>
                  <a:lnTo>
                    <a:pt x="431" y="686"/>
                  </a:lnTo>
                  <a:lnTo>
                    <a:pt x="431" y="686"/>
                  </a:lnTo>
                  <a:lnTo>
                    <a:pt x="431" y="686"/>
                  </a:lnTo>
                  <a:lnTo>
                    <a:pt x="428" y="686"/>
                  </a:lnTo>
                  <a:lnTo>
                    <a:pt x="428" y="686"/>
                  </a:lnTo>
                  <a:lnTo>
                    <a:pt x="426" y="686"/>
                  </a:lnTo>
                  <a:lnTo>
                    <a:pt x="426" y="686"/>
                  </a:lnTo>
                  <a:lnTo>
                    <a:pt x="426" y="686"/>
                  </a:lnTo>
                  <a:lnTo>
                    <a:pt x="426" y="688"/>
                  </a:lnTo>
                  <a:lnTo>
                    <a:pt x="426" y="688"/>
                  </a:lnTo>
                  <a:lnTo>
                    <a:pt x="428" y="688"/>
                  </a:lnTo>
                  <a:lnTo>
                    <a:pt x="428" y="688"/>
                  </a:lnTo>
                  <a:lnTo>
                    <a:pt x="428" y="688"/>
                  </a:lnTo>
                  <a:lnTo>
                    <a:pt x="428" y="688"/>
                  </a:lnTo>
                  <a:lnTo>
                    <a:pt x="428" y="688"/>
                  </a:lnTo>
                  <a:lnTo>
                    <a:pt x="428" y="688"/>
                  </a:lnTo>
                  <a:lnTo>
                    <a:pt x="428" y="690"/>
                  </a:lnTo>
                  <a:lnTo>
                    <a:pt x="428" y="690"/>
                  </a:lnTo>
                  <a:lnTo>
                    <a:pt x="428" y="690"/>
                  </a:lnTo>
                  <a:lnTo>
                    <a:pt x="428" y="693"/>
                  </a:lnTo>
                  <a:lnTo>
                    <a:pt x="428" y="693"/>
                  </a:lnTo>
                  <a:lnTo>
                    <a:pt x="428" y="693"/>
                  </a:lnTo>
                  <a:lnTo>
                    <a:pt x="428" y="693"/>
                  </a:lnTo>
                  <a:lnTo>
                    <a:pt x="428" y="693"/>
                  </a:lnTo>
                  <a:lnTo>
                    <a:pt x="426" y="693"/>
                  </a:lnTo>
                  <a:lnTo>
                    <a:pt x="426" y="693"/>
                  </a:lnTo>
                  <a:lnTo>
                    <a:pt x="426" y="693"/>
                  </a:lnTo>
                  <a:lnTo>
                    <a:pt x="426" y="693"/>
                  </a:lnTo>
                  <a:lnTo>
                    <a:pt x="426" y="693"/>
                  </a:lnTo>
                  <a:lnTo>
                    <a:pt x="424" y="693"/>
                  </a:lnTo>
                  <a:lnTo>
                    <a:pt x="424" y="693"/>
                  </a:lnTo>
                  <a:lnTo>
                    <a:pt x="424" y="690"/>
                  </a:lnTo>
                  <a:lnTo>
                    <a:pt x="424" y="690"/>
                  </a:lnTo>
                  <a:lnTo>
                    <a:pt x="421" y="690"/>
                  </a:lnTo>
                  <a:lnTo>
                    <a:pt x="421" y="690"/>
                  </a:lnTo>
                  <a:lnTo>
                    <a:pt x="421" y="690"/>
                  </a:lnTo>
                  <a:lnTo>
                    <a:pt x="421" y="690"/>
                  </a:lnTo>
                  <a:lnTo>
                    <a:pt x="421" y="690"/>
                  </a:lnTo>
                  <a:lnTo>
                    <a:pt x="421" y="693"/>
                  </a:lnTo>
                  <a:lnTo>
                    <a:pt x="421" y="693"/>
                  </a:lnTo>
                  <a:lnTo>
                    <a:pt x="421" y="690"/>
                  </a:lnTo>
                  <a:lnTo>
                    <a:pt x="419" y="688"/>
                  </a:lnTo>
                  <a:lnTo>
                    <a:pt x="417" y="688"/>
                  </a:lnTo>
                  <a:lnTo>
                    <a:pt x="417" y="688"/>
                  </a:lnTo>
                  <a:lnTo>
                    <a:pt x="417" y="690"/>
                  </a:lnTo>
                  <a:lnTo>
                    <a:pt x="417" y="690"/>
                  </a:lnTo>
                  <a:lnTo>
                    <a:pt x="417" y="690"/>
                  </a:lnTo>
                  <a:lnTo>
                    <a:pt x="417" y="690"/>
                  </a:lnTo>
                  <a:lnTo>
                    <a:pt x="419" y="690"/>
                  </a:lnTo>
                  <a:lnTo>
                    <a:pt x="417" y="690"/>
                  </a:lnTo>
                  <a:lnTo>
                    <a:pt x="417" y="690"/>
                  </a:lnTo>
                  <a:lnTo>
                    <a:pt x="417" y="690"/>
                  </a:lnTo>
                  <a:lnTo>
                    <a:pt x="417" y="690"/>
                  </a:lnTo>
                  <a:lnTo>
                    <a:pt x="414" y="690"/>
                  </a:lnTo>
                  <a:lnTo>
                    <a:pt x="414" y="690"/>
                  </a:lnTo>
                  <a:lnTo>
                    <a:pt x="414" y="690"/>
                  </a:lnTo>
                  <a:lnTo>
                    <a:pt x="414" y="690"/>
                  </a:lnTo>
                  <a:lnTo>
                    <a:pt x="414" y="690"/>
                  </a:lnTo>
                  <a:lnTo>
                    <a:pt x="412" y="690"/>
                  </a:lnTo>
                  <a:lnTo>
                    <a:pt x="412" y="688"/>
                  </a:lnTo>
                  <a:lnTo>
                    <a:pt x="412" y="688"/>
                  </a:lnTo>
                  <a:lnTo>
                    <a:pt x="412" y="688"/>
                  </a:lnTo>
                  <a:lnTo>
                    <a:pt x="409" y="688"/>
                  </a:lnTo>
                  <a:lnTo>
                    <a:pt x="409" y="688"/>
                  </a:lnTo>
                  <a:lnTo>
                    <a:pt x="409" y="688"/>
                  </a:lnTo>
                  <a:lnTo>
                    <a:pt x="409" y="688"/>
                  </a:lnTo>
                  <a:lnTo>
                    <a:pt x="409" y="686"/>
                  </a:lnTo>
                  <a:lnTo>
                    <a:pt x="407" y="686"/>
                  </a:lnTo>
                  <a:lnTo>
                    <a:pt x="407" y="686"/>
                  </a:lnTo>
                  <a:lnTo>
                    <a:pt x="407" y="686"/>
                  </a:lnTo>
                  <a:lnTo>
                    <a:pt x="407" y="686"/>
                  </a:lnTo>
                  <a:lnTo>
                    <a:pt x="407" y="686"/>
                  </a:lnTo>
                  <a:lnTo>
                    <a:pt x="407" y="683"/>
                  </a:lnTo>
                  <a:lnTo>
                    <a:pt x="405" y="683"/>
                  </a:lnTo>
                  <a:lnTo>
                    <a:pt x="405" y="686"/>
                  </a:lnTo>
                  <a:lnTo>
                    <a:pt x="405" y="686"/>
                  </a:lnTo>
                  <a:lnTo>
                    <a:pt x="405" y="683"/>
                  </a:lnTo>
                  <a:lnTo>
                    <a:pt x="405" y="683"/>
                  </a:lnTo>
                  <a:lnTo>
                    <a:pt x="402" y="686"/>
                  </a:lnTo>
                  <a:lnTo>
                    <a:pt x="402" y="686"/>
                  </a:lnTo>
                  <a:lnTo>
                    <a:pt x="402" y="686"/>
                  </a:lnTo>
                  <a:lnTo>
                    <a:pt x="402" y="683"/>
                  </a:lnTo>
                  <a:lnTo>
                    <a:pt x="402" y="683"/>
                  </a:lnTo>
                  <a:lnTo>
                    <a:pt x="402" y="683"/>
                  </a:lnTo>
                  <a:lnTo>
                    <a:pt x="402" y="683"/>
                  </a:lnTo>
                  <a:lnTo>
                    <a:pt x="402" y="683"/>
                  </a:lnTo>
                  <a:lnTo>
                    <a:pt x="402" y="683"/>
                  </a:lnTo>
                  <a:lnTo>
                    <a:pt x="402" y="683"/>
                  </a:lnTo>
                  <a:lnTo>
                    <a:pt x="400" y="683"/>
                  </a:lnTo>
                  <a:lnTo>
                    <a:pt x="402" y="686"/>
                  </a:lnTo>
                  <a:lnTo>
                    <a:pt x="400" y="686"/>
                  </a:lnTo>
                  <a:lnTo>
                    <a:pt x="400" y="686"/>
                  </a:lnTo>
                  <a:lnTo>
                    <a:pt x="400" y="683"/>
                  </a:lnTo>
                  <a:lnTo>
                    <a:pt x="400" y="683"/>
                  </a:lnTo>
                  <a:lnTo>
                    <a:pt x="400" y="683"/>
                  </a:lnTo>
                  <a:lnTo>
                    <a:pt x="398" y="683"/>
                  </a:lnTo>
                  <a:lnTo>
                    <a:pt x="398" y="683"/>
                  </a:lnTo>
                  <a:lnTo>
                    <a:pt x="398" y="683"/>
                  </a:lnTo>
                  <a:lnTo>
                    <a:pt x="398" y="683"/>
                  </a:lnTo>
                  <a:lnTo>
                    <a:pt x="398" y="683"/>
                  </a:lnTo>
                  <a:lnTo>
                    <a:pt x="398" y="681"/>
                  </a:lnTo>
                  <a:lnTo>
                    <a:pt x="398" y="681"/>
                  </a:lnTo>
                  <a:lnTo>
                    <a:pt x="395" y="681"/>
                  </a:lnTo>
                  <a:lnTo>
                    <a:pt x="393" y="679"/>
                  </a:lnTo>
                  <a:lnTo>
                    <a:pt x="393" y="679"/>
                  </a:lnTo>
                  <a:lnTo>
                    <a:pt x="393" y="679"/>
                  </a:lnTo>
                  <a:lnTo>
                    <a:pt x="400" y="686"/>
                  </a:lnTo>
                  <a:lnTo>
                    <a:pt x="400" y="686"/>
                  </a:lnTo>
                  <a:lnTo>
                    <a:pt x="402" y="686"/>
                  </a:lnTo>
                  <a:lnTo>
                    <a:pt x="402" y="686"/>
                  </a:lnTo>
                  <a:lnTo>
                    <a:pt x="402" y="688"/>
                  </a:lnTo>
                  <a:lnTo>
                    <a:pt x="402" y="688"/>
                  </a:lnTo>
                  <a:lnTo>
                    <a:pt x="405" y="688"/>
                  </a:lnTo>
                  <a:lnTo>
                    <a:pt x="405" y="688"/>
                  </a:lnTo>
                  <a:lnTo>
                    <a:pt x="407" y="690"/>
                  </a:lnTo>
                  <a:lnTo>
                    <a:pt x="407" y="690"/>
                  </a:lnTo>
                  <a:lnTo>
                    <a:pt x="407" y="690"/>
                  </a:lnTo>
                  <a:lnTo>
                    <a:pt x="407" y="693"/>
                  </a:lnTo>
                  <a:lnTo>
                    <a:pt x="409" y="693"/>
                  </a:lnTo>
                  <a:lnTo>
                    <a:pt x="409" y="693"/>
                  </a:lnTo>
                  <a:lnTo>
                    <a:pt x="409" y="693"/>
                  </a:lnTo>
                  <a:lnTo>
                    <a:pt x="409" y="693"/>
                  </a:lnTo>
                  <a:lnTo>
                    <a:pt x="409" y="690"/>
                  </a:lnTo>
                  <a:lnTo>
                    <a:pt x="409" y="690"/>
                  </a:lnTo>
                  <a:lnTo>
                    <a:pt x="409" y="690"/>
                  </a:lnTo>
                  <a:lnTo>
                    <a:pt x="409" y="693"/>
                  </a:lnTo>
                  <a:lnTo>
                    <a:pt x="412" y="693"/>
                  </a:lnTo>
                  <a:lnTo>
                    <a:pt x="412" y="693"/>
                  </a:lnTo>
                  <a:lnTo>
                    <a:pt x="412" y="693"/>
                  </a:lnTo>
                  <a:lnTo>
                    <a:pt x="412" y="693"/>
                  </a:lnTo>
                  <a:lnTo>
                    <a:pt x="412" y="695"/>
                  </a:lnTo>
                  <a:lnTo>
                    <a:pt x="414" y="695"/>
                  </a:lnTo>
                  <a:lnTo>
                    <a:pt x="414" y="695"/>
                  </a:lnTo>
                  <a:lnTo>
                    <a:pt x="414" y="695"/>
                  </a:lnTo>
                  <a:lnTo>
                    <a:pt x="414" y="695"/>
                  </a:lnTo>
                  <a:lnTo>
                    <a:pt x="414" y="695"/>
                  </a:lnTo>
                  <a:lnTo>
                    <a:pt x="414" y="693"/>
                  </a:lnTo>
                  <a:lnTo>
                    <a:pt x="414" y="693"/>
                  </a:lnTo>
                  <a:lnTo>
                    <a:pt x="414" y="695"/>
                  </a:lnTo>
                  <a:lnTo>
                    <a:pt x="414" y="695"/>
                  </a:lnTo>
                  <a:lnTo>
                    <a:pt x="414" y="695"/>
                  </a:lnTo>
                  <a:lnTo>
                    <a:pt x="414" y="695"/>
                  </a:lnTo>
                  <a:lnTo>
                    <a:pt x="414" y="693"/>
                  </a:lnTo>
                  <a:lnTo>
                    <a:pt x="417" y="693"/>
                  </a:lnTo>
                  <a:lnTo>
                    <a:pt x="417" y="693"/>
                  </a:lnTo>
                  <a:lnTo>
                    <a:pt x="417" y="695"/>
                  </a:lnTo>
                  <a:lnTo>
                    <a:pt x="417" y="695"/>
                  </a:lnTo>
                  <a:lnTo>
                    <a:pt x="417" y="695"/>
                  </a:lnTo>
                  <a:lnTo>
                    <a:pt x="417" y="695"/>
                  </a:lnTo>
                  <a:lnTo>
                    <a:pt x="417" y="697"/>
                  </a:lnTo>
                  <a:lnTo>
                    <a:pt x="417" y="697"/>
                  </a:lnTo>
                  <a:lnTo>
                    <a:pt x="417" y="697"/>
                  </a:lnTo>
                  <a:lnTo>
                    <a:pt x="417" y="697"/>
                  </a:lnTo>
                  <a:lnTo>
                    <a:pt x="419" y="695"/>
                  </a:lnTo>
                  <a:lnTo>
                    <a:pt x="419" y="695"/>
                  </a:lnTo>
                  <a:lnTo>
                    <a:pt x="419" y="695"/>
                  </a:lnTo>
                  <a:lnTo>
                    <a:pt x="419" y="695"/>
                  </a:lnTo>
                  <a:lnTo>
                    <a:pt x="419" y="695"/>
                  </a:lnTo>
                  <a:lnTo>
                    <a:pt x="419" y="695"/>
                  </a:lnTo>
                  <a:lnTo>
                    <a:pt x="419" y="695"/>
                  </a:lnTo>
                  <a:lnTo>
                    <a:pt x="419" y="695"/>
                  </a:lnTo>
                  <a:lnTo>
                    <a:pt x="421" y="695"/>
                  </a:lnTo>
                  <a:lnTo>
                    <a:pt x="421" y="695"/>
                  </a:lnTo>
                  <a:lnTo>
                    <a:pt x="421" y="695"/>
                  </a:lnTo>
                  <a:lnTo>
                    <a:pt x="421" y="695"/>
                  </a:lnTo>
                  <a:lnTo>
                    <a:pt x="421" y="697"/>
                  </a:lnTo>
                  <a:lnTo>
                    <a:pt x="421" y="697"/>
                  </a:lnTo>
                  <a:lnTo>
                    <a:pt x="424" y="697"/>
                  </a:lnTo>
                  <a:lnTo>
                    <a:pt x="424" y="697"/>
                  </a:lnTo>
                  <a:lnTo>
                    <a:pt x="424" y="700"/>
                  </a:lnTo>
                  <a:lnTo>
                    <a:pt x="424" y="700"/>
                  </a:lnTo>
                  <a:lnTo>
                    <a:pt x="424" y="700"/>
                  </a:lnTo>
                  <a:lnTo>
                    <a:pt x="424" y="700"/>
                  </a:lnTo>
                  <a:lnTo>
                    <a:pt x="424" y="697"/>
                  </a:lnTo>
                  <a:lnTo>
                    <a:pt x="424" y="697"/>
                  </a:lnTo>
                  <a:lnTo>
                    <a:pt x="426" y="697"/>
                  </a:lnTo>
                  <a:lnTo>
                    <a:pt x="426" y="700"/>
                  </a:lnTo>
                  <a:lnTo>
                    <a:pt x="426" y="700"/>
                  </a:lnTo>
                  <a:lnTo>
                    <a:pt x="426" y="700"/>
                  </a:lnTo>
                  <a:lnTo>
                    <a:pt x="426" y="700"/>
                  </a:lnTo>
                  <a:lnTo>
                    <a:pt x="426" y="700"/>
                  </a:lnTo>
                  <a:lnTo>
                    <a:pt x="426" y="700"/>
                  </a:lnTo>
                  <a:lnTo>
                    <a:pt x="428" y="700"/>
                  </a:lnTo>
                  <a:lnTo>
                    <a:pt x="428" y="700"/>
                  </a:lnTo>
                  <a:lnTo>
                    <a:pt x="428" y="700"/>
                  </a:lnTo>
                  <a:lnTo>
                    <a:pt x="428" y="700"/>
                  </a:lnTo>
                  <a:lnTo>
                    <a:pt x="428" y="700"/>
                  </a:lnTo>
                  <a:lnTo>
                    <a:pt x="428" y="697"/>
                  </a:lnTo>
                  <a:close/>
                  <a:moveTo>
                    <a:pt x="454" y="721"/>
                  </a:moveTo>
                  <a:lnTo>
                    <a:pt x="452" y="721"/>
                  </a:lnTo>
                  <a:lnTo>
                    <a:pt x="452" y="721"/>
                  </a:lnTo>
                  <a:lnTo>
                    <a:pt x="452" y="721"/>
                  </a:lnTo>
                  <a:lnTo>
                    <a:pt x="452" y="721"/>
                  </a:lnTo>
                  <a:lnTo>
                    <a:pt x="450" y="719"/>
                  </a:lnTo>
                  <a:lnTo>
                    <a:pt x="450" y="719"/>
                  </a:lnTo>
                  <a:lnTo>
                    <a:pt x="450" y="719"/>
                  </a:lnTo>
                  <a:lnTo>
                    <a:pt x="450" y="719"/>
                  </a:lnTo>
                  <a:lnTo>
                    <a:pt x="450" y="719"/>
                  </a:lnTo>
                  <a:lnTo>
                    <a:pt x="450" y="719"/>
                  </a:lnTo>
                  <a:lnTo>
                    <a:pt x="450" y="719"/>
                  </a:lnTo>
                  <a:lnTo>
                    <a:pt x="450" y="719"/>
                  </a:lnTo>
                  <a:lnTo>
                    <a:pt x="450" y="719"/>
                  </a:lnTo>
                  <a:lnTo>
                    <a:pt x="447" y="719"/>
                  </a:lnTo>
                  <a:lnTo>
                    <a:pt x="447" y="716"/>
                  </a:lnTo>
                  <a:lnTo>
                    <a:pt x="447" y="716"/>
                  </a:lnTo>
                  <a:lnTo>
                    <a:pt x="447" y="716"/>
                  </a:lnTo>
                  <a:lnTo>
                    <a:pt x="447" y="716"/>
                  </a:lnTo>
                  <a:lnTo>
                    <a:pt x="445" y="716"/>
                  </a:lnTo>
                  <a:lnTo>
                    <a:pt x="445" y="716"/>
                  </a:lnTo>
                  <a:lnTo>
                    <a:pt x="445" y="716"/>
                  </a:lnTo>
                  <a:lnTo>
                    <a:pt x="445" y="714"/>
                  </a:lnTo>
                  <a:lnTo>
                    <a:pt x="445" y="714"/>
                  </a:lnTo>
                  <a:lnTo>
                    <a:pt x="445" y="714"/>
                  </a:lnTo>
                  <a:lnTo>
                    <a:pt x="445" y="714"/>
                  </a:lnTo>
                  <a:lnTo>
                    <a:pt x="443" y="714"/>
                  </a:lnTo>
                  <a:lnTo>
                    <a:pt x="443" y="714"/>
                  </a:lnTo>
                  <a:lnTo>
                    <a:pt x="443" y="712"/>
                  </a:lnTo>
                  <a:lnTo>
                    <a:pt x="443" y="712"/>
                  </a:lnTo>
                  <a:lnTo>
                    <a:pt x="443" y="712"/>
                  </a:lnTo>
                  <a:lnTo>
                    <a:pt x="443" y="712"/>
                  </a:lnTo>
                  <a:lnTo>
                    <a:pt x="443" y="712"/>
                  </a:lnTo>
                  <a:lnTo>
                    <a:pt x="443" y="709"/>
                  </a:lnTo>
                  <a:lnTo>
                    <a:pt x="443" y="709"/>
                  </a:lnTo>
                  <a:lnTo>
                    <a:pt x="443" y="709"/>
                  </a:lnTo>
                  <a:lnTo>
                    <a:pt x="440" y="709"/>
                  </a:lnTo>
                  <a:lnTo>
                    <a:pt x="440" y="709"/>
                  </a:lnTo>
                  <a:lnTo>
                    <a:pt x="440" y="709"/>
                  </a:lnTo>
                  <a:lnTo>
                    <a:pt x="440" y="709"/>
                  </a:lnTo>
                  <a:lnTo>
                    <a:pt x="438" y="709"/>
                  </a:lnTo>
                  <a:lnTo>
                    <a:pt x="438" y="707"/>
                  </a:lnTo>
                  <a:lnTo>
                    <a:pt x="438" y="707"/>
                  </a:lnTo>
                  <a:lnTo>
                    <a:pt x="435" y="707"/>
                  </a:lnTo>
                  <a:lnTo>
                    <a:pt x="435" y="707"/>
                  </a:lnTo>
                  <a:lnTo>
                    <a:pt x="435" y="707"/>
                  </a:lnTo>
                  <a:lnTo>
                    <a:pt x="435" y="705"/>
                  </a:lnTo>
                  <a:lnTo>
                    <a:pt x="435" y="705"/>
                  </a:lnTo>
                  <a:lnTo>
                    <a:pt x="433" y="705"/>
                  </a:lnTo>
                  <a:lnTo>
                    <a:pt x="433" y="705"/>
                  </a:lnTo>
                  <a:lnTo>
                    <a:pt x="433" y="705"/>
                  </a:lnTo>
                  <a:lnTo>
                    <a:pt x="433" y="705"/>
                  </a:lnTo>
                  <a:lnTo>
                    <a:pt x="433" y="705"/>
                  </a:lnTo>
                  <a:lnTo>
                    <a:pt x="433" y="705"/>
                  </a:lnTo>
                  <a:lnTo>
                    <a:pt x="433" y="705"/>
                  </a:lnTo>
                  <a:lnTo>
                    <a:pt x="431" y="705"/>
                  </a:lnTo>
                  <a:lnTo>
                    <a:pt x="431" y="702"/>
                  </a:lnTo>
                  <a:lnTo>
                    <a:pt x="431" y="702"/>
                  </a:lnTo>
                  <a:lnTo>
                    <a:pt x="431" y="702"/>
                  </a:lnTo>
                  <a:lnTo>
                    <a:pt x="431" y="700"/>
                  </a:lnTo>
                  <a:lnTo>
                    <a:pt x="428" y="700"/>
                  </a:lnTo>
                  <a:lnTo>
                    <a:pt x="428" y="700"/>
                  </a:lnTo>
                  <a:lnTo>
                    <a:pt x="428" y="702"/>
                  </a:lnTo>
                  <a:lnTo>
                    <a:pt x="428" y="702"/>
                  </a:lnTo>
                  <a:lnTo>
                    <a:pt x="428" y="702"/>
                  </a:lnTo>
                  <a:lnTo>
                    <a:pt x="428" y="702"/>
                  </a:lnTo>
                  <a:lnTo>
                    <a:pt x="428" y="702"/>
                  </a:lnTo>
                  <a:lnTo>
                    <a:pt x="428" y="702"/>
                  </a:lnTo>
                  <a:lnTo>
                    <a:pt x="431" y="705"/>
                  </a:lnTo>
                  <a:lnTo>
                    <a:pt x="431" y="705"/>
                  </a:lnTo>
                  <a:lnTo>
                    <a:pt x="431" y="705"/>
                  </a:lnTo>
                  <a:lnTo>
                    <a:pt x="431" y="705"/>
                  </a:lnTo>
                  <a:lnTo>
                    <a:pt x="431" y="705"/>
                  </a:lnTo>
                  <a:lnTo>
                    <a:pt x="431" y="705"/>
                  </a:lnTo>
                  <a:lnTo>
                    <a:pt x="431" y="707"/>
                  </a:lnTo>
                  <a:lnTo>
                    <a:pt x="431" y="707"/>
                  </a:lnTo>
                  <a:lnTo>
                    <a:pt x="431" y="707"/>
                  </a:lnTo>
                  <a:lnTo>
                    <a:pt x="431" y="707"/>
                  </a:lnTo>
                  <a:lnTo>
                    <a:pt x="433" y="709"/>
                  </a:lnTo>
                  <a:lnTo>
                    <a:pt x="435" y="712"/>
                  </a:lnTo>
                  <a:lnTo>
                    <a:pt x="435" y="712"/>
                  </a:lnTo>
                  <a:lnTo>
                    <a:pt x="438" y="712"/>
                  </a:lnTo>
                  <a:lnTo>
                    <a:pt x="438" y="712"/>
                  </a:lnTo>
                  <a:lnTo>
                    <a:pt x="438" y="712"/>
                  </a:lnTo>
                  <a:lnTo>
                    <a:pt x="435" y="712"/>
                  </a:lnTo>
                  <a:lnTo>
                    <a:pt x="440" y="714"/>
                  </a:lnTo>
                  <a:lnTo>
                    <a:pt x="440" y="714"/>
                  </a:lnTo>
                  <a:lnTo>
                    <a:pt x="438" y="716"/>
                  </a:lnTo>
                  <a:lnTo>
                    <a:pt x="440" y="716"/>
                  </a:lnTo>
                  <a:lnTo>
                    <a:pt x="440" y="716"/>
                  </a:lnTo>
                  <a:lnTo>
                    <a:pt x="440" y="716"/>
                  </a:lnTo>
                  <a:lnTo>
                    <a:pt x="440" y="716"/>
                  </a:lnTo>
                  <a:lnTo>
                    <a:pt x="440" y="716"/>
                  </a:lnTo>
                  <a:lnTo>
                    <a:pt x="440" y="716"/>
                  </a:lnTo>
                  <a:lnTo>
                    <a:pt x="440" y="716"/>
                  </a:lnTo>
                  <a:lnTo>
                    <a:pt x="440" y="716"/>
                  </a:lnTo>
                  <a:lnTo>
                    <a:pt x="443" y="716"/>
                  </a:lnTo>
                  <a:lnTo>
                    <a:pt x="443" y="716"/>
                  </a:lnTo>
                  <a:lnTo>
                    <a:pt x="443" y="716"/>
                  </a:lnTo>
                  <a:lnTo>
                    <a:pt x="443" y="719"/>
                  </a:lnTo>
                  <a:lnTo>
                    <a:pt x="445" y="719"/>
                  </a:lnTo>
                  <a:lnTo>
                    <a:pt x="447" y="719"/>
                  </a:lnTo>
                  <a:lnTo>
                    <a:pt x="447" y="721"/>
                  </a:lnTo>
                  <a:lnTo>
                    <a:pt x="447" y="721"/>
                  </a:lnTo>
                  <a:lnTo>
                    <a:pt x="447" y="721"/>
                  </a:lnTo>
                  <a:lnTo>
                    <a:pt x="450" y="721"/>
                  </a:lnTo>
                  <a:lnTo>
                    <a:pt x="450" y="721"/>
                  </a:lnTo>
                  <a:lnTo>
                    <a:pt x="450" y="721"/>
                  </a:lnTo>
                  <a:lnTo>
                    <a:pt x="450" y="721"/>
                  </a:lnTo>
                  <a:lnTo>
                    <a:pt x="450" y="721"/>
                  </a:lnTo>
                  <a:lnTo>
                    <a:pt x="450" y="723"/>
                  </a:lnTo>
                  <a:lnTo>
                    <a:pt x="452" y="723"/>
                  </a:lnTo>
                  <a:lnTo>
                    <a:pt x="452" y="723"/>
                  </a:lnTo>
                  <a:lnTo>
                    <a:pt x="454" y="723"/>
                  </a:lnTo>
                  <a:lnTo>
                    <a:pt x="454" y="726"/>
                  </a:lnTo>
                  <a:lnTo>
                    <a:pt x="454" y="726"/>
                  </a:lnTo>
                  <a:lnTo>
                    <a:pt x="457" y="726"/>
                  </a:lnTo>
                  <a:lnTo>
                    <a:pt x="457" y="726"/>
                  </a:lnTo>
                  <a:lnTo>
                    <a:pt x="454" y="723"/>
                  </a:lnTo>
                  <a:lnTo>
                    <a:pt x="454" y="721"/>
                  </a:lnTo>
                  <a:close/>
                  <a:moveTo>
                    <a:pt x="355" y="667"/>
                  </a:moveTo>
                  <a:lnTo>
                    <a:pt x="355" y="667"/>
                  </a:lnTo>
                  <a:lnTo>
                    <a:pt x="355" y="664"/>
                  </a:lnTo>
                  <a:lnTo>
                    <a:pt x="355" y="664"/>
                  </a:lnTo>
                  <a:lnTo>
                    <a:pt x="355" y="664"/>
                  </a:lnTo>
                  <a:lnTo>
                    <a:pt x="357" y="664"/>
                  </a:lnTo>
                  <a:lnTo>
                    <a:pt x="357" y="664"/>
                  </a:lnTo>
                  <a:lnTo>
                    <a:pt x="357" y="664"/>
                  </a:lnTo>
                  <a:lnTo>
                    <a:pt x="357" y="662"/>
                  </a:lnTo>
                  <a:lnTo>
                    <a:pt x="357" y="662"/>
                  </a:lnTo>
                  <a:lnTo>
                    <a:pt x="355" y="662"/>
                  </a:lnTo>
                  <a:lnTo>
                    <a:pt x="355" y="662"/>
                  </a:lnTo>
                  <a:lnTo>
                    <a:pt x="355" y="662"/>
                  </a:lnTo>
                  <a:lnTo>
                    <a:pt x="355" y="662"/>
                  </a:lnTo>
                  <a:lnTo>
                    <a:pt x="355" y="662"/>
                  </a:lnTo>
                  <a:lnTo>
                    <a:pt x="355" y="662"/>
                  </a:lnTo>
                  <a:lnTo>
                    <a:pt x="355" y="660"/>
                  </a:lnTo>
                  <a:lnTo>
                    <a:pt x="353" y="660"/>
                  </a:lnTo>
                  <a:lnTo>
                    <a:pt x="353" y="660"/>
                  </a:lnTo>
                  <a:lnTo>
                    <a:pt x="353" y="660"/>
                  </a:lnTo>
                  <a:lnTo>
                    <a:pt x="353" y="660"/>
                  </a:lnTo>
                  <a:lnTo>
                    <a:pt x="353" y="660"/>
                  </a:lnTo>
                  <a:lnTo>
                    <a:pt x="353" y="660"/>
                  </a:lnTo>
                  <a:lnTo>
                    <a:pt x="353" y="657"/>
                  </a:lnTo>
                  <a:lnTo>
                    <a:pt x="353" y="657"/>
                  </a:lnTo>
                  <a:lnTo>
                    <a:pt x="353" y="657"/>
                  </a:lnTo>
                  <a:lnTo>
                    <a:pt x="355" y="657"/>
                  </a:lnTo>
                  <a:lnTo>
                    <a:pt x="355" y="657"/>
                  </a:lnTo>
                  <a:lnTo>
                    <a:pt x="355" y="657"/>
                  </a:lnTo>
                  <a:lnTo>
                    <a:pt x="355" y="657"/>
                  </a:lnTo>
                  <a:lnTo>
                    <a:pt x="357" y="657"/>
                  </a:lnTo>
                  <a:lnTo>
                    <a:pt x="357" y="657"/>
                  </a:lnTo>
                  <a:lnTo>
                    <a:pt x="357" y="657"/>
                  </a:lnTo>
                  <a:lnTo>
                    <a:pt x="357" y="657"/>
                  </a:lnTo>
                  <a:lnTo>
                    <a:pt x="357" y="655"/>
                  </a:lnTo>
                  <a:lnTo>
                    <a:pt x="357" y="655"/>
                  </a:lnTo>
                  <a:lnTo>
                    <a:pt x="360" y="655"/>
                  </a:lnTo>
                  <a:lnTo>
                    <a:pt x="360" y="655"/>
                  </a:lnTo>
                  <a:lnTo>
                    <a:pt x="360" y="655"/>
                  </a:lnTo>
                  <a:lnTo>
                    <a:pt x="357" y="652"/>
                  </a:lnTo>
                  <a:lnTo>
                    <a:pt x="357" y="652"/>
                  </a:lnTo>
                  <a:lnTo>
                    <a:pt x="357" y="652"/>
                  </a:lnTo>
                  <a:lnTo>
                    <a:pt x="357" y="652"/>
                  </a:lnTo>
                  <a:lnTo>
                    <a:pt x="355" y="652"/>
                  </a:lnTo>
                  <a:lnTo>
                    <a:pt x="355" y="652"/>
                  </a:lnTo>
                  <a:lnTo>
                    <a:pt x="355" y="652"/>
                  </a:lnTo>
                  <a:lnTo>
                    <a:pt x="355" y="652"/>
                  </a:lnTo>
                  <a:lnTo>
                    <a:pt x="355" y="652"/>
                  </a:lnTo>
                  <a:lnTo>
                    <a:pt x="353" y="652"/>
                  </a:lnTo>
                  <a:lnTo>
                    <a:pt x="353" y="650"/>
                  </a:lnTo>
                  <a:lnTo>
                    <a:pt x="353" y="650"/>
                  </a:lnTo>
                  <a:lnTo>
                    <a:pt x="353" y="652"/>
                  </a:lnTo>
                  <a:lnTo>
                    <a:pt x="350" y="652"/>
                  </a:lnTo>
                  <a:lnTo>
                    <a:pt x="350" y="655"/>
                  </a:lnTo>
                  <a:lnTo>
                    <a:pt x="350" y="657"/>
                  </a:lnTo>
                  <a:lnTo>
                    <a:pt x="350" y="655"/>
                  </a:lnTo>
                  <a:lnTo>
                    <a:pt x="348" y="655"/>
                  </a:lnTo>
                  <a:lnTo>
                    <a:pt x="348" y="655"/>
                  </a:lnTo>
                  <a:lnTo>
                    <a:pt x="348" y="655"/>
                  </a:lnTo>
                  <a:lnTo>
                    <a:pt x="348" y="657"/>
                  </a:lnTo>
                  <a:lnTo>
                    <a:pt x="348" y="657"/>
                  </a:lnTo>
                  <a:lnTo>
                    <a:pt x="348" y="660"/>
                  </a:lnTo>
                  <a:lnTo>
                    <a:pt x="348" y="660"/>
                  </a:lnTo>
                  <a:lnTo>
                    <a:pt x="348" y="660"/>
                  </a:lnTo>
                  <a:lnTo>
                    <a:pt x="346" y="657"/>
                  </a:lnTo>
                  <a:lnTo>
                    <a:pt x="346" y="657"/>
                  </a:lnTo>
                  <a:lnTo>
                    <a:pt x="346" y="655"/>
                  </a:lnTo>
                  <a:lnTo>
                    <a:pt x="346" y="655"/>
                  </a:lnTo>
                  <a:lnTo>
                    <a:pt x="346" y="655"/>
                  </a:lnTo>
                  <a:lnTo>
                    <a:pt x="346" y="655"/>
                  </a:lnTo>
                  <a:lnTo>
                    <a:pt x="343" y="655"/>
                  </a:lnTo>
                  <a:lnTo>
                    <a:pt x="343" y="655"/>
                  </a:lnTo>
                  <a:lnTo>
                    <a:pt x="343" y="655"/>
                  </a:lnTo>
                  <a:lnTo>
                    <a:pt x="343" y="657"/>
                  </a:lnTo>
                  <a:lnTo>
                    <a:pt x="343" y="657"/>
                  </a:lnTo>
                  <a:lnTo>
                    <a:pt x="343" y="657"/>
                  </a:lnTo>
                  <a:lnTo>
                    <a:pt x="346" y="657"/>
                  </a:lnTo>
                  <a:lnTo>
                    <a:pt x="346" y="657"/>
                  </a:lnTo>
                  <a:lnTo>
                    <a:pt x="343" y="657"/>
                  </a:lnTo>
                  <a:lnTo>
                    <a:pt x="343" y="657"/>
                  </a:lnTo>
                  <a:lnTo>
                    <a:pt x="343" y="657"/>
                  </a:lnTo>
                  <a:lnTo>
                    <a:pt x="343" y="657"/>
                  </a:lnTo>
                  <a:lnTo>
                    <a:pt x="343" y="657"/>
                  </a:lnTo>
                  <a:lnTo>
                    <a:pt x="341" y="657"/>
                  </a:lnTo>
                  <a:lnTo>
                    <a:pt x="341" y="657"/>
                  </a:lnTo>
                  <a:lnTo>
                    <a:pt x="341" y="660"/>
                  </a:lnTo>
                  <a:lnTo>
                    <a:pt x="341" y="660"/>
                  </a:lnTo>
                  <a:lnTo>
                    <a:pt x="338" y="660"/>
                  </a:lnTo>
                  <a:lnTo>
                    <a:pt x="336" y="660"/>
                  </a:lnTo>
                  <a:lnTo>
                    <a:pt x="334" y="662"/>
                  </a:lnTo>
                  <a:lnTo>
                    <a:pt x="334" y="662"/>
                  </a:lnTo>
                  <a:lnTo>
                    <a:pt x="336" y="662"/>
                  </a:lnTo>
                  <a:lnTo>
                    <a:pt x="336" y="662"/>
                  </a:lnTo>
                  <a:lnTo>
                    <a:pt x="336" y="662"/>
                  </a:lnTo>
                  <a:lnTo>
                    <a:pt x="336" y="662"/>
                  </a:lnTo>
                  <a:lnTo>
                    <a:pt x="338" y="662"/>
                  </a:lnTo>
                  <a:lnTo>
                    <a:pt x="338" y="662"/>
                  </a:lnTo>
                  <a:lnTo>
                    <a:pt x="343" y="660"/>
                  </a:lnTo>
                  <a:lnTo>
                    <a:pt x="343" y="660"/>
                  </a:lnTo>
                  <a:lnTo>
                    <a:pt x="341" y="660"/>
                  </a:lnTo>
                  <a:lnTo>
                    <a:pt x="341" y="662"/>
                  </a:lnTo>
                  <a:lnTo>
                    <a:pt x="341" y="662"/>
                  </a:lnTo>
                  <a:lnTo>
                    <a:pt x="341" y="662"/>
                  </a:lnTo>
                  <a:lnTo>
                    <a:pt x="341" y="664"/>
                  </a:lnTo>
                  <a:lnTo>
                    <a:pt x="341" y="662"/>
                  </a:lnTo>
                  <a:lnTo>
                    <a:pt x="338" y="664"/>
                  </a:lnTo>
                  <a:lnTo>
                    <a:pt x="338" y="664"/>
                  </a:lnTo>
                  <a:lnTo>
                    <a:pt x="341" y="664"/>
                  </a:lnTo>
                  <a:lnTo>
                    <a:pt x="341" y="664"/>
                  </a:lnTo>
                  <a:lnTo>
                    <a:pt x="341" y="664"/>
                  </a:lnTo>
                  <a:lnTo>
                    <a:pt x="341" y="664"/>
                  </a:lnTo>
                  <a:lnTo>
                    <a:pt x="343" y="667"/>
                  </a:lnTo>
                  <a:lnTo>
                    <a:pt x="343" y="667"/>
                  </a:lnTo>
                  <a:lnTo>
                    <a:pt x="343" y="664"/>
                  </a:lnTo>
                  <a:lnTo>
                    <a:pt x="343" y="664"/>
                  </a:lnTo>
                  <a:lnTo>
                    <a:pt x="343" y="664"/>
                  </a:lnTo>
                  <a:lnTo>
                    <a:pt x="343" y="664"/>
                  </a:lnTo>
                  <a:lnTo>
                    <a:pt x="343" y="664"/>
                  </a:lnTo>
                  <a:lnTo>
                    <a:pt x="346" y="664"/>
                  </a:lnTo>
                  <a:lnTo>
                    <a:pt x="346" y="664"/>
                  </a:lnTo>
                  <a:lnTo>
                    <a:pt x="346" y="664"/>
                  </a:lnTo>
                  <a:lnTo>
                    <a:pt x="346" y="664"/>
                  </a:lnTo>
                  <a:lnTo>
                    <a:pt x="346" y="664"/>
                  </a:lnTo>
                  <a:lnTo>
                    <a:pt x="346" y="664"/>
                  </a:lnTo>
                  <a:lnTo>
                    <a:pt x="346" y="664"/>
                  </a:lnTo>
                  <a:lnTo>
                    <a:pt x="348" y="664"/>
                  </a:lnTo>
                  <a:lnTo>
                    <a:pt x="348" y="664"/>
                  </a:lnTo>
                  <a:lnTo>
                    <a:pt x="348" y="664"/>
                  </a:lnTo>
                  <a:lnTo>
                    <a:pt x="348" y="664"/>
                  </a:lnTo>
                  <a:lnTo>
                    <a:pt x="348" y="664"/>
                  </a:lnTo>
                  <a:lnTo>
                    <a:pt x="348" y="664"/>
                  </a:lnTo>
                  <a:lnTo>
                    <a:pt x="348" y="667"/>
                  </a:lnTo>
                  <a:lnTo>
                    <a:pt x="350" y="664"/>
                  </a:lnTo>
                  <a:lnTo>
                    <a:pt x="353" y="664"/>
                  </a:lnTo>
                  <a:lnTo>
                    <a:pt x="353" y="667"/>
                  </a:lnTo>
                  <a:lnTo>
                    <a:pt x="353" y="667"/>
                  </a:lnTo>
                  <a:lnTo>
                    <a:pt x="355" y="667"/>
                  </a:lnTo>
                  <a:lnTo>
                    <a:pt x="355" y="667"/>
                  </a:lnTo>
                  <a:lnTo>
                    <a:pt x="355" y="667"/>
                  </a:lnTo>
                  <a:lnTo>
                    <a:pt x="355" y="667"/>
                  </a:lnTo>
                  <a:close/>
                  <a:moveTo>
                    <a:pt x="336" y="652"/>
                  </a:moveTo>
                  <a:lnTo>
                    <a:pt x="336" y="650"/>
                  </a:lnTo>
                  <a:lnTo>
                    <a:pt x="336" y="650"/>
                  </a:lnTo>
                  <a:lnTo>
                    <a:pt x="338" y="648"/>
                  </a:lnTo>
                  <a:lnTo>
                    <a:pt x="338" y="648"/>
                  </a:lnTo>
                  <a:lnTo>
                    <a:pt x="341" y="648"/>
                  </a:lnTo>
                  <a:lnTo>
                    <a:pt x="341" y="648"/>
                  </a:lnTo>
                  <a:lnTo>
                    <a:pt x="341" y="648"/>
                  </a:lnTo>
                  <a:lnTo>
                    <a:pt x="343" y="648"/>
                  </a:lnTo>
                  <a:lnTo>
                    <a:pt x="343" y="648"/>
                  </a:lnTo>
                  <a:lnTo>
                    <a:pt x="343" y="648"/>
                  </a:lnTo>
                  <a:lnTo>
                    <a:pt x="343" y="648"/>
                  </a:lnTo>
                  <a:lnTo>
                    <a:pt x="343" y="645"/>
                  </a:lnTo>
                  <a:lnTo>
                    <a:pt x="343" y="645"/>
                  </a:lnTo>
                  <a:lnTo>
                    <a:pt x="343" y="643"/>
                  </a:lnTo>
                  <a:lnTo>
                    <a:pt x="341" y="643"/>
                  </a:lnTo>
                  <a:lnTo>
                    <a:pt x="341" y="643"/>
                  </a:lnTo>
                  <a:lnTo>
                    <a:pt x="341" y="643"/>
                  </a:lnTo>
                  <a:lnTo>
                    <a:pt x="338" y="643"/>
                  </a:lnTo>
                  <a:lnTo>
                    <a:pt x="338" y="645"/>
                  </a:lnTo>
                  <a:lnTo>
                    <a:pt x="338" y="645"/>
                  </a:lnTo>
                  <a:lnTo>
                    <a:pt x="336" y="648"/>
                  </a:lnTo>
                  <a:lnTo>
                    <a:pt x="334" y="648"/>
                  </a:lnTo>
                  <a:lnTo>
                    <a:pt x="329" y="645"/>
                  </a:lnTo>
                  <a:lnTo>
                    <a:pt x="327" y="645"/>
                  </a:lnTo>
                  <a:lnTo>
                    <a:pt x="327" y="645"/>
                  </a:lnTo>
                  <a:lnTo>
                    <a:pt x="327" y="645"/>
                  </a:lnTo>
                  <a:lnTo>
                    <a:pt x="327" y="645"/>
                  </a:lnTo>
                  <a:lnTo>
                    <a:pt x="327" y="645"/>
                  </a:lnTo>
                  <a:lnTo>
                    <a:pt x="327" y="643"/>
                  </a:lnTo>
                  <a:lnTo>
                    <a:pt x="327" y="643"/>
                  </a:lnTo>
                  <a:lnTo>
                    <a:pt x="324" y="643"/>
                  </a:lnTo>
                  <a:lnTo>
                    <a:pt x="324" y="645"/>
                  </a:lnTo>
                  <a:lnTo>
                    <a:pt x="324" y="645"/>
                  </a:lnTo>
                  <a:lnTo>
                    <a:pt x="324" y="643"/>
                  </a:lnTo>
                  <a:lnTo>
                    <a:pt x="324" y="643"/>
                  </a:lnTo>
                  <a:lnTo>
                    <a:pt x="322" y="641"/>
                  </a:lnTo>
                  <a:lnTo>
                    <a:pt x="322" y="641"/>
                  </a:lnTo>
                  <a:lnTo>
                    <a:pt x="322" y="641"/>
                  </a:lnTo>
                  <a:lnTo>
                    <a:pt x="319" y="641"/>
                  </a:lnTo>
                  <a:lnTo>
                    <a:pt x="319" y="641"/>
                  </a:lnTo>
                  <a:lnTo>
                    <a:pt x="319" y="641"/>
                  </a:lnTo>
                  <a:lnTo>
                    <a:pt x="319" y="641"/>
                  </a:lnTo>
                  <a:lnTo>
                    <a:pt x="319" y="643"/>
                  </a:lnTo>
                  <a:lnTo>
                    <a:pt x="319" y="643"/>
                  </a:lnTo>
                  <a:lnTo>
                    <a:pt x="319" y="643"/>
                  </a:lnTo>
                  <a:lnTo>
                    <a:pt x="319" y="643"/>
                  </a:lnTo>
                  <a:lnTo>
                    <a:pt x="319" y="643"/>
                  </a:lnTo>
                  <a:lnTo>
                    <a:pt x="319" y="645"/>
                  </a:lnTo>
                  <a:lnTo>
                    <a:pt x="319" y="643"/>
                  </a:lnTo>
                  <a:lnTo>
                    <a:pt x="322" y="643"/>
                  </a:lnTo>
                  <a:lnTo>
                    <a:pt x="322" y="643"/>
                  </a:lnTo>
                  <a:lnTo>
                    <a:pt x="324" y="645"/>
                  </a:lnTo>
                  <a:lnTo>
                    <a:pt x="324" y="645"/>
                  </a:lnTo>
                  <a:lnTo>
                    <a:pt x="324" y="645"/>
                  </a:lnTo>
                  <a:lnTo>
                    <a:pt x="327" y="645"/>
                  </a:lnTo>
                  <a:lnTo>
                    <a:pt x="327" y="645"/>
                  </a:lnTo>
                  <a:lnTo>
                    <a:pt x="327" y="645"/>
                  </a:lnTo>
                  <a:lnTo>
                    <a:pt x="329" y="648"/>
                  </a:lnTo>
                  <a:lnTo>
                    <a:pt x="329" y="648"/>
                  </a:lnTo>
                  <a:lnTo>
                    <a:pt x="329" y="648"/>
                  </a:lnTo>
                  <a:lnTo>
                    <a:pt x="329" y="648"/>
                  </a:lnTo>
                  <a:lnTo>
                    <a:pt x="329" y="650"/>
                  </a:lnTo>
                  <a:lnTo>
                    <a:pt x="329" y="650"/>
                  </a:lnTo>
                  <a:lnTo>
                    <a:pt x="329" y="650"/>
                  </a:lnTo>
                  <a:lnTo>
                    <a:pt x="329" y="650"/>
                  </a:lnTo>
                  <a:lnTo>
                    <a:pt x="329" y="650"/>
                  </a:lnTo>
                  <a:lnTo>
                    <a:pt x="329" y="652"/>
                  </a:lnTo>
                  <a:lnTo>
                    <a:pt x="331" y="652"/>
                  </a:lnTo>
                  <a:lnTo>
                    <a:pt x="331" y="652"/>
                  </a:lnTo>
                  <a:lnTo>
                    <a:pt x="331" y="652"/>
                  </a:lnTo>
                  <a:lnTo>
                    <a:pt x="331" y="652"/>
                  </a:lnTo>
                  <a:lnTo>
                    <a:pt x="331" y="652"/>
                  </a:lnTo>
                  <a:lnTo>
                    <a:pt x="334" y="652"/>
                  </a:lnTo>
                  <a:lnTo>
                    <a:pt x="334" y="652"/>
                  </a:lnTo>
                  <a:lnTo>
                    <a:pt x="334" y="652"/>
                  </a:lnTo>
                  <a:lnTo>
                    <a:pt x="334" y="652"/>
                  </a:lnTo>
                  <a:lnTo>
                    <a:pt x="336" y="652"/>
                  </a:lnTo>
                  <a:lnTo>
                    <a:pt x="336" y="652"/>
                  </a:lnTo>
                  <a:close/>
                  <a:moveTo>
                    <a:pt x="360" y="664"/>
                  </a:moveTo>
                  <a:lnTo>
                    <a:pt x="360" y="662"/>
                  </a:lnTo>
                  <a:lnTo>
                    <a:pt x="357" y="662"/>
                  </a:lnTo>
                  <a:lnTo>
                    <a:pt x="357" y="664"/>
                  </a:lnTo>
                  <a:lnTo>
                    <a:pt x="357" y="664"/>
                  </a:lnTo>
                  <a:lnTo>
                    <a:pt x="357" y="664"/>
                  </a:lnTo>
                  <a:lnTo>
                    <a:pt x="357" y="664"/>
                  </a:lnTo>
                  <a:lnTo>
                    <a:pt x="357" y="664"/>
                  </a:lnTo>
                  <a:lnTo>
                    <a:pt x="355" y="667"/>
                  </a:lnTo>
                  <a:lnTo>
                    <a:pt x="355" y="667"/>
                  </a:lnTo>
                  <a:lnTo>
                    <a:pt x="355" y="669"/>
                  </a:lnTo>
                  <a:lnTo>
                    <a:pt x="355" y="669"/>
                  </a:lnTo>
                  <a:lnTo>
                    <a:pt x="355" y="669"/>
                  </a:lnTo>
                  <a:lnTo>
                    <a:pt x="355" y="669"/>
                  </a:lnTo>
                  <a:lnTo>
                    <a:pt x="355" y="669"/>
                  </a:lnTo>
                  <a:lnTo>
                    <a:pt x="355" y="669"/>
                  </a:lnTo>
                  <a:lnTo>
                    <a:pt x="357" y="669"/>
                  </a:lnTo>
                  <a:lnTo>
                    <a:pt x="357" y="669"/>
                  </a:lnTo>
                  <a:lnTo>
                    <a:pt x="357" y="669"/>
                  </a:lnTo>
                  <a:lnTo>
                    <a:pt x="357" y="669"/>
                  </a:lnTo>
                  <a:lnTo>
                    <a:pt x="357" y="669"/>
                  </a:lnTo>
                  <a:lnTo>
                    <a:pt x="357" y="669"/>
                  </a:lnTo>
                  <a:lnTo>
                    <a:pt x="360" y="669"/>
                  </a:lnTo>
                  <a:lnTo>
                    <a:pt x="360" y="669"/>
                  </a:lnTo>
                  <a:lnTo>
                    <a:pt x="360" y="669"/>
                  </a:lnTo>
                  <a:lnTo>
                    <a:pt x="360" y="669"/>
                  </a:lnTo>
                  <a:lnTo>
                    <a:pt x="360" y="669"/>
                  </a:lnTo>
                  <a:lnTo>
                    <a:pt x="360" y="669"/>
                  </a:lnTo>
                  <a:lnTo>
                    <a:pt x="360" y="669"/>
                  </a:lnTo>
                  <a:lnTo>
                    <a:pt x="360" y="667"/>
                  </a:lnTo>
                  <a:lnTo>
                    <a:pt x="360" y="667"/>
                  </a:lnTo>
                  <a:lnTo>
                    <a:pt x="360" y="667"/>
                  </a:lnTo>
                  <a:lnTo>
                    <a:pt x="360" y="667"/>
                  </a:lnTo>
                  <a:lnTo>
                    <a:pt x="360" y="667"/>
                  </a:lnTo>
                  <a:lnTo>
                    <a:pt x="360" y="667"/>
                  </a:lnTo>
                  <a:lnTo>
                    <a:pt x="360" y="667"/>
                  </a:lnTo>
                  <a:lnTo>
                    <a:pt x="360" y="667"/>
                  </a:lnTo>
                  <a:lnTo>
                    <a:pt x="360" y="667"/>
                  </a:lnTo>
                  <a:lnTo>
                    <a:pt x="360" y="664"/>
                  </a:lnTo>
                  <a:lnTo>
                    <a:pt x="360" y="664"/>
                  </a:lnTo>
                  <a:lnTo>
                    <a:pt x="360" y="664"/>
                  </a:lnTo>
                  <a:lnTo>
                    <a:pt x="360" y="664"/>
                  </a:lnTo>
                  <a:lnTo>
                    <a:pt x="360" y="667"/>
                  </a:lnTo>
                  <a:lnTo>
                    <a:pt x="362" y="667"/>
                  </a:lnTo>
                  <a:lnTo>
                    <a:pt x="362" y="667"/>
                  </a:lnTo>
                  <a:lnTo>
                    <a:pt x="362" y="664"/>
                  </a:lnTo>
                  <a:lnTo>
                    <a:pt x="360" y="664"/>
                  </a:lnTo>
                  <a:close/>
                  <a:moveTo>
                    <a:pt x="367" y="671"/>
                  </a:moveTo>
                  <a:lnTo>
                    <a:pt x="367" y="671"/>
                  </a:lnTo>
                  <a:lnTo>
                    <a:pt x="367" y="669"/>
                  </a:lnTo>
                  <a:lnTo>
                    <a:pt x="367" y="669"/>
                  </a:lnTo>
                  <a:lnTo>
                    <a:pt x="364" y="669"/>
                  </a:lnTo>
                  <a:lnTo>
                    <a:pt x="364" y="669"/>
                  </a:lnTo>
                  <a:lnTo>
                    <a:pt x="367" y="669"/>
                  </a:lnTo>
                  <a:lnTo>
                    <a:pt x="367" y="669"/>
                  </a:lnTo>
                  <a:lnTo>
                    <a:pt x="367" y="669"/>
                  </a:lnTo>
                  <a:lnTo>
                    <a:pt x="364" y="667"/>
                  </a:lnTo>
                  <a:lnTo>
                    <a:pt x="364" y="667"/>
                  </a:lnTo>
                  <a:lnTo>
                    <a:pt x="364" y="667"/>
                  </a:lnTo>
                  <a:lnTo>
                    <a:pt x="364" y="667"/>
                  </a:lnTo>
                  <a:lnTo>
                    <a:pt x="364" y="667"/>
                  </a:lnTo>
                  <a:lnTo>
                    <a:pt x="364" y="667"/>
                  </a:lnTo>
                  <a:lnTo>
                    <a:pt x="362" y="669"/>
                  </a:lnTo>
                  <a:lnTo>
                    <a:pt x="362" y="667"/>
                  </a:lnTo>
                  <a:lnTo>
                    <a:pt x="362" y="669"/>
                  </a:lnTo>
                  <a:lnTo>
                    <a:pt x="362" y="669"/>
                  </a:lnTo>
                  <a:lnTo>
                    <a:pt x="362" y="669"/>
                  </a:lnTo>
                  <a:lnTo>
                    <a:pt x="362" y="669"/>
                  </a:lnTo>
                  <a:lnTo>
                    <a:pt x="362" y="669"/>
                  </a:lnTo>
                  <a:lnTo>
                    <a:pt x="362" y="669"/>
                  </a:lnTo>
                  <a:lnTo>
                    <a:pt x="362" y="669"/>
                  </a:lnTo>
                  <a:lnTo>
                    <a:pt x="362" y="671"/>
                  </a:lnTo>
                  <a:lnTo>
                    <a:pt x="362" y="671"/>
                  </a:lnTo>
                  <a:lnTo>
                    <a:pt x="362" y="671"/>
                  </a:lnTo>
                  <a:lnTo>
                    <a:pt x="362" y="671"/>
                  </a:lnTo>
                  <a:lnTo>
                    <a:pt x="362" y="671"/>
                  </a:lnTo>
                  <a:lnTo>
                    <a:pt x="362" y="671"/>
                  </a:lnTo>
                  <a:lnTo>
                    <a:pt x="362" y="671"/>
                  </a:lnTo>
                  <a:lnTo>
                    <a:pt x="362" y="671"/>
                  </a:lnTo>
                  <a:lnTo>
                    <a:pt x="364" y="669"/>
                  </a:lnTo>
                  <a:lnTo>
                    <a:pt x="364" y="669"/>
                  </a:lnTo>
                  <a:lnTo>
                    <a:pt x="364" y="671"/>
                  </a:lnTo>
                  <a:lnTo>
                    <a:pt x="364" y="671"/>
                  </a:lnTo>
                  <a:lnTo>
                    <a:pt x="364" y="671"/>
                  </a:lnTo>
                  <a:lnTo>
                    <a:pt x="364" y="671"/>
                  </a:lnTo>
                  <a:lnTo>
                    <a:pt x="364" y="671"/>
                  </a:lnTo>
                  <a:lnTo>
                    <a:pt x="364" y="671"/>
                  </a:lnTo>
                  <a:lnTo>
                    <a:pt x="364" y="671"/>
                  </a:lnTo>
                  <a:lnTo>
                    <a:pt x="367" y="671"/>
                  </a:lnTo>
                  <a:lnTo>
                    <a:pt x="367" y="671"/>
                  </a:lnTo>
                  <a:lnTo>
                    <a:pt x="367" y="671"/>
                  </a:lnTo>
                  <a:lnTo>
                    <a:pt x="367" y="671"/>
                  </a:lnTo>
                  <a:lnTo>
                    <a:pt x="367" y="674"/>
                  </a:lnTo>
                  <a:lnTo>
                    <a:pt x="367" y="674"/>
                  </a:lnTo>
                  <a:lnTo>
                    <a:pt x="367" y="674"/>
                  </a:lnTo>
                  <a:lnTo>
                    <a:pt x="367" y="671"/>
                  </a:lnTo>
                  <a:lnTo>
                    <a:pt x="367" y="671"/>
                  </a:lnTo>
                  <a:lnTo>
                    <a:pt x="367" y="671"/>
                  </a:lnTo>
                  <a:close/>
                  <a:moveTo>
                    <a:pt x="372" y="671"/>
                  </a:moveTo>
                  <a:lnTo>
                    <a:pt x="369" y="671"/>
                  </a:lnTo>
                  <a:lnTo>
                    <a:pt x="369" y="669"/>
                  </a:lnTo>
                  <a:lnTo>
                    <a:pt x="369" y="669"/>
                  </a:lnTo>
                  <a:lnTo>
                    <a:pt x="372" y="669"/>
                  </a:lnTo>
                  <a:lnTo>
                    <a:pt x="372" y="669"/>
                  </a:lnTo>
                  <a:lnTo>
                    <a:pt x="372" y="669"/>
                  </a:lnTo>
                  <a:lnTo>
                    <a:pt x="372" y="669"/>
                  </a:lnTo>
                  <a:lnTo>
                    <a:pt x="372" y="669"/>
                  </a:lnTo>
                  <a:lnTo>
                    <a:pt x="369" y="669"/>
                  </a:lnTo>
                  <a:lnTo>
                    <a:pt x="369" y="669"/>
                  </a:lnTo>
                  <a:lnTo>
                    <a:pt x="367" y="669"/>
                  </a:lnTo>
                  <a:lnTo>
                    <a:pt x="367" y="669"/>
                  </a:lnTo>
                  <a:lnTo>
                    <a:pt x="369" y="671"/>
                  </a:lnTo>
                  <a:lnTo>
                    <a:pt x="369" y="674"/>
                  </a:lnTo>
                  <a:lnTo>
                    <a:pt x="369" y="671"/>
                  </a:lnTo>
                  <a:lnTo>
                    <a:pt x="372" y="671"/>
                  </a:lnTo>
                  <a:lnTo>
                    <a:pt x="372" y="671"/>
                  </a:lnTo>
                  <a:lnTo>
                    <a:pt x="372" y="671"/>
                  </a:lnTo>
                  <a:lnTo>
                    <a:pt x="372" y="671"/>
                  </a:lnTo>
                  <a:lnTo>
                    <a:pt x="372" y="671"/>
                  </a:lnTo>
                  <a:close/>
                  <a:moveTo>
                    <a:pt x="376" y="664"/>
                  </a:moveTo>
                  <a:lnTo>
                    <a:pt x="376" y="664"/>
                  </a:lnTo>
                  <a:lnTo>
                    <a:pt x="376" y="664"/>
                  </a:lnTo>
                  <a:lnTo>
                    <a:pt x="376" y="664"/>
                  </a:lnTo>
                  <a:lnTo>
                    <a:pt x="376" y="664"/>
                  </a:lnTo>
                  <a:lnTo>
                    <a:pt x="376" y="662"/>
                  </a:lnTo>
                  <a:lnTo>
                    <a:pt x="376" y="662"/>
                  </a:lnTo>
                  <a:lnTo>
                    <a:pt x="376" y="660"/>
                  </a:lnTo>
                  <a:lnTo>
                    <a:pt x="376" y="660"/>
                  </a:lnTo>
                  <a:lnTo>
                    <a:pt x="374" y="660"/>
                  </a:lnTo>
                  <a:lnTo>
                    <a:pt x="374" y="657"/>
                  </a:lnTo>
                  <a:lnTo>
                    <a:pt x="374" y="657"/>
                  </a:lnTo>
                  <a:lnTo>
                    <a:pt x="372" y="657"/>
                  </a:lnTo>
                  <a:lnTo>
                    <a:pt x="372" y="660"/>
                  </a:lnTo>
                  <a:lnTo>
                    <a:pt x="372" y="660"/>
                  </a:lnTo>
                  <a:lnTo>
                    <a:pt x="372" y="660"/>
                  </a:lnTo>
                  <a:lnTo>
                    <a:pt x="372" y="660"/>
                  </a:lnTo>
                  <a:lnTo>
                    <a:pt x="369" y="662"/>
                  </a:lnTo>
                  <a:lnTo>
                    <a:pt x="369" y="662"/>
                  </a:lnTo>
                  <a:lnTo>
                    <a:pt x="369" y="662"/>
                  </a:lnTo>
                  <a:lnTo>
                    <a:pt x="369" y="662"/>
                  </a:lnTo>
                  <a:lnTo>
                    <a:pt x="369" y="662"/>
                  </a:lnTo>
                  <a:lnTo>
                    <a:pt x="372" y="664"/>
                  </a:lnTo>
                  <a:lnTo>
                    <a:pt x="372" y="664"/>
                  </a:lnTo>
                  <a:lnTo>
                    <a:pt x="372" y="667"/>
                  </a:lnTo>
                  <a:lnTo>
                    <a:pt x="372" y="667"/>
                  </a:lnTo>
                  <a:lnTo>
                    <a:pt x="372" y="667"/>
                  </a:lnTo>
                  <a:lnTo>
                    <a:pt x="374" y="667"/>
                  </a:lnTo>
                  <a:lnTo>
                    <a:pt x="374" y="664"/>
                  </a:lnTo>
                  <a:lnTo>
                    <a:pt x="374" y="664"/>
                  </a:lnTo>
                  <a:lnTo>
                    <a:pt x="372" y="664"/>
                  </a:lnTo>
                  <a:lnTo>
                    <a:pt x="374" y="664"/>
                  </a:lnTo>
                  <a:lnTo>
                    <a:pt x="376" y="664"/>
                  </a:lnTo>
                  <a:close/>
                  <a:moveTo>
                    <a:pt x="689" y="780"/>
                  </a:moveTo>
                  <a:lnTo>
                    <a:pt x="689" y="780"/>
                  </a:lnTo>
                  <a:lnTo>
                    <a:pt x="689" y="780"/>
                  </a:lnTo>
                  <a:lnTo>
                    <a:pt x="686" y="783"/>
                  </a:lnTo>
                  <a:lnTo>
                    <a:pt x="686" y="783"/>
                  </a:lnTo>
                  <a:lnTo>
                    <a:pt x="686" y="783"/>
                  </a:lnTo>
                  <a:lnTo>
                    <a:pt x="686" y="780"/>
                  </a:lnTo>
                  <a:lnTo>
                    <a:pt x="686" y="780"/>
                  </a:lnTo>
                  <a:lnTo>
                    <a:pt x="686" y="780"/>
                  </a:lnTo>
                  <a:lnTo>
                    <a:pt x="686" y="780"/>
                  </a:lnTo>
                  <a:lnTo>
                    <a:pt x="686" y="780"/>
                  </a:lnTo>
                  <a:lnTo>
                    <a:pt x="686" y="780"/>
                  </a:lnTo>
                  <a:lnTo>
                    <a:pt x="684" y="780"/>
                  </a:lnTo>
                  <a:lnTo>
                    <a:pt x="684" y="780"/>
                  </a:lnTo>
                  <a:lnTo>
                    <a:pt x="684" y="780"/>
                  </a:lnTo>
                  <a:lnTo>
                    <a:pt x="684" y="780"/>
                  </a:lnTo>
                  <a:lnTo>
                    <a:pt x="684" y="780"/>
                  </a:lnTo>
                  <a:lnTo>
                    <a:pt x="684" y="780"/>
                  </a:lnTo>
                  <a:lnTo>
                    <a:pt x="684" y="780"/>
                  </a:lnTo>
                  <a:lnTo>
                    <a:pt x="684" y="783"/>
                  </a:lnTo>
                  <a:lnTo>
                    <a:pt x="682" y="780"/>
                  </a:lnTo>
                  <a:lnTo>
                    <a:pt x="684" y="780"/>
                  </a:lnTo>
                  <a:lnTo>
                    <a:pt x="684" y="780"/>
                  </a:lnTo>
                  <a:lnTo>
                    <a:pt x="682" y="780"/>
                  </a:lnTo>
                  <a:lnTo>
                    <a:pt x="682" y="780"/>
                  </a:lnTo>
                  <a:lnTo>
                    <a:pt x="682" y="780"/>
                  </a:lnTo>
                  <a:lnTo>
                    <a:pt x="682" y="780"/>
                  </a:lnTo>
                  <a:lnTo>
                    <a:pt x="682" y="780"/>
                  </a:lnTo>
                  <a:lnTo>
                    <a:pt x="682" y="780"/>
                  </a:lnTo>
                  <a:lnTo>
                    <a:pt x="682" y="778"/>
                  </a:lnTo>
                  <a:lnTo>
                    <a:pt x="684" y="778"/>
                  </a:lnTo>
                  <a:lnTo>
                    <a:pt x="684" y="778"/>
                  </a:lnTo>
                  <a:lnTo>
                    <a:pt x="684" y="778"/>
                  </a:lnTo>
                  <a:lnTo>
                    <a:pt x="684" y="778"/>
                  </a:lnTo>
                  <a:lnTo>
                    <a:pt x="684" y="778"/>
                  </a:lnTo>
                  <a:lnTo>
                    <a:pt x="684" y="778"/>
                  </a:lnTo>
                  <a:lnTo>
                    <a:pt x="684" y="775"/>
                  </a:lnTo>
                  <a:lnTo>
                    <a:pt x="684" y="775"/>
                  </a:lnTo>
                  <a:lnTo>
                    <a:pt x="689" y="778"/>
                  </a:lnTo>
                  <a:lnTo>
                    <a:pt x="689" y="778"/>
                  </a:lnTo>
                  <a:lnTo>
                    <a:pt x="689" y="778"/>
                  </a:lnTo>
                  <a:lnTo>
                    <a:pt x="689" y="775"/>
                  </a:lnTo>
                  <a:lnTo>
                    <a:pt x="689" y="775"/>
                  </a:lnTo>
                  <a:lnTo>
                    <a:pt x="691" y="778"/>
                  </a:lnTo>
                  <a:lnTo>
                    <a:pt x="691" y="775"/>
                  </a:lnTo>
                  <a:lnTo>
                    <a:pt x="691" y="775"/>
                  </a:lnTo>
                  <a:lnTo>
                    <a:pt x="691" y="775"/>
                  </a:lnTo>
                  <a:lnTo>
                    <a:pt x="691" y="775"/>
                  </a:lnTo>
                  <a:lnTo>
                    <a:pt x="693" y="775"/>
                  </a:lnTo>
                  <a:lnTo>
                    <a:pt x="693" y="775"/>
                  </a:lnTo>
                  <a:lnTo>
                    <a:pt x="693" y="775"/>
                  </a:lnTo>
                  <a:lnTo>
                    <a:pt x="693" y="775"/>
                  </a:lnTo>
                  <a:lnTo>
                    <a:pt x="693" y="778"/>
                  </a:lnTo>
                  <a:lnTo>
                    <a:pt x="693" y="778"/>
                  </a:lnTo>
                  <a:lnTo>
                    <a:pt x="693" y="778"/>
                  </a:lnTo>
                  <a:lnTo>
                    <a:pt x="696" y="778"/>
                  </a:lnTo>
                  <a:lnTo>
                    <a:pt x="696" y="778"/>
                  </a:lnTo>
                  <a:lnTo>
                    <a:pt x="696" y="775"/>
                  </a:lnTo>
                  <a:lnTo>
                    <a:pt x="696" y="775"/>
                  </a:lnTo>
                  <a:lnTo>
                    <a:pt x="698" y="775"/>
                  </a:lnTo>
                  <a:lnTo>
                    <a:pt x="696" y="775"/>
                  </a:lnTo>
                  <a:lnTo>
                    <a:pt x="696" y="775"/>
                  </a:lnTo>
                  <a:lnTo>
                    <a:pt x="696" y="775"/>
                  </a:lnTo>
                  <a:lnTo>
                    <a:pt x="696" y="775"/>
                  </a:lnTo>
                  <a:lnTo>
                    <a:pt x="696" y="775"/>
                  </a:lnTo>
                  <a:lnTo>
                    <a:pt x="696" y="773"/>
                  </a:lnTo>
                  <a:lnTo>
                    <a:pt x="698" y="773"/>
                  </a:lnTo>
                  <a:lnTo>
                    <a:pt x="698" y="773"/>
                  </a:lnTo>
                  <a:lnTo>
                    <a:pt x="696" y="773"/>
                  </a:lnTo>
                  <a:lnTo>
                    <a:pt x="696" y="773"/>
                  </a:lnTo>
                  <a:lnTo>
                    <a:pt x="693" y="773"/>
                  </a:lnTo>
                  <a:lnTo>
                    <a:pt x="693" y="771"/>
                  </a:lnTo>
                  <a:lnTo>
                    <a:pt x="693" y="771"/>
                  </a:lnTo>
                  <a:lnTo>
                    <a:pt x="696" y="771"/>
                  </a:lnTo>
                  <a:lnTo>
                    <a:pt x="696" y="768"/>
                  </a:lnTo>
                  <a:lnTo>
                    <a:pt x="693" y="768"/>
                  </a:lnTo>
                  <a:lnTo>
                    <a:pt x="693" y="771"/>
                  </a:lnTo>
                  <a:lnTo>
                    <a:pt x="693" y="771"/>
                  </a:lnTo>
                  <a:lnTo>
                    <a:pt x="693" y="771"/>
                  </a:lnTo>
                  <a:lnTo>
                    <a:pt x="691" y="771"/>
                  </a:lnTo>
                  <a:lnTo>
                    <a:pt x="691" y="771"/>
                  </a:lnTo>
                  <a:lnTo>
                    <a:pt x="691" y="771"/>
                  </a:lnTo>
                  <a:lnTo>
                    <a:pt x="691" y="771"/>
                  </a:lnTo>
                  <a:lnTo>
                    <a:pt x="689" y="773"/>
                  </a:lnTo>
                  <a:lnTo>
                    <a:pt x="689" y="773"/>
                  </a:lnTo>
                  <a:lnTo>
                    <a:pt x="689" y="773"/>
                  </a:lnTo>
                  <a:lnTo>
                    <a:pt x="689" y="773"/>
                  </a:lnTo>
                  <a:lnTo>
                    <a:pt x="684" y="773"/>
                  </a:lnTo>
                  <a:lnTo>
                    <a:pt x="684" y="773"/>
                  </a:lnTo>
                  <a:lnTo>
                    <a:pt x="684" y="773"/>
                  </a:lnTo>
                  <a:lnTo>
                    <a:pt x="686" y="771"/>
                  </a:lnTo>
                  <a:lnTo>
                    <a:pt x="686" y="771"/>
                  </a:lnTo>
                  <a:lnTo>
                    <a:pt x="684" y="771"/>
                  </a:lnTo>
                  <a:lnTo>
                    <a:pt x="684" y="771"/>
                  </a:lnTo>
                  <a:lnTo>
                    <a:pt x="684" y="771"/>
                  </a:lnTo>
                  <a:lnTo>
                    <a:pt x="684" y="771"/>
                  </a:lnTo>
                  <a:lnTo>
                    <a:pt x="686" y="768"/>
                  </a:lnTo>
                  <a:lnTo>
                    <a:pt x="686" y="768"/>
                  </a:lnTo>
                  <a:lnTo>
                    <a:pt x="686" y="768"/>
                  </a:lnTo>
                  <a:lnTo>
                    <a:pt x="686" y="768"/>
                  </a:lnTo>
                  <a:lnTo>
                    <a:pt x="686" y="768"/>
                  </a:lnTo>
                  <a:lnTo>
                    <a:pt x="686" y="768"/>
                  </a:lnTo>
                  <a:lnTo>
                    <a:pt x="686" y="768"/>
                  </a:lnTo>
                  <a:lnTo>
                    <a:pt x="686" y="768"/>
                  </a:lnTo>
                  <a:lnTo>
                    <a:pt x="686" y="766"/>
                  </a:lnTo>
                  <a:lnTo>
                    <a:pt x="686" y="766"/>
                  </a:lnTo>
                  <a:lnTo>
                    <a:pt x="689" y="768"/>
                  </a:lnTo>
                  <a:lnTo>
                    <a:pt x="689" y="766"/>
                  </a:lnTo>
                  <a:lnTo>
                    <a:pt x="689" y="764"/>
                  </a:lnTo>
                  <a:lnTo>
                    <a:pt x="689" y="764"/>
                  </a:lnTo>
                  <a:lnTo>
                    <a:pt x="686" y="764"/>
                  </a:lnTo>
                  <a:lnTo>
                    <a:pt x="686" y="764"/>
                  </a:lnTo>
                  <a:lnTo>
                    <a:pt x="686" y="764"/>
                  </a:lnTo>
                  <a:lnTo>
                    <a:pt x="684" y="764"/>
                  </a:lnTo>
                  <a:lnTo>
                    <a:pt x="684" y="764"/>
                  </a:lnTo>
                  <a:lnTo>
                    <a:pt x="684" y="764"/>
                  </a:lnTo>
                  <a:lnTo>
                    <a:pt x="684" y="764"/>
                  </a:lnTo>
                  <a:lnTo>
                    <a:pt x="686" y="764"/>
                  </a:lnTo>
                  <a:lnTo>
                    <a:pt x="686" y="761"/>
                  </a:lnTo>
                  <a:lnTo>
                    <a:pt x="684" y="761"/>
                  </a:lnTo>
                  <a:lnTo>
                    <a:pt x="682" y="761"/>
                  </a:lnTo>
                  <a:lnTo>
                    <a:pt x="682" y="761"/>
                  </a:lnTo>
                  <a:lnTo>
                    <a:pt x="682" y="761"/>
                  </a:lnTo>
                  <a:lnTo>
                    <a:pt x="682" y="761"/>
                  </a:lnTo>
                  <a:lnTo>
                    <a:pt x="679" y="761"/>
                  </a:lnTo>
                  <a:lnTo>
                    <a:pt x="679" y="761"/>
                  </a:lnTo>
                  <a:lnTo>
                    <a:pt x="677" y="761"/>
                  </a:lnTo>
                  <a:lnTo>
                    <a:pt x="677" y="761"/>
                  </a:lnTo>
                  <a:lnTo>
                    <a:pt x="677" y="759"/>
                  </a:lnTo>
                  <a:lnTo>
                    <a:pt x="677" y="759"/>
                  </a:lnTo>
                  <a:lnTo>
                    <a:pt x="674" y="759"/>
                  </a:lnTo>
                  <a:lnTo>
                    <a:pt x="674" y="759"/>
                  </a:lnTo>
                  <a:lnTo>
                    <a:pt x="672" y="761"/>
                  </a:lnTo>
                  <a:lnTo>
                    <a:pt x="672" y="761"/>
                  </a:lnTo>
                  <a:lnTo>
                    <a:pt x="670" y="761"/>
                  </a:lnTo>
                  <a:lnTo>
                    <a:pt x="670" y="761"/>
                  </a:lnTo>
                  <a:lnTo>
                    <a:pt x="670" y="761"/>
                  </a:lnTo>
                  <a:lnTo>
                    <a:pt x="670" y="761"/>
                  </a:lnTo>
                  <a:lnTo>
                    <a:pt x="670" y="761"/>
                  </a:lnTo>
                  <a:lnTo>
                    <a:pt x="670" y="761"/>
                  </a:lnTo>
                  <a:lnTo>
                    <a:pt x="670" y="764"/>
                  </a:lnTo>
                  <a:lnTo>
                    <a:pt x="670" y="764"/>
                  </a:lnTo>
                  <a:lnTo>
                    <a:pt x="670" y="764"/>
                  </a:lnTo>
                  <a:lnTo>
                    <a:pt x="670" y="764"/>
                  </a:lnTo>
                  <a:lnTo>
                    <a:pt x="670" y="764"/>
                  </a:lnTo>
                  <a:lnTo>
                    <a:pt x="670" y="764"/>
                  </a:lnTo>
                  <a:lnTo>
                    <a:pt x="670" y="764"/>
                  </a:lnTo>
                  <a:lnTo>
                    <a:pt x="670" y="764"/>
                  </a:lnTo>
                  <a:lnTo>
                    <a:pt x="670" y="764"/>
                  </a:lnTo>
                  <a:lnTo>
                    <a:pt x="670" y="766"/>
                  </a:lnTo>
                  <a:lnTo>
                    <a:pt x="670" y="766"/>
                  </a:lnTo>
                  <a:lnTo>
                    <a:pt x="670" y="768"/>
                  </a:lnTo>
                  <a:lnTo>
                    <a:pt x="670" y="768"/>
                  </a:lnTo>
                  <a:lnTo>
                    <a:pt x="672" y="768"/>
                  </a:lnTo>
                  <a:lnTo>
                    <a:pt x="672" y="768"/>
                  </a:lnTo>
                  <a:lnTo>
                    <a:pt x="672" y="771"/>
                  </a:lnTo>
                  <a:lnTo>
                    <a:pt x="674" y="771"/>
                  </a:lnTo>
                  <a:lnTo>
                    <a:pt x="674" y="771"/>
                  </a:lnTo>
                  <a:lnTo>
                    <a:pt x="674" y="773"/>
                  </a:lnTo>
                  <a:lnTo>
                    <a:pt x="677" y="775"/>
                  </a:lnTo>
                  <a:lnTo>
                    <a:pt x="677" y="775"/>
                  </a:lnTo>
                  <a:lnTo>
                    <a:pt x="677" y="775"/>
                  </a:lnTo>
                  <a:lnTo>
                    <a:pt x="674" y="775"/>
                  </a:lnTo>
                  <a:lnTo>
                    <a:pt x="674" y="775"/>
                  </a:lnTo>
                  <a:lnTo>
                    <a:pt x="674" y="775"/>
                  </a:lnTo>
                  <a:lnTo>
                    <a:pt x="674" y="775"/>
                  </a:lnTo>
                  <a:lnTo>
                    <a:pt x="674" y="775"/>
                  </a:lnTo>
                  <a:lnTo>
                    <a:pt x="677" y="775"/>
                  </a:lnTo>
                  <a:lnTo>
                    <a:pt x="674" y="775"/>
                  </a:lnTo>
                  <a:lnTo>
                    <a:pt x="674" y="775"/>
                  </a:lnTo>
                  <a:lnTo>
                    <a:pt x="674" y="775"/>
                  </a:lnTo>
                  <a:lnTo>
                    <a:pt x="672" y="775"/>
                  </a:lnTo>
                  <a:lnTo>
                    <a:pt x="672" y="778"/>
                  </a:lnTo>
                  <a:lnTo>
                    <a:pt x="672" y="778"/>
                  </a:lnTo>
                  <a:lnTo>
                    <a:pt x="672" y="775"/>
                  </a:lnTo>
                  <a:lnTo>
                    <a:pt x="672" y="778"/>
                  </a:lnTo>
                  <a:lnTo>
                    <a:pt x="670" y="778"/>
                  </a:lnTo>
                  <a:lnTo>
                    <a:pt x="670" y="778"/>
                  </a:lnTo>
                  <a:lnTo>
                    <a:pt x="670" y="778"/>
                  </a:lnTo>
                  <a:lnTo>
                    <a:pt x="672" y="775"/>
                  </a:lnTo>
                  <a:lnTo>
                    <a:pt x="672" y="775"/>
                  </a:lnTo>
                  <a:lnTo>
                    <a:pt x="672" y="773"/>
                  </a:lnTo>
                  <a:lnTo>
                    <a:pt x="672" y="773"/>
                  </a:lnTo>
                  <a:lnTo>
                    <a:pt x="670" y="771"/>
                  </a:lnTo>
                  <a:lnTo>
                    <a:pt x="667" y="771"/>
                  </a:lnTo>
                  <a:lnTo>
                    <a:pt x="667" y="771"/>
                  </a:lnTo>
                  <a:lnTo>
                    <a:pt x="667" y="771"/>
                  </a:lnTo>
                  <a:lnTo>
                    <a:pt x="665" y="773"/>
                  </a:lnTo>
                  <a:lnTo>
                    <a:pt x="665" y="773"/>
                  </a:lnTo>
                  <a:lnTo>
                    <a:pt x="667" y="775"/>
                  </a:lnTo>
                  <a:lnTo>
                    <a:pt x="667" y="775"/>
                  </a:lnTo>
                  <a:lnTo>
                    <a:pt x="665" y="773"/>
                  </a:lnTo>
                  <a:lnTo>
                    <a:pt x="665" y="773"/>
                  </a:lnTo>
                  <a:lnTo>
                    <a:pt x="665" y="775"/>
                  </a:lnTo>
                  <a:lnTo>
                    <a:pt x="665" y="775"/>
                  </a:lnTo>
                  <a:lnTo>
                    <a:pt x="665" y="775"/>
                  </a:lnTo>
                  <a:lnTo>
                    <a:pt x="665" y="775"/>
                  </a:lnTo>
                  <a:lnTo>
                    <a:pt x="665" y="775"/>
                  </a:lnTo>
                  <a:lnTo>
                    <a:pt x="665" y="775"/>
                  </a:lnTo>
                  <a:lnTo>
                    <a:pt x="665" y="775"/>
                  </a:lnTo>
                  <a:lnTo>
                    <a:pt x="665" y="773"/>
                  </a:lnTo>
                  <a:lnTo>
                    <a:pt x="665" y="773"/>
                  </a:lnTo>
                  <a:lnTo>
                    <a:pt x="665" y="773"/>
                  </a:lnTo>
                  <a:lnTo>
                    <a:pt x="663" y="773"/>
                  </a:lnTo>
                  <a:lnTo>
                    <a:pt x="663" y="773"/>
                  </a:lnTo>
                  <a:lnTo>
                    <a:pt x="660" y="773"/>
                  </a:lnTo>
                  <a:lnTo>
                    <a:pt x="660" y="773"/>
                  </a:lnTo>
                  <a:lnTo>
                    <a:pt x="660" y="775"/>
                  </a:lnTo>
                  <a:lnTo>
                    <a:pt x="660" y="775"/>
                  </a:lnTo>
                  <a:lnTo>
                    <a:pt x="660" y="775"/>
                  </a:lnTo>
                  <a:lnTo>
                    <a:pt x="660" y="775"/>
                  </a:lnTo>
                  <a:lnTo>
                    <a:pt x="660" y="775"/>
                  </a:lnTo>
                  <a:lnTo>
                    <a:pt x="660" y="775"/>
                  </a:lnTo>
                  <a:lnTo>
                    <a:pt x="660" y="778"/>
                  </a:lnTo>
                  <a:lnTo>
                    <a:pt x="663" y="778"/>
                  </a:lnTo>
                  <a:lnTo>
                    <a:pt x="663" y="778"/>
                  </a:lnTo>
                  <a:lnTo>
                    <a:pt x="665" y="778"/>
                  </a:lnTo>
                  <a:lnTo>
                    <a:pt x="665" y="780"/>
                  </a:lnTo>
                  <a:lnTo>
                    <a:pt x="665" y="780"/>
                  </a:lnTo>
                  <a:lnTo>
                    <a:pt x="663" y="780"/>
                  </a:lnTo>
                  <a:lnTo>
                    <a:pt x="660" y="778"/>
                  </a:lnTo>
                  <a:lnTo>
                    <a:pt x="658" y="775"/>
                  </a:lnTo>
                  <a:lnTo>
                    <a:pt x="658" y="775"/>
                  </a:lnTo>
                  <a:lnTo>
                    <a:pt x="658" y="775"/>
                  </a:lnTo>
                  <a:lnTo>
                    <a:pt x="658" y="778"/>
                  </a:lnTo>
                  <a:lnTo>
                    <a:pt x="658" y="778"/>
                  </a:lnTo>
                  <a:lnTo>
                    <a:pt x="658" y="778"/>
                  </a:lnTo>
                  <a:lnTo>
                    <a:pt x="658" y="778"/>
                  </a:lnTo>
                  <a:lnTo>
                    <a:pt x="658" y="778"/>
                  </a:lnTo>
                  <a:lnTo>
                    <a:pt x="658" y="778"/>
                  </a:lnTo>
                  <a:lnTo>
                    <a:pt x="656" y="778"/>
                  </a:lnTo>
                  <a:lnTo>
                    <a:pt x="656" y="778"/>
                  </a:lnTo>
                  <a:lnTo>
                    <a:pt x="653" y="775"/>
                  </a:lnTo>
                  <a:lnTo>
                    <a:pt x="653" y="775"/>
                  </a:lnTo>
                  <a:lnTo>
                    <a:pt x="653" y="778"/>
                  </a:lnTo>
                  <a:lnTo>
                    <a:pt x="653" y="778"/>
                  </a:lnTo>
                  <a:lnTo>
                    <a:pt x="653" y="778"/>
                  </a:lnTo>
                  <a:lnTo>
                    <a:pt x="651" y="778"/>
                  </a:lnTo>
                  <a:lnTo>
                    <a:pt x="651" y="778"/>
                  </a:lnTo>
                  <a:lnTo>
                    <a:pt x="651" y="778"/>
                  </a:lnTo>
                  <a:lnTo>
                    <a:pt x="651" y="775"/>
                  </a:lnTo>
                  <a:lnTo>
                    <a:pt x="648" y="775"/>
                  </a:lnTo>
                  <a:lnTo>
                    <a:pt x="648" y="775"/>
                  </a:lnTo>
                  <a:lnTo>
                    <a:pt x="648" y="775"/>
                  </a:lnTo>
                  <a:lnTo>
                    <a:pt x="648" y="778"/>
                  </a:lnTo>
                  <a:lnTo>
                    <a:pt x="648" y="775"/>
                  </a:lnTo>
                  <a:lnTo>
                    <a:pt x="648" y="775"/>
                  </a:lnTo>
                  <a:lnTo>
                    <a:pt x="648" y="775"/>
                  </a:lnTo>
                  <a:lnTo>
                    <a:pt x="648" y="775"/>
                  </a:lnTo>
                  <a:lnTo>
                    <a:pt x="646" y="775"/>
                  </a:lnTo>
                  <a:lnTo>
                    <a:pt x="646" y="775"/>
                  </a:lnTo>
                  <a:lnTo>
                    <a:pt x="646" y="775"/>
                  </a:lnTo>
                  <a:lnTo>
                    <a:pt x="646" y="775"/>
                  </a:lnTo>
                  <a:lnTo>
                    <a:pt x="646" y="775"/>
                  </a:lnTo>
                  <a:lnTo>
                    <a:pt x="646" y="775"/>
                  </a:lnTo>
                  <a:lnTo>
                    <a:pt x="646" y="778"/>
                  </a:lnTo>
                  <a:lnTo>
                    <a:pt x="644" y="775"/>
                  </a:lnTo>
                  <a:lnTo>
                    <a:pt x="644" y="775"/>
                  </a:lnTo>
                  <a:lnTo>
                    <a:pt x="644" y="773"/>
                  </a:lnTo>
                  <a:lnTo>
                    <a:pt x="644" y="775"/>
                  </a:lnTo>
                  <a:lnTo>
                    <a:pt x="644" y="775"/>
                  </a:lnTo>
                  <a:lnTo>
                    <a:pt x="641" y="773"/>
                  </a:lnTo>
                  <a:lnTo>
                    <a:pt x="641" y="773"/>
                  </a:lnTo>
                  <a:lnTo>
                    <a:pt x="641" y="773"/>
                  </a:lnTo>
                  <a:lnTo>
                    <a:pt x="641" y="773"/>
                  </a:lnTo>
                  <a:lnTo>
                    <a:pt x="639" y="773"/>
                  </a:lnTo>
                  <a:lnTo>
                    <a:pt x="639" y="773"/>
                  </a:lnTo>
                  <a:lnTo>
                    <a:pt x="634" y="773"/>
                  </a:lnTo>
                  <a:lnTo>
                    <a:pt x="634" y="773"/>
                  </a:lnTo>
                  <a:lnTo>
                    <a:pt x="634" y="773"/>
                  </a:lnTo>
                  <a:lnTo>
                    <a:pt x="634" y="773"/>
                  </a:lnTo>
                  <a:lnTo>
                    <a:pt x="634" y="773"/>
                  </a:lnTo>
                  <a:lnTo>
                    <a:pt x="634" y="775"/>
                  </a:lnTo>
                  <a:lnTo>
                    <a:pt x="634" y="775"/>
                  </a:lnTo>
                  <a:lnTo>
                    <a:pt x="634" y="775"/>
                  </a:lnTo>
                  <a:lnTo>
                    <a:pt x="634" y="775"/>
                  </a:lnTo>
                  <a:lnTo>
                    <a:pt x="634" y="775"/>
                  </a:lnTo>
                  <a:lnTo>
                    <a:pt x="637" y="778"/>
                  </a:lnTo>
                  <a:lnTo>
                    <a:pt x="637" y="778"/>
                  </a:lnTo>
                  <a:lnTo>
                    <a:pt x="637" y="780"/>
                  </a:lnTo>
                  <a:lnTo>
                    <a:pt x="639" y="780"/>
                  </a:lnTo>
                  <a:lnTo>
                    <a:pt x="639" y="780"/>
                  </a:lnTo>
                  <a:lnTo>
                    <a:pt x="639" y="780"/>
                  </a:lnTo>
                  <a:lnTo>
                    <a:pt x="639" y="780"/>
                  </a:lnTo>
                  <a:lnTo>
                    <a:pt x="639" y="780"/>
                  </a:lnTo>
                  <a:lnTo>
                    <a:pt x="639" y="780"/>
                  </a:lnTo>
                  <a:lnTo>
                    <a:pt x="641" y="780"/>
                  </a:lnTo>
                  <a:lnTo>
                    <a:pt x="641" y="780"/>
                  </a:lnTo>
                  <a:lnTo>
                    <a:pt x="641" y="780"/>
                  </a:lnTo>
                  <a:lnTo>
                    <a:pt x="641" y="783"/>
                  </a:lnTo>
                  <a:lnTo>
                    <a:pt x="641" y="783"/>
                  </a:lnTo>
                  <a:lnTo>
                    <a:pt x="641" y="783"/>
                  </a:lnTo>
                  <a:lnTo>
                    <a:pt x="641" y="780"/>
                  </a:lnTo>
                  <a:lnTo>
                    <a:pt x="644" y="780"/>
                  </a:lnTo>
                  <a:lnTo>
                    <a:pt x="644" y="780"/>
                  </a:lnTo>
                  <a:lnTo>
                    <a:pt x="644" y="780"/>
                  </a:lnTo>
                  <a:lnTo>
                    <a:pt x="644" y="780"/>
                  </a:lnTo>
                  <a:lnTo>
                    <a:pt x="644" y="780"/>
                  </a:lnTo>
                  <a:lnTo>
                    <a:pt x="646" y="780"/>
                  </a:lnTo>
                  <a:lnTo>
                    <a:pt x="646" y="780"/>
                  </a:lnTo>
                  <a:lnTo>
                    <a:pt x="646" y="780"/>
                  </a:lnTo>
                  <a:lnTo>
                    <a:pt x="648" y="783"/>
                  </a:lnTo>
                  <a:lnTo>
                    <a:pt x="648" y="783"/>
                  </a:lnTo>
                  <a:lnTo>
                    <a:pt x="651" y="780"/>
                  </a:lnTo>
                  <a:lnTo>
                    <a:pt x="651" y="780"/>
                  </a:lnTo>
                  <a:lnTo>
                    <a:pt x="651" y="780"/>
                  </a:lnTo>
                  <a:lnTo>
                    <a:pt x="653" y="780"/>
                  </a:lnTo>
                  <a:lnTo>
                    <a:pt x="653" y="783"/>
                  </a:lnTo>
                  <a:lnTo>
                    <a:pt x="656" y="783"/>
                  </a:lnTo>
                  <a:lnTo>
                    <a:pt x="656" y="783"/>
                  </a:lnTo>
                  <a:lnTo>
                    <a:pt x="658" y="783"/>
                  </a:lnTo>
                  <a:lnTo>
                    <a:pt x="658" y="783"/>
                  </a:lnTo>
                  <a:lnTo>
                    <a:pt x="660" y="783"/>
                  </a:lnTo>
                  <a:lnTo>
                    <a:pt x="660" y="783"/>
                  </a:lnTo>
                  <a:lnTo>
                    <a:pt x="660" y="785"/>
                  </a:lnTo>
                  <a:lnTo>
                    <a:pt x="660" y="785"/>
                  </a:lnTo>
                  <a:lnTo>
                    <a:pt x="660" y="785"/>
                  </a:lnTo>
                  <a:lnTo>
                    <a:pt x="663" y="785"/>
                  </a:lnTo>
                  <a:lnTo>
                    <a:pt x="663" y="783"/>
                  </a:lnTo>
                  <a:lnTo>
                    <a:pt x="663" y="783"/>
                  </a:lnTo>
                  <a:lnTo>
                    <a:pt x="663" y="783"/>
                  </a:lnTo>
                  <a:lnTo>
                    <a:pt x="663" y="785"/>
                  </a:lnTo>
                  <a:lnTo>
                    <a:pt x="663" y="785"/>
                  </a:lnTo>
                  <a:lnTo>
                    <a:pt x="663" y="785"/>
                  </a:lnTo>
                  <a:lnTo>
                    <a:pt x="663" y="785"/>
                  </a:lnTo>
                  <a:lnTo>
                    <a:pt x="665" y="783"/>
                  </a:lnTo>
                  <a:lnTo>
                    <a:pt x="665" y="785"/>
                  </a:lnTo>
                  <a:lnTo>
                    <a:pt x="665" y="785"/>
                  </a:lnTo>
                  <a:lnTo>
                    <a:pt x="665" y="787"/>
                  </a:lnTo>
                  <a:lnTo>
                    <a:pt x="665" y="787"/>
                  </a:lnTo>
                  <a:lnTo>
                    <a:pt x="667" y="785"/>
                  </a:lnTo>
                  <a:lnTo>
                    <a:pt x="667" y="785"/>
                  </a:lnTo>
                  <a:lnTo>
                    <a:pt x="667" y="785"/>
                  </a:lnTo>
                  <a:lnTo>
                    <a:pt x="667" y="785"/>
                  </a:lnTo>
                  <a:lnTo>
                    <a:pt x="667" y="785"/>
                  </a:lnTo>
                  <a:lnTo>
                    <a:pt x="667" y="787"/>
                  </a:lnTo>
                  <a:lnTo>
                    <a:pt x="667" y="787"/>
                  </a:lnTo>
                  <a:lnTo>
                    <a:pt x="667" y="787"/>
                  </a:lnTo>
                  <a:lnTo>
                    <a:pt x="667" y="787"/>
                  </a:lnTo>
                  <a:lnTo>
                    <a:pt x="670" y="787"/>
                  </a:lnTo>
                  <a:lnTo>
                    <a:pt x="670" y="785"/>
                  </a:lnTo>
                  <a:lnTo>
                    <a:pt x="670" y="783"/>
                  </a:lnTo>
                  <a:lnTo>
                    <a:pt x="670" y="783"/>
                  </a:lnTo>
                  <a:lnTo>
                    <a:pt x="670" y="780"/>
                  </a:lnTo>
                  <a:lnTo>
                    <a:pt x="670" y="783"/>
                  </a:lnTo>
                  <a:lnTo>
                    <a:pt x="670" y="785"/>
                  </a:lnTo>
                  <a:lnTo>
                    <a:pt x="670" y="785"/>
                  </a:lnTo>
                  <a:lnTo>
                    <a:pt x="670" y="785"/>
                  </a:lnTo>
                  <a:lnTo>
                    <a:pt x="670" y="785"/>
                  </a:lnTo>
                  <a:lnTo>
                    <a:pt x="670" y="785"/>
                  </a:lnTo>
                  <a:lnTo>
                    <a:pt x="670" y="785"/>
                  </a:lnTo>
                  <a:lnTo>
                    <a:pt x="672" y="787"/>
                  </a:lnTo>
                  <a:lnTo>
                    <a:pt x="672" y="787"/>
                  </a:lnTo>
                  <a:lnTo>
                    <a:pt x="672" y="787"/>
                  </a:lnTo>
                  <a:lnTo>
                    <a:pt x="672" y="785"/>
                  </a:lnTo>
                  <a:lnTo>
                    <a:pt x="672" y="785"/>
                  </a:lnTo>
                  <a:lnTo>
                    <a:pt x="672" y="785"/>
                  </a:lnTo>
                  <a:lnTo>
                    <a:pt x="672" y="785"/>
                  </a:lnTo>
                  <a:lnTo>
                    <a:pt x="672" y="785"/>
                  </a:lnTo>
                  <a:lnTo>
                    <a:pt x="672" y="785"/>
                  </a:lnTo>
                  <a:lnTo>
                    <a:pt x="674" y="785"/>
                  </a:lnTo>
                  <a:lnTo>
                    <a:pt x="674" y="785"/>
                  </a:lnTo>
                  <a:lnTo>
                    <a:pt x="674" y="783"/>
                  </a:lnTo>
                  <a:lnTo>
                    <a:pt x="674" y="783"/>
                  </a:lnTo>
                  <a:lnTo>
                    <a:pt x="674" y="785"/>
                  </a:lnTo>
                  <a:lnTo>
                    <a:pt x="674" y="787"/>
                  </a:lnTo>
                  <a:lnTo>
                    <a:pt x="677" y="785"/>
                  </a:lnTo>
                  <a:lnTo>
                    <a:pt x="677" y="785"/>
                  </a:lnTo>
                  <a:lnTo>
                    <a:pt x="677" y="785"/>
                  </a:lnTo>
                  <a:lnTo>
                    <a:pt x="679" y="785"/>
                  </a:lnTo>
                  <a:lnTo>
                    <a:pt x="679" y="785"/>
                  </a:lnTo>
                  <a:lnTo>
                    <a:pt x="679" y="785"/>
                  </a:lnTo>
                  <a:lnTo>
                    <a:pt x="679" y="785"/>
                  </a:lnTo>
                  <a:lnTo>
                    <a:pt x="679" y="783"/>
                  </a:lnTo>
                  <a:lnTo>
                    <a:pt x="679" y="783"/>
                  </a:lnTo>
                  <a:lnTo>
                    <a:pt x="682" y="783"/>
                  </a:lnTo>
                  <a:lnTo>
                    <a:pt x="682" y="785"/>
                  </a:lnTo>
                  <a:lnTo>
                    <a:pt x="682" y="785"/>
                  </a:lnTo>
                  <a:lnTo>
                    <a:pt x="682" y="785"/>
                  </a:lnTo>
                  <a:lnTo>
                    <a:pt x="684" y="785"/>
                  </a:lnTo>
                  <a:lnTo>
                    <a:pt x="684" y="785"/>
                  </a:lnTo>
                  <a:lnTo>
                    <a:pt x="684" y="785"/>
                  </a:lnTo>
                  <a:lnTo>
                    <a:pt x="684" y="785"/>
                  </a:lnTo>
                  <a:lnTo>
                    <a:pt x="686" y="785"/>
                  </a:lnTo>
                  <a:lnTo>
                    <a:pt x="686" y="785"/>
                  </a:lnTo>
                  <a:lnTo>
                    <a:pt x="689" y="785"/>
                  </a:lnTo>
                  <a:lnTo>
                    <a:pt x="689" y="785"/>
                  </a:lnTo>
                  <a:lnTo>
                    <a:pt x="689" y="785"/>
                  </a:lnTo>
                  <a:lnTo>
                    <a:pt x="689" y="785"/>
                  </a:lnTo>
                  <a:lnTo>
                    <a:pt x="689" y="783"/>
                  </a:lnTo>
                  <a:lnTo>
                    <a:pt x="689" y="783"/>
                  </a:lnTo>
                  <a:lnTo>
                    <a:pt x="689" y="783"/>
                  </a:lnTo>
                  <a:lnTo>
                    <a:pt x="689" y="783"/>
                  </a:lnTo>
                  <a:lnTo>
                    <a:pt x="689" y="783"/>
                  </a:lnTo>
                  <a:lnTo>
                    <a:pt x="689" y="780"/>
                  </a:lnTo>
                  <a:lnTo>
                    <a:pt x="689" y="780"/>
                  </a:lnTo>
                  <a:lnTo>
                    <a:pt x="689" y="780"/>
                  </a:lnTo>
                  <a:close/>
                  <a:moveTo>
                    <a:pt x="869" y="468"/>
                  </a:moveTo>
                  <a:lnTo>
                    <a:pt x="871" y="468"/>
                  </a:lnTo>
                  <a:lnTo>
                    <a:pt x="871" y="468"/>
                  </a:lnTo>
                  <a:lnTo>
                    <a:pt x="871" y="468"/>
                  </a:lnTo>
                  <a:lnTo>
                    <a:pt x="871" y="470"/>
                  </a:lnTo>
                  <a:lnTo>
                    <a:pt x="871" y="473"/>
                  </a:lnTo>
                  <a:lnTo>
                    <a:pt x="871" y="473"/>
                  </a:lnTo>
                  <a:lnTo>
                    <a:pt x="871" y="473"/>
                  </a:lnTo>
                  <a:lnTo>
                    <a:pt x="871" y="475"/>
                  </a:lnTo>
                  <a:lnTo>
                    <a:pt x="871" y="475"/>
                  </a:lnTo>
                  <a:lnTo>
                    <a:pt x="871" y="475"/>
                  </a:lnTo>
                  <a:lnTo>
                    <a:pt x="871" y="475"/>
                  </a:lnTo>
                  <a:lnTo>
                    <a:pt x="873" y="475"/>
                  </a:lnTo>
                  <a:lnTo>
                    <a:pt x="873" y="475"/>
                  </a:lnTo>
                  <a:lnTo>
                    <a:pt x="873" y="475"/>
                  </a:lnTo>
                  <a:lnTo>
                    <a:pt x="873" y="475"/>
                  </a:lnTo>
                  <a:lnTo>
                    <a:pt x="873" y="475"/>
                  </a:lnTo>
                  <a:lnTo>
                    <a:pt x="873" y="475"/>
                  </a:lnTo>
                  <a:lnTo>
                    <a:pt x="873" y="475"/>
                  </a:lnTo>
                  <a:lnTo>
                    <a:pt x="873" y="475"/>
                  </a:lnTo>
                  <a:lnTo>
                    <a:pt x="873" y="475"/>
                  </a:lnTo>
                  <a:lnTo>
                    <a:pt x="873" y="477"/>
                  </a:lnTo>
                  <a:lnTo>
                    <a:pt x="873" y="477"/>
                  </a:lnTo>
                  <a:lnTo>
                    <a:pt x="873" y="477"/>
                  </a:lnTo>
                  <a:lnTo>
                    <a:pt x="876" y="485"/>
                  </a:lnTo>
                  <a:lnTo>
                    <a:pt x="876" y="487"/>
                  </a:lnTo>
                  <a:lnTo>
                    <a:pt x="878" y="487"/>
                  </a:lnTo>
                  <a:lnTo>
                    <a:pt x="878" y="487"/>
                  </a:lnTo>
                  <a:lnTo>
                    <a:pt x="878" y="487"/>
                  </a:lnTo>
                  <a:lnTo>
                    <a:pt x="878" y="489"/>
                  </a:lnTo>
                  <a:lnTo>
                    <a:pt x="878" y="489"/>
                  </a:lnTo>
                  <a:lnTo>
                    <a:pt x="880" y="492"/>
                  </a:lnTo>
                  <a:lnTo>
                    <a:pt x="880" y="492"/>
                  </a:lnTo>
                  <a:lnTo>
                    <a:pt x="880" y="492"/>
                  </a:lnTo>
                  <a:lnTo>
                    <a:pt x="880" y="492"/>
                  </a:lnTo>
                  <a:lnTo>
                    <a:pt x="883" y="492"/>
                  </a:lnTo>
                  <a:lnTo>
                    <a:pt x="883" y="494"/>
                  </a:lnTo>
                  <a:lnTo>
                    <a:pt x="883" y="494"/>
                  </a:lnTo>
                  <a:lnTo>
                    <a:pt x="885" y="496"/>
                  </a:lnTo>
                  <a:lnTo>
                    <a:pt x="885" y="496"/>
                  </a:lnTo>
                  <a:lnTo>
                    <a:pt x="885" y="496"/>
                  </a:lnTo>
                  <a:lnTo>
                    <a:pt x="885" y="499"/>
                  </a:lnTo>
                  <a:lnTo>
                    <a:pt x="885" y="499"/>
                  </a:lnTo>
                  <a:lnTo>
                    <a:pt x="885" y="499"/>
                  </a:lnTo>
                  <a:lnTo>
                    <a:pt x="885" y="501"/>
                  </a:lnTo>
                  <a:lnTo>
                    <a:pt x="885" y="501"/>
                  </a:lnTo>
                  <a:lnTo>
                    <a:pt x="885" y="501"/>
                  </a:lnTo>
                  <a:lnTo>
                    <a:pt x="887" y="503"/>
                  </a:lnTo>
                  <a:lnTo>
                    <a:pt x="887" y="503"/>
                  </a:lnTo>
                  <a:lnTo>
                    <a:pt x="890" y="503"/>
                  </a:lnTo>
                  <a:lnTo>
                    <a:pt x="890" y="501"/>
                  </a:lnTo>
                  <a:lnTo>
                    <a:pt x="890" y="501"/>
                  </a:lnTo>
                  <a:lnTo>
                    <a:pt x="890" y="499"/>
                  </a:lnTo>
                  <a:lnTo>
                    <a:pt x="887" y="499"/>
                  </a:lnTo>
                  <a:lnTo>
                    <a:pt x="887" y="499"/>
                  </a:lnTo>
                  <a:lnTo>
                    <a:pt x="887" y="496"/>
                  </a:lnTo>
                  <a:lnTo>
                    <a:pt x="885" y="496"/>
                  </a:lnTo>
                  <a:lnTo>
                    <a:pt x="887" y="496"/>
                  </a:lnTo>
                  <a:lnTo>
                    <a:pt x="890" y="496"/>
                  </a:lnTo>
                  <a:lnTo>
                    <a:pt x="890" y="499"/>
                  </a:lnTo>
                  <a:lnTo>
                    <a:pt x="890" y="499"/>
                  </a:lnTo>
                  <a:lnTo>
                    <a:pt x="892" y="499"/>
                  </a:lnTo>
                  <a:lnTo>
                    <a:pt x="892" y="499"/>
                  </a:lnTo>
                  <a:lnTo>
                    <a:pt x="895" y="499"/>
                  </a:lnTo>
                  <a:lnTo>
                    <a:pt x="895" y="499"/>
                  </a:lnTo>
                  <a:lnTo>
                    <a:pt x="895" y="499"/>
                  </a:lnTo>
                  <a:lnTo>
                    <a:pt x="895" y="499"/>
                  </a:lnTo>
                  <a:lnTo>
                    <a:pt x="895" y="499"/>
                  </a:lnTo>
                  <a:lnTo>
                    <a:pt x="897" y="499"/>
                  </a:lnTo>
                  <a:lnTo>
                    <a:pt x="897" y="499"/>
                  </a:lnTo>
                  <a:lnTo>
                    <a:pt x="897" y="501"/>
                  </a:lnTo>
                  <a:lnTo>
                    <a:pt x="897" y="501"/>
                  </a:lnTo>
                  <a:lnTo>
                    <a:pt x="897" y="501"/>
                  </a:lnTo>
                  <a:lnTo>
                    <a:pt x="902" y="501"/>
                  </a:lnTo>
                  <a:lnTo>
                    <a:pt x="902" y="501"/>
                  </a:lnTo>
                  <a:lnTo>
                    <a:pt x="902" y="501"/>
                  </a:lnTo>
                  <a:lnTo>
                    <a:pt x="902" y="501"/>
                  </a:lnTo>
                  <a:lnTo>
                    <a:pt x="902" y="501"/>
                  </a:lnTo>
                  <a:lnTo>
                    <a:pt x="902" y="503"/>
                  </a:lnTo>
                  <a:lnTo>
                    <a:pt x="902" y="503"/>
                  </a:lnTo>
                  <a:lnTo>
                    <a:pt x="904" y="503"/>
                  </a:lnTo>
                  <a:lnTo>
                    <a:pt x="906" y="503"/>
                  </a:lnTo>
                  <a:lnTo>
                    <a:pt x="906" y="503"/>
                  </a:lnTo>
                  <a:lnTo>
                    <a:pt x="906" y="503"/>
                  </a:lnTo>
                  <a:lnTo>
                    <a:pt x="906" y="503"/>
                  </a:lnTo>
                  <a:lnTo>
                    <a:pt x="906" y="503"/>
                  </a:lnTo>
                  <a:lnTo>
                    <a:pt x="906" y="503"/>
                  </a:lnTo>
                  <a:lnTo>
                    <a:pt x="906" y="503"/>
                  </a:lnTo>
                  <a:lnTo>
                    <a:pt x="906" y="503"/>
                  </a:lnTo>
                  <a:lnTo>
                    <a:pt x="906" y="501"/>
                  </a:lnTo>
                  <a:lnTo>
                    <a:pt x="909" y="501"/>
                  </a:lnTo>
                  <a:lnTo>
                    <a:pt x="909" y="501"/>
                  </a:lnTo>
                  <a:lnTo>
                    <a:pt x="909" y="501"/>
                  </a:lnTo>
                  <a:lnTo>
                    <a:pt x="909" y="501"/>
                  </a:lnTo>
                  <a:lnTo>
                    <a:pt x="906" y="501"/>
                  </a:lnTo>
                  <a:lnTo>
                    <a:pt x="906" y="501"/>
                  </a:lnTo>
                  <a:lnTo>
                    <a:pt x="906" y="501"/>
                  </a:lnTo>
                  <a:lnTo>
                    <a:pt x="906" y="499"/>
                  </a:lnTo>
                  <a:lnTo>
                    <a:pt x="906" y="499"/>
                  </a:lnTo>
                  <a:lnTo>
                    <a:pt x="906" y="499"/>
                  </a:lnTo>
                  <a:lnTo>
                    <a:pt x="906" y="499"/>
                  </a:lnTo>
                  <a:lnTo>
                    <a:pt x="909" y="499"/>
                  </a:lnTo>
                  <a:lnTo>
                    <a:pt x="909" y="499"/>
                  </a:lnTo>
                  <a:lnTo>
                    <a:pt x="909" y="496"/>
                  </a:lnTo>
                  <a:lnTo>
                    <a:pt x="909" y="496"/>
                  </a:lnTo>
                  <a:lnTo>
                    <a:pt x="909" y="496"/>
                  </a:lnTo>
                  <a:lnTo>
                    <a:pt x="909" y="494"/>
                  </a:lnTo>
                  <a:lnTo>
                    <a:pt x="906" y="494"/>
                  </a:lnTo>
                  <a:lnTo>
                    <a:pt x="909" y="494"/>
                  </a:lnTo>
                  <a:lnTo>
                    <a:pt x="909" y="494"/>
                  </a:lnTo>
                  <a:lnTo>
                    <a:pt x="911" y="492"/>
                  </a:lnTo>
                  <a:lnTo>
                    <a:pt x="911" y="492"/>
                  </a:lnTo>
                  <a:lnTo>
                    <a:pt x="911" y="492"/>
                  </a:lnTo>
                  <a:lnTo>
                    <a:pt x="911" y="492"/>
                  </a:lnTo>
                  <a:lnTo>
                    <a:pt x="911" y="492"/>
                  </a:lnTo>
                  <a:lnTo>
                    <a:pt x="911" y="492"/>
                  </a:lnTo>
                  <a:lnTo>
                    <a:pt x="911" y="492"/>
                  </a:lnTo>
                  <a:lnTo>
                    <a:pt x="911" y="492"/>
                  </a:lnTo>
                  <a:lnTo>
                    <a:pt x="911" y="492"/>
                  </a:lnTo>
                  <a:lnTo>
                    <a:pt x="911" y="492"/>
                  </a:lnTo>
                  <a:lnTo>
                    <a:pt x="911" y="489"/>
                  </a:lnTo>
                  <a:lnTo>
                    <a:pt x="911" y="489"/>
                  </a:lnTo>
                  <a:lnTo>
                    <a:pt x="911" y="489"/>
                  </a:lnTo>
                  <a:lnTo>
                    <a:pt x="911" y="489"/>
                  </a:lnTo>
                  <a:lnTo>
                    <a:pt x="913" y="489"/>
                  </a:lnTo>
                  <a:lnTo>
                    <a:pt x="913" y="487"/>
                  </a:lnTo>
                  <a:lnTo>
                    <a:pt x="913" y="487"/>
                  </a:lnTo>
                  <a:lnTo>
                    <a:pt x="913" y="487"/>
                  </a:lnTo>
                  <a:lnTo>
                    <a:pt x="913" y="487"/>
                  </a:lnTo>
                  <a:lnTo>
                    <a:pt x="916" y="485"/>
                  </a:lnTo>
                  <a:lnTo>
                    <a:pt x="916" y="485"/>
                  </a:lnTo>
                  <a:lnTo>
                    <a:pt x="916" y="485"/>
                  </a:lnTo>
                  <a:lnTo>
                    <a:pt x="916" y="485"/>
                  </a:lnTo>
                  <a:lnTo>
                    <a:pt x="916" y="485"/>
                  </a:lnTo>
                  <a:lnTo>
                    <a:pt x="916" y="485"/>
                  </a:lnTo>
                  <a:lnTo>
                    <a:pt x="916" y="482"/>
                  </a:lnTo>
                  <a:lnTo>
                    <a:pt x="916" y="482"/>
                  </a:lnTo>
                  <a:lnTo>
                    <a:pt x="916" y="482"/>
                  </a:lnTo>
                  <a:lnTo>
                    <a:pt x="916" y="482"/>
                  </a:lnTo>
                  <a:lnTo>
                    <a:pt x="916" y="482"/>
                  </a:lnTo>
                  <a:lnTo>
                    <a:pt x="916" y="482"/>
                  </a:lnTo>
                  <a:lnTo>
                    <a:pt x="916" y="480"/>
                  </a:lnTo>
                  <a:lnTo>
                    <a:pt x="916" y="480"/>
                  </a:lnTo>
                  <a:lnTo>
                    <a:pt x="913" y="480"/>
                  </a:lnTo>
                  <a:lnTo>
                    <a:pt x="913" y="477"/>
                  </a:lnTo>
                  <a:lnTo>
                    <a:pt x="911" y="477"/>
                  </a:lnTo>
                  <a:lnTo>
                    <a:pt x="911" y="480"/>
                  </a:lnTo>
                  <a:lnTo>
                    <a:pt x="909" y="477"/>
                  </a:lnTo>
                  <a:lnTo>
                    <a:pt x="909" y="477"/>
                  </a:lnTo>
                  <a:lnTo>
                    <a:pt x="906" y="475"/>
                  </a:lnTo>
                  <a:lnTo>
                    <a:pt x="909" y="475"/>
                  </a:lnTo>
                  <a:lnTo>
                    <a:pt x="909" y="475"/>
                  </a:lnTo>
                  <a:lnTo>
                    <a:pt x="909" y="475"/>
                  </a:lnTo>
                  <a:lnTo>
                    <a:pt x="909" y="475"/>
                  </a:lnTo>
                  <a:lnTo>
                    <a:pt x="909" y="475"/>
                  </a:lnTo>
                  <a:lnTo>
                    <a:pt x="909" y="473"/>
                  </a:lnTo>
                  <a:lnTo>
                    <a:pt x="909" y="473"/>
                  </a:lnTo>
                  <a:lnTo>
                    <a:pt x="909" y="470"/>
                  </a:lnTo>
                  <a:lnTo>
                    <a:pt x="909" y="470"/>
                  </a:lnTo>
                  <a:lnTo>
                    <a:pt x="909" y="470"/>
                  </a:lnTo>
                  <a:lnTo>
                    <a:pt x="909" y="470"/>
                  </a:lnTo>
                  <a:lnTo>
                    <a:pt x="909" y="470"/>
                  </a:lnTo>
                  <a:lnTo>
                    <a:pt x="909" y="470"/>
                  </a:lnTo>
                  <a:lnTo>
                    <a:pt x="909" y="470"/>
                  </a:lnTo>
                  <a:lnTo>
                    <a:pt x="909" y="473"/>
                  </a:lnTo>
                  <a:lnTo>
                    <a:pt x="906" y="473"/>
                  </a:lnTo>
                  <a:lnTo>
                    <a:pt x="906" y="473"/>
                  </a:lnTo>
                  <a:lnTo>
                    <a:pt x="906" y="470"/>
                  </a:lnTo>
                  <a:lnTo>
                    <a:pt x="906" y="470"/>
                  </a:lnTo>
                  <a:lnTo>
                    <a:pt x="904" y="470"/>
                  </a:lnTo>
                  <a:lnTo>
                    <a:pt x="902" y="470"/>
                  </a:lnTo>
                  <a:lnTo>
                    <a:pt x="899" y="470"/>
                  </a:lnTo>
                  <a:lnTo>
                    <a:pt x="899" y="470"/>
                  </a:lnTo>
                  <a:lnTo>
                    <a:pt x="902" y="470"/>
                  </a:lnTo>
                  <a:lnTo>
                    <a:pt x="902" y="470"/>
                  </a:lnTo>
                  <a:lnTo>
                    <a:pt x="902" y="468"/>
                  </a:lnTo>
                  <a:lnTo>
                    <a:pt x="899" y="466"/>
                  </a:lnTo>
                  <a:lnTo>
                    <a:pt x="897" y="466"/>
                  </a:lnTo>
                  <a:lnTo>
                    <a:pt x="897" y="466"/>
                  </a:lnTo>
                  <a:lnTo>
                    <a:pt x="895" y="468"/>
                  </a:lnTo>
                  <a:lnTo>
                    <a:pt x="895" y="468"/>
                  </a:lnTo>
                  <a:lnTo>
                    <a:pt x="895" y="468"/>
                  </a:lnTo>
                  <a:lnTo>
                    <a:pt x="895" y="466"/>
                  </a:lnTo>
                  <a:lnTo>
                    <a:pt x="892" y="466"/>
                  </a:lnTo>
                  <a:lnTo>
                    <a:pt x="892" y="466"/>
                  </a:lnTo>
                  <a:lnTo>
                    <a:pt x="890" y="466"/>
                  </a:lnTo>
                  <a:lnTo>
                    <a:pt x="890" y="466"/>
                  </a:lnTo>
                  <a:lnTo>
                    <a:pt x="887" y="466"/>
                  </a:lnTo>
                  <a:lnTo>
                    <a:pt x="887" y="466"/>
                  </a:lnTo>
                  <a:lnTo>
                    <a:pt x="887" y="466"/>
                  </a:lnTo>
                  <a:lnTo>
                    <a:pt x="887" y="468"/>
                  </a:lnTo>
                  <a:lnTo>
                    <a:pt x="887" y="468"/>
                  </a:lnTo>
                  <a:lnTo>
                    <a:pt x="885" y="468"/>
                  </a:lnTo>
                  <a:lnTo>
                    <a:pt x="885" y="468"/>
                  </a:lnTo>
                  <a:lnTo>
                    <a:pt x="878" y="463"/>
                  </a:lnTo>
                  <a:lnTo>
                    <a:pt x="876" y="461"/>
                  </a:lnTo>
                  <a:lnTo>
                    <a:pt x="876" y="461"/>
                  </a:lnTo>
                  <a:lnTo>
                    <a:pt x="876" y="461"/>
                  </a:lnTo>
                  <a:lnTo>
                    <a:pt x="876" y="461"/>
                  </a:lnTo>
                  <a:lnTo>
                    <a:pt x="876" y="461"/>
                  </a:lnTo>
                  <a:lnTo>
                    <a:pt x="873" y="461"/>
                  </a:lnTo>
                  <a:lnTo>
                    <a:pt x="873" y="461"/>
                  </a:lnTo>
                  <a:lnTo>
                    <a:pt x="873" y="461"/>
                  </a:lnTo>
                  <a:lnTo>
                    <a:pt x="871" y="459"/>
                  </a:lnTo>
                  <a:lnTo>
                    <a:pt x="871" y="459"/>
                  </a:lnTo>
                  <a:lnTo>
                    <a:pt x="871" y="459"/>
                  </a:lnTo>
                  <a:lnTo>
                    <a:pt x="871" y="461"/>
                  </a:lnTo>
                  <a:lnTo>
                    <a:pt x="871" y="463"/>
                  </a:lnTo>
                  <a:lnTo>
                    <a:pt x="871" y="466"/>
                  </a:lnTo>
                  <a:lnTo>
                    <a:pt x="871" y="466"/>
                  </a:lnTo>
                  <a:lnTo>
                    <a:pt x="871" y="466"/>
                  </a:lnTo>
                  <a:lnTo>
                    <a:pt x="869" y="468"/>
                  </a:lnTo>
                  <a:lnTo>
                    <a:pt x="869" y="468"/>
                  </a:lnTo>
                  <a:lnTo>
                    <a:pt x="869" y="468"/>
                  </a:lnTo>
                  <a:lnTo>
                    <a:pt x="869" y="468"/>
                  </a:lnTo>
                  <a:lnTo>
                    <a:pt x="869" y="468"/>
                  </a:lnTo>
                  <a:close/>
                  <a:moveTo>
                    <a:pt x="575" y="749"/>
                  </a:moveTo>
                  <a:lnTo>
                    <a:pt x="575" y="749"/>
                  </a:lnTo>
                  <a:lnTo>
                    <a:pt x="573" y="749"/>
                  </a:lnTo>
                  <a:lnTo>
                    <a:pt x="573" y="749"/>
                  </a:lnTo>
                  <a:lnTo>
                    <a:pt x="573" y="752"/>
                  </a:lnTo>
                  <a:lnTo>
                    <a:pt x="570" y="752"/>
                  </a:lnTo>
                  <a:lnTo>
                    <a:pt x="570" y="752"/>
                  </a:lnTo>
                  <a:lnTo>
                    <a:pt x="570" y="752"/>
                  </a:lnTo>
                  <a:lnTo>
                    <a:pt x="573" y="754"/>
                  </a:lnTo>
                  <a:lnTo>
                    <a:pt x="573" y="752"/>
                  </a:lnTo>
                  <a:lnTo>
                    <a:pt x="573" y="752"/>
                  </a:lnTo>
                  <a:lnTo>
                    <a:pt x="575" y="752"/>
                  </a:lnTo>
                  <a:lnTo>
                    <a:pt x="575" y="752"/>
                  </a:lnTo>
                  <a:lnTo>
                    <a:pt x="575" y="752"/>
                  </a:lnTo>
                  <a:lnTo>
                    <a:pt x="575" y="749"/>
                  </a:lnTo>
                  <a:lnTo>
                    <a:pt x="575" y="749"/>
                  </a:lnTo>
                  <a:lnTo>
                    <a:pt x="575" y="749"/>
                  </a:lnTo>
                  <a:close/>
                  <a:moveTo>
                    <a:pt x="696" y="591"/>
                  </a:moveTo>
                  <a:lnTo>
                    <a:pt x="696" y="591"/>
                  </a:lnTo>
                  <a:lnTo>
                    <a:pt x="696" y="591"/>
                  </a:lnTo>
                  <a:lnTo>
                    <a:pt x="691" y="586"/>
                  </a:lnTo>
                  <a:lnTo>
                    <a:pt x="691" y="586"/>
                  </a:lnTo>
                  <a:lnTo>
                    <a:pt x="691" y="589"/>
                  </a:lnTo>
                  <a:lnTo>
                    <a:pt x="693" y="591"/>
                  </a:lnTo>
                  <a:lnTo>
                    <a:pt x="693" y="591"/>
                  </a:lnTo>
                  <a:lnTo>
                    <a:pt x="693" y="591"/>
                  </a:lnTo>
                  <a:lnTo>
                    <a:pt x="693" y="593"/>
                  </a:lnTo>
                  <a:lnTo>
                    <a:pt x="693" y="593"/>
                  </a:lnTo>
                  <a:lnTo>
                    <a:pt x="696" y="593"/>
                  </a:lnTo>
                  <a:lnTo>
                    <a:pt x="696" y="593"/>
                  </a:lnTo>
                  <a:lnTo>
                    <a:pt x="698" y="593"/>
                  </a:lnTo>
                  <a:lnTo>
                    <a:pt x="698" y="593"/>
                  </a:lnTo>
                  <a:lnTo>
                    <a:pt x="698" y="591"/>
                  </a:lnTo>
                  <a:lnTo>
                    <a:pt x="696" y="591"/>
                  </a:lnTo>
                  <a:close/>
                  <a:moveTo>
                    <a:pt x="698" y="780"/>
                  </a:moveTo>
                  <a:lnTo>
                    <a:pt x="696" y="783"/>
                  </a:lnTo>
                  <a:lnTo>
                    <a:pt x="696" y="780"/>
                  </a:lnTo>
                  <a:lnTo>
                    <a:pt x="696" y="780"/>
                  </a:lnTo>
                  <a:lnTo>
                    <a:pt x="696" y="780"/>
                  </a:lnTo>
                  <a:lnTo>
                    <a:pt x="696" y="780"/>
                  </a:lnTo>
                  <a:lnTo>
                    <a:pt x="696" y="780"/>
                  </a:lnTo>
                  <a:lnTo>
                    <a:pt x="696" y="780"/>
                  </a:lnTo>
                  <a:lnTo>
                    <a:pt x="693" y="780"/>
                  </a:lnTo>
                  <a:lnTo>
                    <a:pt x="691" y="783"/>
                  </a:lnTo>
                  <a:lnTo>
                    <a:pt x="691" y="783"/>
                  </a:lnTo>
                  <a:lnTo>
                    <a:pt x="693" y="780"/>
                  </a:lnTo>
                  <a:lnTo>
                    <a:pt x="693" y="780"/>
                  </a:lnTo>
                  <a:lnTo>
                    <a:pt x="693" y="780"/>
                  </a:lnTo>
                  <a:lnTo>
                    <a:pt x="693" y="780"/>
                  </a:lnTo>
                  <a:lnTo>
                    <a:pt x="691" y="780"/>
                  </a:lnTo>
                  <a:lnTo>
                    <a:pt x="691" y="780"/>
                  </a:lnTo>
                  <a:lnTo>
                    <a:pt x="691" y="783"/>
                  </a:lnTo>
                  <a:lnTo>
                    <a:pt x="691" y="780"/>
                  </a:lnTo>
                  <a:lnTo>
                    <a:pt x="691" y="780"/>
                  </a:lnTo>
                  <a:lnTo>
                    <a:pt x="689" y="783"/>
                  </a:lnTo>
                  <a:lnTo>
                    <a:pt x="689" y="783"/>
                  </a:lnTo>
                  <a:lnTo>
                    <a:pt x="689" y="783"/>
                  </a:lnTo>
                  <a:lnTo>
                    <a:pt x="691" y="785"/>
                  </a:lnTo>
                  <a:lnTo>
                    <a:pt x="691" y="785"/>
                  </a:lnTo>
                  <a:lnTo>
                    <a:pt x="691" y="785"/>
                  </a:lnTo>
                  <a:lnTo>
                    <a:pt x="691" y="785"/>
                  </a:lnTo>
                  <a:lnTo>
                    <a:pt x="691" y="785"/>
                  </a:lnTo>
                  <a:lnTo>
                    <a:pt x="693" y="785"/>
                  </a:lnTo>
                  <a:lnTo>
                    <a:pt x="693" y="785"/>
                  </a:lnTo>
                  <a:lnTo>
                    <a:pt x="693" y="785"/>
                  </a:lnTo>
                  <a:lnTo>
                    <a:pt x="693" y="783"/>
                  </a:lnTo>
                  <a:lnTo>
                    <a:pt x="693" y="783"/>
                  </a:lnTo>
                  <a:lnTo>
                    <a:pt x="693" y="785"/>
                  </a:lnTo>
                  <a:lnTo>
                    <a:pt x="696" y="785"/>
                  </a:lnTo>
                  <a:lnTo>
                    <a:pt x="696" y="785"/>
                  </a:lnTo>
                  <a:lnTo>
                    <a:pt x="696" y="785"/>
                  </a:lnTo>
                  <a:lnTo>
                    <a:pt x="696" y="783"/>
                  </a:lnTo>
                  <a:lnTo>
                    <a:pt x="696" y="783"/>
                  </a:lnTo>
                  <a:lnTo>
                    <a:pt x="696" y="783"/>
                  </a:lnTo>
                  <a:lnTo>
                    <a:pt x="696" y="783"/>
                  </a:lnTo>
                  <a:lnTo>
                    <a:pt x="696" y="783"/>
                  </a:lnTo>
                  <a:lnTo>
                    <a:pt x="698" y="783"/>
                  </a:lnTo>
                  <a:lnTo>
                    <a:pt x="698" y="783"/>
                  </a:lnTo>
                  <a:lnTo>
                    <a:pt x="698" y="783"/>
                  </a:lnTo>
                  <a:lnTo>
                    <a:pt x="698" y="783"/>
                  </a:lnTo>
                  <a:lnTo>
                    <a:pt x="698" y="780"/>
                  </a:lnTo>
                  <a:close/>
                  <a:moveTo>
                    <a:pt x="540" y="747"/>
                  </a:moveTo>
                  <a:lnTo>
                    <a:pt x="540" y="747"/>
                  </a:lnTo>
                  <a:lnTo>
                    <a:pt x="540" y="747"/>
                  </a:lnTo>
                  <a:lnTo>
                    <a:pt x="540" y="747"/>
                  </a:lnTo>
                  <a:lnTo>
                    <a:pt x="540" y="745"/>
                  </a:lnTo>
                  <a:lnTo>
                    <a:pt x="537" y="745"/>
                  </a:lnTo>
                  <a:lnTo>
                    <a:pt x="537" y="745"/>
                  </a:lnTo>
                  <a:lnTo>
                    <a:pt x="537" y="745"/>
                  </a:lnTo>
                  <a:lnTo>
                    <a:pt x="537" y="745"/>
                  </a:lnTo>
                  <a:lnTo>
                    <a:pt x="537" y="745"/>
                  </a:lnTo>
                  <a:lnTo>
                    <a:pt x="535" y="745"/>
                  </a:lnTo>
                  <a:lnTo>
                    <a:pt x="535" y="745"/>
                  </a:lnTo>
                  <a:lnTo>
                    <a:pt x="535" y="745"/>
                  </a:lnTo>
                  <a:lnTo>
                    <a:pt x="535" y="745"/>
                  </a:lnTo>
                  <a:lnTo>
                    <a:pt x="535" y="745"/>
                  </a:lnTo>
                  <a:lnTo>
                    <a:pt x="532" y="747"/>
                  </a:lnTo>
                  <a:lnTo>
                    <a:pt x="530" y="747"/>
                  </a:lnTo>
                  <a:lnTo>
                    <a:pt x="528" y="749"/>
                  </a:lnTo>
                  <a:lnTo>
                    <a:pt x="530" y="749"/>
                  </a:lnTo>
                  <a:lnTo>
                    <a:pt x="530" y="749"/>
                  </a:lnTo>
                  <a:lnTo>
                    <a:pt x="530" y="749"/>
                  </a:lnTo>
                  <a:lnTo>
                    <a:pt x="530" y="749"/>
                  </a:lnTo>
                  <a:lnTo>
                    <a:pt x="530" y="749"/>
                  </a:lnTo>
                  <a:lnTo>
                    <a:pt x="532" y="749"/>
                  </a:lnTo>
                  <a:lnTo>
                    <a:pt x="535" y="749"/>
                  </a:lnTo>
                  <a:lnTo>
                    <a:pt x="535" y="749"/>
                  </a:lnTo>
                  <a:lnTo>
                    <a:pt x="535" y="752"/>
                  </a:lnTo>
                  <a:lnTo>
                    <a:pt x="535" y="752"/>
                  </a:lnTo>
                  <a:lnTo>
                    <a:pt x="537" y="752"/>
                  </a:lnTo>
                  <a:lnTo>
                    <a:pt x="540" y="749"/>
                  </a:lnTo>
                  <a:lnTo>
                    <a:pt x="540" y="749"/>
                  </a:lnTo>
                  <a:lnTo>
                    <a:pt x="540" y="749"/>
                  </a:lnTo>
                  <a:lnTo>
                    <a:pt x="540" y="749"/>
                  </a:lnTo>
                  <a:lnTo>
                    <a:pt x="540" y="749"/>
                  </a:lnTo>
                  <a:lnTo>
                    <a:pt x="540" y="747"/>
                  </a:lnTo>
                  <a:close/>
                  <a:moveTo>
                    <a:pt x="570" y="757"/>
                  </a:moveTo>
                  <a:lnTo>
                    <a:pt x="570" y="757"/>
                  </a:lnTo>
                  <a:lnTo>
                    <a:pt x="570" y="757"/>
                  </a:lnTo>
                  <a:lnTo>
                    <a:pt x="568" y="757"/>
                  </a:lnTo>
                  <a:lnTo>
                    <a:pt x="568" y="754"/>
                  </a:lnTo>
                  <a:lnTo>
                    <a:pt x="568" y="754"/>
                  </a:lnTo>
                  <a:lnTo>
                    <a:pt x="568" y="754"/>
                  </a:lnTo>
                  <a:lnTo>
                    <a:pt x="568" y="754"/>
                  </a:lnTo>
                  <a:lnTo>
                    <a:pt x="566" y="754"/>
                  </a:lnTo>
                  <a:lnTo>
                    <a:pt x="566" y="754"/>
                  </a:lnTo>
                  <a:lnTo>
                    <a:pt x="563" y="754"/>
                  </a:lnTo>
                  <a:lnTo>
                    <a:pt x="563" y="754"/>
                  </a:lnTo>
                  <a:lnTo>
                    <a:pt x="563" y="754"/>
                  </a:lnTo>
                  <a:lnTo>
                    <a:pt x="563" y="752"/>
                  </a:lnTo>
                  <a:lnTo>
                    <a:pt x="561" y="752"/>
                  </a:lnTo>
                  <a:lnTo>
                    <a:pt x="561" y="752"/>
                  </a:lnTo>
                  <a:lnTo>
                    <a:pt x="561" y="752"/>
                  </a:lnTo>
                  <a:lnTo>
                    <a:pt x="559" y="754"/>
                  </a:lnTo>
                  <a:lnTo>
                    <a:pt x="561" y="754"/>
                  </a:lnTo>
                  <a:lnTo>
                    <a:pt x="561" y="754"/>
                  </a:lnTo>
                  <a:lnTo>
                    <a:pt x="561" y="757"/>
                  </a:lnTo>
                  <a:lnTo>
                    <a:pt x="561" y="757"/>
                  </a:lnTo>
                  <a:lnTo>
                    <a:pt x="561" y="757"/>
                  </a:lnTo>
                  <a:lnTo>
                    <a:pt x="561" y="757"/>
                  </a:lnTo>
                  <a:lnTo>
                    <a:pt x="561" y="757"/>
                  </a:lnTo>
                  <a:lnTo>
                    <a:pt x="563" y="757"/>
                  </a:lnTo>
                  <a:lnTo>
                    <a:pt x="563" y="757"/>
                  </a:lnTo>
                  <a:lnTo>
                    <a:pt x="566" y="759"/>
                  </a:lnTo>
                  <a:lnTo>
                    <a:pt x="566" y="759"/>
                  </a:lnTo>
                  <a:lnTo>
                    <a:pt x="566" y="761"/>
                  </a:lnTo>
                  <a:lnTo>
                    <a:pt x="566" y="761"/>
                  </a:lnTo>
                  <a:lnTo>
                    <a:pt x="566" y="761"/>
                  </a:lnTo>
                  <a:lnTo>
                    <a:pt x="568" y="759"/>
                  </a:lnTo>
                  <a:lnTo>
                    <a:pt x="568" y="759"/>
                  </a:lnTo>
                  <a:lnTo>
                    <a:pt x="568" y="759"/>
                  </a:lnTo>
                  <a:lnTo>
                    <a:pt x="568" y="759"/>
                  </a:lnTo>
                  <a:lnTo>
                    <a:pt x="568" y="759"/>
                  </a:lnTo>
                  <a:lnTo>
                    <a:pt x="570" y="759"/>
                  </a:lnTo>
                  <a:lnTo>
                    <a:pt x="570" y="759"/>
                  </a:lnTo>
                  <a:lnTo>
                    <a:pt x="570" y="759"/>
                  </a:lnTo>
                  <a:lnTo>
                    <a:pt x="570" y="757"/>
                  </a:lnTo>
                  <a:lnTo>
                    <a:pt x="570" y="757"/>
                  </a:lnTo>
                  <a:lnTo>
                    <a:pt x="570" y="757"/>
                  </a:lnTo>
                  <a:lnTo>
                    <a:pt x="570" y="757"/>
                  </a:lnTo>
                  <a:lnTo>
                    <a:pt x="570" y="757"/>
                  </a:lnTo>
                  <a:close/>
                  <a:moveTo>
                    <a:pt x="556" y="752"/>
                  </a:moveTo>
                  <a:lnTo>
                    <a:pt x="556" y="752"/>
                  </a:lnTo>
                  <a:lnTo>
                    <a:pt x="556" y="752"/>
                  </a:lnTo>
                  <a:lnTo>
                    <a:pt x="554" y="752"/>
                  </a:lnTo>
                  <a:lnTo>
                    <a:pt x="554" y="752"/>
                  </a:lnTo>
                  <a:lnTo>
                    <a:pt x="554" y="752"/>
                  </a:lnTo>
                  <a:lnTo>
                    <a:pt x="554" y="752"/>
                  </a:lnTo>
                  <a:lnTo>
                    <a:pt x="554" y="752"/>
                  </a:lnTo>
                  <a:lnTo>
                    <a:pt x="554" y="752"/>
                  </a:lnTo>
                  <a:lnTo>
                    <a:pt x="551" y="754"/>
                  </a:lnTo>
                  <a:lnTo>
                    <a:pt x="554" y="754"/>
                  </a:lnTo>
                  <a:lnTo>
                    <a:pt x="556" y="757"/>
                  </a:lnTo>
                  <a:lnTo>
                    <a:pt x="556" y="757"/>
                  </a:lnTo>
                  <a:lnTo>
                    <a:pt x="556" y="757"/>
                  </a:lnTo>
                  <a:lnTo>
                    <a:pt x="556" y="754"/>
                  </a:lnTo>
                  <a:lnTo>
                    <a:pt x="556" y="754"/>
                  </a:lnTo>
                  <a:lnTo>
                    <a:pt x="556" y="754"/>
                  </a:lnTo>
                  <a:lnTo>
                    <a:pt x="556" y="754"/>
                  </a:lnTo>
                  <a:lnTo>
                    <a:pt x="556" y="752"/>
                  </a:lnTo>
                  <a:close/>
                  <a:moveTo>
                    <a:pt x="516" y="740"/>
                  </a:moveTo>
                  <a:lnTo>
                    <a:pt x="514" y="742"/>
                  </a:lnTo>
                  <a:lnTo>
                    <a:pt x="514" y="742"/>
                  </a:lnTo>
                  <a:lnTo>
                    <a:pt x="514" y="745"/>
                  </a:lnTo>
                  <a:lnTo>
                    <a:pt x="516" y="745"/>
                  </a:lnTo>
                  <a:lnTo>
                    <a:pt x="516" y="745"/>
                  </a:lnTo>
                  <a:lnTo>
                    <a:pt x="516" y="745"/>
                  </a:lnTo>
                  <a:lnTo>
                    <a:pt x="516" y="745"/>
                  </a:lnTo>
                  <a:lnTo>
                    <a:pt x="518" y="742"/>
                  </a:lnTo>
                  <a:lnTo>
                    <a:pt x="518" y="742"/>
                  </a:lnTo>
                  <a:lnTo>
                    <a:pt x="516" y="740"/>
                  </a:lnTo>
                  <a:lnTo>
                    <a:pt x="516" y="740"/>
                  </a:lnTo>
                  <a:close/>
                  <a:moveTo>
                    <a:pt x="561" y="752"/>
                  </a:moveTo>
                  <a:lnTo>
                    <a:pt x="561" y="749"/>
                  </a:lnTo>
                  <a:lnTo>
                    <a:pt x="563" y="749"/>
                  </a:lnTo>
                  <a:lnTo>
                    <a:pt x="563" y="749"/>
                  </a:lnTo>
                  <a:lnTo>
                    <a:pt x="561" y="747"/>
                  </a:lnTo>
                  <a:lnTo>
                    <a:pt x="561" y="747"/>
                  </a:lnTo>
                  <a:lnTo>
                    <a:pt x="561" y="747"/>
                  </a:lnTo>
                  <a:lnTo>
                    <a:pt x="561" y="747"/>
                  </a:lnTo>
                  <a:lnTo>
                    <a:pt x="559" y="747"/>
                  </a:lnTo>
                  <a:lnTo>
                    <a:pt x="559" y="747"/>
                  </a:lnTo>
                  <a:lnTo>
                    <a:pt x="559" y="749"/>
                  </a:lnTo>
                  <a:lnTo>
                    <a:pt x="559" y="749"/>
                  </a:lnTo>
                  <a:lnTo>
                    <a:pt x="559" y="749"/>
                  </a:lnTo>
                  <a:lnTo>
                    <a:pt x="559" y="749"/>
                  </a:lnTo>
                  <a:lnTo>
                    <a:pt x="561" y="752"/>
                  </a:lnTo>
                  <a:close/>
                  <a:moveTo>
                    <a:pt x="637" y="771"/>
                  </a:moveTo>
                  <a:lnTo>
                    <a:pt x="637" y="768"/>
                  </a:lnTo>
                  <a:lnTo>
                    <a:pt x="637" y="768"/>
                  </a:lnTo>
                  <a:lnTo>
                    <a:pt x="637" y="768"/>
                  </a:lnTo>
                  <a:lnTo>
                    <a:pt x="637" y="768"/>
                  </a:lnTo>
                  <a:lnTo>
                    <a:pt x="637" y="768"/>
                  </a:lnTo>
                  <a:lnTo>
                    <a:pt x="639" y="766"/>
                  </a:lnTo>
                  <a:lnTo>
                    <a:pt x="639" y="766"/>
                  </a:lnTo>
                  <a:lnTo>
                    <a:pt x="641" y="766"/>
                  </a:lnTo>
                  <a:lnTo>
                    <a:pt x="641" y="764"/>
                  </a:lnTo>
                  <a:lnTo>
                    <a:pt x="641" y="764"/>
                  </a:lnTo>
                  <a:lnTo>
                    <a:pt x="639" y="764"/>
                  </a:lnTo>
                  <a:lnTo>
                    <a:pt x="639" y="761"/>
                  </a:lnTo>
                  <a:lnTo>
                    <a:pt x="639" y="761"/>
                  </a:lnTo>
                  <a:lnTo>
                    <a:pt x="637" y="759"/>
                  </a:lnTo>
                  <a:lnTo>
                    <a:pt x="637" y="759"/>
                  </a:lnTo>
                  <a:lnTo>
                    <a:pt x="637" y="757"/>
                  </a:lnTo>
                  <a:lnTo>
                    <a:pt x="634" y="757"/>
                  </a:lnTo>
                  <a:lnTo>
                    <a:pt x="634" y="757"/>
                  </a:lnTo>
                  <a:lnTo>
                    <a:pt x="634" y="757"/>
                  </a:lnTo>
                  <a:lnTo>
                    <a:pt x="632" y="757"/>
                  </a:lnTo>
                  <a:lnTo>
                    <a:pt x="629" y="757"/>
                  </a:lnTo>
                  <a:lnTo>
                    <a:pt x="629" y="757"/>
                  </a:lnTo>
                  <a:lnTo>
                    <a:pt x="627" y="757"/>
                  </a:lnTo>
                  <a:lnTo>
                    <a:pt x="625" y="757"/>
                  </a:lnTo>
                  <a:lnTo>
                    <a:pt x="625" y="757"/>
                  </a:lnTo>
                  <a:lnTo>
                    <a:pt x="625" y="757"/>
                  </a:lnTo>
                  <a:lnTo>
                    <a:pt x="622" y="757"/>
                  </a:lnTo>
                  <a:lnTo>
                    <a:pt x="622" y="759"/>
                  </a:lnTo>
                  <a:lnTo>
                    <a:pt x="622" y="759"/>
                  </a:lnTo>
                  <a:lnTo>
                    <a:pt x="622" y="759"/>
                  </a:lnTo>
                  <a:lnTo>
                    <a:pt x="620" y="759"/>
                  </a:lnTo>
                  <a:lnTo>
                    <a:pt x="620" y="761"/>
                  </a:lnTo>
                  <a:lnTo>
                    <a:pt x="620" y="761"/>
                  </a:lnTo>
                  <a:lnTo>
                    <a:pt x="620" y="761"/>
                  </a:lnTo>
                  <a:lnTo>
                    <a:pt x="618" y="761"/>
                  </a:lnTo>
                  <a:lnTo>
                    <a:pt x="618" y="761"/>
                  </a:lnTo>
                  <a:lnTo>
                    <a:pt x="618" y="761"/>
                  </a:lnTo>
                  <a:lnTo>
                    <a:pt x="620" y="761"/>
                  </a:lnTo>
                  <a:lnTo>
                    <a:pt x="620" y="764"/>
                  </a:lnTo>
                  <a:lnTo>
                    <a:pt x="620" y="764"/>
                  </a:lnTo>
                  <a:lnTo>
                    <a:pt x="620" y="764"/>
                  </a:lnTo>
                  <a:lnTo>
                    <a:pt x="620" y="764"/>
                  </a:lnTo>
                  <a:lnTo>
                    <a:pt x="620" y="764"/>
                  </a:lnTo>
                  <a:lnTo>
                    <a:pt x="618" y="766"/>
                  </a:lnTo>
                  <a:lnTo>
                    <a:pt x="618" y="766"/>
                  </a:lnTo>
                  <a:lnTo>
                    <a:pt x="618" y="766"/>
                  </a:lnTo>
                  <a:lnTo>
                    <a:pt x="615" y="764"/>
                  </a:lnTo>
                  <a:lnTo>
                    <a:pt x="615" y="764"/>
                  </a:lnTo>
                  <a:lnTo>
                    <a:pt x="615" y="764"/>
                  </a:lnTo>
                  <a:lnTo>
                    <a:pt x="615" y="764"/>
                  </a:lnTo>
                  <a:lnTo>
                    <a:pt x="615" y="764"/>
                  </a:lnTo>
                  <a:lnTo>
                    <a:pt x="615" y="764"/>
                  </a:lnTo>
                  <a:lnTo>
                    <a:pt x="615" y="764"/>
                  </a:lnTo>
                  <a:lnTo>
                    <a:pt x="615" y="764"/>
                  </a:lnTo>
                  <a:lnTo>
                    <a:pt x="613" y="764"/>
                  </a:lnTo>
                  <a:lnTo>
                    <a:pt x="613" y="764"/>
                  </a:lnTo>
                  <a:lnTo>
                    <a:pt x="613" y="764"/>
                  </a:lnTo>
                  <a:lnTo>
                    <a:pt x="613" y="761"/>
                  </a:lnTo>
                  <a:lnTo>
                    <a:pt x="613" y="761"/>
                  </a:lnTo>
                  <a:lnTo>
                    <a:pt x="613" y="761"/>
                  </a:lnTo>
                  <a:lnTo>
                    <a:pt x="611" y="759"/>
                  </a:lnTo>
                  <a:lnTo>
                    <a:pt x="611" y="761"/>
                  </a:lnTo>
                  <a:lnTo>
                    <a:pt x="611" y="761"/>
                  </a:lnTo>
                  <a:lnTo>
                    <a:pt x="608" y="761"/>
                  </a:lnTo>
                  <a:lnTo>
                    <a:pt x="608" y="761"/>
                  </a:lnTo>
                  <a:lnTo>
                    <a:pt x="606" y="761"/>
                  </a:lnTo>
                  <a:lnTo>
                    <a:pt x="606" y="761"/>
                  </a:lnTo>
                  <a:lnTo>
                    <a:pt x="603" y="761"/>
                  </a:lnTo>
                  <a:lnTo>
                    <a:pt x="603" y="761"/>
                  </a:lnTo>
                  <a:lnTo>
                    <a:pt x="603" y="764"/>
                  </a:lnTo>
                  <a:lnTo>
                    <a:pt x="601" y="764"/>
                  </a:lnTo>
                  <a:lnTo>
                    <a:pt x="601" y="766"/>
                  </a:lnTo>
                  <a:lnTo>
                    <a:pt x="601" y="766"/>
                  </a:lnTo>
                  <a:lnTo>
                    <a:pt x="599" y="768"/>
                  </a:lnTo>
                  <a:lnTo>
                    <a:pt x="599" y="768"/>
                  </a:lnTo>
                  <a:lnTo>
                    <a:pt x="596" y="766"/>
                  </a:lnTo>
                  <a:lnTo>
                    <a:pt x="596" y="768"/>
                  </a:lnTo>
                  <a:lnTo>
                    <a:pt x="596" y="768"/>
                  </a:lnTo>
                  <a:lnTo>
                    <a:pt x="594" y="768"/>
                  </a:lnTo>
                  <a:lnTo>
                    <a:pt x="594" y="771"/>
                  </a:lnTo>
                  <a:lnTo>
                    <a:pt x="594" y="768"/>
                  </a:lnTo>
                  <a:lnTo>
                    <a:pt x="592" y="768"/>
                  </a:lnTo>
                  <a:lnTo>
                    <a:pt x="592" y="768"/>
                  </a:lnTo>
                  <a:lnTo>
                    <a:pt x="592" y="768"/>
                  </a:lnTo>
                  <a:lnTo>
                    <a:pt x="589" y="771"/>
                  </a:lnTo>
                  <a:lnTo>
                    <a:pt x="589" y="771"/>
                  </a:lnTo>
                  <a:lnTo>
                    <a:pt x="589" y="771"/>
                  </a:lnTo>
                  <a:lnTo>
                    <a:pt x="587" y="771"/>
                  </a:lnTo>
                  <a:lnTo>
                    <a:pt x="587" y="771"/>
                  </a:lnTo>
                  <a:lnTo>
                    <a:pt x="587" y="771"/>
                  </a:lnTo>
                  <a:lnTo>
                    <a:pt x="587" y="771"/>
                  </a:lnTo>
                  <a:lnTo>
                    <a:pt x="587" y="771"/>
                  </a:lnTo>
                  <a:lnTo>
                    <a:pt x="587" y="771"/>
                  </a:lnTo>
                  <a:lnTo>
                    <a:pt x="585" y="771"/>
                  </a:lnTo>
                  <a:lnTo>
                    <a:pt x="585" y="771"/>
                  </a:lnTo>
                  <a:lnTo>
                    <a:pt x="585" y="771"/>
                  </a:lnTo>
                  <a:lnTo>
                    <a:pt x="587" y="771"/>
                  </a:lnTo>
                  <a:lnTo>
                    <a:pt x="587" y="771"/>
                  </a:lnTo>
                  <a:lnTo>
                    <a:pt x="587" y="771"/>
                  </a:lnTo>
                  <a:lnTo>
                    <a:pt x="587" y="771"/>
                  </a:lnTo>
                  <a:lnTo>
                    <a:pt x="589" y="771"/>
                  </a:lnTo>
                  <a:lnTo>
                    <a:pt x="592" y="771"/>
                  </a:lnTo>
                  <a:lnTo>
                    <a:pt x="592" y="771"/>
                  </a:lnTo>
                  <a:lnTo>
                    <a:pt x="592" y="771"/>
                  </a:lnTo>
                  <a:lnTo>
                    <a:pt x="594" y="771"/>
                  </a:lnTo>
                  <a:lnTo>
                    <a:pt x="594" y="771"/>
                  </a:lnTo>
                  <a:lnTo>
                    <a:pt x="594" y="771"/>
                  </a:lnTo>
                  <a:lnTo>
                    <a:pt x="594" y="773"/>
                  </a:lnTo>
                  <a:lnTo>
                    <a:pt x="596" y="771"/>
                  </a:lnTo>
                  <a:lnTo>
                    <a:pt x="596" y="773"/>
                  </a:lnTo>
                  <a:lnTo>
                    <a:pt x="596" y="773"/>
                  </a:lnTo>
                  <a:lnTo>
                    <a:pt x="596" y="773"/>
                  </a:lnTo>
                  <a:lnTo>
                    <a:pt x="596" y="773"/>
                  </a:lnTo>
                  <a:lnTo>
                    <a:pt x="596" y="773"/>
                  </a:lnTo>
                  <a:lnTo>
                    <a:pt x="596" y="771"/>
                  </a:lnTo>
                  <a:lnTo>
                    <a:pt x="596" y="771"/>
                  </a:lnTo>
                  <a:lnTo>
                    <a:pt x="599" y="771"/>
                  </a:lnTo>
                  <a:lnTo>
                    <a:pt x="601" y="773"/>
                  </a:lnTo>
                  <a:lnTo>
                    <a:pt x="601" y="773"/>
                  </a:lnTo>
                  <a:lnTo>
                    <a:pt x="601" y="773"/>
                  </a:lnTo>
                  <a:lnTo>
                    <a:pt x="601" y="773"/>
                  </a:lnTo>
                  <a:lnTo>
                    <a:pt x="603" y="773"/>
                  </a:lnTo>
                  <a:lnTo>
                    <a:pt x="603" y="771"/>
                  </a:lnTo>
                  <a:lnTo>
                    <a:pt x="606" y="771"/>
                  </a:lnTo>
                  <a:lnTo>
                    <a:pt x="606" y="773"/>
                  </a:lnTo>
                  <a:lnTo>
                    <a:pt x="608" y="773"/>
                  </a:lnTo>
                  <a:lnTo>
                    <a:pt x="608" y="773"/>
                  </a:lnTo>
                  <a:lnTo>
                    <a:pt x="608" y="773"/>
                  </a:lnTo>
                  <a:lnTo>
                    <a:pt x="611" y="771"/>
                  </a:lnTo>
                  <a:lnTo>
                    <a:pt x="613" y="771"/>
                  </a:lnTo>
                  <a:lnTo>
                    <a:pt x="613" y="771"/>
                  </a:lnTo>
                  <a:lnTo>
                    <a:pt x="613" y="771"/>
                  </a:lnTo>
                  <a:lnTo>
                    <a:pt x="615" y="768"/>
                  </a:lnTo>
                  <a:lnTo>
                    <a:pt x="615" y="771"/>
                  </a:lnTo>
                  <a:lnTo>
                    <a:pt x="615" y="771"/>
                  </a:lnTo>
                  <a:lnTo>
                    <a:pt x="615" y="768"/>
                  </a:lnTo>
                  <a:lnTo>
                    <a:pt x="618" y="768"/>
                  </a:lnTo>
                  <a:lnTo>
                    <a:pt x="618" y="768"/>
                  </a:lnTo>
                  <a:lnTo>
                    <a:pt x="618" y="768"/>
                  </a:lnTo>
                  <a:lnTo>
                    <a:pt x="618" y="768"/>
                  </a:lnTo>
                  <a:lnTo>
                    <a:pt x="620" y="768"/>
                  </a:lnTo>
                  <a:lnTo>
                    <a:pt x="620" y="768"/>
                  </a:lnTo>
                  <a:lnTo>
                    <a:pt x="620" y="768"/>
                  </a:lnTo>
                  <a:lnTo>
                    <a:pt x="622" y="768"/>
                  </a:lnTo>
                  <a:lnTo>
                    <a:pt x="622" y="768"/>
                  </a:lnTo>
                  <a:lnTo>
                    <a:pt x="625" y="768"/>
                  </a:lnTo>
                  <a:lnTo>
                    <a:pt x="632" y="768"/>
                  </a:lnTo>
                  <a:lnTo>
                    <a:pt x="632" y="768"/>
                  </a:lnTo>
                  <a:lnTo>
                    <a:pt x="632" y="771"/>
                  </a:lnTo>
                  <a:lnTo>
                    <a:pt x="634" y="771"/>
                  </a:lnTo>
                  <a:lnTo>
                    <a:pt x="637" y="771"/>
                  </a:lnTo>
                  <a:close/>
                  <a:moveTo>
                    <a:pt x="9" y="2294"/>
                  </a:moveTo>
                  <a:lnTo>
                    <a:pt x="9" y="2294"/>
                  </a:lnTo>
                  <a:lnTo>
                    <a:pt x="9" y="2294"/>
                  </a:lnTo>
                  <a:lnTo>
                    <a:pt x="9" y="2297"/>
                  </a:lnTo>
                  <a:lnTo>
                    <a:pt x="9" y="2297"/>
                  </a:lnTo>
                  <a:lnTo>
                    <a:pt x="7" y="2297"/>
                  </a:lnTo>
                  <a:lnTo>
                    <a:pt x="5" y="2297"/>
                  </a:lnTo>
                  <a:lnTo>
                    <a:pt x="5" y="2297"/>
                  </a:lnTo>
                  <a:lnTo>
                    <a:pt x="2" y="2297"/>
                  </a:lnTo>
                  <a:lnTo>
                    <a:pt x="0" y="2299"/>
                  </a:lnTo>
                  <a:lnTo>
                    <a:pt x="0" y="2299"/>
                  </a:lnTo>
                  <a:lnTo>
                    <a:pt x="0" y="2301"/>
                  </a:lnTo>
                  <a:lnTo>
                    <a:pt x="0" y="2301"/>
                  </a:lnTo>
                  <a:lnTo>
                    <a:pt x="0" y="2301"/>
                  </a:lnTo>
                  <a:lnTo>
                    <a:pt x="0" y="2304"/>
                  </a:lnTo>
                  <a:lnTo>
                    <a:pt x="2" y="2301"/>
                  </a:lnTo>
                  <a:lnTo>
                    <a:pt x="2" y="2301"/>
                  </a:lnTo>
                  <a:lnTo>
                    <a:pt x="2" y="2301"/>
                  </a:lnTo>
                  <a:lnTo>
                    <a:pt x="5" y="2301"/>
                  </a:lnTo>
                  <a:lnTo>
                    <a:pt x="5" y="2301"/>
                  </a:lnTo>
                  <a:lnTo>
                    <a:pt x="7" y="2301"/>
                  </a:lnTo>
                  <a:lnTo>
                    <a:pt x="7" y="2301"/>
                  </a:lnTo>
                  <a:lnTo>
                    <a:pt x="7" y="2301"/>
                  </a:lnTo>
                  <a:lnTo>
                    <a:pt x="9" y="2299"/>
                  </a:lnTo>
                  <a:lnTo>
                    <a:pt x="9" y="2299"/>
                  </a:lnTo>
                  <a:lnTo>
                    <a:pt x="9" y="2299"/>
                  </a:lnTo>
                  <a:lnTo>
                    <a:pt x="12" y="2297"/>
                  </a:lnTo>
                  <a:lnTo>
                    <a:pt x="12" y="2297"/>
                  </a:lnTo>
                  <a:lnTo>
                    <a:pt x="12" y="2297"/>
                  </a:lnTo>
                  <a:lnTo>
                    <a:pt x="12" y="2297"/>
                  </a:lnTo>
                  <a:lnTo>
                    <a:pt x="9" y="2294"/>
                  </a:lnTo>
                  <a:close/>
                  <a:moveTo>
                    <a:pt x="125" y="369"/>
                  </a:moveTo>
                  <a:lnTo>
                    <a:pt x="125" y="371"/>
                  </a:lnTo>
                  <a:lnTo>
                    <a:pt x="125" y="371"/>
                  </a:lnTo>
                  <a:lnTo>
                    <a:pt x="128" y="371"/>
                  </a:lnTo>
                  <a:lnTo>
                    <a:pt x="128" y="371"/>
                  </a:lnTo>
                  <a:lnTo>
                    <a:pt x="128" y="373"/>
                  </a:lnTo>
                  <a:lnTo>
                    <a:pt x="128" y="373"/>
                  </a:lnTo>
                  <a:lnTo>
                    <a:pt x="125" y="373"/>
                  </a:lnTo>
                  <a:lnTo>
                    <a:pt x="125" y="373"/>
                  </a:lnTo>
                  <a:lnTo>
                    <a:pt x="125" y="373"/>
                  </a:lnTo>
                  <a:lnTo>
                    <a:pt x="128" y="376"/>
                  </a:lnTo>
                  <a:lnTo>
                    <a:pt x="128" y="376"/>
                  </a:lnTo>
                  <a:lnTo>
                    <a:pt x="128" y="376"/>
                  </a:lnTo>
                  <a:lnTo>
                    <a:pt x="130" y="378"/>
                  </a:lnTo>
                  <a:lnTo>
                    <a:pt x="130" y="378"/>
                  </a:lnTo>
                  <a:lnTo>
                    <a:pt x="130" y="378"/>
                  </a:lnTo>
                  <a:lnTo>
                    <a:pt x="130" y="378"/>
                  </a:lnTo>
                  <a:lnTo>
                    <a:pt x="128" y="378"/>
                  </a:lnTo>
                  <a:lnTo>
                    <a:pt x="128" y="380"/>
                  </a:lnTo>
                  <a:lnTo>
                    <a:pt x="125" y="380"/>
                  </a:lnTo>
                  <a:lnTo>
                    <a:pt x="125" y="380"/>
                  </a:lnTo>
                  <a:lnTo>
                    <a:pt x="125" y="380"/>
                  </a:lnTo>
                  <a:lnTo>
                    <a:pt x="125" y="380"/>
                  </a:lnTo>
                  <a:lnTo>
                    <a:pt x="125" y="380"/>
                  </a:lnTo>
                  <a:lnTo>
                    <a:pt x="125" y="383"/>
                  </a:lnTo>
                  <a:lnTo>
                    <a:pt x="125" y="383"/>
                  </a:lnTo>
                  <a:lnTo>
                    <a:pt x="128" y="380"/>
                  </a:lnTo>
                  <a:lnTo>
                    <a:pt x="128" y="380"/>
                  </a:lnTo>
                  <a:lnTo>
                    <a:pt x="128" y="383"/>
                  </a:lnTo>
                  <a:lnTo>
                    <a:pt x="128" y="383"/>
                  </a:lnTo>
                  <a:lnTo>
                    <a:pt x="128" y="383"/>
                  </a:lnTo>
                  <a:lnTo>
                    <a:pt x="128" y="383"/>
                  </a:lnTo>
                  <a:lnTo>
                    <a:pt x="128" y="383"/>
                  </a:lnTo>
                  <a:lnTo>
                    <a:pt x="128" y="383"/>
                  </a:lnTo>
                  <a:lnTo>
                    <a:pt x="128" y="385"/>
                  </a:lnTo>
                  <a:lnTo>
                    <a:pt x="128" y="385"/>
                  </a:lnTo>
                  <a:lnTo>
                    <a:pt x="128" y="385"/>
                  </a:lnTo>
                  <a:lnTo>
                    <a:pt x="128" y="385"/>
                  </a:lnTo>
                  <a:lnTo>
                    <a:pt x="128" y="385"/>
                  </a:lnTo>
                  <a:lnTo>
                    <a:pt x="130" y="385"/>
                  </a:lnTo>
                  <a:lnTo>
                    <a:pt x="133" y="385"/>
                  </a:lnTo>
                  <a:lnTo>
                    <a:pt x="133" y="385"/>
                  </a:lnTo>
                  <a:lnTo>
                    <a:pt x="133" y="385"/>
                  </a:lnTo>
                  <a:lnTo>
                    <a:pt x="135" y="385"/>
                  </a:lnTo>
                  <a:lnTo>
                    <a:pt x="135" y="388"/>
                  </a:lnTo>
                  <a:lnTo>
                    <a:pt x="135" y="388"/>
                  </a:lnTo>
                  <a:lnTo>
                    <a:pt x="135" y="388"/>
                  </a:lnTo>
                  <a:lnTo>
                    <a:pt x="135" y="390"/>
                  </a:lnTo>
                  <a:lnTo>
                    <a:pt x="135" y="390"/>
                  </a:lnTo>
                  <a:lnTo>
                    <a:pt x="135" y="390"/>
                  </a:lnTo>
                  <a:lnTo>
                    <a:pt x="135" y="390"/>
                  </a:lnTo>
                  <a:lnTo>
                    <a:pt x="135" y="390"/>
                  </a:lnTo>
                  <a:lnTo>
                    <a:pt x="135" y="390"/>
                  </a:lnTo>
                  <a:lnTo>
                    <a:pt x="137" y="390"/>
                  </a:lnTo>
                  <a:lnTo>
                    <a:pt x="137" y="390"/>
                  </a:lnTo>
                  <a:lnTo>
                    <a:pt x="137" y="390"/>
                  </a:lnTo>
                  <a:lnTo>
                    <a:pt x="137" y="390"/>
                  </a:lnTo>
                  <a:lnTo>
                    <a:pt x="137" y="390"/>
                  </a:lnTo>
                  <a:lnTo>
                    <a:pt x="137" y="390"/>
                  </a:lnTo>
                  <a:lnTo>
                    <a:pt x="140" y="390"/>
                  </a:lnTo>
                  <a:lnTo>
                    <a:pt x="140" y="390"/>
                  </a:lnTo>
                  <a:lnTo>
                    <a:pt x="140" y="390"/>
                  </a:lnTo>
                  <a:lnTo>
                    <a:pt x="140" y="392"/>
                  </a:lnTo>
                  <a:lnTo>
                    <a:pt x="140" y="392"/>
                  </a:lnTo>
                  <a:lnTo>
                    <a:pt x="140" y="392"/>
                  </a:lnTo>
                  <a:lnTo>
                    <a:pt x="140" y="392"/>
                  </a:lnTo>
                  <a:lnTo>
                    <a:pt x="142" y="392"/>
                  </a:lnTo>
                  <a:lnTo>
                    <a:pt x="142" y="395"/>
                  </a:lnTo>
                  <a:lnTo>
                    <a:pt x="142" y="395"/>
                  </a:lnTo>
                  <a:lnTo>
                    <a:pt x="144" y="395"/>
                  </a:lnTo>
                  <a:lnTo>
                    <a:pt x="142" y="392"/>
                  </a:lnTo>
                  <a:lnTo>
                    <a:pt x="142" y="392"/>
                  </a:lnTo>
                  <a:lnTo>
                    <a:pt x="140" y="390"/>
                  </a:lnTo>
                  <a:lnTo>
                    <a:pt x="140" y="390"/>
                  </a:lnTo>
                  <a:lnTo>
                    <a:pt x="142" y="390"/>
                  </a:lnTo>
                  <a:lnTo>
                    <a:pt x="142" y="390"/>
                  </a:lnTo>
                  <a:lnTo>
                    <a:pt x="142" y="390"/>
                  </a:lnTo>
                  <a:lnTo>
                    <a:pt x="144" y="388"/>
                  </a:lnTo>
                  <a:lnTo>
                    <a:pt x="144" y="388"/>
                  </a:lnTo>
                  <a:lnTo>
                    <a:pt x="142" y="388"/>
                  </a:lnTo>
                  <a:lnTo>
                    <a:pt x="142" y="385"/>
                  </a:lnTo>
                  <a:lnTo>
                    <a:pt x="142" y="385"/>
                  </a:lnTo>
                  <a:lnTo>
                    <a:pt x="140" y="385"/>
                  </a:lnTo>
                  <a:lnTo>
                    <a:pt x="140" y="385"/>
                  </a:lnTo>
                  <a:lnTo>
                    <a:pt x="140" y="385"/>
                  </a:lnTo>
                  <a:lnTo>
                    <a:pt x="140" y="385"/>
                  </a:lnTo>
                  <a:lnTo>
                    <a:pt x="140" y="383"/>
                  </a:lnTo>
                  <a:lnTo>
                    <a:pt x="142" y="383"/>
                  </a:lnTo>
                  <a:lnTo>
                    <a:pt x="142" y="383"/>
                  </a:lnTo>
                  <a:lnTo>
                    <a:pt x="142" y="383"/>
                  </a:lnTo>
                  <a:lnTo>
                    <a:pt x="142" y="383"/>
                  </a:lnTo>
                  <a:lnTo>
                    <a:pt x="142" y="380"/>
                  </a:lnTo>
                  <a:lnTo>
                    <a:pt x="142" y="380"/>
                  </a:lnTo>
                  <a:lnTo>
                    <a:pt x="140" y="378"/>
                  </a:lnTo>
                  <a:lnTo>
                    <a:pt x="140" y="378"/>
                  </a:lnTo>
                  <a:lnTo>
                    <a:pt x="137" y="378"/>
                  </a:lnTo>
                  <a:lnTo>
                    <a:pt x="137" y="378"/>
                  </a:lnTo>
                  <a:lnTo>
                    <a:pt x="137" y="378"/>
                  </a:lnTo>
                  <a:lnTo>
                    <a:pt x="137" y="376"/>
                  </a:lnTo>
                  <a:lnTo>
                    <a:pt x="137" y="376"/>
                  </a:lnTo>
                  <a:lnTo>
                    <a:pt x="137" y="376"/>
                  </a:lnTo>
                  <a:lnTo>
                    <a:pt x="137" y="376"/>
                  </a:lnTo>
                  <a:lnTo>
                    <a:pt x="137" y="376"/>
                  </a:lnTo>
                  <a:lnTo>
                    <a:pt x="135" y="371"/>
                  </a:lnTo>
                  <a:lnTo>
                    <a:pt x="135" y="371"/>
                  </a:lnTo>
                  <a:lnTo>
                    <a:pt x="133" y="371"/>
                  </a:lnTo>
                  <a:lnTo>
                    <a:pt x="133" y="371"/>
                  </a:lnTo>
                  <a:lnTo>
                    <a:pt x="133" y="369"/>
                  </a:lnTo>
                  <a:lnTo>
                    <a:pt x="128" y="369"/>
                  </a:lnTo>
                  <a:lnTo>
                    <a:pt x="128" y="369"/>
                  </a:lnTo>
                  <a:lnTo>
                    <a:pt x="128" y="369"/>
                  </a:lnTo>
                  <a:lnTo>
                    <a:pt x="123" y="369"/>
                  </a:lnTo>
                  <a:lnTo>
                    <a:pt x="123" y="369"/>
                  </a:lnTo>
                  <a:lnTo>
                    <a:pt x="125" y="369"/>
                  </a:lnTo>
                  <a:close/>
                  <a:moveTo>
                    <a:pt x="47" y="2306"/>
                  </a:moveTo>
                  <a:lnTo>
                    <a:pt x="47" y="2304"/>
                  </a:lnTo>
                  <a:lnTo>
                    <a:pt x="47" y="2304"/>
                  </a:lnTo>
                  <a:lnTo>
                    <a:pt x="45" y="2304"/>
                  </a:lnTo>
                  <a:lnTo>
                    <a:pt x="45" y="2304"/>
                  </a:lnTo>
                  <a:lnTo>
                    <a:pt x="45" y="2301"/>
                  </a:lnTo>
                  <a:lnTo>
                    <a:pt x="45" y="2301"/>
                  </a:lnTo>
                  <a:lnTo>
                    <a:pt x="43" y="2301"/>
                  </a:lnTo>
                  <a:lnTo>
                    <a:pt x="43" y="2301"/>
                  </a:lnTo>
                  <a:lnTo>
                    <a:pt x="43" y="2301"/>
                  </a:lnTo>
                  <a:lnTo>
                    <a:pt x="43" y="2301"/>
                  </a:lnTo>
                  <a:lnTo>
                    <a:pt x="43" y="2301"/>
                  </a:lnTo>
                  <a:lnTo>
                    <a:pt x="40" y="2301"/>
                  </a:lnTo>
                  <a:lnTo>
                    <a:pt x="40" y="2301"/>
                  </a:lnTo>
                  <a:lnTo>
                    <a:pt x="40" y="2301"/>
                  </a:lnTo>
                  <a:lnTo>
                    <a:pt x="40" y="2301"/>
                  </a:lnTo>
                  <a:lnTo>
                    <a:pt x="40" y="2301"/>
                  </a:lnTo>
                  <a:lnTo>
                    <a:pt x="40" y="2299"/>
                  </a:lnTo>
                  <a:lnTo>
                    <a:pt x="38" y="2299"/>
                  </a:lnTo>
                  <a:lnTo>
                    <a:pt x="38" y="2299"/>
                  </a:lnTo>
                  <a:lnTo>
                    <a:pt x="38" y="2299"/>
                  </a:lnTo>
                  <a:lnTo>
                    <a:pt x="38" y="2299"/>
                  </a:lnTo>
                  <a:lnTo>
                    <a:pt x="38" y="2299"/>
                  </a:lnTo>
                  <a:lnTo>
                    <a:pt x="38" y="2299"/>
                  </a:lnTo>
                  <a:lnTo>
                    <a:pt x="38" y="2299"/>
                  </a:lnTo>
                  <a:lnTo>
                    <a:pt x="36" y="2299"/>
                  </a:lnTo>
                  <a:lnTo>
                    <a:pt x="36" y="2299"/>
                  </a:lnTo>
                  <a:lnTo>
                    <a:pt x="33" y="2299"/>
                  </a:lnTo>
                  <a:lnTo>
                    <a:pt x="33" y="2299"/>
                  </a:lnTo>
                  <a:lnTo>
                    <a:pt x="31" y="2299"/>
                  </a:lnTo>
                  <a:lnTo>
                    <a:pt x="31" y="2299"/>
                  </a:lnTo>
                  <a:lnTo>
                    <a:pt x="28" y="2299"/>
                  </a:lnTo>
                  <a:lnTo>
                    <a:pt x="28" y="2299"/>
                  </a:lnTo>
                  <a:lnTo>
                    <a:pt x="28" y="2299"/>
                  </a:lnTo>
                  <a:lnTo>
                    <a:pt x="28" y="2299"/>
                  </a:lnTo>
                  <a:lnTo>
                    <a:pt x="28" y="2299"/>
                  </a:lnTo>
                  <a:lnTo>
                    <a:pt x="28" y="2299"/>
                  </a:lnTo>
                  <a:lnTo>
                    <a:pt x="26" y="2299"/>
                  </a:lnTo>
                  <a:lnTo>
                    <a:pt x="26" y="2301"/>
                  </a:lnTo>
                  <a:lnTo>
                    <a:pt x="24" y="2301"/>
                  </a:lnTo>
                  <a:lnTo>
                    <a:pt x="24" y="2301"/>
                  </a:lnTo>
                  <a:lnTo>
                    <a:pt x="24" y="2301"/>
                  </a:lnTo>
                  <a:lnTo>
                    <a:pt x="24" y="2301"/>
                  </a:lnTo>
                  <a:lnTo>
                    <a:pt x="24" y="2301"/>
                  </a:lnTo>
                  <a:lnTo>
                    <a:pt x="24" y="2304"/>
                  </a:lnTo>
                  <a:lnTo>
                    <a:pt x="24" y="2304"/>
                  </a:lnTo>
                  <a:lnTo>
                    <a:pt x="24" y="2304"/>
                  </a:lnTo>
                  <a:lnTo>
                    <a:pt x="24" y="2304"/>
                  </a:lnTo>
                  <a:lnTo>
                    <a:pt x="24" y="2306"/>
                  </a:lnTo>
                  <a:lnTo>
                    <a:pt x="24" y="2306"/>
                  </a:lnTo>
                  <a:lnTo>
                    <a:pt x="26" y="2306"/>
                  </a:lnTo>
                  <a:lnTo>
                    <a:pt x="26" y="2308"/>
                  </a:lnTo>
                  <a:lnTo>
                    <a:pt x="26" y="2308"/>
                  </a:lnTo>
                  <a:lnTo>
                    <a:pt x="26" y="2308"/>
                  </a:lnTo>
                  <a:lnTo>
                    <a:pt x="26" y="2308"/>
                  </a:lnTo>
                  <a:lnTo>
                    <a:pt x="26" y="2308"/>
                  </a:lnTo>
                  <a:lnTo>
                    <a:pt x="26" y="2311"/>
                  </a:lnTo>
                  <a:lnTo>
                    <a:pt x="26" y="2311"/>
                  </a:lnTo>
                  <a:lnTo>
                    <a:pt x="26" y="2311"/>
                  </a:lnTo>
                  <a:lnTo>
                    <a:pt x="26" y="2311"/>
                  </a:lnTo>
                  <a:lnTo>
                    <a:pt x="28" y="2311"/>
                  </a:lnTo>
                  <a:lnTo>
                    <a:pt x="28" y="2313"/>
                  </a:lnTo>
                  <a:lnTo>
                    <a:pt x="28" y="2313"/>
                  </a:lnTo>
                  <a:lnTo>
                    <a:pt x="28" y="2313"/>
                  </a:lnTo>
                  <a:lnTo>
                    <a:pt x="28" y="2313"/>
                  </a:lnTo>
                  <a:lnTo>
                    <a:pt x="28" y="2313"/>
                  </a:lnTo>
                  <a:lnTo>
                    <a:pt x="28" y="2313"/>
                  </a:lnTo>
                  <a:lnTo>
                    <a:pt x="31" y="2315"/>
                  </a:lnTo>
                  <a:lnTo>
                    <a:pt x="31" y="2315"/>
                  </a:lnTo>
                  <a:lnTo>
                    <a:pt x="33" y="2315"/>
                  </a:lnTo>
                  <a:lnTo>
                    <a:pt x="33" y="2318"/>
                  </a:lnTo>
                  <a:lnTo>
                    <a:pt x="33" y="2318"/>
                  </a:lnTo>
                  <a:lnTo>
                    <a:pt x="36" y="2318"/>
                  </a:lnTo>
                  <a:lnTo>
                    <a:pt x="36" y="2318"/>
                  </a:lnTo>
                  <a:lnTo>
                    <a:pt x="36" y="2318"/>
                  </a:lnTo>
                  <a:lnTo>
                    <a:pt x="36" y="2318"/>
                  </a:lnTo>
                  <a:lnTo>
                    <a:pt x="36" y="2318"/>
                  </a:lnTo>
                  <a:lnTo>
                    <a:pt x="38" y="2318"/>
                  </a:lnTo>
                  <a:lnTo>
                    <a:pt x="38" y="2315"/>
                  </a:lnTo>
                  <a:lnTo>
                    <a:pt x="38" y="2318"/>
                  </a:lnTo>
                  <a:lnTo>
                    <a:pt x="40" y="2318"/>
                  </a:lnTo>
                  <a:lnTo>
                    <a:pt x="40" y="2315"/>
                  </a:lnTo>
                  <a:lnTo>
                    <a:pt x="40" y="2315"/>
                  </a:lnTo>
                  <a:lnTo>
                    <a:pt x="40" y="2315"/>
                  </a:lnTo>
                  <a:lnTo>
                    <a:pt x="40" y="2315"/>
                  </a:lnTo>
                  <a:lnTo>
                    <a:pt x="40" y="2315"/>
                  </a:lnTo>
                  <a:lnTo>
                    <a:pt x="40" y="2315"/>
                  </a:lnTo>
                  <a:lnTo>
                    <a:pt x="43" y="2313"/>
                  </a:lnTo>
                  <a:lnTo>
                    <a:pt x="43" y="2313"/>
                  </a:lnTo>
                  <a:lnTo>
                    <a:pt x="43" y="2313"/>
                  </a:lnTo>
                  <a:lnTo>
                    <a:pt x="43" y="2313"/>
                  </a:lnTo>
                  <a:lnTo>
                    <a:pt x="45" y="2311"/>
                  </a:lnTo>
                  <a:lnTo>
                    <a:pt x="45" y="2311"/>
                  </a:lnTo>
                  <a:lnTo>
                    <a:pt x="47" y="2308"/>
                  </a:lnTo>
                  <a:lnTo>
                    <a:pt x="47" y="2308"/>
                  </a:lnTo>
                  <a:lnTo>
                    <a:pt x="47" y="2308"/>
                  </a:lnTo>
                  <a:lnTo>
                    <a:pt x="47" y="2308"/>
                  </a:lnTo>
                  <a:lnTo>
                    <a:pt x="47" y="2308"/>
                  </a:lnTo>
                  <a:lnTo>
                    <a:pt x="47" y="2308"/>
                  </a:lnTo>
                  <a:lnTo>
                    <a:pt x="47" y="2306"/>
                  </a:lnTo>
                  <a:lnTo>
                    <a:pt x="47" y="2306"/>
                  </a:lnTo>
                  <a:lnTo>
                    <a:pt x="47" y="2306"/>
                  </a:lnTo>
                  <a:close/>
                  <a:moveTo>
                    <a:pt x="130" y="418"/>
                  </a:moveTo>
                  <a:lnTo>
                    <a:pt x="130" y="418"/>
                  </a:lnTo>
                  <a:lnTo>
                    <a:pt x="130" y="418"/>
                  </a:lnTo>
                  <a:lnTo>
                    <a:pt x="130" y="418"/>
                  </a:lnTo>
                  <a:lnTo>
                    <a:pt x="133" y="421"/>
                  </a:lnTo>
                  <a:lnTo>
                    <a:pt x="133" y="418"/>
                  </a:lnTo>
                  <a:lnTo>
                    <a:pt x="133" y="418"/>
                  </a:lnTo>
                  <a:lnTo>
                    <a:pt x="133" y="418"/>
                  </a:lnTo>
                  <a:lnTo>
                    <a:pt x="135" y="418"/>
                  </a:lnTo>
                  <a:lnTo>
                    <a:pt x="135" y="416"/>
                  </a:lnTo>
                  <a:lnTo>
                    <a:pt x="135" y="416"/>
                  </a:lnTo>
                  <a:lnTo>
                    <a:pt x="137" y="416"/>
                  </a:lnTo>
                  <a:lnTo>
                    <a:pt x="137" y="416"/>
                  </a:lnTo>
                  <a:lnTo>
                    <a:pt x="137" y="414"/>
                  </a:lnTo>
                  <a:lnTo>
                    <a:pt x="135" y="411"/>
                  </a:lnTo>
                  <a:lnTo>
                    <a:pt x="135" y="411"/>
                  </a:lnTo>
                  <a:lnTo>
                    <a:pt x="135" y="411"/>
                  </a:lnTo>
                  <a:lnTo>
                    <a:pt x="133" y="411"/>
                  </a:lnTo>
                  <a:lnTo>
                    <a:pt x="133" y="411"/>
                  </a:lnTo>
                  <a:lnTo>
                    <a:pt x="133" y="411"/>
                  </a:lnTo>
                  <a:lnTo>
                    <a:pt x="133" y="411"/>
                  </a:lnTo>
                  <a:lnTo>
                    <a:pt x="133" y="411"/>
                  </a:lnTo>
                  <a:lnTo>
                    <a:pt x="133" y="411"/>
                  </a:lnTo>
                  <a:lnTo>
                    <a:pt x="130" y="411"/>
                  </a:lnTo>
                  <a:lnTo>
                    <a:pt x="130" y="411"/>
                  </a:lnTo>
                  <a:lnTo>
                    <a:pt x="130" y="411"/>
                  </a:lnTo>
                  <a:lnTo>
                    <a:pt x="128" y="411"/>
                  </a:lnTo>
                  <a:lnTo>
                    <a:pt x="128" y="411"/>
                  </a:lnTo>
                  <a:lnTo>
                    <a:pt x="128" y="409"/>
                  </a:lnTo>
                  <a:lnTo>
                    <a:pt x="128" y="409"/>
                  </a:lnTo>
                  <a:lnTo>
                    <a:pt x="125" y="409"/>
                  </a:lnTo>
                  <a:lnTo>
                    <a:pt x="125" y="409"/>
                  </a:lnTo>
                  <a:lnTo>
                    <a:pt x="125" y="411"/>
                  </a:lnTo>
                  <a:lnTo>
                    <a:pt x="125" y="411"/>
                  </a:lnTo>
                  <a:lnTo>
                    <a:pt x="128" y="414"/>
                  </a:lnTo>
                  <a:lnTo>
                    <a:pt x="130" y="416"/>
                  </a:lnTo>
                  <a:lnTo>
                    <a:pt x="130" y="416"/>
                  </a:lnTo>
                  <a:lnTo>
                    <a:pt x="130" y="416"/>
                  </a:lnTo>
                  <a:lnTo>
                    <a:pt x="130" y="416"/>
                  </a:lnTo>
                  <a:lnTo>
                    <a:pt x="130" y="418"/>
                  </a:lnTo>
                  <a:lnTo>
                    <a:pt x="130" y="418"/>
                  </a:lnTo>
                  <a:lnTo>
                    <a:pt x="130" y="418"/>
                  </a:lnTo>
                  <a:lnTo>
                    <a:pt x="130" y="418"/>
                  </a:lnTo>
                  <a:lnTo>
                    <a:pt x="130" y="418"/>
                  </a:lnTo>
                  <a:close/>
                  <a:moveTo>
                    <a:pt x="296" y="610"/>
                  </a:moveTo>
                  <a:lnTo>
                    <a:pt x="296" y="612"/>
                  </a:lnTo>
                  <a:lnTo>
                    <a:pt x="293" y="612"/>
                  </a:lnTo>
                  <a:lnTo>
                    <a:pt x="293" y="612"/>
                  </a:lnTo>
                  <a:lnTo>
                    <a:pt x="293" y="612"/>
                  </a:lnTo>
                  <a:lnTo>
                    <a:pt x="293" y="612"/>
                  </a:lnTo>
                  <a:lnTo>
                    <a:pt x="293" y="615"/>
                  </a:lnTo>
                  <a:lnTo>
                    <a:pt x="293" y="615"/>
                  </a:lnTo>
                  <a:lnTo>
                    <a:pt x="293" y="615"/>
                  </a:lnTo>
                  <a:lnTo>
                    <a:pt x="296" y="615"/>
                  </a:lnTo>
                  <a:lnTo>
                    <a:pt x="296" y="612"/>
                  </a:lnTo>
                  <a:lnTo>
                    <a:pt x="296" y="612"/>
                  </a:lnTo>
                  <a:lnTo>
                    <a:pt x="296" y="610"/>
                  </a:lnTo>
                  <a:close/>
                  <a:moveTo>
                    <a:pt x="753" y="340"/>
                  </a:moveTo>
                  <a:lnTo>
                    <a:pt x="753" y="340"/>
                  </a:lnTo>
                  <a:lnTo>
                    <a:pt x="753" y="340"/>
                  </a:lnTo>
                  <a:lnTo>
                    <a:pt x="753" y="340"/>
                  </a:lnTo>
                  <a:lnTo>
                    <a:pt x="753" y="340"/>
                  </a:lnTo>
                  <a:lnTo>
                    <a:pt x="753" y="340"/>
                  </a:lnTo>
                  <a:lnTo>
                    <a:pt x="755" y="340"/>
                  </a:lnTo>
                  <a:lnTo>
                    <a:pt x="755" y="338"/>
                  </a:lnTo>
                  <a:lnTo>
                    <a:pt x="755" y="338"/>
                  </a:lnTo>
                  <a:lnTo>
                    <a:pt x="753" y="338"/>
                  </a:lnTo>
                  <a:lnTo>
                    <a:pt x="753" y="338"/>
                  </a:lnTo>
                  <a:lnTo>
                    <a:pt x="753" y="338"/>
                  </a:lnTo>
                  <a:lnTo>
                    <a:pt x="753" y="340"/>
                  </a:lnTo>
                  <a:lnTo>
                    <a:pt x="753" y="340"/>
                  </a:lnTo>
                  <a:lnTo>
                    <a:pt x="753" y="340"/>
                  </a:lnTo>
                  <a:close/>
                  <a:moveTo>
                    <a:pt x="144" y="2438"/>
                  </a:moveTo>
                  <a:lnTo>
                    <a:pt x="144" y="2438"/>
                  </a:lnTo>
                  <a:lnTo>
                    <a:pt x="144" y="2438"/>
                  </a:lnTo>
                  <a:lnTo>
                    <a:pt x="142" y="2436"/>
                  </a:lnTo>
                  <a:lnTo>
                    <a:pt x="142" y="2436"/>
                  </a:lnTo>
                  <a:lnTo>
                    <a:pt x="142" y="2436"/>
                  </a:lnTo>
                  <a:lnTo>
                    <a:pt x="142" y="2436"/>
                  </a:lnTo>
                  <a:lnTo>
                    <a:pt x="142" y="2436"/>
                  </a:lnTo>
                  <a:lnTo>
                    <a:pt x="142" y="2434"/>
                  </a:lnTo>
                  <a:lnTo>
                    <a:pt x="142" y="2434"/>
                  </a:lnTo>
                  <a:lnTo>
                    <a:pt x="142" y="2434"/>
                  </a:lnTo>
                  <a:lnTo>
                    <a:pt x="142" y="2434"/>
                  </a:lnTo>
                  <a:lnTo>
                    <a:pt x="142" y="2434"/>
                  </a:lnTo>
                  <a:lnTo>
                    <a:pt x="140" y="2434"/>
                  </a:lnTo>
                  <a:lnTo>
                    <a:pt x="140" y="2434"/>
                  </a:lnTo>
                  <a:lnTo>
                    <a:pt x="140" y="2434"/>
                  </a:lnTo>
                  <a:lnTo>
                    <a:pt x="137" y="2431"/>
                  </a:lnTo>
                  <a:lnTo>
                    <a:pt x="137" y="2434"/>
                  </a:lnTo>
                  <a:lnTo>
                    <a:pt x="135" y="2434"/>
                  </a:lnTo>
                  <a:lnTo>
                    <a:pt x="135" y="2431"/>
                  </a:lnTo>
                  <a:lnTo>
                    <a:pt x="135" y="2431"/>
                  </a:lnTo>
                  <a:lnTo>
                    <a:pt x="133" y="2431"/>
                  </a:lnTo>
                  <a:lnTo>
                    <a:pt x="133" y="2431"/>
                  </a:lnTo>
                  <a:lnTo>
                    <a:pt x="133" y="2431"/>
                  </a:lnTo>
                  <a:lnTo>
                    <a:pt x="133" y="2429"/>
                  </a:lnTo>
                  <a:lnTo>
                    <a:pt x="133" y="2429"/>
                  </a:lnTo>
                  <a:lnTo>
                    <a:pt x="133" y="2429"/>
                  </a:lnTo>
                  <a:lnTo>
                    <a:pt x="130" y="2427"/>
                  </a:lnTo>
                  <a:lnTo>
                    <a:pt x="133" y="2427"/>
                  </a:lnTo>
                  <a:lnTo>
                    <a:pt x="133" y="2427"/>
                  </a:lnTo>
                  <a:lnTo>
                    <a:pt x="133" y="2427"/>
                  </a:lnTo>
                  <a:lnTo>
                    <a:pt x="133" y="2424"/>
                  </a:lnTo>
                  <a:lnTo>
                    <a:pt x="130" y="2424"/>
                  </a:lnTo>
                  <a:lnTo>
                    <a:pt x="130" y="2424"/>
                  </a:lnTo>
                  <a:lnTo>
                    <a:pt x="130" y="2424"/>
                  </a:lnTo>
                  <a:lnTo>
                    <a:pt x="130" y="2424"/>
                  </a:lnTo>
                  <a:lnTo>
                    <a:pt x="130" y="2422"/>
                  </a:lnTo>
                  <a:lnTo>
                    <a:pt x="130" y="2422"/>
                  </a:lnTo>
                  <a:lnTo>
                    <a:pt x="130" y="2422"/>
                  </a:lnTo>
                  <a:lnTo>
                    <a:pt x="130" y="2422"/>
                  </a:lnTo>
                  <a:lnTo>
                    <a:pt x="128" y="2422"/>
                  </a:lnTo>
                  <a:lnTo>
                    <a:pt x="128" y="2422"/>
                  </a:lnTo>
                  <a:lnTo>
                    <a:pt x="128" y="2422"/>
                  </a:lnTo>
                  <a:lnTo>
                    <a:pt x="128" y="2422"/>
                  </a:lnTo>
                  <a:lnTo>
                    <a:pt x="128" y="2422"/>
                  </a:lnTo>
                  <a:lnTo>
                    <a:pt x="125" y="2422"/>
                  </a:lnTo>
                  <a:lnTo>
                    <a:pt x="125" y="2422"/>
                  </a:lnTo>
                  <a:lnTo>
                    <a:pt x="125" y="2424"/>
                  </a:lnTo>
                  <a:lnTo>
                    <a:pt x="123" y="2424"/>
                  </a:lnTo>
                  <a:lnTo>
                    <a:pt x="123" y="2427"/>
                  </a:lnTo>
                  <a:lnTo>
                    <a:pt x="123" y="2427"/>
                  </a:lnTo>
                  <a:lnTo>
                    <a:pt x="123" y="2427"/>
                  </a:lnTo>
                  <a:lnTo>
                    <a:pt x="123" y="2429"/>
                  </a:lnTo>
                  <a:lnTo>
                    <a:pt x="123" y="2431"/>
                  </a:lnTo>
                  <a:lnTo>
                    <a:pt x="123" y="2431"/>
                  </a:lnTo>
                  <a:lnTo>
                    <a:pt x="123" y="2431"/>
                  </a:lnTo>
                  <a:lnTo>
                    <a:pt x="125" y="2434"/>
                  </a:lnTo>
                  <a:lnTo>
                    <a:pt x="125" y="2434"/>
                  </a:lnTo>
                  <a:lnTo>
                    <a:pt x="125" y="2436"/>
                  </a:lnTo>
                  <a:lnTo>
                    <a:pt x="125" y="2436"/>
                  </a:lnTo>
                  <a:lnTo>
                    <a:pt x="128" y="2436"/>
                  </a:lnTo>
                  <a:lnTo>
                    <a:pt x="128" y="2436"/>
                  </a:lnTo>
                  <a:lnTo>
                    <a:pt x="128" y="2436"/>
                  </a:lnTo>
                  <a:lnTo>
                    <a:pt x="128" y="2436"/>
                  </a:lnTo>
                  <a:lnTo>
                    <a:pt x="130" y="2436"/>
                  </a:lnTo>
                  <a:lnTo>
                    <a:pt x="130" y="2436"/>
                  </a:lnTo>
                  <a:lnTo>
                    <a:pt x="130" y="2436"/>
                  </a:lnTo>
                  <a:lnTo>
                    <a:pt x="130" y="2438"/>
                  </a:lnTo>
                  <a:lnTo>
                    <a:pt x="128" y="2438"/>
                  </a:lnTo>
                  <a:lnTo>
                    <a:pt x="128" y="2441"/>
                  </a:lnTo>
                  <a:lnTo>
                    <a:pt x="128" y="2443"/>
                  </a:lnTo>
                  <a:lnTo>
                    <a:pt x="128" y="2443"/>
                  </a:lnTo>
                  <a:lnTo>
                    <a:pt x="125" y="2443"/>
                  </a:lnTo>
                  <a:lnTo>
                    <a:pt x="125" y="2446"/>
                  </a:lnTo>
                  <a:lnTo>
                    <a:pt x="125" y="2446"/>
                  </a:lnTo>
                  <a:lnTo>
                    <a:pt x="128" y="2448"/>
                  </a:lnTo>
                  <a:lnTo>
                    <a:pt x="128" y="2448"/>
                  </a:lnTo>
                  <a:lnTo>
                    <a:pt x="130" y="2448"/>
                  </a:lnTo>
                  <a:lnTo>
                    <a:pt x="130" y="2448"/>
                  </a:lnTo>
                  <a:lnTo>
                    <a:pt x="130" y="2448"/>
                  </a:lnTo>
                  <a:lnTo>
                    <a:pt x="130" y="2450"/>
                  </a:lnTo>
                  <a:lnTo>
                    <a:pt x="133" y="2450"/>
                  </a:lnTo>
                  <a:lnTo>
                    <a:pt x="133" y="2450"/>
                  </a:lnTo>
                  <a:lnTo>
                    <a:pt x="137" y="2450"/>
                  </a:lnTo>
                  <a:lnTo>
                    <a:pt x="137" y="2450"/>
                  </a:lnTo>
                  <a:lnTo>
                    <a:pt x="137" y="2450"/>
                  </a:lnTo>
                  <a:lnTo>
                    <a:pt x="140" y="2453"/>
                  </a:lnTo>
                  <a:lnTo>
                    <a:pt x="142" y="2453"/>
                  </a:lnTo>
                  <a:lnTo>
                    <a:pt x="144" y="2453"/>
                  </a:lnTo>
                  <a:lnTo>
                    <a:pt x="144" y="2453"/>
                  </a:lnTo>
                  <a:lnTo>
                    <a:pt x="147" y="2453"/>
                  </a:lnTo>
                  <a:lnTo>
                    <a:pt x="147" y="2450"/>
                  </a:lnTo>
                  <a:lnTo>
                    <a:pt x="149" y="2450"/>
                  </a:lnTo>
                  <a:lnTo>
                    <a:pt x="149" y="2448"/>
                  </a:lnTo>
                  <a:lnTo>
                    <a:pt x="147" y="2446"/>
                  </a:lnTo>
                  <a:lnTo>
                    <a:pt x="147" y="2443"/>
                  </a:lnTo>
                  <a:lnTo>
                    <a:pt x="144" y="2443"/>
                  </a:lnTo>
                  <a:lnTo>
                    <a:pt x="144" y="2443"/>
                  </a:lnTo>
                  <a:lnTo>
                    <a:pt x="144" y="2441"/>
                  </a:lnTo>
                  <a:lnTo>
                    <a:pt x="144" y="2441"/>
                  </a:lnTo>
                  <a:lnTo>
                    <a:pt x="144" y="2441"/>
                  </a:lnTo>
                  <a:lnTo>
                    <a:pt x="144" y="2441"/>
                  </a:lnTo>
                  <a:lnTo>
                    <a:pt x="144" y="2441"/>
                  </a:lnTo>
                  <a:lnTo>
                    <a:pt x="144" y="2441"/>
                  </a:lnTo>
                  <a:lnTo>
                    <a:pt x="144" y="2438"/>
                  </a:lnTo>
                  <a:close/>
                  <a:moveTo>
                    <a:pt x="111" y="2408"/>
                  </a:moveTo>
                  <a:lnTo>
                    <a:pt x="114" y="2410"/>
                  </a:lnTo>
                  <a:lnTo>
                    <a:pt x="116" y="2412"/>
                  </a:lnTo>
                  <a:lnTo>
                    <a:pt x="118" y="2415"/>
                  </a:lnTo>
                  <a:lnTo>
                    <a:pt x="118" y="2415"/>
                  </a:lnTo>
                  <a:lnTo>
                    <a:pt x="121" y="2415"/>
                  </a:lnTo>
                  <a:lnTo>
                    <a:pt x="123" y="2417"/>
                  </a:lnTo>
                  <a:lnTo>
                    <a:pt x="125" y="2417"/>
                  </a:lnTo>
                  <a:lnTo>
                    <a:pt x="128" y="2415"/>
                  </a:lnTo>
                  <a:lnTo>
                    <a:pt x="128" y="2415"/>
                  </a:lnTo>
                  <a:lnTo>
                    <a:pt x="128" y="2415"/>
                  </a:lnTo>
                  <a:lnTo>
                    <a:pt x="128" y="2415"/>
                  </a:lnTo>
                  <a:lnTo>
                    <a:pt x="128" y="2412"/>
                  </a:lnTo>
                  <a:lnTo>
                    <a:pt x="128" y="2412"/>
                  </a:lnTo>
                  <a:lnTo>
                    <a:pt x="128" y="2412"/>
                  </a:lnTo>
                  <a:lnTo>
                    <a:pt x="128" y="2412"/>
                  </a:lnTo>
                  <a:lnTo>
                    <a:pt x="128" y="2412"/>
                  </a:lnTo>
                  <a:lnTo>
                    <a:pt x="125" y="2412"/>
                  </a:lnTo>
                  <a:lnTo>
                    <a:pt x="125" y="2412"/>
                  </a:lnTo>
                  <a:lnTo>
                    <a:pt x="125" y="2412"/>
                  </a:lnTo>
                  <a:lnTo>
                    <a:pt x="125" y="2412"/>
                  </a:lnTo>
                  <a:lnTo>
                    <a:pt x="123" y="2412"/>
                  </a:lnTo>
                  <a:lnTo>
                    <a:pt x="123" y="2410"/>
                  </a:lnTo>
                  <a:lnTo>
                    <a:pt x="121" y="2410"/>
                  </a:lnTo>
                  <a:lnTo>
                    <a:pt x="121" y="2408"/>
                  </a:lnTo>
                  <a:lnTo>
                    <a:pt x="118" y="2408"/>
                  </a:lnTo>
                  <a:lnTo>
                    <a:pt x="118" y="2408"/>
                  </a:lnTo>
                  <a:lnTo>
                    <a:pt x="118" y="2405"/>
                  </a:lnTo>
                  <a:lnTo>
                    <a:pt x="118" y="2405"/>
                  </a:lnTo>
                  <a:lnTo>
                    <a:pt x="118" y="2405"/>
                  </a:lnTo>
                  <a:lnTo>
                    <a:pt x="118" y="2405"/>
                  </a:lnTo>
                  <a:lnTo>
                    <a:pt x="118" y="2408"/>
                  </a:lnTo>
                  <a:lnTo>
                    <a:pt x="116" y="2405"/>
                  </a:lnTo>
                  <a:lnTo>
                    <a:pt x="114" y="2405"/>
                  </a:lnTo>
                  <a:lnTo>
                    <a:pt x="111" y="2401"/>
                  </a:lnTo>
                  <a:lnTo>
                    <a:pt x="109" y="2401"/>
                  </a:lnTo>
                  <a:lnTo>
                    <a:pt x="109" y="2401"/>
                  </a:lnTo>
                  <a:lnTo>
                    <a:pt x="109" y="2401"/>
                  </a:lnTo>
                  <a:lnTo>
                    <a:pt x="109" y="2398"/>
                  </a:lnTo>
                  <a:lnTo>
                    <a:pt x="107" y="2398"/>
                  </a:lnTo>
                  <a:lnTo>
                    <a:pt x="107" y="2398"/>
                  </a:lnTo>
                  <a:lnTo>
                    <a:pt x="107" y="2398"/>
                  </a:lnTo>
                  <a:lnTo>
                    <a:pt x="107" y="2401"/>
                  </a:lnTo>
                  <a:lnTo>
                    <a:pt x="107" y="2401"/>
                  </a:lnTo>
                  <a:lnTo>
                    <a:pt x="104" y="2401"/>
                  </a:lnTo>
                  <a:lnTo>
                    <a:pt x="104" y="2401"/>
                  </a:lnTo>
                  <a:lnTo>
                    <a:pt x="104" y="2401"/>
                  </a:lnTo>
                  <a:lnTo>
                    <a:pt x="102" y="2401"/>
                  </a:lnTo>
                  <a:lnTo>
                    <a:pt x="102" y="2403"/>
                  </a:lnTo>
                  <a:lnTo>
                    <a:pt x="102" y="2403"/>
                  </a:lnTo>
                  <a:lnTo>
                    <a:pt x="104" y="2405"/>
                  </a:lnTo>
                  <a:lnTo>
                    <a:pt x="104" y="2405"/>
                  </a:lnTo>
                  <a:lnTo>
                    <a:pt x="104" y="2405"/>
                  </a:lnTo>
                  <a:lnTo>
                    <a:pt x="107" y="2405"/>
                  </a:lnTo>
                  <a:lnTo>
                    <a:pt x="109" y="2408"/>
                  </a:lnTo>
                  <a:lnTo>
                    <a:pt x="111" y="2408"/>
                  </a:lnTo>
                  <a:close/>
                  <a:moveTo>
                    <a:pt x="826" y="761"/>
                  </a:moveTo>
                  <a:lnTo>
                    <a:pt x="826" y="761"/>
                  </a:lnTo>
                  <a:lnTo>
                    <a:pt x="826" y="761"/>
                  </a:lnTo>
                  <a:lnTo>
                    <a:pt x="826" y="761"/>
                  </a:lnTo>
                  <a:lnTo>
                    <a:pt x="826" y="761"/>
                  </a:lnTo>
                  <a:lnTo>
                    <a:pt x="826" y="761"/>
                  </a:lnTo>
                  <a:lnTo>
                    <a:pt x="826" y="761"/>
                  </a:lnTo>
                  <a:lnTo>
                    <a:pt x="826" y="761"/>
                  </a:lnTo>
                  <a:lnTo>
                    <a:pt x="826" y="761"/>
                  </a:lnTo>
                  <a:lnTo>
                    <a:pt x="824" y="761"/>
                  </a:lnTo>
                  <a:lnTo>
                    <a:pt x="824" y="761"/>
                  </a:lnTo>
                  <a:lnTo>
                    <a:pt x="826" y="761"/>
                  </a:lnTo>
                  <a:close/>
                  <a:moveTo>
                    <a:pt x="232" y="548"/>
                  </a:moveTo>
                  <a:lnTo>
                    <a:pt x="232" y="551"/>
                  </a:lnTo>
                  <a:lnTo>
                    <a:pt x="232" y="551"/>
                  </a:lnTo>
                  <a:lnTo>
                    <a:pt x="232" y="548"/>
                  </a:lnTo>
                  <a:lnTo>
                    <a:pt x="234" y="548"/>
                  </a:lnTo>
                  <a:lnTo>
                    <a:pt x="234" y="548"/>
                  </a:lnTo>
                  <a:lnTo>
                    <a:pt x="234" y="548"/>
                  </a:lnTo>
                  <a:lnTo>
                    <a:pt x="234" y="548"/>
                  </a:lnTo>
                  <a:lnTo>
                    <a:pt x="234" y="548"/>
                  </a:lnTo>
                  <a:lnTo>
                    <a:pt x="234" y="546"/>
                  </a:lnTo>
                  <a:lnTo>
                    <a:pt x="234" y="546"/>
                  </a:lnTo>
                  <a:lnTo>
                    <a:pt x="234" y="546"/>
                  </a:lnTo>
                  <a:lnTo>
                    <a:pt x="234" y="546"/>
                  </a:lnTo>
                  <a:lnTo>
                    <a:pt x="234" y="546"/>
                  </a:lnTo>
                  <a:lnTo>
                    <a:pt x="234" y="546"/>
                  </a:lnTo>
                  <a:lnTo>
                    <a:pt x="234" y="544"/>
                  </a:lnTo>
                  <a:lnTo>
                    <a:pt x="232" y="544"/>
                  </a:lnTo>
                  <a:lnTo>
                    <a:pt x="232" y="544"/>
                  </a:lnTo>
                  <a:lnTo>
                    <a:pt x="232" y="546"/>
                  </a:lnTo>
                  <a:lnTo>
                    <a:pt x="232" y="546"/>
                  </a:lnTo>
                  <a:lnTo>
                    <a:pt x="232" y="546"/>
                  </a:lnTo>
                  <a:lnTo>
                    <a:pt x="230" y="546"/>
                  </a:lnTo>
                  <a:lnTo>
                    <a:pt x="230" y="546"/>
                  </a:lnTo>
                  <a:lnTo>
                    <a:pt x="230" y="548"/>
                  </a:lnTo>
                  <a:lnTo>
                    <a:pt x="230" y="548"/>
                  </a:lnTo>
                  <a:lnTo>
                    <a:pt x="232" y="548"/>
                  </a:lnTo>
                  <a:close/>
                  <a:moveTo>
                    <a:pt x="156" y="416"/>
                  </a:moveTo>
                  <a:lnTo>
                    <a:pt x="156" y="416"/>
                  </a:lnTo>
                  <a:lnTo>
                    <a:pt x="156" y="414"/>
                  </a:lnTo>
                  <a:lnTo>
                    <a:pt x="154" y="414"/>
                  </a:lnTo>
                  <a:lnTo>
                    <a:pt x="154" y="414"/>
                  </a:lnTo>
                  <a:lnTo>
                    <a:pt x="154" y="414"/>
                  </a:lnTo>
                  <a:lnTo>
                    <a:pt x="154" y="414"/>
                  </a:lnTo>
                  <a:lnTo>
                    <a:pt x="156" y="416"/>
                  </a:lnTo>
                  <a:close/>
                  <a:moveTo>
                    <a:pt x="92" y="2377"/>
                  </a:moveTo>
                  <a:lnTo>
                    <a:pt x="92" y="2377"/>
                  </a:lnTo>
                  <a:lnTo>
                    <a:pt x="92" y="2377"/>
                  </a:lnTo>
                  <a:lnTo>
                    <a:pt x="92" y="2377"/>
                  </a:lnTo>
                  <a:lnTo>
                    <a:pt x="90" y="2377"/>
                  </a:lnTo>
                  <a:lnTo>
                    <a:pt x="90" y="2377"/>
                  </a:lnTo>
                  <a:lnTo>
                    <a:pt x="90" y="2377"/>
                  </a:lnTo>
                  <a:lnTo>
                    <a:pt x="90" y="2377"/>
                  </a:lnTo>
                  <a:lnTo>
                    <a:pt x="90" y="2377"/>
                  </a:lnTo>
                  <a:lnTo>
                    <a:pt x="90" y="2375"/>
                  </a:lnTo>
                  <a:lnTo>
                    <a:pt x="90" y="2375"/>
                  </a:lnTo>
                  <a:lnTo>
                    <a:pt x="90" y="2375"/>
                  </a:lnTo>
                  <a:lnTo>
                    <a:pt x="90" y="2375"/>
                  </a:lnTo>
                  <a:lnTo>
                    <a:pt x="90" y="2372"/>
                  </a:lnTo>
                  <a:lnTo>
                    <a:pt x="90" y="2372"/>
                  </a:lnTo>
                  <a:lnTo>
                    <a:pt x="90" y="2372"/>
                  </a:lnTo>
                  <a:lnTo>
                    <a:pt x="90" y="2372"/>
                  </a:lnTo>
                  <a:lnTo>
                    <a:pt x="90" y="2372"/>
                  </a:lnTo>
                  <a:lnTo>
                    <a:pt x="90" y="2372"/>
                  </a:lnTo>
                  <a:lnTo>
                    <a:pt x="90" y="2370"/>
                  </a:lnTo>
                  <a:lnTo>
                    <a:pt x="90" y="2370"/>
                  </a:lnTo>
                  <a:lnTo>
                    <a:pt x="90" y="2370"/>
                  </a:lnTo>
                  <a:lnTo>
                    <a:pt x="90" y="2370"/>
                  </a:lnTo>
                  <a:lnTo>
                    <a:pt x="90" y="2370"/>
                  </a:lnTo>
                  <a:lnTo>
                    <a:pt x="90" y="2367"/>
                  </a:lnTo>
                  <a:lnTo>
                    <a:pt x="90" y="2367"/>
                  </a:lnTo>
                  <a:lnTo>
                    <a:pt x="90" y="2367"/>
                  </a:lnTo>
                  <a:lnTo>
                    <a:pt x="90" y="2367"/>
                  </a:lnTo>
                  <a:lnTo>
                    <a:pt x="90" y="2365"/>
                  </a:lnTo>
                  <a:lnTo>
                    <a:pt x="90" y="2365"/>
                  </a:lnTo>
                  <a:lnTo>
                    <a:pt x="90" y="2365"/>
                  </a:lnTo>
                  <a:lnTo>
                    <a:pt x="90" y="2363"/>
                  </a:lnTo>
                  <a:lnTo>
                    <a:pt x="90" y="2363"/>
                  </a:lnTo>
                  <a:lnTo>
                    <a:pt x="90" y="2363"/>
                  </a:lnTo>
                  <a:lnTo>
                    <a:pt x="90" y="2363"/>
                  </a:lnTo>
                  <a:lnTo>
                    <a:pt x="90" y="2360"/>
                  </a:lnTo>
                  <a:lnTo>
                    <a:pt x="90" y="2360"/>
                  </a:lnTo>
                  <a:lnTo>
                    <a:pt x="90" y="2360"/>
                  </a:lnTo>
                  <a:lnTo>
                    <a:pt x="90" y="2360"/>
                  </a:lnTo>
                  <a:lnTo>
                    <a:pt x="90" y="2360"/>
                  </a:lnTo>
                  <a:lnTo>
                    <a:pt x="88" y="2360"/>
                  </a:lnTo>
                  <a:lnTo>
                    <a:pt x="88" y="2360"/>
                  </a:lnTo>
                  <a:lnTo>
                    <a:pt x="85" y="2360"/>
                  </a:lnTo>
                  <a:lnTo>
                    <a:pt x="85" y="2360"/>
                  </a:lnTo>
                  <a:lnTo>
                    <a:pt x="85" y="2360"/>
                  </a:lnTo>
                  <a:lnTo>
                    <a:pt x="85" y="2360"/>
                  </a:lnTo>
                  <a:lnTo>
                    <a:pt x="83" y="2360"/>
                  </a:lnTo>
                  <a:lnTo>
                    <a:pt x="83" y="2360"/>
                  </a:lnTo>
                  <a:lnTo>
                    <a:pt x="80" y="2360"/>
                  </a:lnTo>
                  <a:lnTo>
                    <a:pt x="80" y="2360"/>
                  </a:lnTo>
                  <a:lnTo>
                    <a:pt x="80" y="2363"/>
                  </a:lnTo>
                  <a:lnTo>
                    <a:pt x="80" y="2360"/>
                  </a:lnTo>
                  <a:lnTo>
                    <a:pt x="80" y="2360"/>
                  </a:lnTo>
                  <a:lnTo>
                    <a:pt x="78" y="2360"/>
                  </a:lnTo>
                  <a:lnTo>
                    <a:pt x="78" y="2360"/>
                  </a:lnTo>
                  <a:lnTo>
                    <a:pt x="76" y="2358"/>
                  </a:lnTo>
                  <a:lnTo>
                    <a:pt x="73" y="2358"/>
                  </a:lnTo>
                  <a:lnTo>
                    <a:pt x="73" y="2358"/>
                  </a:lnTo>
                  <a:lnTo>
                    <a:pt x="76" y="2360"/>
                  </a:lnTo>
                  <a:lnTo>
                    <a:pt x="76" y="2363"/>
                  </a:lnTo>
                  <a:lnTo>
                    <a:pt x="73" y="2363"/>
                  </a:lnTo>
                  <a:lnTo>
                    <a:pt x="73" y="2363"/>
                  </a:lnTo>
                  <a:lnTo>
                    <a:pt x="73" y="2365"/>
                  </a:lnTo>
                  <a:lnTo>
                    <a:pt x="73" y="2365"/>
                  </a:lnTo>
                  <a:lnTo>
                    <a:pt x="73" y="2367"/>
                  </a:lnTo>
                  <a:lnTo>
                    <a:pt x="73" y="2367"/>
                  </a:lnTo>
                  <a:lnTo>
                    <a:pt x="73" y="2367"/>
                  </a:lnTo>
                  <a:lnTo>
                    <a:pt x="73" y="2370"/>
                  </a:lnTo>
                  <a:lnTo>
                    <a:pt x="73" y="2370"/>
                  </a:lnTo>
                  <a:lnTo>
                    <a:pt x="73" y="2372"/>
                  </a:lnTo>
                  <a:lnTo>
                    <a:pt x="73" y="2372"/>
                  </a:lnTo>
                  <a:lnTo>
                    <a:pt x="73" y="2375"/>
                  </a:lnTo>
                  <a:lnTo>
                    <a:pt x="73" y="2375"/>
                  </a:lnTo>
                  <a:lnTo>
                    <a:pt x="73" y="2375"/>
                  </a:lnTo>
                  <a:lnTo>
                    <a:pt x="73" y="2375"/>
                  </a:lnTo>
                  <a:lnTo>
                    <a:pt x="76" y="2375"/>
                  </a:lnTo>
                  <a:lnTo>
                    <a:pt x="76" y="2377"/>
                  </a:lnTo>
                  <a:lnTo>
                    <a:pt x="78" y="2377"/>
                  </a:lnTo>
                  <a:lnTo>
                    <a:pt x="78" y="2377"/>
                  </a:lnTo>
                  <a:lnTo>
                    <a:pt x="80" y="2377"/>
                  </a:lnTo>
                  <a:lnTo>
                    <a:pt x="80" y="2377"/>
                  </a:lnTo>
                  <a:lnTo>
                    <a:pt x="80" y="2377"/>
                  </a:lnTo>
                  <a:lnTo>
                    <a:pt x="80" y="2375"/>
                  </a:lnTo>
                  <a:lnTo>
                    <a:pt x="80" y="2375"/>
                  </a:lnTo>
                  <a:lnTo>
                    <a:pt x="80" y="2372"/>
                  </a:lnTo>
                  <a:lnTo>
                    <a:pt x="80" y="2375"/>
                  </a:lnTo>
                  <a:lnTo>
                    <a:pt x="80" y="2375"/>
                  </a:lnTo>
                  <a:lnTo>
                    <a:pt x="80" y="2375"/>
                  </a:lnTo>
                  <a:lnTo>
                    <a:pt x="80" y="2375"/>
                  </a:lnTo>
                  <a:lnTo>
                    <a:pt x="80" y="2375"/>
                  </a:lnTo>
                  <a:lnTo>
                    <a:pt x="80" y="2375"/>
                  </a:lnTo>
                  <a:lnTo>
                    <a:pt x="80" y="2375"/>
                  </a:lnTo>
                  <a:lnTo>
                    <a:pt x="80" y="2375"/>
                  </a:lnTo>
                  <a:lnTo>
                    <a:pt x="83" y="2375"/>
                  </a:lnTo>
                  <a:lnTo>
                    <a:pt x="83" y="2375"/>
                  </a:lnTo>
                  <a:lnTo>
                    <a:pt x="83" y="2375"/>
                  </a:lnTo>
                  <a:lnTo>
                    <a:pt x="83" y="2375"/>
                  </a:lnTo>
                  <a:lnTo>
                    <a:pt x="83" y="2377"/>
                  </a:lnTo>
                  <a:lnTo>
                    <a:pt x="83" y="2377"/>
                  </a:lnTo>
                  <a:lnTo>
                    <a:pt x="83" y="2377"/>
                  </a:lnTo>
                  <a:lnTo>
                    <a:pt x="80" y="2377"/>
                  </a:lnTo>
                  <a:lnTo>
                    <a:pt x="80" y="2377"/>
                  </a:lnTo>
                  <a:lnTo>
                    <a:pt x="80" y="2377"/>
                  </a:lnTo>
                  <a:lnTo>
                    <a:pt x="80" y="2377"/>
                  </a:lnTo>
                  <a:lnTo>
                    <a:pt x="80" y="2377"/>
                  </a:lnTo>
                  <a:lnTo>
                    <a:pt x="80" y="2377"/>
                  </a:lnTo>
                  <a:lnTo>
                    <a:pt x="80" y="2377"/>
                  </a:lnTo>
                  <a:lnTo>
                    <a:pt x="80" y="2379"/>
                  </a:lnTo>
                  <a:lnTo>
                    <a:pt x="80" y="2379"/>
                  </a:lnTo>
                  <a:lnTo>
                    <a:pt x="80" y="2379"/>
                  </a:lnTo>
                  <a:lnTo>
                    <a:pt x="83" y="2379"/>
                  </a:lnTo>
                  <a:lnTo>
                    <a:pt x="83" y="2379"/>
                  </a:lnTo>
                  <a:lnTo>
                    <a:pt x="83" y="2379"/>
                  </a:lnTo>
                  <a:lnTo>
                    <a:pt x="83" y="2379"/>
                  </a:lnTo>
                  <a:lnTo>
                    <a:pt x="83" y="2379"/>
                  </a:lnTo>
                  <a:lnTo>
                    <a:pt x="83" y="2379"/>
                  </a:lnTo>
                  <a:lnTo>
                    <a:pt x="83" y="2379"/>
                  </a:lnTo>
                  <a:lnTo>
                    <a:pt x="83" y="2382"/>
                  </a:lnTo>
                  <a:lnTo>
                    <a:pt x="85" y="2382"/>
                  </a:lnTo>
                  <a:lnTo>
                    <a:pt x="85" y="2384"/>
                  </a:lnTo>
                  <a:lnTo>
                    <a:pt x="85" y="2384"/>
                  </a:lnTo>
                  <a:lnTo>
                    <a:pt x="85" y="2384"/>
                  </a:lnTo>
                  <a:lnTo>
                    <a:pt x="85" y="2384"/>
                  </a:lnTo>
                  <a:lnTo>
                    <a:pt x="88" y="2384"/>
                  </a:lnTo>
                  <a:lnTo>
                    <a:pt x="88" y="2384"/>
                  </a:lnTo>
                  <a:lnTo>
                    <a:pt x="88" y="2384"/>
                  </a:lnTo>
                  <a:lnTo>
                    <a:pt x="90" y="2384"/>
                  </a:lnTo>
                  <a:lnTo>
                    <a:pt x="90" y="2386"/>
                  </a:lnTo>
                  <a:lnTo>
                    <a:pt x="90" y="2386"/>
                  </a:lnTo>
                  <a:lnTo>
                    <a:pt x="90" y="2386"/>
                  </a:lnTo>
                  <a:lnTo>
                    <a:pt x="90" y="2386"/>
                  </a:lnTo>
                  <a:lnTo>
                    <a:pt x="90" y="2386"/>
                  </a:lnTo>
                  <a:lnTo>
                    <a:pt x="92" y="2386"/>
                  </a:lnTo>
                  <a:lnTo>
                    <a:pt x="92" y="2386"/>
                  </a:lnTo>
                  <a:lnTo>
                    <a:pt x="92" y="2384"/>
                  </a:lnTo>
                  <a:lnTo>
                    <a:pt x="92" y="2384"/>
                  </a:lnTo>
                  <a:lnTo>
                    <a:pt x="92" y="2384"/>
                  </a:lnTo>
                  <a:lnTo>
                    <a:pt x="92" y="2382"/>
                  </a:lnTo>
                  <a:lnTo>
                    <a:pt x="92" y="2382"/>
                  </a:lnTo>
                  <a:lnTo>
                    <a:pt x="92" y="2382"/>
                  </a:lnTo>
                  <a:lnTo>
                    <a:pt x="92" y="2382"/>
                  </a:lnTo>
                  <a:lnTo>
                    <a:pt x="92" y="2379"/>
                  </a:lnTo>
                  <a:lnTo>
                    <a:pt x="92" y="2379"/>
                  </a:lnTo>
                  <a:lnTo>
                    <a:pt x="92" y="2379"/>
                  </a:lnTo>
                  <a:lnTo>
                    <a:pt x="92" y="2377"/>
                  </a:lnTo>
                  <a:lnTo>
                    <a:pt x="95" y="2377"/>
                  </a:lnTo>
                  <a:lnTo>
                    <a:pt x="95" y="2377"/>
                  </a:lnTo>
                  <a:lnTo>
                    <a:pt x="92" y="2377"/>
                  </a:lnTo>
                  <a:lnTo>
                    <a:pt x="92" y="2377"/>
                  </a:lnTo>
                  <a:close/>
                  <a:moveTo>
                    <a:pt x="234" y="589"/>
                  </a:moveTo>
                  <a:lnTo>
                    <a:pt x="232" y="586"/>
                  </a:lnTo>
                  <a:lnTo>
                    <a:pt x="232" y="586"/>
                  </a:lnTo>
                  <a:lnTo>
                    <a:pt x="232" y="586"/>
                  </a:lnTo>
                  <a:lnTo>
                    <a:pt x="232" y="586"/>
                  </a:lnTo>
                  <a:lnTo>
                    <a:pt x="232" y="586"/>
                  </a:lnTo>
                  <a:lnTo>
                    <a:pt x="232" y="586"/>
                  </a:lnTo>
                  <a:lnTo>
                    <a:pt x="232" y="586"/>
                  </a:lnTo>
                  <a:lnTo>
                    <a:pt x="232" y="584"/>
                  </a:lnTo>
                  <a:lnTo>
                    <a:pt x="232" y="584"/>
                  </a:lnTo>
                  <a:lnTo>
                    <a:pt x="232" y="582"/>
                  </a:lnTo>
                  <a:lnTo>
                    <a:pt x="232" y="582"/>
                  </a:lnTo>
                  <a:lnTo>
                    <a:pt x="232" y="582"/>
                  </a:lnTo>
                  <a:lnTo>
                    <a:pt x="232" y="579"/>
                  </a:lnTo>
                  <a:lnTo>
                    <a:pt x="230" y="579"/>
                  </a:lnTo>
                  <a:lnTo>
                    <a:pt x="230" y="577"/>
                  </a:lnTo>
                  <a:lnTo>
                    <a:pt x="230" y="574"/>
                  </a:lnTo>
                  <a:lnTo>
                    <a:pt x="230" y="574"/>
                  </a:lnTo>
                  <a:lnTo>
                    <a:pt x="230" y="574"/>
                  </a:lnTo>
                  <a:lnTo>
                    <a:pt x="232" y="572"/>
                  </a:lnTo>
                  <a:lnTo>
                    <a:pt x="232" y="572"/>
                  </a:lnTo>
                  <a:lnTo>
                    <a:pt x="230" y="572"/>
                  </a:lnTo>
                  <a:lnTo>
                    <a:pt x="230" y="572"/>
                  </a:lnTo>
                  <a:lnTo>
                    <a:pt x="230" y="572"/>
                  </a:lnTo>
                  <a:lnTo>
                    <a:pt x="230" y="572"/>
                  </a:lnTo>
                  <a:lnTo>
                    <a:pt x="230" y="572"/>
                  </a:lnTo>
                  <a:lnTo>
                    <a:pt x="230" y="570"/>
                  </a:lnTo>
                  <a:lnTo>
                    <a:pt x="230" y="570"/>
                  </a:lnTo>
                  <a:lnTo>
                    <a:pt x="230" y="570"/>
                  </a:lnTo>
                  <a:lnTo>
                    <a:pt x="230" y="570"/>
                  </a:lnTo>
                  <a:lnTo>
                    <a:pt x="230" y="567"/>
                  </a:lnTo>
                  <a:lnTo>
                    <a:pt x="230" y="567"/>
                  </a:lnTo>
                  <a:lnTo>
                    <a:pt x="230" y="567"/>
                  </a:lnTo>
                  <a:lnTo>
                    <a:pt x="230" y="567"/>
                  </a:lnTo>
                  <a:lnTo>
                    <a:pt x="230" y="567"/>
                  </a:lnTo>
                  <a:lnTo>
                    <a:pt x="230" y="567"/>
                  </a:lnTo>
                  <a:lnTo>
                    <a:pt x="227" y="565"/>
                  </a:lnTo>
                  <a:lnTo>
                    <a:pt x="227" y="565"/>
                  </a:lnTo>
                  <a:lnTo>
                    <a:pt x="227" y="565"/>
                  </a:lnTo>
                  <a:lnTo>
                    <a:pt x="227" y="563"/>
                  </a:lnTo>
                  <a:lnTo>
                    <a:pt x="227" y="563"/>
                  </a:lnTo>
                  <a:lnTo>
                    <a:pt x="225" y="563"/>
                  </a:lnTo>
                  <a:lnTo>
                    <a:pt x="225" y="563"/>
                  </a:lnTo>
                  <a:lnTo>
                    <a:pt x="225" y="565"/>
                  </a:lnTo>
                  <a:lnTo>
                    <a:pt x="225" y="565"/>
                  </a:lnTo>
                  <a:lnTo>
                    <a:pt x="225" y="565"/>
                  </a:lnTo>
                  <a:lnTo>
                    <a:pt x="225" y="567"/>
                  </a:lnTo>
                  <a:lnTo>
                    <a:pt x="225" y="567"/>
                  </a:lnTo>
                  <a:lnTo>
                    <a:pt x="225" y="567"/>
                  </a:lnTo>
                  <a:lnTo>
                    <a:pt x="225" y="567"/>
                  </a:lnTo>
                  <a:lnTo>
                    <a:pt x="225" y="567"/>
                  </a:lnTo>
                  <a:lnTo>
                    <a:pt x="227" y="570"/>
                  </a:lnTo>
                  <a:lnTo>
                    <a:pt x="227" y="570"/>
                  </a:lnTo>
                  <a:lnTo>
                    <a:pt x="230" y="572"/>
                  </a:lnTo>
                  <a:lnTo>
                    <a:pt x="230" y="574"/>
                  </a:lnTo>
                  <a:lnTo>
                    <a:pt x="230" y="574"/>
                  </a:lnTo>
                  <a:lnTo>
                    <a:pt x="230" y="577"/>
                  </a:lnTo>
                  <a:lnTo>
                    <a:pt x="230" y="577"/>
                  </a:lnTo>
                  <a:lnTo>
                    <a:pt x="230" y="577"/>
                  </a:lnTo>
                  <a:lnTo>
                    <a:pt x="230" y="577"/>
                  </a:lnTo>
                  <a:lnTo>
                    <a:pt x="230" y="577"/>
                  </a:lnTo>
                  <a:lnTo>
                    <a:pt x="230" y="579"/>
                  </a:lnTo>
                  <a:lnTo>
                    <a:pt x="230" y="579"/>
                  </a:lnTo>
                  <a:lnTo>
                    <a:pt x="230" y="586"/>
                  </a:lnTo>
                  <a:lnTo>
                    <a:pt x="230" y="586"/>
                  </a:lnTo>
                  <a:lnTo>
                    <a:pt x="230" y="586"/>
                  </a:lnTo>
                  <a:lnTo>
                    <a:pt x="230" y="586"/>
                  </a:lnTo>
                  <a:lnTo>
                    <a:pt x="230" y="586"/>
                  </a:lnTo>
                  <a:lnTo>
                    <a:pt x="230" y="589"/>
                  </a:lnTo>
                  <a:lnTo>
                    <a:pt x="230" y="589"/>
                  </a:lnTo>
                  <a:lnTo>
                    <a:pt x="230" y="589"/>
                  </a:lnTo>
                  <a:lnTo>
                    <a:pt x="232" y="589"/>
                  </a:lnTo>
                  <a:lnTo>
                    <a:pt x="232" y="589"/>
                  </a:lnTo>
                  <a:lnTo>
                    <a:pt x="232" y="589"/>
                  </a:lnTo>
                  <a:lnTo>
                    <a:pt x="232" y="589"/>
                  </a:lnTo>
                  <a:lnTo>
                    <a:pt x="232" y="589"/>
                  </a:lnTo>
                  <a:lnTo>
                    <a:pt x="232" y="589"/>
                  </a:lnTo>
                  <a:lnTo>
                    <a:pt x="232" y="589"/>
                  </a:lnTo>
                  <a:lnTo>
                    <a:pt x="234" y="589"/>
                  </a:lnTo>
                  <a:lnTo>
                    <a:pt x="234" y="591"/>
                  </a:lnTo>
                  <a:lnTo>
                    <a:pt x="234" y="591"/>
                  </a:lnTo>
                  <a:lnTo>
                    <a:pt x="234" y="591"/>
                  </a:lnTo>
                  <a:lnTo>
                    <a:pt x="234" y="591"/>
                  </a:lnTo>
                  <a:lnTo>
                    <a:pt x="234" y="591"/>
                  </a:lnTo>
                  <a:lnTo>
                    <a:pt x="234" y="591"/>
                  </a:lnTo>
                  <a:lnTo>
                    <a:pt x="234" y="591"/>
                  </a:lnTo>
                  <a:lnTo>
                    <a:pt x="234" y="591"/>
                  </a:lnTo>
                  <a:lnTo>
                    <a:pt x="237" y="591"/>
                  </a:lnTo>
                  <a:lnTo>
                    <a:pt x="234" y="589"/>
                  </a:lnTo>
                  <a:lnTo>
                    <a:pt x="234" y="589"/>
                  </a:lnTo>
                  <a:close/>
                  <a:moveTo>
                    <a:pt x="222" y="548"/>
                  </a:moveTo>
                  <a:lnTo>
                    <a:pt x="222" y="546"/>
                  </a:lnTo>
                  <a:lnTo>
                    <a:pt x="222" y="546"/>
                  </a:lnTo>
                  <a:lnTo>
                    <a:pt x="222" y="546"/>
                  </a:lnTo>
                  <a:lnTo>
                    <a:pt x="220" y="546"/>
                  </a:lnTo>
                  <a:lnTo>
                    <a:pt x="220" y="546"/>
                  </a:lnTo>
                  <a:lnTo>
                    <a:pt x="220" y="544"/>
                  </a:lnTo>
                  <a:lnTo>
                    <a:pt x="220" y="546"/>
                  </a:lnTo>
                  <a:lnTo>
                    <a:pt x="220" y="546"/>
                  </a:lnTo>
                  <a:lnTo>
                    <a:pt x="222" y="548"/>
                  </a:lnTo>
                  <a:lnTo>
                    <a:pt x="222" y="548"/>
                  </a:lnTo>
                  <a:lnTo>
                    <a:pt x="222" y="548"/>
                  </a:lnTo>
                  <a:lnTo>
                    <a:pt x="222" y="551"/>
                  </a:lnTo>
                  <a:lnTo>
                    <a:pt x="222" y="551"/>
                  </a:lnTo>
                  <a:lnTo>
                    <a:pt x="222" y="551"/>
                  </a:lnTo>
                  <a:lnTo>
                    <a:pt x="222" y="551"/>
                  </a:lnTo>
                  <a:lnTo>
                    <a:pt x="222" y="551"/>
                  </a:lnTo>
                  <a:lnTo>
                    <a:pt x="222" y="548"/>
                  </a:lnTo>
                  <a:lnTo>
                    <a:pt x="222" y="548"/>
                  </a:lnTo>
                  <a:lnTo>
                    <a:pt x="222" y="548"/>
                  </a:lnTo>
                  <a:close/>
                  <a:moveTo>
                    <a:pt x="265" y="572"/>
                  </a:moveTo>
                  <a:lnTo>
                    <a:pt x="265" y="572"/>
                  </a:lnTo>
                  <a:lnTo>
                    <a:pt x="265" y="572"/>
                  </a:lnTo>
                  <a:lnTo>
                    <a:pt x="265" y="570"/>
                  </a:lnTo>
                  <a:lnTo>
                    <a:pt x="265" y="570"/>
                  </a:lnTo>
                  <a:lnTo>
                    <a:pt x="265" y="570"/>
                  </a:lnTo>
                  <a:lnTo>
                    <a:pt x="265" y="570"/>
                  </a:lnTo>
                  <a:lnTo>
                    <a:pt x="263" y="570"/>
                  </a:lnTo>
                  <a:lnTo>
                    <a:pt x="263" y="570"/>
                  </a:lnTo>
                  <a:lnTo>
                    <a:pt x="263" y="570"/>
                  </a:lnTo>
                  <a:lnTo>
                    <a:pt x="263" y="570"/>
                  </a:lnTo>
                  <a:lnTo>
                    <a:pt x="263" y="570"/>
                  </a:lnTo>
                  <a:lnTo>
                    <a:pt x="260" y="567"/>
                  </a:lnTo>
                  <a:lnTo>
                    <a:pt x="260" y="567"/>
                  </a:lnTo>
                  <a:lnTo>
                    <a:pt x="258" y="567"/>
                  </a:lnTo>
                  <a:lnTo>
                    <a:pt x="258" y="567"/>
                  </a:lnTo>
                  <a:lnTo>
                    <a:pt x="258" y="567"/>
                  </a:lnTo>
                  <a:lnTo>
                    <a:pt x="258" y="567"/>
                  </a:lnTo>
                  <a:lnTo>
                    <a:pt x="258" y="567"/>
                  </a:lnTo>
                  <a:lnTo>
                    <a:pt x="258" y="570"/>
                  </a:lnTo>
                  <a:lnTo>
                    <a:pt x="258" y="570"/>
                  </a:lnTo>
                  <a:lnTo>
                    <a:pt x="258" y="570"/>
                  </a:lnTo>
                  <a:lnTo>
                    <a:pt x="256" y="570"/>
                  </a:lnTo>
                  <a:lnTo>
                    <a:pt x="256" y="570"/>
                  </a:lnTo>
                  <a:lnTo>
                    <a:pt x="256" y="570"/>
                  </a:lnTo>
                  <a:lnTo>
                    <a:pt x="256" y="572"/>
                  </a:lnTo>
                  <a:lnTo>
                    <a:pt x="256" y="572"/>
                  </a:lnTo>
                  <a:lnTo>
                    <a:pt x="256" y="572"/>
                  </a:lnTo>
                  <a:lnTo>
                    <a:pt x="256" y="572"/>
                  </a:lnTo>
                  <a:lnTo>
                    <a:pt x="258" y="574"/>
                  </a:lnTo>
                  <a:lnTo>
                    <a:pt x="258" y="577"/>
                  </a:lnTo>
                  <a:lnTo>
                    <a:pt x="260" y="577"/>
                  </a:lnTo>
                  <a:lnTo>
                    <a:pt x="260" y="577"/>
                  </a:lnTo>
                  <a:lnTo>
                    <a:pt x="263" y="577"/>
                  </a:lnTo>
                  <a:lnTo>
                    <a:pt x="263" y="577"/>
                  </a:lnTo>
                  <a:lnTo>
                    <a:pt x="263" y="574"/>
                  </a:lnTo>
                  <a:lnTo>
                    <a:pt x="263" y="574"/>
                  </a:lnTo>
                  <a:lnTo>
                    <a:pt x="263" y="574"/>
                  </a:lnTo>
                  <a:lnTo>
                    <a:pt x="265" y="574"/>
                  </a:lnTo>
                  <a:lnTo>
                    <a:pt x="265" y="574"/>
                  </a:lnTo>
                  <a:lnTo>
                    <a:pt x="265" y="574"/>
                  </a:lnTo>
                  <a:lnTo>
                    <a:pt x="265" y="572"/>
                  </a:lnTo>
                  <a:close/>
                  <a:moveTo>
                    <a:pt x="267" y="626"/>
                  </a:moveTo>
                  <a:lnTo>
                    <a:pt x="267" y="626"/>
                  </a:lnTo>
                  <a:lnTo>
                    <a:pt x="267" y="626"/>
                  </a:lnTo>
                  <a:lnTo>
                    <a:pt x="267" y="626"/>
                  </a:lnTo>
                  <a:lnTo>
                    <a:pt x="267" y="629"/>
                  </a:lnTo>
                  <a:lnTo>
                    <a:pt x="267" y="629"/>
                  </a:lnTo>
                  <a:lnTo>
                    <a:pt x="265" y="629"/>
                  </a:lnTo>
                  <a:lnTo>
                    <a:pt x="265" y="629"/>
                  </a:lnTo>
                  <a:lnTo>
                    <a:pt x="267" y="629"/>
                  </a:lnTo>
                  <a:lnTo>
                    <a:pt x="267" y="629"/>
                  </a:lnTo>
                  <a:lnTo>
                    <a:pt x="267" y="629"/>
                  </a:lnTo>
                  <a:lnTo>
                    <a:pt x="270" y="629"/>
                  </a:lnTo>
                  <a:lnTo>
                    <a:pt x="270" y="629"/>
                  </a:lnTo>
                  <a:lnTo>
                    <a:pt x="270" y="629"/>
                  </a:lnTo>
                  <a:lnTo>
                    <a:pt x="270" y="626"/>
                  </a:lnTo>
                  <a:lnTo>
                    <a:pt x="267" y="626"/>
                  </a:lnTo>
                  <a:lnTo>
                    <a:pt x="267" y="626"/>
                  </a:lnTo>
                  <a:close/>
                  <a:moveTo>
                    <a:pt x="277" y="626"/>
                  </a:moveTo>
                  <a:lnTo>
                    <a:pt x="275" y="626"/>
                  </a:lnTo>
                  <a:lnTo>
                    <a:pt x="275" y="626"/>
                  </a:lnTo>
                  <a:lnTo>
                    <a:pt x="275" y="626"/>
                  </a:lnTo>
                  <a:lnTo>
                    <a:pt x="275" y="626"/>
                  </a:lnTo>
                  <a:lnTo>
                    <a:pt x="275" y="629"/>
                  </a:lnTo>
                  <a:lnTo>
                    <a:pt x="272" y="629"/>
                  </a:lnTo>
                  <a:lnTo>
                    <a:pt x="272" y="629"/>
                  </a:lnTo>
                  <a:lnTo>
                    <a:pt x="272" y="629"/>
                  </a:lnTo>
                  <a:lnTo>
                    <a:pt x="275" y="629"/>
                  </a:lnTo>
                  <a:lnTo>
                    <a:pt x="275" y="629"/>
                  </a:lnTo>
                  <a:lnTo>
                    <a:pt x="277" y="629"/>
                  </a:lnTo>
                  <a:lnTo>
                    <a:pt x="277" y="629"/>
                  </a:lnTo>
                  <a:lnTo>
                    <a:pt x="277" y="629"/>
                  </a:lnTo>
                  <a:lnTo>
                    <a:pt x="277" y="626"/>
                  </a:lnTo>
                  <a:lnTo>
                    <a:pt x="277" y="626"/>
                  </a:lnTo>
                  <a:close/>
                  <a:moveTo>
                    <a:pt x="114" y="2429"/>
                  </a:moveTo>
                  <a:lnTo>
                    <a:pt x="116" y="2429"/>
                  </a:lnTo>
                  <a:lnTo>
                    <a:pt x="116" y="2427"/>
                  </a:lnTo>
                  <a:lnTo>
                    <a:pt x="116" y="2427"/>
                  </a:lnTo>
                  <a:lnTo>
                    <a:pt x="116" y="2427"/>
                  </a:lnTo>
                  <a:lnTo>
                    <a:pt x="116" y="2424"/>
                  </a:lnTo>
                  <a:lnTo>
                    <a:pt x="116" y="2424"/>
                  </a:lnTo>
                  <a:lnTo>
                    <a:pt x="116" y="2424"/>
                  </a:lnTo>
                  <a:lnTo>
                    <a:pt x="114" y="2422"/>
                  </a:lnTo>
                  <a:lnTo>
                    <a:pt x="111" y="2417"/>
                  </a:lnTo>
                  <a:lnTo>
                    <a:pt x="109" y="2417"/>
                  </a:lnTo>
                  <a:lnTo>
                    <a:pt x="109" y="2417"/>
                  </a:lnTo>
                  <a:lnTo>
                    <a:pt x="107" y="2417"/>
                  </a:lnTo>
                  <a:lnTo>
                    <a:pt x="107" y="2420"/>
                  </a:lnTo>
                  <a:lnTo>
                    <a:pt x="109" y="2422"/>
                  </a:lnTo>
                  <a:lnTo>
                    <a:pt x="109" y="2422"/>
                  </a:lnTo>
                  <a:lnTo>
                    <a:pt x="109" y="2422"/>
                  </a:lnTo>
                  <a:lnTo>
                    <a:pt x="109" y="2424"/>
                  </a:lnTo>
                  <a:lnTo>
                    <a:pt x="107" y="2424"/>
                  </a:lnTo>
                  <a:lnTo>
                    <a:pt x="107" y="2427"/>
                  </a:lnTo>
                  <a:lnTo>
                    <a:pt x="107" y="2427"/>
                  </a:lnTo>
                  <a:lnTo>
                    <a:pt x="109" y="2429"/>
                  </a:lnTo>
                  <a:lnTo>
                    <a:pt x="111" y="2429"/>
                  </a:lnTo>
                  <a:lnTo>
                    <a:pt x="114" y="2429"/>
                  </a:lnTo>
                  <a:close/>
                  <a:moveTo>
                    <a:pt x="218" y="520"/>
                  </a:moveTo>
                  <a:lnTo>
                    <a:pt x="218" y="520"/>
                  </a:lnTo>
                  <a:lnTo>
                    <a:pt x="215" y="518"/>
                  </a:lnTo>
                  <a:lnTo>
                    <a:pt x="215" y="518"/>
                  </a:lnTo>
                  <a:lnTo>
                    <a:pt x="213" y="520"/>
                  </a:lnTo>
                  <a:lnTo>
                    <a:pt x="211" y="520"/>
                  </a:lnTo>
                  <a:lnTo>
                    <a:pt x="211" y="522"/>
                  </a:lnTo>
                  <a:lnTo>
                    <a:pt x="208" y="522"/>
                  </a:lnTo>
                  <a:lnTo>
                    <a:pt x="208" y="522"/>
                  </a:lnTo>
                  <a:lnTo>
                    <a:pt x="208" y="522"/>
                  </a:lnTo>
                  <a:lnTo>
                    <a:pt x="208" y="520"/>
                  </a:lnTo>
                  <a:lnTo>
                    <a:pt x="208" y="520"/>
                  </a:lnTo>
                  <a:lnTo>
                    <a:pt x="206" y="520"/>
                  </a:lnTo>
                  <a:lnTo>
                    <a:pt x="206" y="520"/>
                  </a:lnTo>
                  <a:lnTo>
                    <a:pt x="206" y="520"/>
                  </a:lnTo>
                  <a:lnTo>
                    <a:pt x="204" y="520"/>
                  </a:lnTo>
                  <a:lnTo>
                    <a:pt x="204" y="520"/>
                  </a:lnTo>
                  <a:lnTo>
                    <a:pt x="204" y="520"/>
                  </a:lnTo>
                  <a:lnTo>
                    <a:pt x="201" y="520"/>
                  </a:lnTo>
                  <a:lnTo>
                    <a:pt x="201" y="520"/>
                  </a:lnTo>
                  <a:lnTo>
                    <a:pt x="199" y="520"/>
                  </a:lnTo>
                  <a:lnTo>
                    <a:pt x="199" y="520"/>
                  </a:lnTo>
                  <a:lnTo>
                    <a:pt x="199" y="522"/>
                  </a:lnTo>
                  <a:lnTo>
                    <a:pt x="199" y="522"/>
                  </a:lnTo>
                  <a:lnTo>
                    <a:pt x="199" y="522"/>
                  </a:lnTo>
                  <a:lnTo>
                    <a:pt x="199" y="525"/>
                  </a:lnTo>
                  <a:lnTo>
                    <a:pt x="199" y="525"/>
                  </a:lnTo>
                  <a:lnTo>
                    <a:pt x="199" y="525"/>
                  </a:lnTo>
                  <a:lnTo>
                    <a:pt x="199" y="525"/>
                  </a:lnTo>
                  <a:lnTo>
                    <a:pt x="199" y="525"/>
                  </a:lnTo>
                  <a:lnTo>
                    <a:pt x="201" y="522"/>
                  </a:lnTo>
                  <a:lnTo>
                    <a:pt x="204" y="522"/>
                  </a:lnTo>
                  <a:lnTo>
                    <a:pt x="204" y="522"/>
                  </a:lnTo>
                  <a:lnTo>
                    <a:pt x="204" y="522"/>
                  </a:lnTo>
                  <a:lnTo>
                    <a:pt x="206" y="522"/>
                  </a:lnTo>
                  <a:lnTo>
                    <a:pt x="206" y="525"/>
                  </a:lnTo>
                  <a:lnTo>
                    <a:pt x="206" y="525"/>
                  </a:lnTo>
                  <a:lnTo>
                    <a:pt x="206" y="525"/>
                  </a:lnTo>
                  <a:lnTo>
                    <a:pt x="206" y="525"/>
                  </a:lnTo>
                  <a:lnTo>
                    <a:pt x="206" y="525"/>
                  </a:lnTo>
                  <a:lnTo>
                    <a:pt x="208" y="525"/>
                  </a:lnTo>
                  <a:lnTo>
                    <a:pt x="208" y="525"/>
                  </a:lnTo>
                  <a:lnTo>
                    <a:pt x="208" y="527"/>
                  </a:lnTo>
                  <a:lnTo>
                    <a:pt x="208" y="527"/>
                  </a:lnTo>
                  <a:lnTo>
                    <a:pt x="208" y="527"/>
                  </a:lnTo>
                  <a:lnTo>
                    <a:pt x="208" y="527"/>
                  </a:lnTo>
                  <a:lnTo>
                    <a:pt x="208" y="527"/>
                  </a:lnTo>
                  <a:lnTo>
                    <a:pt x="208" y="527"/>
                  </a:lnTo>
                  <a:lnTo>
                    <a:pt x="208" y="527"/>
                  </a:lnTo>
                  <a:lnTo>
                    <a:pt x="211" y="527"/>
                  </a:lnTo>
                  <a:lnTo>
                    <a:pt x="211" y="527"/>
                  </a:lnTo>
                  <a:lnTo>
                    <a:pt x="211" y="527"/>
                  </a:lnTo>
                  <a:lnTo>
                    <a:pt x="208" y="525"/>
                  </a:lnTo>
                  <a:lnTo>
                    <a:pt x="208" y="525"/>
                  </a:lnTo>
                  <a:lnTo>
                    <a:pt x="211" y="525"/>
                  </a:lnTo>
                  <a:lnTo>
                    <a:pt x="211" y="525"/>
                  </a:lnTo>
                  <a:lnTo>
                    <a:pt x="211" y="522"/>
                  </a:lnTo>
                  <a:lnTo>
                    <a:pt x="213" y="522"/>
                  </a:lnTo>
                  <a:lnTo>
                    <a:pt x="213" y="522"/>
                  </a:lnTo>
                  <a:lnTo>
                    <a:pt x="215" y="522"/>
                  </a:lnTo>
                  <a:lnTo>
                    <a:pt x="215" y="522"/>
                  </a:lnTo>
                  <a:lnTo>
                    <a:pt x="215" y="522"/>
                  </a:lnTo>
                  <a:lnTo>
                    <a:pt x="215" y="522"/>
                  </a:lnTo>
                  <a:lnTo>
                    <a:pt x="218" y="522"/>
                  </a:lnTo>
                  <a:lnTo>
                    <a:pt x="218" y="522"/>
                  </a:lnTo>
                  <a:lnTo>
                    <a:pt x="218" y="522"/>
                  </a:lnTo>
                  <a:lnTo>
                    <a:pt x="218" y="520"/>
                  </a:lnTo>
                  <a:lnTo>
                    <a:pt x="218" y="520"/>
                  </a:lnTo>
                  <a:close/>
                  <a:moveTo>
                    <a:pt x="166" y="2528"/>
                  </a:moveTo>
                  <a:lnTo>
                    <a:pt x="166" y="2526"/>
                  </a:lnTo>
                  <a:lnTo>
                    <a:pt x="163" y="2524"/>
                  </a:lnTo>
                  <a:lnTo>
                    <a:pt x="163" y="2521"/>
                  </a:lnTo>
                  <a:lnTo>
                    <a:pt x="166" y="2521"/>
                  </a:lnTo>
                  <a:lnTo>
                    <a:pt x="166" y="2519"/>
                  </a:lnTo>
                  <a:lnTo>
                    <a:pt x="166" y="2517"/>
                  </a:lnTo>
                  <a:lnTo>
                    <a:pt x="163" y="2517"/>
                  </a:lnTo>
                  <a:lnTo>
                    <a:pt x="161" y="2517"/>
                  </a:lnTo>
                  <a:lnTo>
                    <a:pt x="163" y="2514"/>
                  </a:lnTo>
                  <a:lnTo>
                    <a:pt x="163" y="2512"/>
                  </a:lnTo>
                  <a:lnTo>
                    <a:pt x="166" y="2512"/>
                  </a:lnTo>
                  <a:lnTo>
                    <a:pt x="163" y="2509"/>
                  </a:lnTo>
                  <a:lnTo>
                    <a:pt x="163" y="2505"/>
                  </a:lnTo>
                  <a:lnTo>
                    <a:pt x="163" y="2502"/>
                  </a:lnTo>
                  <a:lnTo>
                    <a:pt x="159" y="2498"/>
                  </a:lnTo>
                  <a:lnTo>
                    <a:pt x="156" y="2493"/>
                  </a:lnTo>
                  <a:lnTo>
                    <a:pt x="154" y="2491"/>
                  </a:lnTo>
                  <a:lnTo>
                    <a:pt x="151" y="2488"/>
                  </a:lnTo>
                  <a:lnTo>
                    <a:pt x="151" y="2488"/>
                  </a:lnTo>
                  <a:lnTo>
                    <a:pt x="149" y="2488"/>
                  </a:lnTo>
                  <a:lnTo>
                    <a:pt x="149" y="2486"/>
                  </a:lnTo>
                  <a:lnTo>
                    <a:pt x="149" y="2486"/>
                  </a:lnTo>
                  <a:lnTo>
                    <a:pt x="149" y="2483"/>
                  </a:lnTo>
                  <a:lnTo>
                    <a:pt x="147" y="2483"/>
                  </a:lnTo>
                  <a:lnTo>
                    <a:pt x="147" y="2481"/>
                  </a:lnTo>
                  <a:lnTo>
                    <a:pt x="147" y="2479"/>
                  </a:lnTo>
                  <a:lnTo>
                    <a:pt x="147" y="2479"/>
                  </a:lnTo>
                  <a:lnTo>
                    <a:pt x="147" y="2479"/>
                  </a:lnTo>
                  <a:lnTo>
                    <a:pt x="147" y="2479"/>
                  </a:lnTo>
                  <a:lnTo>
                    <a:pt x="144" y="2476"/>
                  </a:lnTo>
                  <a:lnTo>
                    <a:pt x="142" y="2476"/>
                  </a:lnTo>
                  <a:lnTo>
                    <a:pt x="142" y="2474"/>
                  </a:lnTo>
                  <a:lnTo>
                    <a:pt x="140" y="2474"/>
                  </a:lnTo>
                  <a:lnTo>
                    <a:pt x="140" y="2476"/>
                  </a:lnTo>
                  <a:lnTo>
                    <a:pt x="137" y="2476"/>
                  </a:lnTo>
                  <a:lnTo>
                    <a:pt x="137" y="2479"/>
                  </a:lnTo>
                  <a:lnTo>
                    <a:pt x="137" y="2481"/>
                  </a:lnTo>
                  <a:lnTo>
                    <a:pt x="137" y="2483"/>
                  </a:lnTo>
                  <a:lnTo>
                    <a:pt x="137" y="2486"/>
                  </a:lnTo>
                  <a:lnTo>
                    <a:pt x="137" y="2486"/>
                  </a:lnTo>
                  <a:lnTo>
                    <a:pt x="137" y="2486"/>
                  </a:lnTo>
                  <a:lnTo>
                    <a:pt x="135" y="2488"/>
                  </a:lnTo>
                  <a:lnTo>
                    <a:pt x="135" y="2488"/>
                  </a:lnTo>
                  <a:lnTo>
                    <a:pt x="133" y="2488"/>
                  </a:lnTo>
                  <a:lnTo>
                    <a:pt x="133" y="2491"/>
                  </a:lnTo>
                  <a:lnTo>
                    <a:pt x="130" y="2491"/>
                  </a:lnTo>
                  <a:lnTo>
                    <a:pt x="130" y="2491"/>
                  </a:lnTo>
                  <a:lnTo>
                    <a:pt x="128" y="2491"/>
                  </a:lnTo>
                  <a:lnTo>
                    <a:pt x="125" y="2491"/>
                  </a:lnTo>
                  <a:lnTo>
                    <a:pt x="125" y="2491"/>
                  </a:lnTo>
                  <a:lnTo>
                    <a:pt x="125" y="2491"/>
                  </a:lnTo>
                  <a:lnTo>
                    <a:pt x="123" y="2491"/>
                  </a:lnTo>
                  <a:lnTo>
                    <a:pt x="123" y="2493"/>
                  </a:lnTo>
                  <a:lnTo>
                    <a:pt x="121" y="2493"/>
                  </a:lnTo>
                  <a:lnTo>
                    <a:pt x="121" y="2493"/>
                  </a:lnTo>
                  <a:lnTo>
                    <a:pt x="118" y="2498"/>
                  </a:lnTo>
                  <a:lnTo>
                    <a:pt x="121" y="2498"/>
                  </a:lnTo>
                  <a:lnTo>
                    <a:pt x="121" y="2500"/>
                  </a:lnTo>
                  <a:lnTo>
                    <a:pt x="121" y="2500"/>
                  </a:lnTo>
                  <a:lnTo>
                    <a:pt x="121" y="2502"/>
                  </a:lnTo>
                  <a:lnTo>
                    <a:pt x="121" y="2505"/>
                  </a:lnTo>
                  <a:lnTo>
                    <a:pt x="121" y="2505"/>
                  </a:lnTo>
                  <a:lnTo>
                    <a:pt x="118" y="2507"/>
                  </a:lnTo>
                  <a:lnTo>
                    <a:pt x="118" y="2507"/>
                  </a:lnTo>
                  <a:lnTo>
                    <a:pt x="118" y="2507"/>
                  </a:lnTo>
                  <a:lnTo>
                    <a:pt x="118" y="2509"/>
                  </a:lnTo>
                  <a:lnTo>
                    <a:pt x="118" y="2512"/>
                  </a:lnTo>
                  <a:lnTo>
                    <a:pt x="118" y="2514"/>
                  </a:lnTo>
                  <a:lnTo>
                    <a:pt x="118" y="2514"/>
                  </a:lnTo>
                  <a:lnTo>
                    <a:pt x="118" y="2517"/>
                  </a:lnTo>
                  <a:lnTo>
                    <a:pt x="114" y="2521"/>
                  </a:lnTo>
                  <a:lnTo>
                    <a:pt x="111" y="2524"/>
                  </a:lnTo>
                  <a:lnTo>
                    <a:pt x="111" y="2526"/>
                  </a:lnTo>
                  <a:lnTo>
                    <a:pt x="111" y="2528"/>
                  </a:lnTo>
                  <a:lnTo>
                    <a:pt x="111" y="2528"/>
                  </a:lnTo>
                  <a:lnTo>
                    <a:pt x="111" y="2528"/>
                  </a:lnTo>
                  <a:lnTo>
                    <a:pt x="111" y="2531"/>
                  </a:lnTo>
                  <a:lnTo>
                    <a:pt x="111" y="2531"/>
                  </a:lnTo>
                  <a:lnTo>
                    <a:pt x="114" y="2531"/>
                  </a:lnTo>
                  <a:lnTo>
                    <a:pt x="114" y="2533"/>
                  </a:lnTo>
                  <a:lnTo>
                    <a:pt x="114" y="2535"/>
                  </a:lnTo>
                  <a:lnTo>
                    <a:pt x="116" y="2538"/>
                  </a:lnTo>
                  <a:lnTo>
                    <a:pt x="116" y="2538"/>
                  </a:lnTo>
                  <a:lnTo>
                    <a:pt x="116" y="2540"/>
                  </a:lnTo>
                  <a:lnTo>
                    <a:pt x="116" y="2540"/>
                  </a:lnTo>
                  <a:lnTo>
                    <a:pt x="118" y="2540"/>
                  </a:lnTo>
                  <a:lnTo>
                    <a:pt x="118" y="2540"/>
                  </a:lnTo>
                  <a:lnTo>
                    <a:pt x="121" y="2540"/>
                  </a:lnTo>
                  <a:lnTo>
                    <a:pt x="121" y="2538"/>
                  </a:lnTo>
                  <a:lnTo>
                    <a:pt x="123" y="2538"/>
                  </a:lnTo>
                  <a:lnTo>
                    <a:pt x="125" y="2535"/>
                  </a:lnTo>
                  <a:lnTo>
                    <a:pt x="125" y="2535"/>
                  </a:lnTo>
                  <a:lnTo>
                    <a:pt x="125" y="2535"/>
                  </a:lnTo>
                  <a:lnTo>
                    <a:pt x="130" y="2533"/>
                  </a:lnTo>
                  <a:lnTo>
                    <a:pt x="130" y="2533"/>
                  </a:lnTo>
                  <a:lnTo>
                    <a:pt x="133" y="2533"/>
                  </a:lnTo>
                  <a:lnTo>
                    <a:pt x="133" y="2533"/>
                  </a:lnTo>
                  <a:lnTo>
                    <a:pt x="135" y="2533"/>
                  </a:lnTo>
                  <a:lnTo>
                    <a:pt x="135" y="2533"/>
                  </a:lnTo>
                  <a:lnTo>
                    <a:pt x="137" y="2533"/>
                  </a:lnTo>
                  <a:lnTo>
                    <a:pt x="137" y="2533"/>
                  </a:lnTo>
                  <a:lnTo>
                    <a:pt x="140" y="2533"/>
                  </a:lnTo>
                  <a:lnTo>
                    <a:pt x="142" y="2533"/>
                  </a:lnTo>
                  <a:lnTo>
                    <a:pt x="142" y="2533"/>
                  </a:lnTo>
                  <a:lnTo>
                    <a:pt x="144" y="2533"/>
                  </a:lnTo>
                  <a:lnTo>
                    <a:pt x="144" y="2535"/>
                  </a:lnTo>
                  <a:lnTo>
                    <a:pt x="147" y="2535"/>
                  </a:lnTo>
                  <a:lnTo>
                    <a:pt x="151" y="2535"/>
                  </a:lnTo>
                  <a:lnTo>
                    <a:pt x="151" y="2535"/>
                  </a:lnTo>
                  <a:lnTo>
                    <a:pt x="154" y="2538"/>
                  </a:lnTo>
                  <a:lnTo>
                    <a:pt x="154" y="2535"/>
                  </a:lnTo>
                  <a:lnTo>
                    <a:pt x="156" y="2538"/>
                  </a:lnTo>
                  <a:lnTo>
                    <a:pt x="161" y="2535"/>
                  </a:lnTo>
                  <a:lnTo>
                    <a:pt x="163" y="2535"/>
                  </a:lnTo>
                  <a:lnTo>
                    <a:pt x="166" y="2535"/>
                  </a:lnTo>
                  <a:lnTo>
                    <a:pt x="168" y="2533"/>
                  </a:lnTo>
                  <a:lnTo>
                    <a:pt x="168" y="2533"/>
                  </a:lnTo>
                  <a:lnTo>
                    <a:pt x="168" y="2531"/>
                  </a:lnTo>
                  <a:lnTo>
                    <a:pt x="168" y="2531"/>
                  </a:lnTo>
                  <a:lnTo>
                    <a:pt x="166" y="2528"/>
                  </a:lnTo>
                  <a:close/>
                  <a:moveTo>
                    <a:pt x="121" y="2443"/>
                  </a:moveTo>
                  <a:lnTo>
                    <a:pt x="121" y="2443"/>
                  </a:lnTo>
                  <a:lnTo>
                    <a:pt x="118" y="2443"/>
                  </a:lnTo>
                  <a:lnTo>
                    <a:pt x="116" y="2443"/>
                  </a:lnTo>
                  <a:lnTo>
                    <a:pt x="116" y="2443"/>
                  </a:lnTo>
                  <a:lnTo>
                    <a:pt x="114" y="2443"/>
                  </a:lnTo>
                  <a:lnTo>
                    <a:pt x="114" y="2443"/>
                  </a:lnTo>
                  <a:lnTo>
                    <a:pt x="114" y="2446"/>
                  </a:lnTo>
                  <a:lnTo>
                    <a:pt x="114" y="2446"/>
                  </a:lnTo>
                  <a:lnTo>
                    <a:pt x="116" y="2446"/>
                  </a:lnTo>
                  <a:lnTo>
                    <a:pt x="116" y="2446"/>
                  </a:lnTo>
                  <a:lnTo>
                    <a:pt x="118" y="2446"/>
                  </a:lnTo>
                  <a:lnTo>
                    <a:pt x="118" y="2448"/>
                  </a:lnTo>
                  <a:lnTo>
                    <a:pt x="121" y="2446"/>
                  </a:lnTo>
                  <a:lnTo>
                    <a:pt x="121" y="2446"/>
                  </a:lnTo>
                  <a:lnTo>
                    <a:pt x="121" y="2446"/>
                  </a:lnTo>
                  <a:lnTo>
                    <a:pt x="121" y="2443"/>
                  </a:lnTo>
                  <a:close/>
                  <a:moveTo>
                    <a:pt x="185" y="470"/>
                  </a:moveTo>
                  <a:lnTo>
                    <a:pt x="185" y="470"/>
                  </a:lnTo>
                  <a:lnTo>
                    <a:pt x="185" y="470"/>
                  </a:lnTo>
                  <a:lnTo>
                    <a:pt x="182" y="470"/>
                  </a:lnTo>
                  <a:lnTo>
                    <a:pt x="185" y="473"/>
                  </a:lnTo>
                  <a:lnTo>
                    <a:pt x="185" y="473"/>
                  </a:lnTo>
                  <a:lnTo>
                    <a:pt x="185" y="473"/>
                  </a:lnTo>
                  <a:lnTo>
                    <a:pt x="185" y="473"/>
                  </a:lnTo>
                  <a:lnTo>
                    <a:pt x="185" y="470"/>
                  </a:lnTo>
                  <a:close/>
                  <a:moveTo>
                    <a:pt x="703" y="551"/>
                  </a:moveTo>
                  <a:lnTo>
                    <a:pt x="703" y="551"/>
                  </a:lnTo>
                  <a:lnTo>
                    <a:pt x="700" y="551"/>
                  </a:lnTo>
                  <a:lnTo>
                    <a:pt x="698" y="551"/>
                  </a:lnTo>
                  <a:lnTo>
                    <a:pt x="698" y="548"/>
                  </a:lnTo>
                  <a:lnTo>
                    <a:pt x="698" y="548"/>
                  </a:lnTo>
                  <a:lnTo>
                    <a:pt x="696" y="548"/>
                  </a:lnTo>
                  <a:lnTo>
                    <a:pt x="696" y="548"/>
                  </a:lnTo>
                  <a:lnTo>
                    <a:pt x="696" y="548"/>
                  </a:lnTo>
                  <a:lnTo>
                    <a:pt x="696" y="548"/>
                  </a:lnTo>
                  <a:lnTo>
                    <a:pt x="693" y="548"/>
                  </a:lnTo>
                  <a:lnTo>
                    <a:pt x="693" y="551"/>
                  </a:lnTo>
                  <a:lnTo>
                    <a:pt x="693" y="551"/>
                  </a:lnTo>
                  <a:lnTo>
                    <a:pt x="693" y="551"/>
                  </a:lnTo>
                  <a:lnTo>
                    <a:pt x="693" y="551"/>
                  </a:lnTo>
                  <a:lnTo>
                    <a:pt x="696" y="551"/>
                  </a:lnTo>
                  <a:lnTo>
                    <a:pt x="696" y="553"/>
                  </a:lnTo>
                  <a:lnTo>
                    <a:pt x="696" y="553"/>
                  </a:lnTo>
                  <a:lnTo>
                    <a:pt x="696" y="553"/>
                  </a:lnTo>
                  <a:lnTo>
                    <a:pt x="696" y="553"/>
                  </a:lnTo>
                  <a:lnTo>
                    <a:pt x="696" y="553"/>
                  </a:lnTo>
                  <a:lnTo>
                    <a:pt x="696" y="556"/>
                  </a:lnTo>
                  <a:lnTo>
                    <a:pt x="696" y="556"/>
                  </a:lnTo>
                  <a:lnTo>
                    <a:pt x="696" y="556"/>
                  </a:lnTo>
                  <a:lnTo>
                    <a:pt x="696" y="556"/>
                  </a:lnTo>
                  <a:lnTo>
                    <a:pt x="696" y="553"/>
                  </a:lnTo>
                  <a:lnTo>
                    <a:pt x="698" y="553"/>
                  </a:lnTo>
                  <a:lnTo>
                    <a:pt x="700" y="553"/>
                  </a:lnTo>
                  <a:lnTo>
                    <a:pt x="700" y="553"/>
                  </a:lnTo>
                  <a:lnTo>
                    <a:pt x="700" y="553"/>
                  </a:lnTo>
                  <a:lnTo>
                    <a:pt x="700" y="553"/>
                  </a:lnTo>
                  <a:lnTo>
                    <a:pt x="703" y="553"/>
                  </a:lnTo>
                  <a:lnTo>
                    <a:pt x="703" y="553"/>
                  </a:lnTo>
                  <a:lnTo>
                    <a:pt x="703" y="553"/>
                  </a:lnTo>
                  <a:lnTo>
                    <a:pt x="703" y="553"/>
                  </a:lnTo>
                  <a:lnTo>
                    <a:pt x="705" y="551"/>
                  </a:lnTo>
                  <a:lnTo>
                    <a:pt x="703" y="551"/>
                  </a:lnTo>
                  <a:lnTo>
                    <a:pt x="703" y="551"/>
                  </a:lnTo>
                  <a:close/>
                  <a:moveTo>
                    <a:pt x="3905" y="1745"/>
                  </a:moveTo>
                  <a:lnTo>
                    <a:pt x="3905" y="1745"/>
                  </a:lnTo>
                  <a:lnTo>
                    <a:pt x="3902" y="1745"/>
                  </a:lnTo>
                  <a:lnTo>
                    <a:pt x="3902" y="1745"/>
                  </a:lnTo>
                  <a:lnTo>
                    <a:pt x="3900" y="1748"/>
                  </a:lnTo>
                  <a:lnTo>
                    <a:pt x="3900" y="1748"/>
                  </a:lnTo>
                  <a:lnTo>
                    <a:pt x="3900" y="1748"/>
                  </a:lnTo>
                  <a:lnTo>
                    <a:pt x="3900" y="1748"/>
                  </a:lnTo>
                  <a:lnTo>
                    <a:pt x="3900" y="1750"/>
                  </a:lnTo>
                  <a:lnTo>
                    <a:pt x="3900" y="1750"/>
                  </a:lnTo>
                  <a:lnTo>
                    <a:pt x="3900" y="1750"/>
                  </a:lnTo>
                  <a:lnTo>
                    <a:pt x="3900" y="1750"/>
                  </a:lnTo>
                  <a:lnTo>
                    <a:pt x="3900" y="1752"/>
                  </a:lnTo>
                  <a:lnTo>
                    <a:pt x="3900" y="1752"/>
                  </a:lnTo>
                  <a:lnTo>
                    <a:pt x="3900" y="1755"/>
                  </a:lnTo>
                  <a:lnTo>
                    <a:pt x="3900" y="1755"/>
                  </a:lnTo>
                  <a:lnTo>
                    <a:pt x="3900" y="1755"/>
                  </a:lnTo>
                  <a:lnTo>
                    <a:pt x="3900" y="1755"/>
                  </a:lnTo>
                  <a:lnTo>
                    <a:pt x="3900" y="1755"/>
                  </a:lnTo>
                  <a:lnTo>
                    <a:pt x="3900" y="1755"/>
                  </a:lnTo>
                  <a:lnTo>
                    <a:pt x="3900" y="1755"/>
                  </a:lnTo>
                  <a:lnTo>
                    <a:pt x="3902" y="1755"/>
                  </a:lnTo>
                  <a:lnTo>
                    <a:pt x="3902" y="1757"/>
                  </a:lnTo>
                  <a:lnTo>
                    <a:pt x="3902" y="1757"/>
                  </a:lnTo>
                  <a:lnTo>
                    <a:pt x="3902" y="1755"/>
                  </a:lnTo>
                  <a:lnTo>
                    <a:pt x="3902" y="1755"/>
                  </a:lnTo>
                  <a:lnTo>
                    <a:pt x="3905" y="1757"/>
                  </a:lnTo>
                  <a:lnTo>
                    <a:pt x="3905" y="1757"/>
                  </a:lnTo>
                  <a:lnTo>
                    <a:pt x="3905" y="1755"/>
                  </a:lnTo>
                  <a:lnTo>
                    <a:pt x="3905" y="1755"/>
                  </a:lnTo>
                  <a:lnTo>
                    <a:pt x="3905" y="1755"/>
                  </a:lnTo>
                  <a:lnTo>
                    <a:pt x="3905" y="1755"/>
                  </a:lnTo>
                  <a:lnTo>
                    <a:pt x="3902" y="1752"/>
                  </a:lnTo>
                  <a:lnTo>
                    <a:pt x="3902" y="1752"/>
                  </a:lnTo>
                  <a:lnTo>
                    <a:pt x="3905" y="1752"/>
                  </a:lnTo>
                  <a:lnTo>
                    <a:pt x="3905" y="1752"/>
                  </a:lnTo>
                  <a:lnTo>
                    <a:pt x="3907" y="1752"/>
                  </a:lnTo>
                  <a:lnTo>
                    <a:pt x="3907" y="1750"/>
                  </a:lnTo>
                  <a:lnTo>
                    <a:pt x="3907" y="1750"/>
                  </a:lnTo>
                  <a:lnTo>
                    <a:pt x="3907" y="1748"/>
                  </a:lnTo>
                  <a:lnTo>
                    <a:pt x="3905" y="1745"/>
                  </a:lnTo>
                  <a:close/>
                  <a:moveTo>
                    <a:pt x="2262" y="2067"/>
                  </a:moveTo>
                  <a:lnTo>
                    <a:pt x="2262" y="2065"/>
                  </a:lnTo>
                  <a:lnTo>
                    <a:pt x="2262" y="2065"/>
                  </a:lnTo>
                  <a:lnTo>
                    <a:pt x="2262" y="2065"/>
                  </a:lnTo>
                  <a:lnTo>
                    <a:pt x="2262" y="2065"/>
                  </a:lnTo>
                  <a:lnTo>
                    <a:pt x="2262" y="2065"/>
                  </a:lnTo>
                  <a:lnTo>
                    <a:pt x="2262" y="2062"/>
                  </a:lnTo>
                  <a:lnTo>
                    <a:pt x="2262" y="2062"/>
                  </a:lnTo>
                  <a:lnTo>
                    <a:pt x="2262" y="2062"/>
                  </a:lnTo>
                  <a:lnTo>
                    <a:pt x="2260" y="2062"/>
                  </a:lnTo>
                  <a:lnTo>
                    <a:pt x="2260" y="2062"/>
                  </a:lnTo>
                  <a:lnTo>
                    <a:pt x="2260" y="2062"/>
                  </a:lnTo>
                  <a:lnTo>
                    <a:pt x="2260" y="2062"/>
                  </a:lnTo>
                  <a:lnTo>
                    <a:pt x="2260" y="2062"/>
                  </a:lnTo>
                  <a:lnTo>
                    <a:pt x="2260" y="2062"/>
                  </a:lnTo>
                  <a:lnTo>
                    <a:pt x="2260" y="2062"/>
                  </a:lnTo>
                  <a:lnTo>
                    <a:pt x="2260" y="2062"/>
                  </a:lnTo>
                  <a:lnTo>
                    <a:pt x="2260" y="2062"/>
                  </a:lnTo>
                  <a:lnTo>
                    <a:pt x="2260" y="2062"/>
                  </a:lnTo>
                  <a:lnTo>
                    <a:pt x="2260" y="2062"/>
                  </a:lnTo>
                  <a:lnTo>
                    <a:pt x="2260" y="2062"/>
                  </a:lnTo>
                  <a:lnTo>
                    <a:pt x="2260" y="2062"/>
                  </a:lnTo>
                  <a:lnTo>
                    <a:pt x="2260" y="2065"/>
                  </a:lnTo>
                  <a:lnTo>
                    <a:pt x="2260" y="2065"/>
                  </a:lnTo>
                  <a:lnTo>
                    <a:pt x="2260" y="2065"/>
                  </a:lnTo>
                  <a:lnTo>
                    <a:pt x="2260" y="2065"/>
                  </a:lnTo>
                  <a:lnTo>
                    <a:pt x="2260" y="2065"/>
                  </a:lnTo>
                  <a:lnTo>
                    <a:pt x="2260" y="2065"/>
                  </a:lnTo>
                  <a:lnTo>
                    <a:pt x="2260" y="2067"/>
                  </a:lnTo>
                  <a:lnTo>
                    <a:pt x="2260" y="2067"/>
                  </a:lnTo>
                  <a:lnTo>
                    <a:pt x="2260" y="2067"/>
                  </a:lnTo>
                  <a:lnTo>
                    <a:pt x="2260" y="2069"/>
                  </a:lnTo>
                  <a:lnTo>
                    <a:pt x="2260" y="2072"/>
                  </a:lnTo>
                  <a:lnTo>
                    <a:pt x="2262" y="2072"/>
                  </a:lnTo>
                  <a:lnTo>
                    <a:pt x="2262" y="2072"/>
                  </a:lnTo>
                  <a:lnTo>
                    <a:pt x="2262" y="2072"/>
                  </a:lnTo>
                  <a:lnTo>
                    <a:pt x="2262" y="2072"/>
                  </a:lnTo>
                  <a:lnTo>
                    <a:pt x="2262" y="2069"/>
                  </a:lnTo>
                  <a:lnTo>
                    <a:pt x="2262" y="2069"/>
                  </a:lnTo>
                  <a:lnTo>
                    <a:pt x="2262" y="2069"/>
                  </a:lnTo>
                  <a:lnTo>
                    <a:pt x="2262" y="2067"/>
                  </a:lnTo>
                  <a:lnTo>
                    <a:pt x="2262" y="2067"/>
                  </a:lnTo>
                  <a:lnTo>
                    <a:pt x="2262" y="2067"/>
                  </a:lnTo>
                  <a:close/>
                  <a:moveTo>
                    <a:pt x="3926" y="1736"/>
                  </a:moveTo>
                  <a:lnTo>
                    <a:pt x="3926" y="1734"/>
                  </a:lnTo>
                  <a:lnTo>
                    <a:pt x="3926" y="1734"/>
                  </a:lnTo>
                  <a:lnTo>
                    <a:pt x="3926" y="1734"/>
                  </a:lnTo>
                  <a:lnTo>
                    <a:pt x="3926" y="1736"/>
                  </a:lnTo>
                  <a:lnTo>
                    <a:pt x="3926" y="1736"/>
                  </a:lnTo>
                  <a:lnTo>
                    <a:pt x="3926" y="1736"/>
                  </a:lnTo>
                  <a:lnTo>
                    <a:pt x="3928" y="1738"/>
                  </a:lnTo>
                  <a:lnTo>
                    <a:pt x="3928" y="1736"/>
                  </a:lnTo>
                  <a:lnTo>
                    <a:pt x="3928" y="1736"/>
                  </a:lnTo>
                  <a:lnTo>
                    <a:pt x="3926" y="1736"/>
                  </a:lnTo>
                  <a:close/>
                  <a:moveTo>
                    <a:pt x="2258" y="2058"/>
                  </a:moveTo>
                  <a:lnTo>
                    <a:pt x="2258" y="2055"/>
                  </a:lnTo>
                  <a:lnTo>
                    <a:pt x="2258" y="2055"/>
                  </a:lnTo>
                  <a:lnTo>
                    <a:pt x="2258" y="2055"/>
                  </a:lnTo>
                  <a:lnTo>
                    <a:pt x="2258" y="2055"/>
                  </a:lnTo>
                  <a:lnTo>
                    <a:pt x="2255" y="2055"/>
                  </a:lnTo>
                  <a:lnTo>
                    <a:pt x="2255" y="2055"/>
                  </a:lnTo>
                  <a:lnTo>
                    <a:pt x="2255" y="2055"/>
                  </a:lnTo>
                  <a:lnTo>
                    <a:pt x="2255" y="2055"/>
                  </a:lnTo>
                  <a:lnTo>
                    <a:pt x="2255" y="2055"/>
                  </a:lnTo>
                  <a:lnTo>
                    <a:pt x="2255" y="2055"/>
                  </a:lnTo>
                  <a:lnTo>
                    <a:pt x="2255" y="2055"/>
                  </a:lnTo>
                  <a:lnTo>
                    <a:pt x="2255" y="2055"/>
                  </a:lnTo>
                  <a:lnTo>
                    <a:pt x="2258" y="2058"/>
                  </a:lnTo>
                  <a:lnTo>
                    <a:pt x="2258" y="2058"/>
                  </a:lnTo>
                  <a:lnTo>
                    <a:pt x="2258" y="2058"/>
                  </a:lnTo>
                  <a:lnTo>
                    <a:pt x="2258" y="2058"/>
                  </a:lnTo>
                  <a:lnTo>
                    <a:pt x="2258" y="2058"/>
                  </a:lnTo>
                  <a:lnTo>
                    <a:pt x="2258" y="2058"/>
                  </a:lnTo>
                  <a:lnTo>
                    <a:pt x="2258" y="2058"/>
                  </a:lnTo>
                  <a:lnTo>
                    <a:pt x="2258" y="2058"/>
                  </a:lnTo>
                  <a:close/>
                  <a:moveTo>
                    <a:pt x="2248" y="2062"/>
                  </a:moveTo>
                  <a:lnTo>
                    <a:pt x="2248" y="2062"/>
                  </a:lnTo>
                  <a:lnTo>
                    <a:pt x="2248" y="2062"/>
                  </a:lnTo>
                  <a:lnTo>
                    <a:pt x="2248" y="2062"/>
                  </a:lnTo>
                  <a:lnTo>
                    <a:pt x="2248" y="2062"/>
                  </a:lnTo>
                  <a:lnTo>
                    <a:pt x="2248" y="2062"/>
                  </a:lnTo>
                  <a:lnTo>
                    <a:pt x="2248" y="2062"/>
                  </a:lnTo>
                  <a:lnTo>
                    <a:pt x="2248" y="2065"/>
                  </a:lnTo>
                  <a:lnTo>
                    <a:pt x="2248" y="2065"/>
                  </a:lnTo>
                  <a:lnTo>
                    <a:pt x="2248" y="2065"/>
                  </a:lnTo>
                  <a:lnTo>
                    <a:pt x="2248" y="2065"/>
                  </a:lnTo>
                  <a:lnTo>
                    <a:pt x="2248" y="2065"/>
                  </a:lnTo>
                  <a:lnTo>
                    <a:pt x="2248" y="2062"/>
                  </a:lnTo>
                  <a:lnTo>
                    <a:pt x="2248" y="2062"/>
                  </a:lnTo>
                  <a:lnTo>
                    <a:pt x="2248" y="2062"/>
                  </a:lnTo>
                  <a:lnTo>
                    <a:pt x="2248" y="2062"/>
                  </a:lnTo>
                  <a:close/>
                  <a:moveTo>
                    <a:pt x="3935" y="1726"/>
                  </a:moveTo>
                  <a:lnTo>
                    <a:pt x="3935" y="1726"/>
                  </a:lnTo>
                  <a:lnTo>
                    <a:pt x="3935" y="1726"/>
                  </a:lnTo>
                  <a:lnTo>
                    <a:pt x="3935" y="1726"/>
                  </a:lnTo>
                  <a:lnTo>
                    <a:pt x="3935" y="1726"/>
                  </a:lnTo>
                  <a:lnTo>
                    <a:pt x="3935" y="1726"/>
                  </a:lnTo>
                  <a:lnTo>
                    <a:pt x="3935" y="1726"/>
                  </a:lnTo>
                  <a:lnTo>
                    <a:pt x="3935" y="1726"/>
                  </a:lnTo>
                  <a:close/>
                  <a:moveTo>
                    <a:pt x="3902" y="1760"/>
                  </a:moveTo>
                  <a:lnTo>
                    <a:pt x="3902" y="1760"/>
                  </a:lnTo>
                  <a:lnTo>
                    <a:pt x="3902" y="1760"/>
                  </a:lnTo>
                  <a:lnTo>
                    <a:pt x="3900" y="1760"/>
                  </a:lnTo>
                  <a:lnTo>
                    <a:pt x="3900" y="1760"/>
                  </a:lnTo>
                  <a:lnTo>
                    <a:pt x="3900" y="1760"/>
                  </a:lnTo>
                  <a:lnTo>
                    <a:pt x="3900" y="1760"/>
                  </a:lnTo>
                  <a:lnTo>
                    <a:pt x="3900" y="1762"/>
                  </a:lnTo>
                  <a:lnTo>
                    <a:pt x="3900" y="1762"/>
                  </a:lnTo>
                  <a:lnTo>
                    <a:pt x="3898" y="1762"/>
                  </a:lnTo>
                  <a:lnTo>
                    <a:pt x="3900" y="1762"/>
                  </a:lnTo>
                  <a:lnTo>
                    <a:pt x="3900" y="1762"/>
                  </a:lnTo>
                  <a:lnTo>
                    <a:pt x="3900" y="1762"/>
                  </a:lnTo>
                  <a:lnTo>
                    <a:pt x="3900" y="1762"/>
                  </a:lnTo>
                  <a:lnTo>
                    <a:pt x="3902" y="1762"/>
                  </a:lnTo>
                  <a:lnTo>
                    <a:pt x="3902" y="1762"/>
                  </a:lnTo>
                  <a:lnTo>
                    <a:pt x="3902" y="1762"/>
                  </a:lnTo>
                  <a:lnTo>
                    <a:pt x="3902" y="1762"/>
                  </a:lnTo>
                  <a:lnTo>
                    <a:pt x="3902" y="1760"/>
                  </a:lnTo>
                  <a:lnTo>
                    <a:pt x="3902" y="1760"/>
                  </a:lnTo>
                  <a:close/>
                  <a:moveTo>
                    <a:pt x="3890" y="1769"/>
                  </a:moveTo>
                  <a:lnTo>
                    <a:pt x="3888" y="1769"/>
                  </a:lnTo>
                  <a:lnTo>
                    <a:pt x="3888" y="1769"/>
                  </a:lnTo>
                  <a:lnTo>
                    <a:pt x="3886" y="1767"/>
                  </a:lnTo>
                  <a:lnTo>
                    <a:pt x="3886" y="1769"/>
                  </a:lnTo>
                  <a:lnTo>
                    <a:pt x="3886" y="1769"/>
                  </a:lnTo>
                  <a:lnTo>
                    <a:pt x="3886" y="1769"/>
                  </a:lnTo>
                  <a:lnTo>
                    <a:pt x="3886" y="1769"/>
                  </a:lnTo>
                  <a:lnTo>
                    <a:pt x="3888" y="1769"/>
                  </a:lnTo>
                  <a:lnTo>
                    <a:pt x="3888" y="1771"/>
                  </a:lnTo>
                  <a:lnTo>
                    <a:pt x="3888" y="1771"/>
                  </a:lnTo>
                  <a:lnTo>
                    <a:pt x="3890" y="1771"/>
                  </a:lnTo>
                  <a:lnTo>
                    <a:pt x="3890" y="1771"/>
                  </a:lnTo>
                  <a:lnTo>
                    <a:pt x="3890" y="1771"/>
                  </a:lnTo>
                  <a:lnTo>
                    <a:pt x="3890" y="1769"/>
                  </a:lnTo>
                  <a:lnTo>
                    <a:pt x="3890" y="1769"/>
                  </a:lnTo>
                  <a:lnTo>
                    <a:pt x="3890" y="1769"/>
                  </a:lnTo>
                  <a:lnTo>
                    <a:pt x="3890" y="1769"/>
                  </a:lnTo>
                  <a:close/>
                  <a:moveTo>
                    <a:pt x="3893" y="1762"/>
                  </a:moveTo>
                  <a:lnTo>
                    <a:pt x="3893" y="1762"/>
                  </a:lnTo>
                  <a:lnTo>
                    <a:pt x="3893" y="1762"/>
                  </a:lnTo>
                  <a:lnTo>
                    <a:pt x="3893" y="1762"/>
                  </a:lnTo>
                  <a:lnTo>
                    <a:pt x="3893" y="1760"/>
                  </a:lnTo>
                  <a:lnTo>
                    <a:pt x="3895" y="1760"/>
                  </a:lnTo>
                  <a:lnTo>
                    <a:pt x="3893" y="1760"/>
                  </a:lnTo>
                  <a:lnTo>
                    <a:pt x="3893" y="1760"/>
                  </a:lnTo>
                  <a:lnTo>
                    <a:pt x="3893" y="1757"/>
                  </a:lnTo>
                  <a:lnTo>
                    <a:pt x="3893" y="1757"/>
                  </a:lnTo>
                  <a:lnTo>
                    <a:pt x="3890" y="1757"/>
                  </a:lnTo>
                  <a:lnTo>
                    <a:pt x="3890" y="1757"/>
                  </a:lnTo>
                  <a:lnTo>
                    <a:pt x="3890" y="1760"/>
                  </a:lnTo>
                  <a:lnTo>
                    <a:pt x="3890" y="1760"/>
                  </a:lnTo>
                  <a:lnTo>
                    <a:pt x="3890" y="1760"/>
                  </a:lnTo>
                  <a:lnTo>
                    <a:pt x="3890" y="1760"/>
                  </a:lnTo>
                  <a:lnTo>
                    <a:pt x="3890" y="1760"/>
                  </a:lnTo>
                  <a:lnTo>
                    <a:pt x="3890" y="1760"/>
                  </a:lnTo>
                  <a:lnTo>
                    <a:pt x="3890" y="1762"/>
                  </a:lnTo>
                  <a:lnTo>
                    <a:pt x="3890" y="1762"/>
                  </a:lnTo>
                  <a:lnTo>
                    <a:pt x="3890" y="1762"/>
                  </a:lnTo>
                  <a:lnTo>
                    <a:pt x="3890" y="1762"/>
                  </a:lnTo>
                  <a:lnTo>
                    <a:pt x="3890" y="1762"/>
                  </a:lnTo>
                  <a:lnTo>
                    <a:pt x="3890" y="1764"/>
                  </a:lnTo>
                  <a:lnTo>
                    <a:pt x="3890" y="1764"/>
                  </a:lnTo>
                  <a:lnTo>
                    <a:pt x="3893" y="1764"/>
                  </a:lnTo>
                  <a:lnTo>
                    <a:pt x="3893" y="1764"/>
                  </a:lnTo>
                  <a:lnTo>
                    <a:pt x="3895" y="1762"/>
                  </a:lnTo>
                  <a:lnTo>
                    <a:pt x="3895" y="1762"/>
                  </a:lnTo>
                  <a:lnTo>
                    <a:pt x="3893" y="1762"/>
                  </a:lnTo>
                  <a:close/>
                  <a:moveTo>
                    <a:pt x="3898" y="1767"/>
                  </a:moveTo>
                  <a:lnTo>
                    <a:pt x="3895" y="1767"/>
                  </a:lnTo>
                  <a:lnTo>
                    <a:pt x="3895" y="1767"/>
                  </a:lnTo>
                  <a:lnTo>
                    <a:pt x="3895" y="1767"/>
                  </a:lnTo>
                  <a:lnTo>
                    <a:pt x="3895" y="1767"/>
                  </a:lnTo>
                  <a:lnTo>
                    <a:pt x="3895" y="1769"/>
                  </a:lnTo>
                  <a:lnTo>
                    <a:pt x="3895" y="1769"/>
                  </a:lnTo>
                  <a:lnTo>
                    <a:pt x="3895" y="1769"/>
                  </a:lnTo>
                  <a:lnTo>
                    <a:pt x="3895" y="1771"/>
                  </a:lnTo>
                  <a:lnTo>
                    <a:pt x="3895" y="1769"/>
                  </a:lnTo>
                  <a:lnTo>
                    <a:pt x="3898" y="1769"/>
                  </a:lnTo>
                  <a:lnTo>
                    <a:pt x="3898" y="1769"/>
                  </a:lnTo>
                  <a:lnTo>
                    <a:pt x="3898" y="1767"/>
                  </a:lnTo>
                  <a:close/>
                  <a:moveTo>
                    <a:pt x="3898" y="1752"/>
                  </a:moveTo>
                  <a:lnTo>
                    <a:pt x="3895" y="1750"/>
                  </a:lnTo>
                  <a:lnTo>
                    <a:pt x="3895" y="1750"/>
                  </a:lnTo>
                  <a:lnTo>
                    <a:pt x="3895" y="1750"/>
                  </a:lnTo>
                  <a:lnTo>
                    <a:pt x="3895" y="1750"/>
                  </a:lnTo>
                  <a:lnTo>
                    <a:pt x="3895" y="1750"/>
                  </a:lnTo>
                  <a:lnTo>
                    <a:pt x="3895" y="1752"/>
                  </a:lnTo>
                  <a:lnTo>
                    <a:pt x="3895" y="1752"/>
                  </a:lnTo>
                  <a:lnTo>
                    <a:pt x="3895" y="1752"/>
                  </a:lnTo>
                  <a:lnTo>
                    <a:pt x="3895" y="1752"/>
                  </a:lnTo>
                  <a:lnTo>
                    <a:pt x="3895" y="1752"/>
                  </a:lnTo>
                  <a:lnTo>
                    <a:pt x="3898" y="1752"/>
                  </a:lnTo>
                  <a:lnTo>
                    <a:pt x="3898" y="1752"/>
                  </a:lnTo>
                  <a:lnTo>
                    <a:pt x="3898" y="1752"/>
                  </a:lnTo>
                  <a:lnTo>
                    <a:pt x="3898" y="1752"/>
                  </a:lnTo>
                  <a:lnTo>
                    <a:pt x="3898" y="1752"/>
                  </a:lnTo>
                  <a:close/>
                  <a:moveTo>
                    <a:pt x="3722" y="2140"/>
                  </a:moveTo>
                  <a:lnTo>
                    <a:pt x="3720" y="2140"/>
                  </a:lnTo>
                  <a:lnTo>
                    <a:pt x="3720" y="2140"/>
                  </a:lnTo>
                  <a:lnTo>
                    <a:pt x="3720" y="2143"/>
                  </a:lnTo>
                  <a:lnTo>
                    <a:pt x="3722" y="2143"/>
                  </a:lnTo>
                  <a:lnTo>
                    <a:pt x="3722" y="2143"/>
                  </a:lnTo>
                  <a:lnTo>
                    <a:pt x="3722" y="2140"/>
                  </a:lnTo>
                  <a:lnTo>
                    <a:pt x="3722" y="2140"/>
                  </a:lnTo>
                  <a:lnTo>
                    <a:pt x="3722" y="2140"/>
                  </a:lnTo>
                  <a:lnTo>
                    <a:pt x="3722" y="2138"/>
                  </a:lnTo>
                  <a:lnTo>
                    <a:pt x="3725" y="2131"/>
                  </a:lnTo>
                  <a:lnTo>
                    <a:pt x="3725" y="2131"/>
                  </a:lnTo>
                  <a:lnTo>
                    <a:pt x="3727" y="2129"/>
                  </a:lnTo>
                  <a:lnTo>
                    <a:pt x="3727" y="2126"/>
                  </a:lnTo>
                  <a:lnTo>
                    <a:pt x="3727" y="2121"/>
                  </a:lnTo>
                  <a:lnTo>
                    <a:pt x="3727" y="2119"/>
                  </a:lnTo>
                  <a:lnTo>
                    <a:pt x="3727" y="2117"/>
                  </a:lnTo>
                  <a:lnTo>
                    <a:pt x="3727" y="2117"/>
                  </a:lnTo>
                  <a:lnTo>
                    <a:pt x="3727" y="2119"/>
                  </a:lnTo>
                  <a:lnTo>
                    <a:pt x="3727" y="2121"/>
                  </a:lnTo>
                  <a:lnTo>
                    <a:pt x="3725" y="2124"/>
                  </a:lnTo>
                  <a:lnTo>
                    <a:pt x="3725" y="2126"/>
                  </a:lnTo>
                  <a:lnTo>
                    <a:pt x="3725" y="2129"/>
                  </a:lnTo>
                  <a:lnTo>
                    <a:pt x="3725" y="2129"/>
                  </a:lnTo>
                  <a:lnTo>
                    <a:pt x="3725" y="2131"/>
                  </a:lnTo>
                  <a:lnTo>
                    <a:pt x="3725" y="2131"/>
                  </a:lnTo>
                  <a:lnTo>
                    <a:pt x="3725" y="2133"/>
                  </a:lnTo>
                  <a:lnTo>
                    <a:pt x="3722" y="2133"/>
                  </a:lnTo>
                  <a:lnTo>
                    <a:pt x="3722" y="2136"/>
                  </a:lnTo>
                  <a:lnTo>
                    <a:pt x="3722" y="2136"/>
                  </a:lnTo>
                  <a:lnTo>
                    <a:pt x="3722" y="2138"/>
                  </a:lnTo>
                  <a:lnTo>
                    <a:pt x="3722" y="2138"/>
                  </a:lnTo>
                  <a:lnTo>
                    <a:pt x="3722" y="2138"/>
                  </a:lnTo>
                  <a:lnTo>
                    <a:pt x="3722" y="2138"/>
                  </a:lnTo>
                  <a:lnTo>
                    <a:pt x="3722" y="2138"/>
                  </a:lnTo>
                  <a:lnTo>
                    <a:pt x="3720" y="2140"/>
                  </a:lnTo>
                  <a:lnTo>
                    <a:pt x="3720" y="2140"/>
                  </a:lnTo>
                  <a:lnTo>
                    <a:pt x="3722" y="2140"/>
                  </a:lnTo>
                  <a:lnTo>
                    <a:pt x="3722" y="2140"/>
                  </a:lnTo>
                  <a:lnTo>
                    <a:pt x="3722" y="2140"/>
                  </a:lnTo>
                  <a:lnTo>
                    <a:pt x="3722" y="2140"/>
                  </a:lnTo>
                  <a:close/>
                  <a:moveTo>
                    <a:pt x="3715" y="2157"/>
                  </a:moveTo>
                  <a:lnTo>
                    <a:pt x="3715" y="2157"/>
                  </a:lnTo>
                  <a:lnTo>
                    <a:pt x="3715" y="2159"/>
                  </a:lnTo>
                  <a:lnTo>
                    <a:pt x="3715" y="2159"/>
                  </a:lnTo>
                  <a:lnTo>
                    <a:pt x="3715" y="2159"/>
                  </a:lnTo>
                  <a:lnTo>
                    <a:pt x="3713" y="2162"/>
                  </a:lnTo>
                  <a:lnTo>
                    <a:pt x="3713" y="2164"/>
                  </a:lnTo>
                  <a:lnTo>
                    <a:pt x="3713" y="2164"/>
                  </a:lnTo>
                  <a:lnTo>
                    <a:pt x="3715" y="2164"/>
                  </a:lnTo>
                  <a:lnTo>
                    <a:pt x="3715" y="2162"/>
                  </a:lnTo>
                  <a:lnTo>
                    <a:pt x="3715" y="2159"/>
                  </a:lnTo>
                  <a:lnTo>
                    <a:pt x="3715" y="2157"/>
                  </a:lnTo>
                  <a:close/>
                  <a:moveTo>
                    <a:pt x="3708" y="2183"/>
                  </a:moveTo>
                  <a:lnTo>
                    <a:pt x="3708" y="2183"/>
                  </a:lnTo>
                  <a:lnTo>
                    <a:pt x="3708" y="2183"/>
                  </a:lnTo>
                  <a:lnTo>
                    <a:pt x="3708" y="2183"/>
                  </a:lnTo>
                  <a:lnTo>
                    <a:pt x="3708" y="2183"/>
                  </a:lnTo>
                  <a:lnTo>
                    <a:pt x="3708" y="2183"/>
                  </a:lnTo>
                  <a:lnTo>
                    <a:pt x="3708" y="2183"/>
                  </a:lnTo>
                  <a:lnTo>
                    <a:pt x="3711" y="2183"/>
                  </a:lnTo>
                  <a:lnTo>
                    <a:pt x="3711" y="2181"/>
                  </a:lnTo>
                  <a:lnTo>
                    <a:pt x="3711" y="2181"/>
                  </a:lnTo>
                  <a:lnTo>
                    <a:pt x="3711" y="2178"/>
                  </a:lnTo>
                  <a:lnTo>
                    <a:pt x="3711" y="2178"/>
                  </a:lnTo>
                  <a:lnTo>
                    <a:pt x="3711" y="2178"/>
                  </a:lnTo>
                  <a:lnTo>
                    <a:pt x="3711" y="2178"/>
                  </a:lnTo>
                  <a:lnTo>
                    <a:pt x="3711" y="2178"/>
                  </a:lnTo>
                  <a:lnTo>
                    <a:pt x="3711" y="2178"/>
                  </a:lnTo>
                  <a:lnTo>
                    <a:pt x="3711" y="2178"/>
                  </a:lnTo>
                  <a:lnTo>
                    <a:pt x="3708" y="2178"/>
                  </a:lnTo>
                  <a:lnTo>
                    <a:pt x="3708" y="2178"/>
                  </a:lnTo>
                  <a:lnTo>
                    <a:pt x="3708" y="2178"/>
                  </a:lnTo>
                  <a:lnTo>
                    <a:pt x="3708" y="2176"/>
                  </a:lnTo>
                  <a:lnTo>
                    <a:pt x="3708" y="2176"/>
                  </a:lnTo>
                  <a:lnTo>
                    <a:pt x="3708" y="2176"/>
                  </a:lnTo>
                  <a:lnTo>
                    <a:pt x="3708" y="2176"/>
                  </a:lnTo>
                  <a:lnTo>
                    <a:pt x="3708" y="2176"/>
                  </a:lnTo>
                  <a:lnTo>
                    <a:pt x="3708" y="2174"/>
                  </a:lnTo>
                  <a:lnTo>
                    <a:pt x="3708" y="2176"/>
                  </a:lnTo>
                  <a:lnTo>
                    <a:pt x="3708" y="2176"/>
                  </a:lnTo>
                  <a:lnTo>
                    <a:pt x="3708" y="2178"/>
                  </a:lnTo>
                  <a:lnTo>
                    <a:pt x="3708" y="2181"/>
                  </a:lnTo>
                  <a:lnTo>
                    <a:pt x="3708" y="2181"/>
                  </a:lnTo>
                  <a:lnTo>
                    <a:pt x="3708" y="2181"/>
                  </a:lnTo>
                  <a:lnTo>
                    <a:pt x="3708" y="2183"/>
                  </a:lnTo>
                  <a:lnTo>
                    <a:pt x="3708" y="2183"/>
                  </a:lnTo>
                  <a:lnTo>
                    <a:pt x="3708" y="2183"/>
                  </a:lnTo>
                  <a:close/>
                  <a:moveTo>
                    <a:pt x="3713" y="2164"/>
                  </a:moveTo>
                  <a:lnTo>
                    <a:pt x="3713" y="2166"/>
                  </a:lnTo>
                  <a:lnTo>
                    <a:pt x="3713" y="2169"/>
                  </a:lnTo>
                  <a:lnTo>
                    <a:pt x="3713" y="2169"/>
                  </a:lnTo>
                  <a:lnTo>
                    <a:pt x="3713" y="2169"/>
                  </a:lnTo>
                  <a:lnTo>
                    <a:pt x="3713" y="2166"/>
                  </a:lnTo>
                  <a:lnTo>
                    <a:pt x="3715" y="2164"/>
                  </a:lnTo>
                  <a:lnTo>
                    <a:pt x="3715" y="2164"/>
                  </a:lnTo>
                  <a:lnTo>
                    <a:pt x="3715" y="2164"/>
                  </a:lnTo>
                  <a:lnTo>
                    <a:pt x="3713" y="2164"/>
                  </a:lnTo>
                  <a:close/>
                  <a:moveTo>
                    <a:pt x="3692" y="2131"/>
                  </a:moveTo>
                  <a:lnTo>
                    <a:pt x="3692" y="2131"/>
                  </a:lnTo>
                  <a:lnTo>
                    <a:pt x="3692" y="2131"/>
                  </a:lnTo>
                  <a:lnTo>
                    <a:pt x="3689" y="2131"/>
                  </a:lnTo>
                  <a:lnTo>
                    <a:pt x="3689" y="2133"/>
                  </a:lnTo>
                  <a:lnTo>
                    <a:pt x="3692" y="2133"/>
                  </a:lnTo>
                  <a:lnTo>
                    <a:pt x="3692" y="2133"/>
                  </a:lnTo>
                  <a:lnTo>
                    <a:pt x="3692" y="2133"/>
                  </a:lnTo>
                  <a:lnTo>
                    <a:pt x="3692" y="2133"/>
                  </a:lnTo>
                  <a:lnTo>
                    <a:pt x="3692" y="2131"/>
                  </a:lnTo>
                  <a:lnTo>
                    <a:pt x="3692" y="2131"/>
                  </a:lnTo>
                  <a:close/>
                  <a:moveTo>
                    <a:pt x="1678" y="1130"/>
                  </a:moveTo>
                  <a:lnTo>
                    <a:pt x="1675" y="1130"/>
                  </a:lnTo>
                  <a:lnTo>
                    <a:pt x="1675" y="1133"/>
                  </a:lnTo>
                  <a:lnTo>
                    <a:pt x="1675" y="1133"/>
                  </a:lnTo>
                  <a:lnTo>
                    <a:pt x="1675" y="1135"/>
                  </a:lnTo>
                  <a:lnTo>
                    <a:pt x="1678" y="1135"/>
                  </a:lnTo>
                  <a:lnTo>
                    <a:pt x="1678" y="1135"/>
                  </a:lnTo>
                  <a:lnTo>
                    <a:pt x="1680" y="1133"/>
                  </a:lnTo>
                  <a:lnTo>
                    <a:pt x="1680" y="1130"/>
                  </a:lnTo>
                  <a:lnTo>
                    <a:pt x="1678" y="1130"/>
                  </a:lnTo>
                  <a:lnTo>
                    <a:pt x="1678" y="1130"/>
                  </a:lnTo>
                  <a:close/>
                  <a:moveTo>
                    <a:pt x="3734" y="2001"/>
                  </a:moveTo>
                  <a:lnTo>
                    <a:pt x="3734" y="2001"/>
                  </a:lnTo>
                  <a:lnTo>
                    <a:pt x="3734" y="2001"/>
                  </a:lnTo>
                  <a:lnTo>
                    <a:pt x="3734" y="2001"/>
                  </a:lnTo>
                  <a:lnTo>
                    <a:pt x="3737" y="1998"/>
                  </a:lnTo>
                  <a:lnTo>
                    <a:pt x="3737" y="1998"/>
                  </a:lnTo>
                  <a:lnTo>
                    <a:pt x="3737" y="1998"/>
                  </a:lnTo>
                  <a:lnTo>
                    <a:pt x="3737" y="1998"/>
                  </a:lnTo>
                  <a:lnTo>
                    <a:pt x="3739" y="1998"/>
                  </a:lnTo>
                  <a:lnTo>
                    <a:pt x="3739" y="1998"/>
                  </a:lnTo>
                  <a:lnTo>
                    <a:pt x="3739" y="1998"/>
                  </a:lnTo>
                  <a:lnTo>
                    <a:pt x="3739" y="1996"/>
                  </a:lnTo>
                  <a:lnTo>
                    <a:pt x="3741" y="1994"/>
                  </a:lnTo>
                  <a:lnTo>
                    <a:pt x="3741" y="1994"/>
                  </a:lnTo>
                  <a:lnTo>
                    <a:pt x="3739" y="1994"/>
                  </a:lnTo>
                  <a:lnTo>
                    <a:pt x="3739" y="1991"/>
                  </a:lnTo>
                  <a:lnTo>
                    <a:pt x="3739" y="1991"/>
                  </a:lnTo>
                  <a:lnTo>
                    <a:pt x="3739" y="1991"/>
                  </a:lnTo>
                  <a:lnTo>
                    <a:pt x="3739" y="1991"/>
                  </a:lnTo>
                  <a:lnTo>
                    <a:pt x="3739" y="1991"/>
                  </a:lnTo>
                  <a:lnTo>
                    <a:pt x="3739" y="1991"/>
                  </a:lnTo>
                  <a:lnTo>
                    <a:pt x="3739" y="1991"/>
                  </a:lnTo>
                  <a:lnTo>
                    <a:pt x="3737" y="1994"/>
                  </a:lnTo>
                  <a:lnTo>
                    <a:pt x="3737" y="1994"/>
                  </a:lnTo>
                  <a:lnTo>
                    <a:pt x="3737" y="1991"/>
                  </a:lnTo>
                  <a:lnTo>
                    <a:pt x="3734" y="1994"/>
                  </a:lnTo>
                  <a:lnTo>
                    <a:pt x="3734" y="1994"/>
                  </a:lnTo>
                  <a:lnTo>
                    <a:pt x="3734" y="1994"/>
                  </a:lnTo>
                  <a:lnTo>
                    <a:pt x="3734" y="1996"/>
                  </a:lnTo>
                  <a:lnTo>
                    <a:pt x="3737" y="1996"/>
                  </a:lnTo>
                  <a:lnTo>
                    <a:pt x="3734" y="1996"/>
                  </a:lnTo>
                  <a:lnTo>
                    <a:pt x="3734" y="1998"/>
                  </a:lnTo>
                  <a:lnTo>
                    <a:pt x="3734" y="1998"/>
                  </a:lnTo>
                  <a:lnTo>
                    <a:pt x="3734" y="1998"/>
                  </a:lnTo>
                  <a:lnTo>
                    <a:pt x="3734" y="1998"/>
                  </a:lnTo>
                  <a:lnTo>
                    <a:pt x="3734" y="1998"/>
                  </a:lnTo>
                  <a:lnTo>
                    <a:pt x="3734" y="2001"/>
                  </a:lnTo>
                  <a:lnTo>
                    <a:pt x="3734" y="2001"/>
                  </a:lnTo>
                  <a:close/>
                  <a:moveTo>
                    <a:pt x="3883" y="1767"/>
                  </a:moveTo>
                  <a:lnTo>
                    <a:pt x="3886" y="1767"/>
                  </a:lnTo>
                  <a:lnTo>
                    <a:pt x="3886" y="1767"/>
                  </a:lnTo>
                  <a:lnTo>
                    <a:pt x="3886" y="1767"/>
                  </a:lnTo>
                  <a:lnTo>
                    <a:pt x="3886" y="1767"/>
                  </a:lnTo>
                  <a:lnTo>
                    <a:pt x="3886" y="1767"/>
                  </a:lnTo>
                  <a:lnTo>
                    <a:pt x="3888" y="1767"/>
                  </a:lnTo>
                  <a:lnTo>
                    <a:pt x="3888" y="1764"/>
                  </a:lnTo>
                  <a:lnTo>
                    <a:pt x="3888" y="1764"/>
                  </a:lnTo>
                  <a:lnTo>
                    <a:pt x="3888" y="1764"/>
                  </a:lnTo>
                  <a:lnTo>
                    <a:pt x="3886" y="1764"/>
                  </a:lnTo>
                  <a:lnTo>
                    <a:pt x="3886" y="1764"/>
                  </a:lnTo>
                  <a:lnTo>
                    <a:pt x="3883" y="1767"/>
                  </a:lnTo>
                  <a:lnTo>
                    <a:pt x="3883" y="1767"/>
                  </a:lnTo>
                  <a:lnTo>
                    <a:pt x="3883" y="1769"/>
                  </a:lnTo>
                  <a:lnTo>
                    <a:pt x="3883" y="1769"/>
                  </a:lnTo>
                  <a:lnTo>
                    <a:pt x="3883" y="1767"/>
                  </a:lnTo>
                  <a:close/>
                  <a:moveTo>
                    <a:pt x="3860" y="1783"/>
                  </a:moveTo>
                  <a:lnTo>
                    <a:pt x="3860" y="1783"/>
                  </a:lnTo>
                  <a:lnTo>
                    <a:pt x="3860" y="1786"/>
                  </a:lnTo>
                  <a:lnTo>
                    <a:pt x="3860" y="1786"/>
                  </a:lnTo>
                  <a:lnTo>
                    <a:pt x="3857" y="1786"/>
                  </a:lnTo>
                  <a:lnTo>
                    <a:pt x="3857"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8"/>
                  </a:lnTo>
                  <a:lnTo>
                    <a:pt x="3860" y="1786"/>
                  </a:lnTo>
                  <a:lnTo>
                    <a:pt x="3860" y="1786"/>
                  </a:lnTo>
                  <a:lnTo>
                    <a:pt x="3860" y="1786"/>
                  </a:lnTo>
                  <a:lnTo>
                    <a:pt x="3860" y="1786"/>
                  </a:lnTo>
                  <a:lnTo>
                    <a:pt x="3860" y="1786"/>
                  </a:lnTo>
                  <a:lnTo>
                    <a:pt x="3860" y="1786"/>
                  </a:lnTo>
                  <a:lnTo>
                    <a:pt x="3860" y="1786"/>
                  </a:lnTo>
                  <a:lnTo>
                    <a:pt x="3860" y="1786"/>
                  </a:lnTo>
                  <a:lnTo>
                    <a:pt x="3860" y="1786"/>
                  </a:lnTo>
                  <a:lnTo>
                    <a:pt x="3860" y="1786"/>
                  </a:lnTo>
                  <a:lnTo>
                    <a:pt x="3860" y="1786"/>
                  </a:lnTo>
                  <a:lnTo>
                    <a:pt x="3860" y="1786"/>
                  </a:lnTo>
                  <a:lnTo>
                    <a:pt x="3860" y="1786"/>
                  </a:lnTo>
                  <a:lnTo>
                    <a:pt x="3860" y="1783"/>
                  </a:lnTo>
                  <a:lnTo>
                    <a:pt x="3860" y="1783"/>
                  </a:lnTo>
                  <a:close/>
                  <a:moveTo>
                    <a:pt x="3862" y="1788"/>
                  </a:moveTo>
                  <a:lnTo>
                    <a:pt x="3860" y="1790"/>
                  </a:lnTo>
                  <a:lnTo>
                    <a:pt x="3862" y="1790"/>
                  </a:lnTo>
                  <a:lnTo>
                    <a:pt x="3862" y="1793"/>
                  </a:lnTo>
                  <a:lnTo>
                    <a:pt x="3862" y="1793"/>
                  </a:lnTo>
                  <a:lnTo>
                    <a:pt x="3862" y="1790"/>
                  </a:lnTo>
                  <a:lnTo>
                    <a:pt x="3862" y="1790"/>
                  </a:lnTo>
                  <a:lnTo>
                    <a:pt x="3862" y="1788"/>
                  </a:lnTo>
                  <a:close/>
                  <a:moveTo>
                    <a:pt x="3942" y="1712"/>
                  </a:moveTo>
                  <a:lnTo>
                    <a:pt x="3942" y="1710"/>
                  </a:lnTo>
                  <a:lnTo>
                    <a:pt x="3942" y="1710"/>
                  </a:lnTo>
                  <a:lnTo>
                    <a:pt x="3942" y="1710"/>
                  </a:lnTo>
                  <a:lnTo>
                    <a:pt x="3942" y="1710"/>
                  </a:lnTo>
                  <a:lnTo>
                    <a:pt x="3942" y="1710"/>
                  </a:lnTo>
                  <a:lnTo>
                    <a:pt x="3942" y="1710"/>
                  </a:lnTo>
                  <a:lnTo>
                    <a:pt x="3940" y="1710"/>
                  </a:lnTo>
                  <a:lnTo>
                    <a:pt x="3940" y="1710"/>
                  </a:lnTo>
                  <a:lnTo>
                    <a:pt x="3940" y="1710"/>
                  </a:lnTo>
                  <a:lnTo>
                    <a:pt x="3940" y="1712"/>
                  </a:lnTo>
                  <a:lnTo>
                    <a:pt x="3940" y="1712"/>
                  </a:lnTo>
                  <a:lnTo>
                    <a:pt x="3940" y="1712"/>
                  </a:lnTo>
                  <a:lnTo>
                    <a:pt x="3940" y="1712"/>
                  </a:lnTo>
                  <a:lnTo>
                    <a:pt x="3940" y="1710"/>
                  </a:lnTo>
                  <a:lnTo>
                    <a:pt x="3938" y="1710"/>
                  </a:lnTo>
                  <a:lnTo>
                    <a:pt x="3938" y="1710"/>
                  </a:lnTo>
                  <a:lnTo>
                    <a:pt x="3938" y="1710"/>
                  </a:lnTo>
                  <a:lnTo>
                    <a:pt x="3938" y="1712"/>
                  </a:lnTo>
                  <a:lnTo>
                    <a:pt x="3938" y="1712"/>
                  </a:lnTo>
                  <a:lnTo>
                    <a:pt x="3938" y="1712"/>
                  </a:lnTo>
                  <a:lnTo>
                    <a:pt x="3938" y="1712"/>
                  </a:lnTo>
                  <a:lnTo>
                    <a:pt x="3938" y="1712"/>
                  </a:lnTo>
                  <a:lnTo>
                    <a:pt x="3938" y="1712"/>
                  </a:lnTo>
                  <a:lnTo>
                    <a:pt x="3938" y="1712"/>
                  </a:lnTo>
                  <a:lnTo>
                    <a:pt x="3938" y="1712"/>
                  </a:lnTo>
                  <a:lnTo>
                    <a:pt x="3938" y="1715"/>
                  </a:lnTo>
                  <a:lnTo>
                    <a:pt x="3938" y="1715"/>
                  </a:lnTo>
                  <a:lnTo>
                    <a:pt x="3935" y="1712"/>
                  </a:lnTo>
                  <a:lnTo>
                    <a:pt x="3935" y="1712"/>
                  </a:lnTo>
                  <a:lnTo>
                    <a:pt x="3935" y="1710"/>
                  </a:lnTo>
                  <a:lnTo>
                    <a:pt x="3933" y="1710"/>
                  </a:lnTo>
                  <a:lnTo>
                    <a:pt x="3933" y="1710"/>
                  </a:lnTo>
                  <a:lnTo>
                    <a:pt x="3935" y="1710"/>
                  </a:lnTo>
                  <a:lnTo>
                    <a:pt x="3935" y="1710"/>
                  </a:lnTo>
                  <a:lnTo>
                    <a:pt x="3935" y="1710"/>
                  </a:lnTo>
                  <a:lnTo>
                    <a:pt x="3938" y="1710"/>
                  </a:lnTo>
                  <a:lnTo>
                    <a:pt x="3938" y="1710"/>
                  </a:lnTo>
                  <a:lnTo>
                    <a:pt x="3938" y="1710"/>
                  </a:lnTo>
                  <a:lnTo>
                    <a:pt x="3935" y="1708"/>
                  </a:lnTo>
                  <a:lnTo>
                    <a:pt x="3935" y="1708"/>
                  </a:lnTo>
                  <a:lnTo>
                    <a:pt x="3938" y="1708"/>
                  </a:lnTo>
                  <a:lnTo>
                    <a:pt x="3938" y="1708"/>
                  </a:lnTo>
                  <a:lnTo>
                    <a:pt x="3938" y="1708"/>
                  </a:lnTo>
                  <a:lnTo>
                    <a:pt x="3938" y="1708"/>
                  </a:lnTo>
                  <a:lnTo>
                    <a:pt x="3938" y="1708"/>
                  </a:lnTo>
                  <a:lnTo>
                    <a:pt x="3938" y="1705"/>
                  </a:lnTo>
                  <a:lnTo>
                    <a:pt x="3938" y="1705"/>
                  </a:lnTo>
                  <a:lnTo>
                    <a:pt x="3938" y="1705"/>
                  </a:lnTo>
                  <a:lnTo>
                    <a:pt x="3938" y="1703"/>
                  </a:lnTo>
                  <a:lnTo>
                    <a:pt x="3938" y="1703"/>
                  </a:lnTo>
                  <a:lnTo>
                    <a:pt x="3935" y="1703"/>
                  </a:lnTo>
                  <a:lnTo>
                    <a:pt x="3935" y="1703"/>
                  </a:lnTo>
                  <a:lnTo>
                    <a:pt x="3935" y="1703"/>
                  </a:lnTo>
                  <a:lnTo>
                    <a:pt x="3935" y="1700"/>
                  </a:lnTo>
                  <a:lnTo>
                    <a:pt x="3935" y="1700"/>
                  </a:lnTo>
                  <a:lnTo>
                    <a:pt x="3933" y="1700"/>
                  </a:lnTo>
                  <a:lnTo>
                    <a:pt x="3933" y="1700"/>
                  </a:lnTo>
                  <a:lnTo>
                    <a:pt x="3933" y="1700"/>
                  </a:lnTo>
                  <a:lnTo>
                    <a:pt x="3933" y="1700"/>
                  </a:lnTo>
                  <a:lnTo>
                    <a:pt x="3933" y="1698"/>
                  </a:lnTo>
                  <a:lnTo>
                    <a:pt x="3933" y="1698"/>
                  </a:lnTo>
                  <a:lnTo>
                    <a:pt x="3931" y="1698"/>
                  </a:lnTo>
                  <a:lnTo>
                    <a:pt x="3931" y="1698"/>
                  </a:lnTo>
                  <a:lnTo>
                    <a:pt x="3931" y="1698"/>
                  </a:lnTo>
                  <a:lnTo>
                    <a:pt x="3931" y="1698"/>
                  </a:lnTo>
                  <a:lnTo>
                    <a:pt x="3931" y="1698"/>
                  </a:lnTo>
                  <a:lnTo>
                    <a:pt x="3931" y="1698"/>
                  </a:lnTo>
                  <a:lnTo>
                    <a:pt x="3931" y="1698"/>
                  </a:lnTo>
                  <a:lnTo>
                    <a:pt x="3931" y="1696"/>
                  </a:lnTo>
                  <a:lnTo>
                    <a:pt x="3931" y="1696"/>
                  </a:lnTo>
                  <a:lnTo>
                    <a:pt x="3931" y="1696"/>
                  </a:lnTo>
                  <a:lnTo>
                    <a:pt x="3931" y="1696"/>
                  </a:lnTo>
                  <a:lnTo>
                    <a:pt x="3928" y="1696"/>
                  </a:lnTo>
                  <a:lnTo>
                    <a:pt x="3928" y="1696"/>
                  </a:lnTo>
                  <a:lnTo>
                    <a:pt x="3928" y="1696"/>
                  </a:lnTo>
                  <a:lnTo>
                    <a:pt x="3928" y="1696"/>
                  </a:lnTo>
                  <a:lnTo>
                    <a:pt x="3926" y="1696"/>
                  </a:lnTo>
                  <a:lnTo>
                    <a:pt x="3926" y="1698"/>
                  </a:lnTo>
                  <a:lnTo>
                    <a:pt x="3926" y="1698"/>
                  </a:lnTo>
                  <a:lnTo>
                    <a:pt x="3926" y="1698"/>
                  </a:lnTo>
                  <a:lnTo>
                    <a:pt x="3926" y="1698"/>
                  </a:lnTo>
                  <a:lnTo>
                    <a:pt x="3924" y="1698"/>
                  </a:lnTo>
                  <a:lnTo>
                    <a:pt x="3924" y="1698"/>
                  </a:lnTo>
                  <a:lnTo>
                    <a:pt x="3921" y="1696"/>
                  </a:lnTo>
                  <a:lnTo>
                    <a:pt x="3919" y="1696"/>
                  </a:lnTo>
                  <a:lnTo>
                    <a:pt x="3919" y="1693"/>
                  </a:lnTo>
                  <a:lnTo>
                    <a:pt x="3919" y="1693"/>
                  </a:lnTo>
                  <a:lnTo>
                    <a:pt x="3919" y="1693"/>
                  </a:lnTo>
                  <a:lnTo>
                    <a:pt x="3919" y="1691"/>
                  </a:lnTo>
                  <a:lnTo>
                    <a:pt x="3919" y="1689"/>
                  </a:lnTo>
                  <a:lnTo>
                    <a:pt x="3916" y="1686"/>
                  </a:lnTo>
                  <a:lnTo>
                    <a:pt x="3914" y="1684"/>
                  </a:lnTo>
                  <a:lnTo>
                    <a:pt x="3916" y="1684"/>
                  </a:lnTo>
                  <a:lnTo>
                    <a:pt x="3916" y="1681"/>
                  </a:lnTo>
                  <a:lnTo>
                    <a:pt x="3916" y="1681"/>
                  </a:lnTo>
                  <a:lnTo>
                    <a:pt x="3916" y="1679"/>
                  </a:lnTo>
                  <a:lnTo>
                    <a:pt x="3916" y="1679"/>
                  </a:lnTo>
                  <a:lnTo>
                    <a:pt x="3914" y="1677"/>
                  </a:lnTo>
                  <a:lnTo>
                    <a:pt x="3914" y="1677"/>
                  </a:lnTo>
                  <a:lnTo>
                    <a:pt x="3912" y="1679"/>
                  </a:lnTo>
                  <a:lnTo>
                    <a:pt x="3912" y="1679"/>
                  </a:lnTo>
                  <a:lnTo>
                    <a:pt x="3909" y="1679"/>
                  </a:lnTo>
                  <a:lnTo>
                    <a:pt x="3907" y="1679"/>
                  </a:lnTo>
                  <a:lnTo>
                    <a:pt x="3905" y="1679"/>
                  </a:lnTo>
                  <a:lnTo>
                    <a:pt x="3905" y="1677"/>
                  </a:lnTo>
                  <a:lnTo>
                    <a:pt x="3905" y="1677"/>
                  </a:lnTo>
                  <a:lnTo>
                    <a:pt x="3905" y="1677"/>
                  </a:lnTo>
                  <a:lnTo>
                    <a:pt x="3905" y="1677"/>
                  </a:lnTo>
                  <a:lnTo>
                    <a:pt x="3902" y="1677"/>
                  </a:lnTo>
                  <a:lnTo>
                    <a:pt x="3902" y="1677"/>
                  </a:lnTo>
                  <a:lnTo>
                    <a:pt x="3902" y="1677"/>
                  </a:lnTo>
                  <a:lnTo>
                    <a:pt x="3902" y="1677"/>
                  </a:lnTo>
                  <a:lnTo>
                    <a:pt x="3902" y="1677"/>
                  </a:lnTo>
                  <a:lnTo>
                    <a:pt x="3900" y="1677"/>
                  </a:lnTo>
                  <a:lnTo>
                    <a:pt x="3900" y="1677"/>
                  </a:lnTo>
                  <a:lnTo>
                    <a:pt x="3900" y="1674"/>
                  </a:lnTo>
                  <a:lnTo>
                    <a:pt x="3900" y="1672"/>
                  </a:lnTo>
                  <a:lnTo>
                    <a:pt x="3900" y="1672"/>
                  </a:lnTo>
                  <a:lnTo>
                    <a:pt x="3900" y="1672"/>
                  </a:lnTo>
                  <a:lnTo>
                    <a:pt x="3900" y="1670"/>
                  </a:lnTo>
                  <a:lnTo>
                    <a:pt x="3900" y="1670"/>
                  </a:lnTo>
                  <a:lnTo>
                    <a:pt x="3898" y="1670"/>
                  </a:lnTo>
                  <a:lnTo>
                    <a:pt x="3898" y="1667"/>
                  </a:lnTo>
                  <a:lnTo>
                    <a:pt x="3898" y="1667"/>
                  </a:lnTo>
                  <a:lnTo>
                    <a:pt x="3900" y="1667"/>
                  </a:lnTo>
                  <a:lnTo>
                    <a:pt x="3900" y="1665"/>
                  </a:lnTo>
                  <a:lnTo>
                    <a:pt x="3900" y="1665"/>
                  </a:lnTo>
                  <a:lnTo>
                    <a:pt x="3898" y="1665"/>
                  </a:lnTo>
                  <a:lnTo>
                    <a:pt x="3898" y="1665"/>
                  </a:lnTo>
                  <a:lnTo>
                    <a:pt x="3898" y="1665"/>
                  </a:lnTo>
                  <a:lnTo>
                    <a:pt x="3898" y="1665"/>
                  </a:lnTo>
                  <a:lnTo>
                    <a:pt x="3895" y="1658"/>
                  </a:lnTo>
                  <a:lnTo>
                    <a:pt x="3893" y="1651"/>
                  </a:lnTo>
                  <a:lnTo>
                    <a:pt x="3890" y="1644"/>
                  </a:lnTo>
                  <a:lnTo>
                    <a:pt x="3888" y="1637"/>
                  </a:lnTo>
                  <a:lnTo>
                    <a:pt x="3886" y="1629"/>
                  </a:lnTo>
                  <a:lnTo>
                    <a:pt x="3886" y="1622"/>
                  </a:lnTo>
                  <a:lnTo>
                    <a:pt x="3883" y="1618"/>
                  </a:lnTo>
                  <a:lnTo>
                    <a:pt x="3881" y="1611"/>
                  </a:lnTo>
                  <a:lnTo>
                    <a:pt x="3879" y="1608"/>
                  </a:lnTo>
                  <a:lnTo>
                    <a:pt x="3879" y="1608"/>
                  </a:lnTo>
                  <a:lnTo>
                    <a:pt x="3879" y="1608"/>
                  </a:lnTo>
                  <a:lnTo>
                    <a:pt x="3876" y="1606"/>
                  </a:lnTo>
                  <a:lnTo>
                    <a:pt x="3876" y="1606"/>
                  </a:lnTo>
                  <a:lnTo>
                    <a:pt x="3874" y="1606"/>
                  </a:lnTo>
                  <a:lnTo>
                    <a:pt x="3874" y="1603"/>
                  </a:lnTo>
                  <a:lnTo>
                    <a:pt x="3874" y="1603"/>
                  </a:lnTo>
                  <a:lnTo>
                    <a:pt x="3871" y="1603"/>
                  </a:lnTo>
                  <a:lnTo>
                    <a:pt x="3871" y="1603"/>
                  </a:lnTo>
                  <a:lnTo>
                    <a:pt x="3869" y="1601"/>
                  </a:lnTo>
                  <a:lnTo>
                    <a:pt x="3867" y="1601"/>
                  </a:lnTo>
                  <a:lnTo>
                    <a:pt x="3867" y="1601"/>
                  </a:lnTo>
                  <a:lnTo>
                    <a:pt x="3864" y="1599"/>
                  </a:lnTo>
                  <a:lnTo>
                    <a:pt x="3864" y="1599"/>
                  </a:lnTo>
                  <a:lnTo>
                    <a:pt x="3862" y="1599"/>
                  </a:lnTo>
                  <a:lnTo>
                    <a:pt x="3862" y="1599"/>
                  </a:lnTo>
                  <a:lnTo>
                    <a:pt x="3860" y="1599"/>
                  </a:lnTo>
                  <a:lnTo>
                    <a:pt x="3857" y="1599"/>
                  </a:lnTo>
                  <a:lnTo>
                    <a:pt x="3857" y="1599"/>
                  </a:lnTo>
                  <a:lnTo>
                    <a:pt x="3857" y="1601"/>
                  </a:lnTo>
                  <a:lnTo>
                    <a:pt x="3857" y="1601"/>
                  </a:lnTo>
                  <a:lnTo>
                    <a:pt x="3857" y="1601"/>
                  </a:lnTo>
                  <a:lnTo>
                    <a:pt x="3857" y="1603"/>
                  </a:lnTo>
                  <a:lnTo>
                    <a:pt x="3855" y="1603"/>
                  </a:lnTo>
                  <a:lnTo>
                    <a:pt x="3855" y="1603"/>
                  </a:lnTo>
                  <a:lnTo>
                    <a:pt x="3855" y="1603"/>
                  </a:lnTo>
                  <a:lnTo>
                    <a:pt x="3853" y="1603"/>
                  </a:lnTo>
                  <a:lnTo>
                    <a:pt x="3853" y="1603"/>
                  </a:lnTo>
                  <a:lnTo>
                    <a:pt x="3853" y="1603"/>
                  </a:lnTo>
                  <a:lnTo>
                    <a:pt x="3850" y="1603"/>
                  </a:lnTo>
                  <a:lnTo>
                    <a:pt x="3850" y="1606"/>
                  </a:lnTo>
                  <a:lnTo>
                    <a:pt x="3850" y="1606"/>
                  </a:lnTo>
                  <a:lnTo>
                    <a:pt x="3848" y="1608"/>
                  </a:lnTo>
                  <a:lnTo>
                    <a:pt x="3848" y="1608"/>
                  </a:lnTo>
                  <a:lnTo>
                    <a:pt x="3848" y="1608"/>
                  </a:lnTo>
                  <a:lnTo>
                    <a:pt x="3845" y="1608"/>
                  </a:lnTo>
                  <a:lnTo>
                    <a:pt x="3845" y="1611"/>
                  </a:lnTo>
                  <a:lnTo>
                    <a:pt x="3841" y="1613"/>
                  </a:lnTo>
                  <a:lnTo>
                    <a:pt x="3841" y="1613"/>
                  </a:lnTo>
                  <a:lnTo>
                    <a:pt x="3834" y="1611"/>
                  </a:lnTo>
                  <a:lnTo>
                    <a:pt x="3834" y="1611"/>
                  </a:lnTo>
                  <a:lnTo>
                    <a:pt x="3834" y="1611"/>
                  </a:lnTo>
                  <a:lnTo>
                    <a:pt x="3834" y="1611"/>
                  </a:lnTo>
                  <a:lnTo>
                    <a:pt x="3834" y="1608"/>
                  </a:lnTo>
                  <a:lnTo>
                    <a:pt x="3831" y="1603"/>
                  </a:lnTo>
                  <a:lnTo>
                    <a:pt x="3831" y="1603"/>
                  </a:lnTo>
                  <a:lnTo>
                    <a:pt x="3831" y="1603"/>
                  </a:lnTo>
                  <a:lnTo>
                    <a:pt x="3824" y="1603"/>
                  </a:lnTo>
                  <a:lnTo>
                    <a:pt x="3824" y="1603"/>
                  </a:lnTo>
                  <a:lnTo>
                    <a:pt x="3824" y="1603"/>
                  </a:lnTo>
                  <a:lnTo>
                    <a:pt x="3824" y="1603"/>
                  </a:lnTo>
                  <a:lnTo>
                    <a:pt x="3822" y="1611"/>
                  </a:lnTo>
                  <a:lnTo>
                    <a:pt x="3819" y="1615"/>
                  </a:lnTo>
                  <a:lnTo>
                    <a:pt x="3819" y="1620"/>
                  </a:lnTo>
                  <a:lnTo>
                    <a:pt x="3817" y="1627"/>
                  </a:lnTo>
                  <a:lnTo>
                    <a:pt x="3815" y="1632"/>
                  </a:lnTo>
                  <a:lnTo>
                    <a:pt x="3812" y="1637"/>
                  </a:lnTo>
                  <a:lnTo>
                    <a:pt x="3810" y="1641"/>
                  </a:lnTo>
                  <a:lnTo>
                    <a:pt x="3810" y="1648"/>
                  </a:lnTo>
                  <a:lnTo>
                    <a:pt x="3810" y="1648"/>
                  </a:lnTo>
                  <a:lnTo>
                    <a:pt x="3810" y="1651"/>
                  </a:lnTo>
                  <a:lnTo>
                    <a:pt x="3810" y="1653"/>
                  </a:lnTo>
                  <a:lnTo>
                    <a:pt x="3810" y="1658"/>
                  </a:lnTo>
                  <a:lnTo>
                    <a:pt x="3810" y="1663"/>
                  </a:lnTo>
                  <a:lnTo>
                    <a:pt x="3810" y="1665"/>
                  </a:lnTo>
                  <a:lnTo>
                    <a:pt x="3808" y="1667"/>
                  </a:lnTo>
                  <a:lnTo>
                    <a:pt x="3808" y="1667"/>
                  </a:lnTo>
                  <a:lnTo>
                    <a:pt x="3808" y="1667"/>
                  </a:lnTo>
                  <a:lnTo>
                    <a:pt x="3808" y="1670"/>
                  </a:lnTo>
                  <a:lnTo>
                    <a:pt x="3808" y="1670"/>
                  </a:lnTo>
                  <a:lnTo>
                    <a:pt x="3808" y="1670"/>
                  </a:lnTo>
                  <a:lnTo>
                    <a:pt x="3808" y="1672"/>
                  </a:lnTo>
                  <a:lnTo>
                    <a:pt x="3808" y="1672"/>
                  </a:lnTo>
                  <a:lnTo>
                    <a:pt x="3808" y="1674"/>
                  </a:lnTo>
                  <a:lnTo>
                    <a:pt x="3805" y="1677"/>
                  </a:lnTo>
                  <a:lnTo>
                    <a:pt x="3805" y="1677"/>
                  </a:lnTo>
                  <a:lnTo>
                    <a:pt x="3808" y="1677"/>
                  </a:lnTo>
                  <a:lnTo>
                    <a:pt x="3808" y="1679"/>
                  </a:lnTo>
                  <a:lnTo>
                    <a:pt x="3808" y="1679"/>
                  </a:lnTo>
                  <a:lnTo>
                    <a:pt x="3808" y="1681"/>
                  </a:lnTo>
                  <a:lnTo>
                    <a:pt x="3808" y="1681"/>
                  </a:lnTo>
                  <a:lnTo>
                    <a:pt x="3808" y="1684"/>
                  </a:lnTo>
                  <a:lnTo>
                    <a:pt x="3808" y="1684"/>
                  </a:lnTo>
                  <a:lnTo>
                    <a:pt x="3808" y="1684"/>
                  </a:lnTo>
                  <a:lnTo>
                    <a:pt x="3808" y="1684"/>
                  </a:lnTo>
                  <a:lnTo>
                    <a:pt x="3808" y="1684"/>
                  </a:lnTo>
                  <a:lnTo>
                    <a:pt x="3808" y="1684"/>
                  </a:lnTo>
                  <a:lnTo>
                    <a:pt x="3808" y="1684"/>
                  </a:lnTo>
                  <a:lnTo>
                    <a:pt x="3808" y="1684"/>
                  </a:lnTo>
                  <a:lnTo>
                    <a:pt x="3808" y="1684"/>
                  </a:lnTo>
                  <a:lnTo>
                    <a:pt x="3808" y="1686"/>
                  </a:lnTo>
                  <a:lnTo>
                    <a:pt x="3808" y="1686"/>
                  </a:lnTo>
                  <a:lnTo>
                    <a:pt x="3808" y="1689"/>
                  </a:lnTo>
                  <a:lnTo>
                    <a:pt x="3808" y="1689"/>
                  </a:lnTo>
                  <a:lnTo>
                    <a:pt x="3808" y="1689"/>
                  </a:lnTo>
                  <a:lnTo>
                    <a:pt x="3810" y="1689"/>
                  </a:lnTo>
                  <a:lnTo>
                    <a:pt x="3810" y="1689"/>
                  </a:lnTo>
                  <a:lnTo>
                    <a:pt x="3810" y="1689"/>
                  </a:lnTo>
                  <a:lnTo>
                    <a:pt x="3810" y="1691"/>
                  </a:lnTo>
                  <a:lnTo>
                    <a:pt x="3810" y="1693"/>
                  </a:lnTo>
                  <a:lnTo>
                    <a:pt x="3810" y="1693"/>
                  </a:lnTo>
                  <a:lnTo>
                    <a:pt x="3808" y="1698"/>
                  </a:lnTo>
                  <a:lnTo>
                    <a:pt x="3808" y="1698"/>
                  </a:lnTo>
                  <a:lnTo>
                    <a:pt x="3808" y="1698"/>
                  </a:lnTo>
                  <a:lnTo>
                    <a:pt x="3808" y="1698"/>
                  </a:lnTo>
                  <a:lnTo>
                    <a:pt x="3808" y="1698"/>
                  </a:lnTo>
                  <a:lnTo>
                    <a:pt x="3808" y="1700"/>
                  </a:lnTo>
                  <a:lnTo>
                    <a:pt x="3808" y="1700"/>
                  </a:lnTo>
                  <a:lnTo>
                    <a:pt x="3808" y="1700"/>
                  </a:lnTo>
                  <a:lnTo>
                    <a:pt x="3808" y="1703"/>
                  </a:lnTo>
                  <a:lnTo>
                    <a:pt x="3808" y="1703"/>
                  </a:lnTo>
                  <a:lnTo>
                    <a:pt x="3808" y="1703"/>
                  </a:lnTo>
                  <a:lnTo>
                    <a:pt x="3808" y="1703"/>
                  </a:lnTo>
                  <a:lnTo>
                    <a:pt x="3808" y="1703"/>
                  </a:lnTo>
                  <a:lnTo>
                    <a:pt x="3805" y="1705"/>
                  </a:lnTo>
                  <a:lnTo>
                    <a:pt x="3805" y="1705"/>
                  </a:lnTo>
                  <a:lnTo>
                    <a:pt x="3803" y="1708"/>
                  </a:lnTo>
                  <a:lnTo>
                    <a:pt x="3803" y="1708"/>
                  </a:lnTo>
                  <a:lnTo>
                    <a:pt x="3800" y="1712"/>
                  </a:lnTo>
                  <a:lnTo>
                    <a:pt x="3800" y="1717"/>
                  </a:lnTo>
                  <a:lnTo>
                    <a:pt x="3800" y="1717"/>
                  </a:lnTo>
                  <a:lnTo>
                    <a:pt x="3800" y="1717"/>
                  </a:lnTo>
                  <a:lnTo>
                    <a:pt x="3800" y="1719"/>
                  </a:lnTo>
                  <a:lnTo>
                    <a:pt x="3803" y="1719"/>
                  </a:lnTo>
                  <a:lnTo>
                    <a:pt x="3803" y="1719"/>
                  </a:lnTo>
                  <a:lnTo>
                    <a:pt x="3805" y="1719"/>
                  </a:lnTo>
                  <a:lnTo>
                    <a:pt x="3805" y="1722"/>
                  </a:lnTo>
                  <a:lnTo>
                    <a:pt x="3803" y="1722"/>
                  </a:lnTo>
                  <a:lnTo>
                    <a:pt x="3803" y="1722"/>
                  </a:lnTo>
                  <a:lnTo>
                    <a:pt x="3803" y="1722"/>
                  </a:lnTo>
                  <a:lnTo>
                    <a:pt x="3800" y="1722"/>
                  </a:lnTo>
                  <a:lnTo>
                    <a:pt x="3800" y="1722"/>
                  </a:lnTo>
                  <a:lnTo>
                    <a:pt x="3798" y="1722"/>
                  </a:lnTo>
                  <a:lnTo>
                    <a:pt x="3798" y="1722"/>
                  </a:lnTo>
                  <a:lnTo>
                    <a:pt x="3798" y="1722"/>
                  </a:lnTo>
                  <a:lnTo>
                    <a:pt x="3798" y="1724"/>
                  </a:lnTo>
                  <a:lnTo>
                    <a:pt x="3798" y="1724"/>
                  </a:lnTo>
                  <a:lnTo>
                    <a:pt x="3798" y="1726"/>
                  </a:lnTo>
                  <a:lnTo>
                    <a:pt x="3798" y="1726"/>
                  </a:lnTo>
                  <a:lnTo>
                    <a:pt x="3798" y="1729"/>
                  </a:lnTo>
                  <a:lnTo>
                    <a:pt x="3798" y="1729"/>
                  </a:lnTo>
                  <a:lnTo>
                    <a:pt x="3798" y="1729"/>
                  </a:lnTo>
                  <a:lnTo>
                    <a:pt x="3798" y="1729"/>
                  </a:lnTo>
                  <a:lnTo>
                    <a:pt x="3798" y="1731"/>
                  </a:lnTo>
                  <a:lnTo>
                    <a:pt x="3798" y="1731"/>
                  </a:lnTo>
                  <a:lnTo>
                    <a:pt x="3798" y="1731"/>
                  </a:lnTo>
                  <a:lnTo>
                    <a:pt x="3798" y="1731"/>
                  </a:lnTo>
                  <a:lnTo>
                    <a:pt x="3793" y="1726"/>
                  </a:lnTo>
                  <a:lnTo>
                    <a:pt x="3793" y="1726"/>
                  </a:lnTo>
                  <a:lnTo>
                    <a:pt x="3793" y="1726"/>
                  </a:lnTo>
                  <a:lnTo>
                    <a:pt x="3791" y="1726"/>
                  </a:lnTo>
                  <a:lnTo>
                    <a:pt x="3791" y="1729"/>
                  </a:lnTo>
                  <a:lnTo>
                    <a:pt x="3791" y="1729"/>
                  </a:lnTo>
                  <a:lnTo>
                    <a:pt x="3791" y="1729"/>
                  </a:lnTo>
                  <a:lnTo>
                    <a:pt x="3791" y="1729"/>
                  </a:lnTo>
                  <a:lnTo>
                    <a:pt x="3791" y="1729"/>
                  </a:lnTo>
                  <a:lnTo>
                    <a:pt x="3791" y="1729"/>
                  </a:lnTo>
                  <a:lnTo>
                    <a:pt x="3789" y="1731"/>
                  </a:lnTo>
                  <a:lnTo>
                    <a:pt x="3789" y="1731"/>
                  </a:lnTo>
                  <a:lnTo>
                    <a:pt x="3789" y="1734"/>
                  </a:lnTo>
                  <a:lnTo>
                    <a:pt x="3789" y="1734"/>
                  </a:lnTo>
                  <a:lnTo>
                    <a:pt x="3786" y="1734"/>
                  </a:lnTo>
                  <a:lnTo>
                    <a:pt x="3786" y="1734"/>
                  </a:lnTo>
                  <a:lnTo>
                    <a:pt x="3784" y="1734"/>
                  </a:lnTo>
                  <a:lnTo>
                    <a:pt x="3782" y="1734"/>
                  </a:lnTo>
                  <a:lnTo>
                    <a:pt x="3782" y="1734"/>
                  </a:lnTo>
                  <a:lnTo>
                    <a:pt x="3782" y="1734"/>
                  </a:lnTo>
                  <a:lnTo>
                    <a:pt x="3779" y="1736"/>
                  </a:lnTo>
                  <a:lnTo>
                    <a:pt x="3779" y="1736"/>
                  </a:lnTo>
                  <a:lnTo>
                    <a:pt x="3779" y="1736"/>
                  </a:lnTo>
                  <a:lnTo>
                    <a:pt x="3779" y="1738"/>
                  </a:lnTo>
                  <a:lnTo>
                    <a:pt x="3779" y="1738"/>
                  </a:lnTo>
                  <a:lnTo>
                    <a:pt x="3779" y="1738"/>
                  </a:lnTo>
                  <a:lnTo>
                    <a:pt x="3779" y="1738"/>
                  </a:lnTo>
                  <a:lnTo>
                    <a:pt x="3779" y="1741"/>
                  </a:lnTo>
                  <a:lnTo>
                    <a:pt x="3779" y="1741"/>
                  </a:lnTo>
                  <a:lnTo>
                    <a:pt x="3779" y="1743"/>
                  </a:lnTo>
                  <a:lnTo>
                    <a:pt x="3779" y="1743"/>
                  </a:lnTo>
                  <a:lnTo>
                    <a:pt x="3779" y="1745"/>
                  </a:lnTo>
                  <a:lnTo>
                    <a:pt x="3779" y="1748"/>
                  </a:lnTo>
                  <a:lnTo>
                    <a:pt x="3779" y="1748"/>
                  </a:lnTo>
                  <a:lnTo>
                    <a:pt x="3779" y="1748"/>
                  </a:lnTo>
                  <a:lnTo>
                    <a:pt x="3779" y="1748"/>
                  </a:lnTo>
                  <a:lnTo>
                    <a:pt x="3774" y="1750"/>
                  </a:lnTo>
                  <a:lnTo>
                    <a:pt x="3772" y="1750"/>
                  </a:lnTo>
                  <a:lnTo>
                    <a:pt x="3767" y="1752"/>
                  </a:lnTo>
                  <a:lnTo>
                    <a:pt x="3765" y="1752"/>
                  </a:lnTo>
                  <a:lnTo>
                    <a:pt x="3760" y="1752"/>
                  </a:lnTo>
                  <a:lnTo>
                    <a:pt x="3758" y="1755"/>
                  </a:lnTo>
                  <a:lnTo>
                    <a:pt x="3753" y="1755"/>
                  </a:lnTo>
                  <a:lnTo>
                    <a:pt x="3751" y="1757"/>
                  </a:lnTo>
                  <a:lnTo>
                    <a:pt x="3746" y="1757"/>
                  </a:lnTo>
                  <a:lnTo>
                    <a:pt x="3744" y="1757"/>
                  </a:lnTo>
                  <a:lnTo>
                    <a:pt x="3739" y="1760"/>
                  </a:lnTo>
                  <a:lnTo>
                    <a:pt x="3737" y="1760"/>
                  </a:lnTo>
                  <a:lnTo>
                    <a:pt x="3732" y="1762"/>
                  </a:lnTo>
                  <a:lnTo>
                    <a:pt x="3729" y="1762"/>
                  </a:lnTo>
                  <a:lnTo>
                    <a:pt x="3725" y="1762"/>
                  </a:lnTo>
                  <a:lnTo>
                    <a:pt x="3722" y="1764"/>
                  </a:lnTo>
                  <a:lnTo>
                    <a:pt x="3718" y="1764"/>
                  </a:lnTo>
                  <a:lnTo>
                    <a:pt x="3715" y="1767"/>
                  </a:lnTo>
                  <a:lnTo>
                    <a:pt x="3713" y="1767"/>
                  </a:lnTo>
                  <a:lnTo>
                    <a:pt x="3711" y="1767"/>
                  </a:lnTo>
                  <a:lnTo>
                    <a:pt x="3708" y="1767"/>
                  </a:lnTo>
                  <a:lnTo>
                    <a:pt x="3703" y="1769"/>
                  </a:lnTo>
                  <a:lnTo>
                    <a:pt x="3701" y="1769"/>
                  </a:lnTo>
                  <a:lnTo>
                    <a:pt x="3696" y="1769"/>
                  </a:lnTo>
                  <a:lnTo>
                    <a:pt x="3694" y="1771"/>
                  </a:lnTo>
                  <a:lnTo>
                    <a:pt x="3689" y="1771"/>
                  </a:lnTo>
                  <a:lnTo>
                    <a:pt x="3687" y="1774"/>
                  </a:lnTo>
                  <a:lnTo>
                    <a:pt x="3682" y="1774"/>
                  </a:lnTo>
                  <a:lnTo>
                    <a:pt x="3680" y="1774"/>
                  </a:lnTo>
                  <a:lnTo>
                    <a:pt x="3675" y="1776"/>
                  </a:lnTo>
                  <a:lnTo>
                    <a:pt x="3673" y="1776"/>
                  </a:lnTo>
                  <a:lnTo>
                    <a:pt x="3668" y="1776"/>
                  </a:lnTo>
                  <a:lnTo>
                    <a:pt x="3666" y="1778"/>
                  </a:lnTo>
                  <a:lnTo>
                    <a:pt x="3663" y="1778"/>
                  </a:lnTo>
                  <a:lnTo>
                    <a:pt x="3663" y="1778"/>
                  </a:lnTo>
                  <a:lnTo>
                    <a:pt x="3658" y="1778"/>
                  </a:lnTo>
                  <a:lnTo>
                    <a:pt x="3658" y="1778"/>
                  </a:lnTo>
                  <a:lnTo>
                    <a:pt x="3656" y="1778"/>
                  </a:lnTo>
                  <a:lnTo>
                    <a:pt x="3656" y="1781"/>
                  </a:lnTo>
                  <a:lnTo>
                    <a:pt x="3654" y="1781"/>
                  </a:lnTo>
                  <a:lnTo>
                    <a:pt x="3654" y="1783"/>
                  </a:lnTo>
                  <a:lnTo>
                    <a:pt x="3651" y="1783"/>
                  </a:lnTo>
                  <a:lnTo>
                    <a:pt x="3651" y="1783"/>
                  </a:lnTo>
                  <a:lnTo>
                    <a:pt x="3649" y="1786"/>
                  </a:lnTo>
                  <a:lnTo>
                    <a:pt x="3644" y="1790"/>
                  </a:lnTo>
                  <a:lnTo>
                    <a:pt x="3644" y="1793"/>
                  </a:lnTo>
                  <a:lnTo>
                    <a:pt x="3640" y="1797"/>
                  </a:lnTo>
                  <a:lnTo>
                    <a:pt x="3637" y="1802"/>
                  </a:lnTo>
                  <a:lnTo>
                    <a:pt x="3632" y="1807"/>
                  </a:lnTo>
                  <a:lnTo>
                    <a:pt x="3632" y="1812"/>
                  </a:lnTo>
                  <a:lnTo>
                    <a:pt x="3630" y="1812"/>
                  </a:lnTo>
                  <a:lnTo>
                    <a:pt x="3630" y="1812"/>
                  </a:lnTo>
                  <a:lnTo>
                    <a:pt x="3630" y="1814"/>
                  </a:lnTo>
                  <a:lnTo>
                    <a:pt x="3632" y="1814"/>
                  </a:lnTo>
                  <a:lnTo>
                    <a:pt x="3632" y="1814"/>
                  </a:lnTo>
                  <a:lnTo>
                    <a:pt x="3632" y="1816"/>
                  </a:lnTo>
                  <a:lnTo>
                    <a:pt x="3630" y="1819"/>
                  </a:lnTo>
                  <a:lnTo>
                    <a:pt x="3630" y="1819"/>
                  </a:lnTo>
                  <a:lnTo>
                    <a:pt x="3630" y="1819"/>
                  </a:lnTo>
                  <a:lnTo>
                    <a:pt x="3630" y="1819"/>
                  </a:lnTo>
                  <a:lnTo>
                    <a:pt x="3630" y="1819"/>
                  </a:lnTo>
                  <a:lnTo>
                    <a:pt x="3630" y="1819"/>
                  </a:lnTo>
                  <a:lnTo>
                    <a:pt x="3628" y="1821"/>
                  </a:lnTo>
                  <a:lnTo>
                    <a:pt x="3628" y="1821"/>
                  </a:lnTo>
                  <a:lnTo>
                    <a:pt x="3628" y="1821"/>
                  </a:lnTo>
                  <a:lnTo>
                    <a:pt x="3623" y="1826"/>
                  </a:lnTo>
                  <a:lnTo>
                    <a:pt x="3618" y="1831"/>
                  </a:lnTo>
                  <a:lnTo>
                    <a:pt x="3614" y="1835"/>
                  </a:lnTo>
                  <a:lnTo>
                    <a:pt x="3614" y="1835"/>
                  </a:lnTo>
                  <a:lnTo>
                    <a:pt x="3614" y="1838"/>
                  </a:lnTo>
                  <a:lnTo>
                    <a:pt x="3616" y="1838"/>
                  </a:lnTo>
                  <a:lnTo>
                    <a:pt x="3616" y="1838"/>
                  </a:lnTo>
                  <a:lnTo>
                    <a:pt x="3616" y="1838"/>
                  </a:lnTo>
                  <a:lnTo>
                    <a:pt x="3616" y="1838"/>
                  </a:lnTo>
                  <a:lnTo>
                    <a:pt x="3616" y="1840"/>
                  </a:lnTo>
                  <a:lnTo>
                    <a:pt x="3616" y="1840"/>
                  </a:lnTo>
                  <a:lnTo>
                    <a:pt x="3616" y="1840"/>
                  </a:lnTo>
                  <a:lnTo>
                    <a:pt x="3618" y="1840"/>
                  </a:lnTo>
                  <a:lnTo>
                    <a:pt x="3618" y="1840"/>
                  </a:lnTo>
                  <a:lnTo>
                    <a:pt x="3618" y="1840"/>
                  </a:lnTo>
                  <a:lnTo>
                    <a:pt x="3618" y="1840"/>
                  </a:lnTo>
                  <a:lnTo>
                    <a:pt x="3618" y="1838"/>
                  </a:lnTo>
                  <a:lnTo>
                    <a:pt x="3621" y="1838"/>
                  </a:lnTo>
                  <a:lnTo>
                    <a:pt x="3621" y="1838"/>
                  </a:lnTo>
                  <a:lnTo>
                    <a:pt x="3623" y="1838"/>
                  </a:lnTo>
                  <a:lnTo>
                    <a:pt x="3623" y="1838"/>
                  </a:lnTo>
                  <a:lnTo>
                    <a:pt x="3623" y="1838"/>
                  </a:lnTo>
                  <a:lnTo>
                    <a:pt x="3623" y="1838"/>
                  </a:lnTo>
                  <a:lnTo>
                    <a:pt x="3623" y="1838"/>
                  </a:lnTo>
                  <a:lnTo>
                    <a:pt x="3623" y="1838"/>
                  </a:lnTo>
                  <a:lnTo>
                    <a:pt x="3623" y="1838"/>
                  </a:lnTo>
                  <a:lnTo>
                    <a:pt x="3623" y="1838"/>
                  </a:lnTo>
                  <a:lnTo>
                    <a:pt x="3623" y="1838"/>
                  </a:lnTo>
                  <a:lnTo>
                    <a:pt x="3623" y="1838"/>
                  </a:lnTo>
                  <a:lnTo>
                    <a:pt x="3623" y="1840"/>
                  </a:lnTo>
                  <a:lnTo>
                    <a:pt x="3623" y="1840"/>
                  </a:lnTo>
                  <a:lnTo>
                    <a:pt x="3621" y="1840"/>
                  </a:lnTo>
                  <a:lnTo>
                    <a:pt x="3621" y="1840"/>
                  </a:lnTo>
                  <a:lnTo>
                    <a:pt x="3621" y="1842"/>
                  </a:lnTo>
                  <a:lnTo>
                    <a:pt x="3621" y="1842"/>
                  </a:lnTo>
                  <a:lnTo>
                    <a:pt x="3623" y="1842"/>
                  </a:lnTo>
                  <a:lnTo>
                    <a:pt x="3625" y="1840"/>
                  </a:lnTo>
                  <a:lnTo>
                    <a:pt x="3625" y="1840"/>
                  </a:lnTo>
                  <a:lnTo>
                    <a:pt x="3625" y="1840"/>
                  </a:lnTo>
                  <a:lnTo>
                    <a:pt x="3625" y="1840"/>
                  </a:lnTo>
                  <a:lnTo>
                    <a:pt x="3625" y="1840"/>
                  </a:lnTo>
                  <a:lnTo>
                    <a:pt x="3628" y="1840"/>
                  </a:lnTo>
                  <a:lnTo>
                    <a:pt x="3625" y="1840"/>
                  </a:lnTo>
                  <a:lnTo>
                    <a:pt x="3625" y="1842"/>
                  </a:lnTo>
                  <a:lnTo>
                    <a:pt x="3625" y="1842"/>
                  </a:lnTo>
                  <a:lnTo>
                    <a:pt x="3625" y="1842"/>
                  </a:lnTo>
                  <a:lnTo>
                    <a:pt x="3623" y="1842"/>
                  </a:lnTo>
                  <a:lnTo>
                    <a:pt x="3625" y="1845"/>
                  </a:lnTo>
                  <a:lnTo>
                    <a:pt x="3625" y="1845"/>
                  </a:lnTo>
                  <a:lnTo>
                    <a:pt x="3623" y="1845"/>
                  </a:lnTo>
                  <a:lnTo>
                    <a:pt x="3623" y="1847"/>
                  </a:lnTo>
                  <a:lnTo>
                    <a:pt x="3623" y="1847"/>
                  </a:lnTo>
                  <a:lnTo>
                    <a:pt x="3621" y="1847"/>
                  </a:lnTo>
                  <a:lnTo>
                    <a:pt x="3621" y="1847"/>
                  </a:lnTo>
                  <a:lnTo>
                    <a:pt x="3621" y="1847"/>
                  </a:lnTo>
                  <a:lnTo>
                    <a:pt x="3621" y="1847"/>
                  </a:lnTo>
                  <a:lnTo>
                    <a:pt x="3618" y="1847"/>
                  </a:lnTo>
                  <a:lnTo>
                    <a:pt x="3618" y="1849"/>
                  </a:lnTo>
                  <a:lnTo>
                    <a:pt x="3618" y="1849"/>
                  </a:lnTo>
                  <a:lnTo>
                    <a:pt x="3621" y="1849"/>
                  </a:lnTo>
                  <a:lnTo>
                    <a:pt x="3621" y="1849"/>
                  </a:lnTo>
                  <a:lnTo>
                    <a:pt x="3621" y="1849"/>
                  </a:lnTo>
                  <a:lnTo>
                    <a:pt x="3621" y="1849"/>
                  </a:lnTo>
                  <a:lnTo>
                    <a:pt x="3621" y="1849"/>
                  </a:lnTo>
                  <a:lnTo>
                    <a:pt x="3623" y="1852"/>
                  </a:lnTo>
                  <a:lnTo>
                    <a:pt x="3623" y="1852"/>
                  </a:lnTo>
                  <a:lnTo>
                    <a:pt x="3623" y="1852"/>
                  </a:lnTo>
                  <a:lnTo>
                    <a:pt x="3623" y="1852"/>
                  </a:lnTo>
                  <a:lnTo>
                    <a:pt x="3623" y="1854"/>
                  </a:lnTo>
                  <a:lnTo>
                    <a:pt x="3623" y="1854"/>
                  </a:lnTo>
                  <a:lnTo>
                    <a:pt x="3623" y="1857"/>
                  </a:lnTo>
                  <a:lnTo>
                    <a:pt x="3623" y="1857"/>
                  </a:lnTo>
                  <a:lnTo>
                    <a:pt x="3625" y="1859"/>
                  </a:lnTo>
                  <a:lnTo>
                    <a:pt x="3625" y="1859"/>
                  </a:lnTo>
                  <a:lnTo>
                    <a:pt x="3625" y="1859"/>
                  </a:lnTo>
                  <a:lnTo>
                    <a:pt x="3625" y="1857"/>
                  </a:lnTo>
                  <a:lnTo>
                    <a:pt x="3625" y="1857"/>
                  </a:lnTo>
                  <a:lnTo>
                    <a:pt x="3625" y="1857"/>
                  </a:lnTo>
                  <a:lnTo>
                    <a:pt x="3625" y="1861"/>
                  </a:lnTo>
                  <a:lnTo>
                    <a:pt x="3625" y="1861"/>
                  </a:lnTo>
                  <a:lnTo>
                    <a:pt x="3625" y="1861"/>
                  </a:lnTo>
                  <a:lnTo>
                    <a:pt x="3625" y="1864"/>
                  </a:lnTo>
                  <a:lnTo>
                    <a:pt x="3625" y="1864"/>
                  </a:lnTo>
                  <a:lnTo>
                    <a:pt x="3623" y="1866"/>
                  </a:lnTo>
                  <a:lnTo>
                    <a:pt x="3621" y="1866"/>
                  </a:lnTo>
                  <a:lnTo>
                    <a:pt x="3621" y="1866"/>
                  </a:lnTo>
                  <a:lnTo>
                    <a:pt x="3618" y="1866"/>
                  </a:lnTo>
                  <a:lnTo>
                    <a:pt x="3618" y="1866"/>
                  </a:lnTo>
                  <a:lnTo>
                    <a:pt x="3616" y="1868"/>
                  </a:lnTo>
                  <a:lnTo>
                    <a:pt x="3616" y="1868"/>
                  </a:lnTo>
                  <a:lnTo>
                    <a:pt x="3614" y="1873"/>
                  </a:lnTo>
                  <a:lnTo>
                    <a:pt x="3611" y="1873"/>
                  </a:lnTo>
                  <a:lnTo>
                    <a:pt x="3611" y="1875"/>
                  </a:lnTo>
                  <a:lnTo>
                    <a:pt x="3609" y="1878"/>
                  </a:lnTo>
                  <a:lnTo>
                    <a:pt x="3609" y="1878"/>
                  </a:lnTo>
                  <a:lnTo>
                    <a:pt x="3609" y="1878"/>
                  </a:lnTo>
                  <a:lnTo>
                    <a:pt x="3609" y="1878"/>
                  </a:lnTo>
                  <a:lnTo>
                    <a:pt x="3609" y="1878"/>
                  </a:lnTo>
                  <a:lnTo>
                    <a:pt x="3606" y="1880"/>
                  </a:lnTo>
                  <a:lnTo>
                    <a:pt x="3602" y="1883"/>
                  </a:lnTo>
                  <a:lnTo>
                    <a:pt x="3602" y="1883"/>
                  </a:lnTo>
                  <a:lnTo>
                    <a:pt x="3602" y="1883"/>
                  </a:lnTo>
                  <a:lnTo>
                    <a:pt x="3602" y="1883"/>
                  </a:lnTo>
                  <a:lnTo>
                    <a:pt x="3602" y="1883"/>
                  </a:lnTo>
                  <a:lnTo>
                    <a:pt x="3602" y="1885"/>
                  </a:lnTo>
                  <a:lnTo>
                    <a:pt x="3602" y="1885"/>
                  </a:lnTo>
                  <a:lnTo>
                    <a:pt x="3602" y="1885"/>
                  </a:lnTo>
                  <a:lnTo>
                    <a:pt x="3602" y="1885"/>
                  </a:lnTo>
                  <a:lnTo>
                    <a:pt x="3602" y="1885"/>
                  </a:lnTo>
                  <a:lnTo>
                    <a:pt x="3602" y="1885"/>
                  </a:lnTo>
                  <a:lnTo>
                    <a:pt x="3602" y="1885"/>
                  </a:lnTo>
                  <a:lnTo>
                    <a:pt x="3599" y="1885"/>
                  </a:lnTo>
                  <a:lnTo>
                    <a:pt x="3599" y="1885"/>
                  </a:lnTo>
                  <a:lnTo>
                    <a:pt x="3599" y="1885"/>
                  </a:lnTo>
                  <a:lnTo>
                    <a:pt x="3599" y="1883"/>
                  </a:lnTo>
                  <a:lnTo>
                    <a:pt x="3585" y="1885"/>
                  </a:lnTo>
                  <a:lnTo>
                    <a:pt x="3585" y="1887"/>
                  </a:lnTo>
                  <a:lnTo>
                    <a:pt x="3580" y="1890"/>
                  </a:lnTo>
                  <a:lnTo>
                    <a:pt x="3578" y="1890"/>
                  </a:lnTo>
                  <a:lnTo>
                    <a:pt x="3576" y="1890"/>
                  </a:lnTo>
                  <a:lnTo>
                    <a:pt x="3573" y="1887"/>
                  </a:lnTo>
                  <a:lnTo>
                    <a:pt x="3573" y="1887"/>
                  </a:lnTo>
                  <a:lnTo>
                    <a:pt x="3573" y="1887"/>
                  </a:lnTo>
                  <a:lnTo>
                    <a:pt x="3573" y="1887"/>
                  </a:lnTo>
                  <a:lnTo>
                    <a:pt x="3571" y="1887"/>
                  </a:lnTo>
                  <a:lnTo>
                    <a:pt x="3557" y="1887"/>
                  </a:lnTo>
                  <a:lnTo>
                    <a:pt x="3552" y="1887"/>
                  </a:lnTo>
                  <a:lnTo>
                    <a:pt x="3547" y="1887"/>
                  </a:lnTo>
                  <a:lnTo>
                    <a:pt x="3535" y="1892"/>
                  </a:lnTo>
                  <a:lnTo>
                    <a:pt x="3533" y="1894"/>
                  </a:lnTo>
                  <a:lnTo>
                    <a:pt x="3531" y="1897"/>
                  </a:lnTo>
                  <a:lnTo>
                    <a:pt x="3526" y="1899"/>
                  </a:lnTo>
                  <a:lnTo>
                    <a:pt x="3524" y="1899"/>
                  </a:lnTo>
                  <a:lnTo>
                    <a:pt x="3524" y="1899"/>
                  </a:lnTo>
                  <a:lnTo>
                    <a:pt x="3524" y="1899"/>
                  </a:lnTo>
                  <a:lnTo>
                    <a:pt x="3524" y="1904"/>
                  </a:lnTo>
                  <a:lnTo>
                    <a:pt x="3526" y="1906"/>
                  </a:lnTo>
                  <a:lnTo>
                    <a:pt x="3526" y="1906"/>
                  </a:lnTo>
                  <a:lnTo>
                    <a:pt x="3526" y="1906"/>
                  </a:lnTo>
                  <a:lnTo>
                    <a:pt x="3524" y="1906"/>
                  </a:lnTo>
                  <a:lnTo>
                    <a:pt x="3524" y="1909"/>
                  </a:lnTo>
                  <a:lnTo>
                    <a:pt x="3524" y="1909"/>
                  </a:lnTo>
                  <a:lnTo>
                    <a:pt x="3524" y="1909"/>
                  </a:lnTo>
                  <a:lnTo>
                    <a:pt x="3526" y="1909"/>
                  </a:lnTo>
                  <a:lnTo>
                    <a:pt x="3531" y="1909"/>
                  </a:lnTo>
                  <a:lnTo>
                    <a:pt x="3533" y="1909"/>
                  </a:lnTo>
                  <a:lnTo>
                    <a:pt x="3533" y="1911"/>
                  </a:lnTo>
                  <a:lnTo>
                    <a:pt x="3531" y="1913"/>
                  </a:lnTo>
                  <a:lnTo>
                    <a:pt x="3531" y="1913"/>
                  </a:lnTo>
                  <a:lnTo>
                    <a:pt x="3531" y="1913"/>
                  </a:lnTo>
                  <a:lnTo>
                    <a:pt x="3531" y="1916"/>
                  </a:lnTo>
                  <a:lnTo>
                    <a:pt x="3533" y="1916"/>
                  </a:lnTo>
                  <a:lnTo>
                    <a:pt x="3533" y="1918"/>
                  </a:lnTo>
                  <a:lnTo>
                    <a:pt x="3533" y="1918"/>
                  </a:lnTo>
                  <a:lnTo>
                    <a:pt x="3533" y="1918"/>
                  </a:lnTo>
                  <a:lnTo>
                    <a:pt x="3535" y="1920"/>
                  </a:lnTo>
                  <a:lnTo>
                    <a:pt x="3535" y="1920"/>
                  </a:lnTo>
                  <a:lnTo>
                    <a:pt x="3535" y="1920"/>
                  </a:lnTo>
                  <a:lnTo>
                    <a:pt x="3535" y="1923"/>
                  </a:lnTo>
                  <a:lnTo>
                    <a:pt x="3535" y="1923"/>
                  </a:lnTo>
                  <a:lnTo>
                    <a:pt x="3535" y="1925"/>
                  </a:lnTo>
                  <a:lnTo>
                    <a:pt x="3533" y="1925"/>
                  </a:lnTo>
                  <a:lnTo>
                    <a:pt x="3531" y="1928"/>
                  </a:lnTo>
                  <a:lnTo>
                    <a:pt x="3531" y="1928"/>
                  </a:lnTo>
                  <a:lnTo>
                    <a:pt x="3528" y="1930"/>
                  </a:lnTo>
                  <a:lnTo>
                    <a:pt x="3528" y="1932"/>
                  </a:lnTo>
                  <a:lnTo>
                    <a:pt x="3528" y="1932"/>
                  </a:lnTo>
                  <a:lnTo>
                    <a:pt x="3528" y="1932"/>
                  </a:lnTo>
                  <a:lnTo>
                    <a:pt x="3528" y="1932"/>
                  </a:lnTo>
                  <a:lnTo>
                    <a:pt x="3526" y="1935"/>
                  </a:lnTo>
                  <a:lnTo>
                    <a:pt x="3526" y="1935"/>
                  </a:lnTo>
                  <a:lnTo>
                    <a:pt x="3526" y="1935"/>
                  </a:lnTo>
                  <a:lnTo>
                    <a:pt x="3526" y="1937"/>
                  </a:lnTo>
                  <a:lnTo>
                    <a:pt x="3524" y="1937"/>
                  </a:lnTo>
                  <a:lnTo>
                    <a:pt x="3524" y="1939"/>
                  </a:lnTo>
                  <a:lnTo>
                    <a:pt x="3521" y="1939"/>
                  </a:lnTo>
                  <a:lnTo>
                    <a:pt x="3519" y="1942"/>
                  </a:lnTo>
                  <a:lnTo>
                    <a:pt x="3519" y="1942"/>
                  </a:lnTo>
                  <a:lnTo>
                    <a:pt x="3519" y="1942"/>
                  </a:lnTo>
                  <a:lnTo>
                    <a:pt x="3519" y="1942"/>
                  </a:lnTo>
                  <a:lnTo>
                    <a:pt x="3519" y="1944"/>
                  </a:lnTo>
                  <a:lnTo>
                    <a:pt x="3517" y="1944"/>
                  </a:lnTo>
                  <a:lnTo>
                    <a:pt x="3517" y="1946"/>
                  </a:lnTo>
                  <a:lnTo>
                    <a:pt x="3514" y="1949"/>
                  </a:lnTo>
                  <a:lnTo>
                    <a:pt x="3514" y="1949"/>
                  </a:lnTo>
                  <a:lnTo>
                    <a:pt x="3514" y="1949"/>
                  </a:lnTo>
                  <a:lnTo>
                    <a:pt x="3512" y="1951"/>
                  </a:lnTo>
                  <a:lnTo>
                    <a:pt x="3509" y="1954"/>
                  </a:lnTo>
                  <a:lnTo>
                    <a:pt x="3507" y="1954"/>
                  </a:lnTo>
                  <a:lnTo>
                    <a:pt x="3507" y="1956"/>
                  </a:lnTo>
                  <a:lnTo>
                    <a:pt x="3502" y="1958"/>
                  </a:lnTo>
                  <a:lnTo>
                    <a:pt x="3500" y="1961"/>
                  </a:lnTo>
                  <a:lnTo>
                    <a:pt x="3500" y="1961"/>
                  </a:lnTo>
                  <a:lnTo>
                    <a:pt x="3498" y="1963"/>
                  </a:lnTo>
                  <a:lnTo>
                    <a:pt x="3498" y="1963"/>
                  </a:lnTo>
                  <a:lnTo>
                    <a:pt x="3495" y="1965"/>
                  </a:lnTo>
                  <a:lnTo>
                    <a:pt x="3493" y="1965"/>
                  </a:lnTo>
                  <a:lnTo>
                    <a:pt x="3493" y="1965"/>
                  </a:lnTo>
                  <a:lnTo>
                    <a:pt x="3495" y="1965"/>
                  </a:lnTo>
                  <a:lnTo>
                    <a:pt x="3495" y="1963"/>
                  </a:lnTo>
                  <a:lnTo>
                    <a:pt x="3495" y="1963"/>
                  </a:lnTo>
                  <a:lnTo>
                    <a:pt x="3495" y="1963"/>
                  </a:lnTo>
                  <a:lnTo>
                    <a:pt x="3495" y="1963"/>
                  </a:lnTo>
                  <a:lnTo>
                    <a:pt x="3495" y="1963"/>
                  </a:lnTo>
                  <a:lnTo>
                    <a:pt x="3495" y="1963"/>
                  </a:lnTo>
                  <a:lnTo>
                    <a:pt x="3495" y="1963"/>
                  </a:lnTo>
                  <a:lnTo>
                    <a:pt x="3495" y="1963"/>
                  </a:lnTo>
                  <a:lnTo>
                    <a:pt x="3493" y="1965"/>
                  </a:lnTo>
                  <a:lnTo>
                    <a:pt x="3493" y="1965"/>
                  </a:lnTo>
                  <a:lnTo>
                    <a:pt x="3493" y="1965"/>
                  </a:lnTo>
                  <a:lnTo>
                    <a:pt x="3493" y="1965"/>
                  </a:lnTo>
                  <a:lnTo>
                    <a:pt x="3490" y="1968"/>
                  </a:lnTo>
                  <a:lnTo>
                    <a:pt x="3486" y="1972"/>
                  </a:lnTo>
                  <a:lnTo>
                    <a:pt x="3483" y="1972"/>
                  </a:lnTo>
                  <a:lnTo>
                    <a:pt x="3483" y="1972"/>
                  </a:lnTo>
                  <a:lnTo>
                    <a:pt x="3483" y="1975"/>
                  </a:lnTo>
                  <a:lnTo>
                    <a:pt x="3472" y="1980"/>
                  </a:lnTo>
                  <a:lnTo>
                    <a:pt x="3469" y="1982"/>
                  </a:lnTo>
                  <a:lnTo>
                    <a:pt x="3469" y="1982"/>
                  </a:lnTo>
                  <a:lnTo>
                    <a:pt x="3469" y="1982"/>
                  </a:lnTo>
                  <a:lnTo>
                    <a:pt x="3467" y="1982"/>
                  </a:lnTo>
                  <a:lnTo>
                    <a:pt x="3467" y="1984"/>
                  </a:lnTo>
                  <a:lnTo>
                    <a:pt x="3467" y="1984"/>
                  </a:lnTo>
                  <a:lnTo>
                    <a:pt x="3467" y="1984"/>
                  </a:lnTo>
                  <a:lnTo>
                    <a:pt x="3464" y="1984"/>
                  </a:lnTo>
                  <a:lnTo>
                    <a:pt x="3462" y="1987"/>
                  </a:lnTo>
                  <a:lnTo>
                    <a:pt x="3453" y="1994"/>
                  </a:lnTo>
                  <a:lnTo>
                    <a:pt x="3441" y="2006"/>
                  </a:lnTo>
                  <a:lnTo>
                    <a:pt x="3438" y="2008"/>
                  </a:lnTo>
                  <a:lnTo>
                    <a:pt x="3438" y="2008"/>
                  </a:lnTo>
                  <a:lnTo>
                    <a:pt x="3438" y="2008"/>
                  </a:lnTo>
                  <a:lnTo>
                    <a:pt x="3436" y="2008"/>
                  </a:lnTo>
                  <a:lnTo>
                    <a:pt x="3436" y="2008"/>
                  </a:lnTo>
                  <a:lnTo>
                    <a:pt x="3436" y="2008"/>
                  </a:lnTo>
                  <a:lnTo>
                    <a:pt x="3434" y="2008"/>
                  </a:lnTo>
                  <a:lnTo>
                    <a:pt x="3434" y="2008"/>
                  </a:lnTo>
                  <a:lnTo>
                    <a:pt x="3434" y="2010"/>
                  </a:lnTo>
                  <a:lnTo>
                    <a:pt x="3429" y="2008"/>
                  </a:lnTo>
                  <a:lnTo>
                    <a:pt x="3427" y="2010"/>
                  </a:lnTo>
                  <a:lnTo>
                    <a:pt x="3422" y="2010"/>
                  </a:lnTo>
                  <a:lnTo>
                    <a:pt x="3419" y="2013"/>
                  </a:lnTo>
                  <a:lnTo>
                    <a:pt x="3417" y="2015"/>
                  </a:lnTo>
                  <a:lnTo>
                    <a:pt x="3415" y="2015"/>
                  </a:lnTo>
                  <a:lnTo>
                    <a:pt x="3415" y="2015"/>
                  </a:lnTo>
                  <a:lnTo>
                    <a:pt x="3415" y="2015"/>
                  </a:lnTo>
                  <a:lnTo>
                    <a:pt x="3412" y="2017"/>
                  </a:lnTo>
                  <a:lnTo>
                    <a:pt x="3412" y="2017"/>
                  </a:lnTo>
                  <a:lnTo>
                    <a:pt x="3410" y="2017"/>
                  </a:lnTo>
                  <a:lnTo>
                    <a:pt x="3408" y="2017"/>
                  </a:lnTo>
                  <a:lnTo>
                    <a:pt x="3405" y="2015"/>
                  </a:lnTo>
                  <a:lnTo>
                    <a:pt x="3405" y="2015"/>
                  </a:lnTo>
                  <a:lnTo>
                    <a:pt x="3405" y="2015"/>
                  </a:lnTo>
                  <a:lnTo>
                    <a:pt x="3403" y="2015"/>
                  </a:lnTo>
                  <a:lnTo>
                    <a:pt x="3403" y="2015"/>
                  </a:lnTo>
                  <a:lnTo>
                    <a:pt x="3403" y="2015"/>
                  </a:lnTo>
                  <a:lnTo>
                    <a:pt x="3403" y="2015"/>
                  </a:lnTo>
                  <a:lnTo>
                    <a:pt x="3403" y="2015"/>
                  </a:lnTo>
                  <a:lnTo>
                    <a:pt x="3403" y="2015"/>
                  </a:lnTo>
                  <a:lnTo>
                    <a:pt x="3405" y="2015"/>
                  </a:lnTo>
                  <a:lnTo>
                    <a:pt x="3405" y="2017"/>
                  </a:lnTo>
                  <a:lnTo>
                    <a:pt x="3403" y="2015"/>
                  </a:lnTo>
                  <a:lnTo>
                    <a:pt x="3403" y="2015"/>
                  </a:lnTo>
                  <a:lnTo>
                    <a:pt x="3403" y="2015"/>
                  </a:lnTo>
                  <a:lnTo>
                    <a:pt x="3401" y="2015"/>
                  </a:lnTo>
                  <a:lnTo>
                    <a:pt x="3401" y="2015"/>
                  </a:lnTo>
                  <a:lnTo>
                    <a:pt x="3401" y="2015"/>
                  </a:lnTo>
                  <a:lnTo>
                    <a:pt x="3401" y="2015"/>
                  </a:lnTo>
                  <a:lnTo>
                    <a:pt x="3401" y="2015"/>
                  </a:lnTo>
                  <a:lnTo>
                    <a:pt x="3398" y="2015"/>
                  </a:lnTo>
                  <a:lnTo>
                    <a:pt x="3398" y="2015"/>
                  </a:lnTo>
                  <a:lnTo>
                    <a:pt x="3396" y="2017"/>
                  </a:lnTo>
                  <a:lnTo>
                    <a:pt x="3393" y="2017"/>
                  </a:lnTo>
                  <a:lnTo>
                    <a:pt x="3393" y="2017"/>
                  </a:lnTo>
                  <a:lnTo>
                    <a:pt x="3391" y="2017"/>
                  </a:lnTo>
                  <a:lnTo>
                    <a:pt x="3391" y="2017"/>
                  </a:lnTo>
                  <a:lnTo>
                    <a:pt x="3391" y="2017"/>
                  </a:lnTo>
                  <a:lnTo>
                    <a:pt x="3391" y="2017"/>
                  </a:lnTo>
                  <a:lnTo>
                    <a:pt x="3391" y="2017"/>
                  </a:lnTo>
                  <a:lnTo>
                    <a:pt x="3389" y="2017"/>
                  </a:lnTo>
                  <a:lnTo>
                    <a:pt x="3389" y="2017"/>
                  </a:lnTo>
                  <a:lnTo>
                    <a:pt x="3391" y="2017"/>
                  </a:lnTo>
                  <a:lnTo>
                    <a:pt x="3391" y="2017"/>
                  </a:lnTo>
                  <a:lnTo>
                    <a:pt x="3391" y="2017"/>
                  </a:lnTo>
                  <a:lnTo>
                    <a:pt x="3391" y="2017"/>
                  </a:lnTo>
                  <a:lnTo>
                    <a:pt x="3391" y="2017"/>
                  </a:lnTo>
                  <a:lnTo>
                    <a:pt x="3391" y="2015"/>
                  </a:lnTo>
                  <a:lnTo>
                    <a:pt x="3393" y="2015"/>
                  </a:lnTo>
                  <a:lnTo>
                    <a:pt x="3393" y="2015"/>
                  </a:lnTo>
                  <a:lnTo>
                    <a:pt x="3393" y="2015"/>
                  </a:lnTo>
                  <a:lnTo>
                    <a:pt x="3396" y="2015"/>
                  </a:lnTo>
                  <a:lnTo>
                    <a:pt x="3396" y="2015"/>
                  </a:lnTo>
                  <a:lnTo>
                    <a:pt x="3398" y="2015"/>
                  </a:lnTo>
                  <a:lnTo>
                    <a:pt x="3398" y="2015"/>
                  </a:lnTo>
                  <a:lnTo>
                    <a:pt x="3398" y="2013"/>
                  </a:lnTo>
                  <a:lnTo>
                    <a:pt x="3403" y="2013"/>
                  </a:lnTo>
                  <a:lnTo>
                    <a:pt x="3401" y="2013"/>
                  </a:lnTo>
                  <a:lnTo>
                    <a:pt x="3401" y="2013"/>
                  </a:lnTo>
                  <a:lnTo>
                    <a:pt x="3401" y="2010"/>
                  </a:lnTo>
                  <a:lnTo>
                    <a:pt x="3398" y="2010"/>
                  </a:lnTo>
                  <a:lnTo>
                    <a:pt x="3398" y="2013"/>
                  </a:lnTo>
                  <a:lnTo>
                    <a:pt x="3398" y="2013"/>
                  </a:lnTo>
                  <a:lnTo>
                    <a:pt x="3398" y="2013"/>
                  </a:lnTo>
                  <a:lnTo>
                    <a:pt x="3398" y="2013"/>
                  </a:lnTo>
                  <a:lnTo>
                    <a:pt x="3398" y="2010"/>
                  </a:lnTo>
                  <a:lnTo>
                    <a:pt x="3396" y="2010"/>
                  </a:lnTo>
                  <a:lnTo>
                    <a:pt x="3396" y="2010"/>
                  </a:lnTo>
                  <a:lnTo>
                    <a:pt x="3396" y="2010"/>
                  </a:lnTo>
                  <a:lnTo>
                    <a:pt x="3396" y="2010"/>
                  </a:lnTo>
                  <a:lnTo>
                    <a:pt x="3396" y="2010"/>
                  </a:lnTo>
                  <a:lnTo>
                    <a:pt x="3396" y="2013"/>
                  </a:lnTo>
                  <a:lnTo>
                    <a:pt x="3396" y="2013"/>
                  </a:lnTo>
                  <a:lnTo>
                    <a:pt x="3396" y="2013"/>
                  </a:lnTo>
                  <a:lnTo>
                    <a:pt x="3393" y="2013"/>
                  </a:lnTo>
                  <a:lnTo>
                    <a:pt x="3393" y="2013"/>
                  </a:lnTo>
                  <a:lnTo>
                    <a:pt x="3393" y="2013"/>
                  </a:lnTo>
                  <a:lnTo>
                    <a:pt x="3391" y="2013"/>
                  </a:lnTo>
                  <a:lnTo>
                    <a:pt x="3391" y="2013"/>
                  </a:lnTo>
                  <a:lnTo>
                    <a:pt x="3389" y="2013"/>
                  </a:lnTo>
                  <a:lnTo>
                    <a:pt x="3386" y="2010"/>
                  </a:lnTo>
                  <a:lnTo>
                    <a:pt x="3386" y="2010"/>
                  </a:lnTo>
                  <a:lnTo>
                    <a:pt x="3384" y="2010"/>
                  </a:lnTo>
                  <a:lnTo>
                    <a:pt x="3384" y="2010"/>
                  </a:lnTo>
                  <a:lnTo>
                    <a:pt x="3382" y="2010"/>
                  </a:lnTo>
                  <a:lnTo>
                    <a:pt x="3379" y="2008"/>
                  </a:lnTo>
                  <a:lnTo>
                    <a:pt x="3377" y="2008"/>
                  </a:lnTo>
                  <a:lnTo>
                    <a:pt x="3377" y="2008"/>
                  </a:lnTo>
                  <a:lnTo>
                    <a:pt x="3377" y="2008"/>
                  </a:lnTo>
                  <a:lnTo>
                    <a:pt x="3375" y="2008"/>
                  </a:lnTo>
                  <a:lnTo>
                    <a:pt x="3375" y="2008"/>
                  </a:lnTo>
                  <a:lnTo>
                    <a:pt x="3375" y="2008"/>
                  </a:lnTo>
                  <a:lnTo>
                    <a:pt x="3372" y="2008"/>
                  </a:lnTo>
                  <a:lnTo>
                    <a:pt x="3370" y="2006"/>
                  </a:lnTo>
                  <a:lnTo>
                    <a:pt x="3370" y="2006"/>
                  </a:lnTo>
                  <a:lnTo>
                    <a:pt x="3370" y="2006"/>
                  </a:lnTo>
                  <a:lnTo>
                    <a:pt x="3372" y="2006"/>
                  </a:lnTo>
                  <a:lnTo>
                    <a:pt x="3372" y="2006"/>
                  </a:lnTo>
                  <a:lnTo>
                    <a:pt x="3372" y="2006"/>
                  </a:lnTo>
                  <a:lnTo>
                    <a:pt x="3372" y="2006"/>
                  </a:lnTo>
                  <a:lnTo>
                    <a:pt x="3372" y="2003"/>
                  </a:lnTo>
                  <a:lnTo>
                    <a:pt x="3372" y="2003"/>
                  </a:lnTo>
                  <a:lnTo>
                    <a:pt x="3372" y="2001"/>
                  </a:lnTo>
                  <a:lnTo>
                    <a:pt x="3372" y="1998"/>
                  </a:lnTo>
                  <a:lnTo>
                    <a:pt x="3375" y="1998"/>
                  </a:lnTo>
                  <a:lnTo>
                    <a:pt x="3375" y="1998"/>
                  </a:lnTo>
                  <a:lnTo>
                    <a:pt x="3375" y="1996"/>
                  </a:lnTo>
                  <a:lnTo>
                    <a:pt x="3375" y="1996"/>
                  </a:lnTo>
                  <a:lnTo>
                    <a:pt x="3377" y="1994"/>
                  </a:lnTo>
                  <a:lnTo>
                    <a:pt x="3377" y="1996"/>
                  </a:lnTo>
                  <a:lnTo>
                    <a:pt x="3377" y="1994"/>
                  </a:lnTo>
                  <a:lnTo>
                    <a:pt x="3377" y="1994"/>
                  </a:lnTo>
                  <a:lnTo>
                    <a:pt x="3377" y="1994"/>
                  </a:lnTo>
                  <a:lnTo>
                    <a:pt x="3377" y="1991"/>
                  </a:lnTo>
                  <a:lnTo>
                    <a:pt x="3377" y="1991"/>
                  </a:lnTo>
                  <a:lnTo>
                    <a:pt x="3379" y="1991"/>
                  </a:lnTo>
                  <a:lnTo>
                    <a:pt x="3379" y="1989"/>
                  </a:lnTo>
                  <a:lnTo>
                    <a:pt x="3379" y="1989"/>
                  </a:lnTo>
                  <a:lnTo>
                    <a:pt x="3379" y="1989"/>
                  </a:lnTo>
                  <a:lnTo>
                    <a:pt x="3379" y="1991"/>
                  </a:lnTo>
                  <a:lnTo>
                    <a:pt x="3379" y="1989"/>
                  </a:lnTo>
                  <a:lnTo>
                    <a:pt x="3379" y="1989"/>
                  </a:lnTo>
                  <a:lnTo>
                    <a:pt x="3379" y="1989"/>
                  </a:lnTo>
                  <a:lnTo>
                    <a:pt x="3379" y="1989"/>
                  </a:lnTo>
                  <a:lnTo>
                    <a:pt x="3379" y="1989"/>
                  </a:lnTo>
                  <a:lnTo>
                    <a:pt x="3379" y="1989"/>
                  </a:lnTo>
                  <a:lnTo>
                    <a:pt x="3379" y="1987"/>
                  </a:lnTo>
                  <a:lnTo>
                    <a:pt x="3379" y="1987"/>
                  </a:lnTo>
                  <a:lnTo>
                    <a:pt x="3379" y="1987"/>
                  </a:lnTo>
                  <a:lnTo>
                    <a:pt x="3379" y="1987"/>
                  </a:lnTo>
                  <a:lnTo>
                    <a:pt x="3379" y="1987"/>
                  </a:lnTo>
                  <a:lnTo>
                    <a:pt x="3379" y="1984"/>
                  </a:lnTo>
                  <a:lnTo>
                    <a:pt x="3379" y="1980"/>
                  </a:lnTo>
                  <a:lnTo>
                    <a:pt x="3379" y="1977"/>
                  </a:lnTo>
                  <a:lnTo>
                    <a:pt x="3382" y="1975"/>
                  </a:lnTo>
                  <a:lnTo>
                    <a:pt x="3382" y="1975"/>
                  </a:lnTo>
                  <a:lnTo>
                    <a:pt x="3382" y="1972"/>
                  </a:lnTo>
                  <a:lnTo>
                    <a:pt x="3386" y="1972"/>
                  </a:lnTo>
                  <a:lnTo>
                    <a:pt x="3389" y="1968"/>
                  </a:lnTo>
                  <a:lnTo>
                    <a:pt x="3391" y="1968"/>
                  </a:lnTo>
                  <a:lnTo>
                    <a:pt x="3393" y="1963"/>
                  </a:lnTo>
                  <a:lnTo>
                    <a:pt x="3396" y="1961"/>
                  </a:lnTo>
                  <a:lnTo>
                    <a:pt x="3396" y="1958"/>
                  </a:lnTo>
                  <a:lnTo>
                    <a:pt x="3398" y="1958"/>
                  </a:lnTo>
                  <a:lnTo>
                    <a:pt x="3398" y="1958"/>
                  </a:lnTo>
                  <a:lnTo>
                    <a:pt x="3401" y="1956"/>
                  </a:lnTo>
                  <a:lnTo>
                    <a:pt x="3401" y="1954"/>
                  </a:lnTo>
                  <a:lnTo>
                    <a:pt x="3401" y="1951"/>
                  </a:lnTo>
                  <a:lnTo>
                    <a:pt x="3401" y="1949"/>
                  </a:lnTo>
                  <a:lnTo>
                    <a:pt x="3401" y="1946"/>
                  </a:lnTo>
                  <a:lnTo>
                    <a:pt x="3401" y="1946"/>
                  </a:lnTo>
                  <a:lnTo>
                    <a:pt x="3401" y="1946"/>
                  </a:lnTo>
                  <a:lnTo>
                    <a:pt x="3398" y="1946"/>
                  </a:lnTo>
                  <a:lnTo>
                    <a:pt x="3398" y="1944"/>
                  </a:lnTo>
                  <a:lnTo>
                    <a:pt x="3401" y="1942"/>
                  </a:lnTo>
                  <a:lnTo>
                    <a:pt x="3401" y="1942"/>
                  </a:lnTo>
                  <a:lnTo>
                    <a:pt x="3401" y="1939"/>
                  </a:lnTo>
                  <a:lnTo>
                    <a:pt x="3401" y="1939"/>
                  </a:lnTo>
                  <a:lnTo>
                    <a:pt x="3401" y="1937"/>
                  </a:lnTo>
                  <a:lnTo>
                    <a:pt x="3401" y="1935"/>
                  </a:lnTo>
                  <a:lnTo>
                    <a:pt x="3401" y="1935"/>
                  </a:lnTo>
                  <a:lnTo>
                    <a:pt x="3401" y="1935"/>
                  </a:lnTo>
                  <a:lnTo>
                    <a:pt x="3401" y="1935"/>
                  </a:lnTo>
                  <a:lnTo>
                    <a:pt x="3401" y="1935"/>
                  </a:lnTo>
                  <a:lnTo>
                    <a:pt x="3398" y="1932"/>
                  </a:lnTo>
                  <a:lnTo>
                    <a:pt x="3398" y="1932"/>
                  </a:lnTo>
                  <a:lnTo>
                    <a:pt x="3398" y="1930"/>
                  </a:lnTo>
                  <a:lnTo>
                    <a:pt x="3393" y="1923"/>
                  </a:lnTo>
                  <a:lnTo>
                    <a:pt x="3391" y="1913"/>
                  </a:lnTo>
                  <a:lnTo>
                    <a:pt x="3391" y="1909"/>
                  </a:lnTo>
                  <a:lnTo>
                    <a:pt x="3386" y="1894"/>
                  </a:lnTo>
                  <a:lnTo>
                    <a:pt x="3384" y="1892"/>
                  </a:lnTo>
                  <a:lnTo>
                    <a:pt x="3384" y="1892"/>
                  </a:lnTo>
                  <a:lnTo>
                    <a:pt x="3384" y="1892"/>
                  </a:lnTo>
                  <a:lnTo>
                    <a:pt x="3382" y="1890"/>
                  </a:lnTo>
                  <a:lnTo>
                    <a:pt x="3379" y="1887"/>
                  </a:lnTo>
                  <a:lnTo>
                    <a:pt x="3379" y="1887"/>
                  </a:lnTo>
                  <a:lnTo>
                    <a:pt x="3377" y="1885"/>
                  </a:lnTo>
                  <a:lnTo>
                    <a:pt x="3372" y="1885"/>
                  </a:lnTo>
                  <a:lnTo>
                    <a:pt x="3372" y="1885"/>
                  </a:lnTo>
                  <a:lnTo>
                    <a:pt x="3372" y="1885"/>
                  </a:lnTo>
                  <a:lnTo>
                    <a:pt x="3370" y="1885"/>
                  </a:lnTo>
                  <a:lnTo>
                    <a:pt x="3370" y="1885"/>
                  </a:lnTo>
                  <a:lnTo>
                    <a:pt x="3367" y="1887"/>
                  </a:lnTo>
                  <a:lnTo>
                    <a:pt x="3367" y="1887"/>
                  </a:lnTo>
                  <a:lnTo>
                    <a:pt x="3365" y="1887"/>
                  </a:lnTo>
                  <a:lnTo>
                    <a:pt x="3365" y="1887"/>
                  </a:lnTo>
                  <a:lnTo>
                    <a:pt x="3365" y="1890"/>
                  </a:lnTo>
                  <a:lnTo>
                    <a:pt x="3365" y="1890"/>
                  </a:lnTo>
                  <a:lnTo>
                    <a:pt x="3363" y="1890"/>
                  </a:lnTo>
                  <a:lnTo>
                    <a:pt x="3360" y="1890"/>
                  </a:lnTo>
                  <a:lnTo>
                    <a:pt x="3360" y="1890"/>
                  </a:lnTo>
                  <a:lnTo>
                    <a:pt x="3360" y="1890"/>
                  </a:lnTo>
                  <a:lnTo>
                    <a:pt x="3360" y="1892"/>
                  </a:lnTo>
                  <a:lnTo>
                    <a:pt x="3360" y="1892"/>
                  </a:lnTo>
                  <a:lnTo>
                    <a:pt x="3360" y="1892"/>
                  </a:lnTo>
                  <a:lnTo>
                    <a:pt x="3356" y="1894"/>
                  </a:lnTo>
                  <a:lnTo>
                    <a:pt x="3358" y="1894"/>
                  </a:lnTo>
                  <a:lnTo>
                    <a:pt x="3358" y="1894"/>
                  </a:lnTo>
                  <a:lnTo>
                    <a:pt x="3358" y="1894"/>
                  </a:lnTo>
                  <a:lnTo>
                    <a:pt x="3358" y="1894"/>
                  </a:lnTo>
                  <a:lnTo>
                    <a:pt x="3358" y="1897"/>
                  </a:lnTo>
                  <a:lnTo>
                    <a:pt x="3358" y="1897"/>
                  </a:lnTo>
                  <a:lnTo>
                    <a:pt x="3358" y="1899"/>
                  </a:lnTo>
                  <a:lnTo>
                    <a:pt x="3358" y="1899"/>
                  </a:lnTo>
                  <a:lnTo>
                    <a:pt x="3356" y="1901"/>
                  </a:lnTo>
                  <a:lnTo>
                    <a:pt x="3356" y="1904"/>
                  </a:lnTo>
                  <a:lnTo>
                    <a:pt x="3356" y="1906"/>
                  </a:lnTo>
                  <a:lnTo>
                    <a:pt x="3353" y="1906"/>
                  </a:lnTo>
                  <a:lnTo>
                    <a:pt x="3353" y="1906"/>
                  </a:lnTo>
                  <a:lnTo>
                    <a:pt x="3353" y="1904"/>
                  </a:lnTo>
                  <a:lnTo>
                    <a:pt x="3353" y="1904"/>
                  </a:lnTo>
                  <a:lnTo>
                    <a:pt x="3353" y="1904"/>
                  </a:lnTo>
                  <a:lnTo>
                    <a:pt x="3351" y="1909"/>
                  </a:lnTo>
                  <a:lnTo>
                    <a:pt x="3351" y="1911"/>
                  </a:lnTo>
                  <a:lnTo>
                    <a:pt x="3348" y="1911"/>
                  </a:lnTo>
                  <a:lnTo>
                    <a:pt x="3346" y="1911"/>
                  </a:lnTo>
                  <a:lnTo>
                    <a:pt x="3346" y="1911"/>
                  </a:lnTo>
                  <a:lnTo>
                    <a:pt x="3344" y="1911"/>
                  </a:lnTo>
                  <a:lnTo>
                    <a:pt x="3341" y="1911"/>
                  </a:lnTo>
                  <a:lnTo>
                    <a:pt x="3341" y="1909"/>
                  </a:lnTo>
                  <a:lnTo>
                    <a:pt x="3339" y="1909"/>
                  </a:lnTo>
                  <a:lnTo>
                    <a:pt x="3339" y="1909"/>
                  </a:lnTo>
                  <a:lnTo>
                    <a:pt x="3337" y="1906"/>
                  </a:lnTo>
                  <a:lnTo>
                    <a:pt x="3337" y="1906"/>
                  </a:lnTo>
                  <a:lnTo>
                    <a:pt x="3337" y="1904"/>
                  </a:lnTo>
                  <a:lnTo>
                    <a:pt x="3337" y="1904"/>
                  </a:lnTo>
                  <a:lnTo>
                    <a:pt x="3337" y="1901"/>
                  </a:lnTo>
                  <a:lnTo>
                    <a:pt x="3337" y="1901"/>
                  </a:lnTo>
                  <a:lnTo>
                    <a:pt x="3337" y="1901"/>
                  </a:lnTo>
                  <a:lnTo>
                    <a:pt x="3339" y="1899"/>
                  </a:lnTo>
                  <a:lnTo>
                    <a:pt x="3339" y="1899"/>
                  </a:lnTo>
                  <a:lnTo>
                    <a:pt x="3337" y="1899"/>
                  </a:lnTo>
                  <a:lnTo>
                    <a:pt x="3339" y="1894"/>
                  </a:lnTo>
                  <a:lnTo>
                    <a:pt x="3339" y="1892"/>
                  </a:lnTo>
                  <a:lnTo>
                    <a:pt x="3339" y="1892"/>
                  </a:lnTo>
                  <a:lnTo>
                    <a:pt x="3341" y="1892"/>
                  </a:lnTo>
                  <a:lnTo>
                    <a:pt x="3341" y="1892"/>
                  </a:lnTo>
                  <a:lnTo>
                    <a:pt x="3341" y="1892"/>
                  </a:lnTo>
                  <a:lnTo>
                    <a:pt x="3341" y="1892"/>
                  </a:lnTo>
                  <a:lnTo>
                    <a:pt x="3344" y="1892"/>
                  </a:lnTo>
                  <a:lnTo>
                    <a:pt x="3344" y="1892"/>
                  </a:lnTo>
                  <a:lnTo>
                    <a:pt x="3344" y="1892"/>
                  </a:lnTo>
                  <a:lnTo>
                    <a:pt x="3344" y="1892"/>
                  </a:lnTo>
                  <a:lnTo>
                    <a:pt x="3344" y="1892"/>
                  </a:lnTo>
                  <a:lnTo>
                    <a:pt x="3344" y="1892"/>
                  </a:lnTo>
                  <a:lnTo>
                    <a:pt x="3346" y="1890"/>
                  </a:lnTo>
                  <a:lnTo>
                    <a:pt x="3346" y="1890"/>
                  </a:lnTo>
                  <a:lnTo>
                    <a:pt x="3346" y="1890"/>
                  </a:lnTo>
                  <a:lnTo>
                    <a:pt x="3348" y="1887"/>
                  </a:lnTo>
                  <a:lnTo>
                    <a:pt x="3348" y="1887"/>
                  </a:lnTo>
                  <a:lnTo>
                    <a:pt x="3348" y="1887"/>
                  </a:lnTo>
                  <a:lnTo>
                    <a:pt x="3348" y="1887"/>
                  </a:lnTo>
                  <a:lnTo>
                    <a:pt x="3348" y="1887"/>
                  </a:lnTo>
                  <a:lnTo>
                    <a:pt x="3348" y="1885"/>
                  </a:lnTo>
                  <a:lnTo>
                    <a:pt x="3348" y="1885"/>
                  </a:lnTo>
                  <a:lnTo>
                    <a:pt x="3348" y="1885"/>
                  </a:lnTo>
                  <a:lnTo>
                    <a:pt x="3348" y="1883"/>
                  </a:lnTo>
                  <a:lnTo>
                    <a:pt x="3348" y="1880"/>
                  </a:lnTo>
                  <a:lnTo>
                    <a:pt x="3348" y="1878"/>
                  </a:lnTo>
                  <a:lnTo>
                    <a:pt x="3351" y="1875"/>
                  </a:lnTo>
                  <a:lnTo>
                    <a:pt x="3351" y="1875"/>
                  </a:lnTo>
                  <a:lnTo>
                    <a:pt x="3351" y="1875"/>
                  </a:lnTo>
                  <a:lnTo>
                    <a:pt x="3351" y="1875"/>
                  </a:lnTo>
                  <a:lnTo>
                    <a:pt x="3351" y="1878"/>
                  </a:lnTo>
                  <a:lnTo>
                    <a:pt x="3351" y="1878"/>
                  </a:lnTo>
                  <a:lnTo>
                    <a:pt x="3351" y="1875"/>
                  </a:lnTo>
                  <a:lnTo>
                    <a:pt x="3353" y="1873"/>
                  </a:lnTo>
                  <a:lnTo>
                    <a:pt x="3353" y="1873"/>
                  </a:lnTo>
                  <a:lnTo>
                    <a:pt x="3353" y="1873"/>
                  </a:lnTo>
                  <a:lnTo>
                    <a:pt x="3356" y="1873"/>
                  </a:lnTo>
                  <a:lnTo>
                    <a:pt x="3356" y="1873"/>
                  </a:lnTo>
                  <a:lnTo>
                    <a:pt x="3356" y="1873"/>
                  </a:lnTo>
                  <a:lnTo>
                    <a:pt x="3356" y="1871"/>
                  </a:lnTo>
                  <a:lnTo>
                    <a:pt x="3356" y="1871"/>
                  </a:lnTo>
                  <a:lnTo>
                    <a:pt x="3356" y="1868"/>
                  </a:lnTo>
                  <a:lnTo>
                    <a:pt x="3353" y="1857"/>
                  </a:lnTo>
                  <a:lnTo>
                    <a:pt x="3353" y="1857"/>
                  </a:lnTo>
                  <a:lnTo>
                    <a:pt x="3356" y="1854"/>
                  </a:lnTo>
                  <a:lnTo>
                    <a:pt x="3353" y="1854"/>
                  </a:lnTo>
                  <a:lnTo>
                    <a:pt x="3353" y="1852"/>
                  </a:lnTo>
                  <a:lnTo>
                    <a:pt x="3353" y="1849"/>
                  </a:lnTo>
                  <a:lnTo>
                    <a:pt x="3353" y="1847"/>
                  </a:lnTo>
                  <a:lnTo>
                    <a:pt x="3353" y="1847"/>
                  </a:lnTo>
                  <a:lnTo>
                    <a:pt x="3353" y="1845"/>
                  </a:lnTo>
                  <a:lnTo>
                    <a:pt x="3351" y="1845"/>
                  </a:lnTo>
                  <a:lnTo>
                    <a:pt x="3351" y="1845"/>
                  </a:lnTo>
                  <a:lnTo>
                    <a:pt x="3351" y="1845"/>
                  </a:lnTo>
                  <a:lnTo>
                    <a:pt x="3351" y="1845"/>
                  </a:lnTo>
                  <a:lnTo>
                    <a:pt x="3351" y="1845"/>
                  </a:lnTo>
                  <a:lnTo>
                    <a:pt x="3351" y="1845"/>
                  </a:lnTo>
                  <a:lnTo>
                    <a:pt x="3348" y="1842"/>
                  </a:lnTo>
                  <a:lnTo>
                    <a:pt x="3348" y="1842"/>
                  </a:lnTo>
                  <a:lnTo>
                    <a:pt x="3348" y="1842"/>
                  </a:lnTo>
                  <a:lnTo>
                    <a:pt x="3346" y="1842"/>
                  </a:lnTo>
                  <a:lnTo>
                    <a:pt x="3346" y="1842"/>
                  </a:lnTo>
                  <a:lnTo>
                    <a:pt x="3346" y="1840"/>
                  </a:lnTo>
                  <a:lnTo>
                    <a:pt x="3346" y="1840"/>
                  </a:lnTo>
                  <a:lnTo>
                    <a:pt x="3346" y="1840"/>
                  </a:lnTo>
                  <a:lnTo>
                    <a:pt x="3346" y="1840"/>
                  </a:lnTo>
                  <a:lnTo>
                    <a:pt x="3346" y="1840"/>
                  </a:lnTo>
                  <a:lnTo>
                    <a:pt x="3346" y="1840"/>
                  </a:lnTo>
                  <a:lnTo>
                    <a:pt x="3346" y="1838"/>
                  </a:lnTo>
                  <a:lnTo>
                    <a:pt x="3346" y="1838"/>
                  </a:lnTo>
                  <a:lnTo>
                    <a:pt x="3346" y="1838"/>
                  </a:lnTo>
                  <a:lnTo>
                    <a:pt x="3346" y="1838"/>
                  </a:lnTo>
                  <a:lnTo>
                    <a:pt x="3346" y="1838"/>
                  </a:lnTo>
                  <a:lnTo>
                    <a:pt x="3346" y="1835"/>
                  </a:lnTo>
                  <a:lnTo>
                    <a:pt x="3346" y="1835"/>
                  </a:lnTo>
                  <a:lnTo>
                    <a:pt x="3348" y="1835"/>
                  </a:lnTo>
                  <a:lnTo>
                    <a:pt x="3348" y="1835"/>
                  </a:lnTo>
                  <a:lnTo>
                    <a:pt x="3348" y="1835"/>
                  </a:lnTo>
                  <a:lnTo>
                    <a:pt x="3351" y="1835"/>
                  </a:lnTo>
                  <a:lnTo>
                    <a:pt x="3351" y="1835"/>
                  </a:lnTo>
                  <a:lnTo>
                    <a:pt x="3351" y="1835"/>
                  </a:lnTo>
                  <a:lnTo>
                    <a:pt x="3353" y="1835"/>
                  </a:lnTo>
                  <a:lnTo>
                    <a:pt x="3351" y="1835"/>
                  </a:lnTo>
                  <a:lnTo>
                    <a:pt x="3351" y="1835"/>
                  </a:lnTo>
                  <a:lnTo>
                    <a:pt x="3351" y="1833"/>
                  </a:lnTo>
                  <a:lnTo>
                    <a:pt x="3351" y="1833"/>
                  </a:lnTo>
                  <a:lnTo>
                    <a:pt x="3351" y="1833"/>
                  </a:lnTo>
                  <a:lnTo>
                    <a:pt x="3351" y="1833"/>
                  </a:lnTo>
                  <a:lnTo>
                    <a:pt x="3351" y="1833"/>
                  </a:lnTo>
                  <a:lnTo>
                    <a:pt x="3351" y="1833"/>
                  </a:lnTo>
                  <a:lnTo>
                    <a:pt x="3351" y="1833"/>
                  </a:lnTo>
                  <a:lnTo>
                    <a:pt x="3351" y="1833"/>
                  </a:lnTo>
                  <a:lnTo>
                    <a:pt x="3351" y="1833"/>
                  </a:lnTo>
                  <a:lnTo>
                    <a:pt x="3351" y="1831"/>
                  </a:lnTo>
                  <a:lnTo>
                    <a:pt x="3351" y="1831"/>
                  </a:lnTo>
                  <a:lnTo>
                    <a:pt x="3348" y="1831"/>
                  </a:lnTo>
                  <a:lnTo>
                    <a:pt x="3348" y="1831"/>
                  </a:lnTo>
                  <a:lnTo>
                    <a:pt x="3348" y="1831"/>
                  </a:lnTo>
                  <a:lnTo>
                    <a:pt x="3348" y="1831"/>
                  </a:lnTo>
                  <a:lnTo>
                    <a:pt x="3348" y="1828"/>
                  </a:lnTo>
                  <a:lnTo>
                    <a:pt x="3346" y="1828"/>
                  </a:lnTo>
                  <a:lnTo>
                    <a:pt x="3346" y="1826"/>
                  </a:lnTo>
                  <a:lnTo>
                    <a:pt x="3346" y="1826"/>
                  </a:lnTo>
                  <a:lnTo>
                    <a:pt x="3346" y="1826"/>
                  </a:lnTo>
                  <a:lnTo>
                    <a:pt x="3346" y="1826"/>
                  </a:lnTo>
                  <a:lnTo>
                    <a:pt x="3346" y="1823"/>
                  </a:lnTo>
                  <a:lnTo>
                    <a:pt x="3344" y="1823"/>
                  </a:lnTo>
                  <a:lnTo>
                    <a:pt x="3344" y="1821"/>
                  </a:lnTo>
                  <a:lnTo>
                    <a:pt x="3341" y="1821"/>
                  </a:lnTo>
                  <a:lnTo>
                    <a:pt x="3339" y="1821"/>
                  </a:lnTo>
                  <a:lnTo>
                    <a:pt x="3339" y="1821"/>
                  </a:lnTo>
                  <a:lnTo>
                    <a:pt x="3337" y="1821"/>
                  </a:lnTo>
                  <a:lnTo>
                    <a:pt x="3337" y="1821"/>
                  </a:lnTo>
                  <a:lnTo>
                    <a:pt x="3337" y="1821"/>
                  </a:lnTo>
                  <a:lnTo>
                    <a:pt x="3334" y="1821"/>
                  </a:lnTo>
                  <a:lnTo>
                    <a:pt x="3334" y="1819"/>
                  </a:lnTo>
                  <a:lnTo>
                    <a:pt x="3332" y="1819"/>
                  </a:lnTo>
                  <a:lnTo>
                    <a:pt x="3332" y="1819"/>
                  </a:lnTo>
                  <a:lnTo>
                    <a:pt x="3332" y="1819"/>
                  </a:lnTo>
                  <a:lnTo>
                    <a:pt x="3330" y="1819"/>
                  </a:lnTo>
                  <a:lnTo>
                    <a:pt x="3330" y="1819"/>
                  </a:lnTo>
                  <a:lnTo>
                    <a:pt x="3327" y="1819"/>
                  </a:lnTo>
                  <a:lnTo>
                    <a:pt x="3327" y="1819"/>
                  </a:lnTo>
                  <a:lnTo>
                    <a:pt x="3325" y="1816"/>
                  </a:lnTo>
                  <a:lnTo>
                    <a:pt x="3325" y="1816"/>
                  </a:lnTo>
                  <a:lnTo>
                    <a:pt x="3318" y="1816"/>
                  </a:lnTo>
                  <a:lnTo>
                    <a:pt x="3318" y="1816"/>
                  </a:lnTo>
                  <a:lnTo>
                    <a:pt x="3318" y="1816"/>
                  </a:lnTo>
                  <a:lnTo>
                    <a:pt x="3318" y="1814"/>
                  </a:lnTo>
                  <a:lnTo>
                    <a:pt x="3315" y="1814"/>
                  </a:lnTo>
                  <a:lnTo>
                    <a:pt x="3315" y="1812"/>
                  </a:lnTo>
                  <a:lnTo>
                    <a:pt x="3315" y="1812"/>
                  </a:lnTo>
                  <a:lnTo>
                    <a:pt x="3315" y="1812"/>
                  </a:lnTo>
                  <a:lnTo>
                    <a:pt x="3313" y="1809"/>
                  </a:lnTo>
                  <a:lnTo>
                    <a:pt x="3311" y="1809"/>
                  </a:lnTo>
                  <a:lnTo>
                    <a:pt x="3308" y="1809"/>
                  </a:lnTo>
                  <a:lnTo>
                    <a:pt x="3308" y="1809"/>
                  </a:lnTo>
                  <a:lnTo>
                    <a:pt x="3304" y="1809"/>
                  </a:lnTo>
                  <a:lnTo>
                    <a:pt x="3304" y="1809"/>
                  </a:lnTo>
                  <a:lnTo>
                    <a:pt x="3299" y="1807"/>
                  </a:lnTo>
                  <a:lnTo>
                    <a:pt x="3294" y="1805"/>
                  </a:lnTo>
                  <a:lnTo>
                    <a:pt x="3294" y="1805"/>
                  </a:lnTo>
                  <a:lnTo>
                    <a:pt x="3292" y="1805"/>
                  </a:lnTo>
                  <a:lnTo>
                    <a:pt x="3292" y="1805"/>
                  </a:lnTo>
                  <a:lnTo>
                    <a:pt x="3292" y="1805"/>
                  </a:lnTo>
                  <a:lnTo>
                    <a:pt x="3292" y="1805"/>
                  </a:lnTo>
                  <a:lnTo>
                    <a:pt x="3292" y="1807"/>
                  </a:lnTo>
                  <a:lnTo>
                    <a:pt x="3289" y="1807"/>
                  </a:lnTo>
                  <a:lnTo>
                    <a:pt x="3285" y="1807"/>
                  </a:lnTo>
                  <a:lnTo>
                    <a:pt x="3285" y="1807"/>
                  </a:lnTo>
                  <a:lnTo>
                    <a:pt x="3285" y="1807"/>
                  </a:lnTo>
                  <a:lnTo>
                    <a:pt x="3285" y="1807"/>
                  </a:lnTo>
                  <a:lnTo>
                    <a:pt x="3287" y="1809"/>
                  </a:lnTo>
                  <a:lnTo>
                    <a:pt x="3287" y="1809"/>
                  </a:lnTo>
                  <a:lnTo>
                    <a:pt x="3285" y="1809"/>
                  </a:lnTo>
                  <a:lnTo>
                    <a:pt x="3285" y="1812"/>
                  </a:lnTo>
                  <a:lnTo>
                    <a:pt x="3282" y="1814"/>
                  </a:lnTo>
                  <a:lnTo>
                    <a:pt x="3282" y="1814"/>
                  </a:lnTo>
                  <a:lnTo>
                    <a:pt x="3282" y="1816"/>
                  </a:lnTo>
                  <a:lnTo>
                    <a:pt x="3282" y="1819"/>
                  </a:lnTo>
                  <a:lnTo>
                    <a:pt x="3282" y="1821"/>
                  </a:lnTo>
                  <a:lnTo>
                    <a:pt x="3282" y="1821"/>
                  </a:lnTo>
                  <a:lnTo>
                    <a:pt x="3282" y="1823"/>
                  </a:lnTo>
                  <a:lnTo>
                    <a:pt x="3285" y="1823"/>
                  </a:lnTo>
                  <a:lnTo>
                    <a:pt x="3285" y="1823"/>
                  </a:lnTo>
                  <a:lnTo>
                    <a:pt x="3289" y="1823"/>
                  </a:lnTo>
                  <a:lnTo>
                    <a:pt x="3289" y="1826"/>
                  </a:lnTo>
                  <a:lnTo>
                    <a:pt x="3289" y="1826"/>
                  </a:lnTo>
                  <a:lnTo>
                    <a:pt x="3287" y="1828"/>
                  </a:lnTo>
                  <a:lnTo>
                    <a:pt x="3285" y="1828"/>
                  </a:lnTo>
                  <a:lnTo>
                    <a:pt x="3282" y="1828"/>
                  </a:lnTo>
                  <a:lnTo>
                    <a:pt x="3280" y="1828"/>
                  </a:lnTo>
                  <a:lnTo>
                    <a:pt x="3275" y="1833"/>
                  </a:lnTo>
                  <a:lnTo>
                    <a:pt x="3273" y="1833"/>
                  </a:lnTo>
                  <a:lnTo>
                    <a:pt x="3273" y="1835"/>
                  </a:lnTo>
                  <a:lnTo>
                    <a:pt x="3273" y="1838"/>
                  </a:lnTo>
                  <a:lnTo>
                    <a:pt x="3275" y="1845"/>
                  </a:lnTo>
                  <a:lnTo>
                    <a:pt x="3275" y="1849"/>
                  </a:lnTo>
                  <a:lnTo>
                    <a:pt x="3275" y="1852"/>
                  </a:lnTo>
                  <a:lnTo>
                    <a:pt x="3273" y="1857"/>
                  </a:lnTo>
                  <a:lnTo>
                    <a:pt x="3270" y="1861"/>
                  </a:lnTo>
                  <a:lnTo>
                    <a:pt x="3270" y="1861"/>
                  </a:lnTo>
                  <a:lnTo>
                    <a:pt x="3270" y="1861"/>
                  </a:lnTo>
                  <a:lnTo>
                    <a:pt x="3270" y="1861"/>
                  </a:lnTo>
                  <a:lnTo>
                    <a:pt x="3270" y="1861"/>
                  </a:lnTo>
                  <a:lnTo>
                    <a:pt x="3270" y="1861"/>
                  </a:lnTo>
                  <a:lnTo>
                    <a:pt x="3270" y="1859"/>
                  </a:lnTo>
                  <a:lnTo>
                    <a:pt x="3270" y="1859"/>
                  </a:lnTo>
                  <a:lnTo>
                    <a:pt x="3270" y="1859"/>
                  </a:lnTo>
                  <a:lnTo>
                    <a:pt x="3270" y="1859"/>
                  </a:lnTo>
                  <a:lnTo>
                    <a:pt x="3270" y="1857"/>
                  </a:lnTo>
                  <a:lnTo>
                    <a:pt x="3270" y="1857"/>
                  </a:lnTo>
                  <a:lnTo>
                    <a:pt x="3270" y="1854"/>
                  </a:lnTo>
                  <a:lnTo>
                    <a:pt x="3270" y="1854"/>
                  </a:lnTo>
                  <a:lnTo>
                    <a:pt x="3270" y="1852"/>
                  </a:lnTo>
                  <a:lnTo>
                    <a:pt x="3270" y="1852"/>
                  </a:lnTo>
                  <a:lnTo>
                    <a:pt x="3273" y="1852"/>
                  </a:lnTo>
                  <a:lnTo>
                    <a:pt x="3273" y="1849"/>
                  </a:lnTo>
                  <a:lnTo>
                    <a:pt x="3270" y="1849"/>
                  </a:lnTo>
                  <a:lnTo>
                    <a:pt x="3270" y="1849"/>
                  </a:lnTo>
                  <a:lnTo>
                    <a:pt x="3270" y="1849"/>
                  </a:lnTo>
                  <a:lnTo>
                    <a:pt x="3270" y="1849"/>
                  </a:lnTo>
                  <a:lnTo>
                    <a:pt x="3270" y="1849"/>
                  </a:lnTo>
                  <a:lnTo>
                    <a:pt x="3270" y="1852"/>
                  </a:lnTo>
                  <a:lnTo>
                    <a:pt x="3270" y="1852"/>
                  </a:lnTo>
                  <a:lnTo>
                    <a:pt x="3270" y="1854"/>
                  </a:lnTo>
                  <a:lnTo>
                    <a:pt x="3270" y="1854"/>
                  </a:lnTo>
                  <a:lnTo>
                    <a:pt x="3268" y="1854"/>
                  </a:lnTo>
                  <a:lnTo>
                    <a:pt x="3270" y="1854"/>
                  </a:lnTo>
                  <a:lnTo>
                    <a:pt x="3270" y="1854"/>
                  </a:lnTo>
                  <a:lnTo>
                    <a:pt x="3270" y="1857"/>
                  </a:lnTo>
                  <a:lnTo>
                    <a:pt x="3268" y="1857"/>
                  </a:lnTo>
                  <a:lnTo>
                    <a:pt x="3268" y="1857"/>
                  </a:lnTo>
                  <a:lnTo>
                    <a:pt x="3268" y="1859"/>
                  </a:lnTo>
                  <a:lnTo>
                    <a:pt x="3268" y="1859"/>
                  </a:lnTo>
                  <a:lnTo>
                    <a:pt x="3268" y="1859"/>
                  </a:lnTo>
                  <a:lnTo>
                    <a:pt x="3268" y="1861"/>
                  </a:lnTo>
                  <a:lnTo>
                    <a:pt x="3268" y="1861"/>
                  </a:lnTo>
                  <a:lnTo>
                    <a:pt x="3268" y="1861"/>
                  </a:lnTo>
                  <a:lnTo>
                    <a:pt x="3268" y="1861"/>
                  </a:lnTo>
                  <a:lnTo>
                    <a:pt x="3266" y="1859"/>
                  </a:lnTo>
                  <a:lnTo>
                    <a:pt x="3266" y="1859"/>
                  </a:lnTo>
                  <a:lnTo>
                    <a:pt x="3266" y="1857"/>
                  </a:lnTo>
                  <a:lnTo>
                    <a:pt x="3268" y="1852"/>
                  </a:lnTo>
                  <a:lnTo>
                    <a:pt x="3268" y="1852"/>
                  </a:lnTo>
                  <a:lnTo>
                    <a:pt x="3268" y="1852"/>
                  </a:lnTo>
                  <a:lnTo>
                    <a:pt x="3268" y="1852"/>
                  </a:lnTo>
                  <a:lnTo>
                    <a:pt x="3266" y="1849"/>
                  </a:lnTo>
                  <a:lnTo>
                    <a:pt x="3266" y="1852"/>
                  </a:lnTo>
                  <a:lnTo>
                    <a:pt x="3266" y="1849"/>
                  </a:lnTo>
                  <a:lnTo>
                    <a:pt x="3266" y="1849"/>
                  </a:lnTo>
                  <a:lnTo>
                    <a:pt x="3266" y="1847"/>
                  </a:lnTo>
                  <a:lnTo>
                    <a:pt x="3268" y="1847"/>
                  </a:lnTo>
                  <a:lnTo>
                    <a:pt x="3268" y="1847"/>
                  </a:lnTo>
                  <a:lnTo>
                    <a:pt x="3268" y="1845"/>
                  </a:lnTo>
                  <a:lnTo>
                    <a:pt x="3266" y="1845"/>
                  </a:lnTo>
                  <a:lnTo>
                    <a:pt x="3266" y="1842"/>
                  </a:lnTo>
                  <a:lnTo>
                    <a:pt x="3266" y="1842"/>
                  </a:lnTo>
                  <a:lnTo>
                    <a:pt x="3268" y="1842"/>
                  </a:lnTo>
                  <a:lnTo>
                    <a:pt x="3268" y="1842"/>
                  </a:lnTo>
                  <a:lnTo>
                    <a:pt x="3268" y="1840"/>
                  </a:lnTo>
                  <a:lnTo>
                    <a:pt x="3268" y="1840"/>
                  </a:lnTo>
                  <a:lnTo>
                    <a:pt x="3268" y="1838"/>
                  </a:lnTo>
                  <a:lnTo>
                    <a:pt x="3268" y="1838"/>
                  </a:lnTo>
                  <a:lnTo>
                    <a:pt x="3266" y="1840"/>
                  </a:lnTo>
                  <a:lnTo>
                    <a:pt x="3266" y="1840"/>
                  </a:lnTo>
                  <a:lnTo>
                    <a:pt x="3266" y="1840"/>
                  </a:lnTo>
                  <a:lnTo>
                    <a:pt x="3266" y="1840"/>
                  </a:lnTo>
                  <a:lnTo>
                    <a:pt x="3263" y="1840"/>
                  </a:lnTo>
                  <a:lnTo>
                    <a:pt x="3263" y="1845"/>
                  </a:lnTo>
                  <a:lnTo>
                    <a:pt x="3263" y="1845"/>
                  </a:lnTo>
                  <a:lnTo>
                    <a:pt x="3261" y="1847"/>
                  </a:lnTo>
                  <a:lnTo>
                    <a:pt x="3261" y="1847"/>
                  </a:lnTo>
                  <a:lnTo>
                    <a:pt x="3261" y="1849"/>
                  </a:lnTo>
                  <a:lnTo>
                    <a:pt x="3259" y="1852"/>
                  </a:lnTo>
                  <a:lnTo>
                    <a:pt x="3259" y="1854"/>
                  </a:lnTo>
                  <a:lnTo>
                    <a:pt x="3259" y="1854"/>
                  </a:lnTo>
                  <a:lnTo>
                    <a:pt x="3259" y="1854"/>
                  </a:lnTo>
                  <a:lnTo>
                    <a:pt x="3256" y="1852"/>
                  </a:lnTo>
                  <a:lnTo>
                    <a:pt x="3256" y="1852"/>
                  </a:lnTo>
                  <a:lnTo>
                    <a:pt x="3256" y="1852"/>
                  </a:lnTo>
                  <a:lnTo>
                    <a:pt x="3256" y="1852"/>
                  </a:lnTo>
                  <a:lnTo>
                    <a:pt x="3254" y="1852"/>
                  </a:lnTo>
                  <a:lnTo>
                    <a:pt x="3254" y="1852"/>
                  </a:lnTo>
                  <a:lnTo>
                    <a:pt x="3254" y="1852"/>
                  </a:lnTo>
                  <a:lnTo>
                    <a:pt x="3254" y="1854"/>
                  </a:lnTo>
                  <a:lnTo>
                    <a:pt x="3254" y="1854"/>
                  </a:lnTo>
                  <a:lnTo>
                    <a:pt x="3254" y="1857"/>
                  </a:lnTo>
                  <a:lnTo>
                    <a:pt x="3254" y="1857"/>
                  </a:lnTo>
                  <a:lnTo>
                    <a:pt x="3254" y="1857"/>
                  </a:lnTo>
                  <a:lnTo>
                    <a:pt x="3251" y="1857"/>
                  </a:lnTo>
                  <a:lnTo>
                    <a:pt x="3251" y="1857"/>
                  </a:lnTo>
                  <a:lnTo>
                    <a:pt x="3251" y="1857"/>
                  </a:lnTo>
                  <a:lnTo>
                    <a:pt x="3251" y="1857"/>
                  </a:lnTo>
                  <a:lnTo>
                    <a:pt x="3249" y="1857"/>
                  </a:lnTo>
                  <a:lnTo>
                    <a:pt x="3249" y="1857"/>
                  </a:lnTo>
                  <a:lnTo>
                    <a:pt x="3251" y="1859"/>
                  </a:lnTo>
                  <a:lnTo>
                    <a:pt x="3251" y="1864"/>
                  </a:lnTo>
                  <a:lnTo>
                    <a:pt x="3251" y="1864"/>
                  </a:lnTo>
                  <a:lnTo>
                    <a:pt x="3251" y="1866"/>
                  </a:lnTo>
                  <a:lnTo>
                    <a:pt x="3251" y="1866"/>
                  </a:lnTo>
                  <a:lnTo>
                    <a:pt x="3249" y="1866"/>
                  </a:lnTo>
                  <a:lnTo>
                    <a:pt x="3249" y="1866"/>
                  </a:lnTo>
                  <a:lnTo>
                    <a:pt x="3249" y="1866"/>
                  </a:lnTo>
                  <a:lnTo>
                    <a:pt x="3249" y="1866"/>
                  </a:lnTo>
                  <a:lnTo>
                    <a:pt x="3249" y="1866"/>
                  </a:lnTo>
                  <a:lnTo>
                    <a:pt x="3247" y="1866"/>
                  </a:lnTo>
                  <a:lnTo>
                    <a:pt x="3247" y="1866"/>
                  </a:lnTo>
                  <a:lnTo>
                    <a:pt x="3247" y="1866"/>
                  </a:lnTo>
                  <a:lnTo>
                    <a:pt x="3244" y="1868"/>
                  </a:lnTo>
                  <a:lnTo>
                    <a:pt x="3244" y="1868"/>
                  </a:lnTo>
                  <a:lnTo>
                    <a:pt x="3244" y="1871"/>
                  </a:lnTo>
                  <a:lnTo>
                    <a:pt x="3247" y="1873"/>
                  </a:lnTo>
                  <a:lnTo>
                    <a:pt x="3247" y="1873"/>
                  </a:lnTo>
                  <a:lnTo>
                    <a:pt x="3247" y="1875"/>
                  </a:lnTo>
                  <a:lnTo>
                    <a:pt x="3247" y="1878"/>
                  </a:lnTo>
                  <a:lnTo>
                    <a:pt x="3247" y="1878"/>
                  </a:lnTo>
                  <a:lnTo>
                    <a:pt x="3247" y="1880"/>
                  </a:lnTo>
                  <a:lnTo>
                    <a:pt x="3247" y="1880"/>
                  </a:lnTo>
                  <a:lnTo>
                    <a:pt x="3247" y="1883"/>
                  </a:lnTo>
                  <a:lnTo>
                    <a:pt x="3247" y="1883"/>
                  </a:lnTo>
                  <a:lnTo>
                    <a:pt x="3247" y="1885"/>
                  </a:lnTo>
                  <a:lnTo>
                    <a:pt x="3247" y="1887"/>
                  </a:lnTo>
                  <a:lnTo>
                    <a:pt x="3244" y="1892"/>
                  </a:lnTo>
                  <a:lnTo>
                    <a:pt x="3244" y="1894"/>
                  </a:lnTo>
                  <a:lnTo>
                    <a:pt x="3242" y="1897"/>
                  </a:lnTo>
                  <a:lnTo>
                    <a:pt x="3240" y="1899"/>
                  </a:lnTo>
                  <a:lnTo>
                    <a:pt x="3240" y="1901"/>
                  </a:lnTo>
                  <a:lnTo>
                    <a:pt x="3240" y="1904"/>
                  </a:lnTo>
                  <a:lnTo>
                    <a:pt x="3240" y="1904"/>
                  </a:lnTo>
                  <a:lnTo>
                    <a:pt x="3242" y="1906"/>
                  </a:lnTo>
                  <a:lnTo>
                    <a:pt x="3242" y="1906"/>
                  </a:lnTo>
                  <a:lnTo>
                    <a:pt x="3242" y="1906"/>
                  </a:lnTo>
                  <a:lnTo>
                    <a:pt x="3242" y="1909"/>
                  </a:lnTo>
                  <a:lnTo>
                    <a:pt x="3242" y="1909"/>
                  </a:lnTo>
                  <a:lnTo>
                    <a:pt x="3242" y="1909"/>
                  </a:lnTo>
                  <a:lnTo>
                    <a:pt x="3242" y="1911"/>
                  </a:lnTo>
                  <a:lnTo>
                    <a:pt x="3244" y="1916"/>
                  </a:lnTo>
                  <a:lnTo>
                    <a:pt x="3244" y="1916"/>
                  </a:lnTo>
                  <a:lnTo>
                    <a:pt x="3244" y="1918"/>
                  </a:lnTo>
                  <a:lnTo>
                    <a:pt x="3242" y="1920"/>
                  </a:lnTo>
                  <a:lnTo>
                    <a:pt x="3242" y="1923"/>
                  </a:lnTo>
                  <a:lnTo>
                    <a:pt x="3242" y="1925"/>
                  </a:lnTo>
                  <a:lnTo>
                    <a:pt x="3242" y="1928"/>
                  </a:lnTo>
                  <a:lnTo>
                    <a:pt x="3242" y="1928"/>
                  </a:lnTo>
                  <a:lnTo>
                    <a:pt x="3244" y="1930"/>
                  </a:lnTo>
                  <a:lnTo>
                    <a:pt x="3251" y="1944"/>
                  </a:lnTo>
                  <a:lnTo>
                    <a:pt x="3251" y="1944"/>
                  </a:lnTo>
                  <a:lnTo>
                    <a:pt x="3251" y="1944"/>
                  </a:lnTo>
                  <a:lnTo>
                    <a:pt x="3254" y="1942"/>
                  </a:lnTo>
                  <a:lnTo>
                    <a:pt x="3254" y="1944"/>
                  </a:lnTo>
                  <a:lnTo>
                    <a:pt x="3254" y="1944"/>
                  </a:lnTo>
                  <a:lnTo>
                    <a:pt x="3254" y="1944"/>
                  </a:lnTo>
                  <a:lnTo>
                    <a:pt x="3251" y="1944"/>
                  </a:lnTo>
                  <a:lnTo>
                    <a:pt x="3251" y="1944"/>
                  </a:lnTo>
                  <a:lnTo>
                    <a:pt x="3251" y="1946"/>
                  </a:lnTo>
                  <a:lnTo>
                    <a:pt x="3254" y="1951"/>
                  </a:lnTo>
                  <a:lnTo>
                    <a:pt x="3256" y="1954"/>
                  </a:lnTo>
                  <a:lnTo>
                    <a:pt x="3256" y="1954"/>
                  </a:lnTo>
                  <a:lnTo>
                    <a:pt x="3256" y="1956"/>
                  </a:lnTo>
                  <a:lnTo>
                    <a:pt x="3256" y="1956"/>
                  </a:lnTo>
                  <a:lnTo>
                    <a:pt x="3256" y="1956"/>
                  </a:lnTo>
                  <a:lnTo>
                    <a:pt x="3256" y="1956"/>
                  </a:lnTo>
                  <a:lnTo>
                    <a:pt x="3256" y="1956"/>
                  </a:lnTo>
                  <a:lnTo>
                    <a:pt x="3256" y="1956"/>
                  </a:lnTo>
                  <a:lnTo>
                    <a:pt x="3256" y="1956"/>
                  </a:lnTo>
                  <a:lnTo>
                    <a:pt x="3256" y="1956"/>
                  </a:lnTo>
                  <a:lnTo>
                    <a:pt x="3256" y="1956"/>
                  </a:lnTo>
                  <a:lnTo>
                    <a:pt x="3256" y="1956"/>
                  </a:lnTo>
                  <a:lnTo>
                    <a:pt x="3259" y="1958"/>
                  </a:lnTo>
                  <a:lnTo>
                    <a:pt x="3259" y="1970"/>
                  </a:lnTo>
                  <a:lnTo>
                    <a:pt x="3259" y="1984"/>
                  </a:lnTo>
                  <a:lnTo>
                    <a:pt x="3259" y="1987"/>
                  </a:lnTo>
                  <a:lnTo>
                    <a:pt x="3256" y="1996"/>
                  </a:lnTo>
                  <a:lnTo>
                    <a:pt x="3251" y="2001"/>
                  </a:lnTo>
                  <a:lnTo>
                    <a:pt x="3249" y="2013"/>
                  </a:lnTo>
                  <a:lnTo>
                    <a:pt x="3249" y="2015"/>
                  </a:lnTo>
                  <a:lnTo>
                    <a:pt x="3247" y="2020"/>
                  </a:lnTo>
                  <a:lnTo>
                    <a:pt x="3244" y="2020"/>
                  </a:lnTo>
                  <a:lnTo>
                    <a:pt x="3244" y="2020"/>
                  </a:lnTo>
                  <a:lnTo>
                    <a:pt x="3242" y="2022"/>
                  </a:lnTo>
                  <a:lnTo>
                    <a:pt x="3235" y="2027"/>
                  </a:lnTo>
                  <a:lnTo>
                    <a:pt x="3228" y="2032"/>
                  </a:lnTo>
                  <a:lnTo>
                    <a:pt x="3225" y="2032"/>
                  </a:lnTo>
                  <a:lnTo>
                    <a:pt x="3221" y="2032"/>
                  </a:lnTo>
                  <a:lnTo>
                    <a:pt x="3221" y="2032"/>
                  </a:lnTo>
                  <a:lnTo>
                    <a:pt x="3221" y="2032"/>
                  </a:lnTo>
                  <a:lnTo>
                    <a:pt x="3221" y="2029"/>
                  </a:lnTo>
                  <a:lnTo>
                    <a:pt x="3221" y="2029"/>
                  </a:lnTo>
                  <a:lnTo>
                    <a:pt x="3218" y="2029"/>
                  </a:lnTo>
                  <a:lnTo>
                    <a:pt x="3216" y="2029"/>
                  </a:lnTo>
                  <a:lnTo>
                    <a:pt x="3214" y="2024"/>
                  </a:lnTo>
                  <a:lnTo>
                    <a:pt x="3211" y="2022"/>
                  </a:lnTo>
                  <a:lnTo>
                    <a:pt x="3211" y="2020"/>
                  </a:lnTo>
                  <a:lnTo>
                    <a:pt x="3209" y="2017"/>
                  </a:lnTo>
                  <a:lnTo>
                    <a:pt x="3209" y="2013"/>
                  </a:lnTo>
                  <a:lnTo>
                    <a:pt x="3209" y="2010"/>
                  </a:lnTo>
                  <a:lnTo>
                    <a:pt x="3209" y="2010"/>
                  </a:lnTo>
                  <a:lnTo>
                    <a:pt x="3207" y="2010"/>
                  </a:lnTo>
                  <a:lnTo>
                    <a:pt x="3207" y="2010"/>
                  </a:lnTo>
                  <a:lnTo>
                    <a:pt x="3207" y="2010"/>
                  </a:lnTo>
                  <a:lnTo>
                    <a:pt x="3207" y="2008"/>
                  </a:lnTo>
                  <a:lnTo>
                    <a:pt x="3207" y="2008"/>
                  </a:lnTo>
                  <a:lnTo>
                    <a:pt x="3204" y="2008"/>
                  </a:lnTo>
                  <a:lnTo>
                    <a:pt x="3204" y="2008"/>
                  </a:lnTo>
                  <a:lnTo>
                    <a:pt x="3204" y="2008"/>
                  </a:lnTo>
                  <a:lnTo>
                    <a:pt x="3204" y="2006"/>
                  </a:lnTo>
                  <a:lnTo>
                    <a:pt x="3204" y="2006"/>
                  </a:lnTo>
                  <a:lnTo>
                    <a:pt x="3202" y="2003"/>
                  </a:lnTo>
                  <a:lnTo>
                    <a:pt x="3202" y="2003"/>
                  </a:lnTo>
                  <a:lnTo>
                    <a:pt x="3202" y="2001"/>
                  </a:lnTo>
                  <a:lnTo>
                    <a:pt x="3199" y="1996"/>
                  </a:lnTo>
                  <a:lnTo>
                    <a:pt x="3199" y="1996"/>
                  </a:lnTo>
                  <a:lnTo>
                    <a:pt x="3199" y="1996"/>
                  </a:lnTo>
                  <a:lnTo>
                    <a:pt x="3202" y="1996"/>
                  </a:lnTo>
                  <a:lnTo>
                    <a:pt x="3202" y="1994"/>
                  </a:lnTo>
                  <a:lnTo>
                    <a:pt x="3202" y="1989"/>
                  </a:lnTo>
                  <a:lnTo>
                    <a:pt x="3199" y="1984"/>
                  </a:lnTo>
                  <a:lnTo>
                    <a:pt x="3199" y="1984"/>
                  </a:lnTo>
                  <a:lnTo>
                    <a:pt x="3199" y="1984"/>
                  </a:lnTo>
                  <a:lnTo>
                    <a:pt x="3199" y="1984"/>
                  </a:lnTo>
                  <a:lnTo>
                    <a:pt x="3199" y="1982"/>
                  </a:lnTo>
                  <a:lnTo>
                    <a:pt x="3199" y="1982"/>
                  </a:lnTo>
                  <a:lnTo>
                    <a:pt x="3199" y="1982"/>
                  </a:lnTo>
                  <a:lnTo>
                    <a:pt x="3199" y="1982"/>
                  </a:lnTo>
                  <a:lnTo>
                    <a:pt x="3199" y="1980"/>
                  </a:lnTo>
                  <a:lnTo>
                    <a:pt x="3199" y="1977"/>
                  </a:lnTo>
                  <a:lnTo>
                    <a:pt x="3199" y="1975"/>
                  </a:lnTo>
                  <a:lnTo>
                    <a:pt x="3199" y="1975"/>
                  </a:lnTo>
                  <a:lnTo>
                    <a:pt x="3199" y="1972"/>
                  </a:lnTo>
                  <a:lnTo>
                    <a:pt x="3197" y="1970"/>
                  </a:lnTo>
                  <a:lnTo>
                    <a:pt x="3197" y="1970"/>
                  </a:lnTo>
                  <a:lnTo>
                    <a:pt x="3197" y="1970"/>
                  </a:lnTo>
                  <a:lnTo>
                    <a:pt x="3197" y="1965"/>
                  </a:lnTo>
                  <a:lnTo>
                    <a:pt x="3197" y="1965"/>
                  </a:lnTo>
                  <a:lnTo>
                    <a:pt x="3195" y="1963"/>
                  </a:lnTo>
                  <a:lnTo>
                    <a:pt x="3195" y="1963"/>
                  </a:lnTo>
                  <a:lnTo>
                    <a:pt x="3195" y="1963"/>
                  </a:lnTo>
                  <a:lnTo>
                    <a:pt x="3195" y="1961"/>
                  </a:lnTo>
                  <a:lnTo>
                    <a:pt x="3195" y="1961"/>
                  </a:lnTo>
                  <a:lnTo>
                    <a:pt x="3195" y="1958"/>
                  </a:lnTo>
                  <a:lnTo>
                    <a:pt x="3195" y="1958"/>
                  </a:lnTo>
                  <a:lnTo>
                    <a:pt x="3195" y="1958"/>
                  </a:lnTo>
                  <a:lnTo>
                    <a:pt x="3195" y="1958"/>
                  </a:lnTo>
                  <a:lnTo>
                    <a:pt x="3192" y="1958"/>
                  </a:lnTo>
                  <a:lnTo>
                    <a:pt x="3192" y="1956"/>
                  </a:lnTo>
                  <a:lnTo>
                    <a:pt x="3195" y="1956"/>
                  </a:lnTo>
                  <a:lnTo>
                    <a:pt x="3195" y="1954"/>
                  </a:lnTo>
                  <a:lnTo>
                    <a:pt x="3192" y="1954"/>
                  </a:lnTo>
                  <a:lnTo>
                    <a:pt x="3192" y="1951"/>
                  </a:lnTo>
                  <a:lnTo>
                    <a:pt x="3192" y="1951"/>
                  </a:lnTo>
                  <a:lnTo>
                    <a:pt x="3192" y="1949"/>
                  </a:lnTo>
                  <a:lnTo>
                    <a:pt x="3192" y="1946"/>
                  </a:lnTo>
                  <a:lnTo>
                    <a:pt x="3192" y="1944"/>
                  </a:lnTo>
                  <a:lnTo>
                    <a:pt x="3195" y="1939"/>
                  </a:lnTo>
                  <a:lnTo>
                    <a:pt x="3195" y="1937"/>
                  </a:lnTo>
                  <a:lnTo>
                    <a:pt x="3195" y="1935"/>
                  </a:lnTo>
                  <a:lnTo>
                    <a:pt x="3195" y="1935"/>
                  </a:lnTo>
                  <a:lnTo>
                    <a:pt x="3195" y="1932"/>
                  </a:lnTo>
                  <a:lnTo>
                    <a:pt x="3197" y="1930"/>
                  </a:lnTo>
                  <a:lnTo>
                    <a:pt x="3197" y="1925"/>
                  </a:lnTo>
                  <a:lnTo>
                    <a:pt x="3197" y="1925"/>
                  </a:lnTo>
                  <a:lnTo>
                    <a:pt x="3197" y="1925"/>
                  </a:lnTo>
                  <a:lnTo>
                    <a:pt x="3197" y="1925"/>
                  </a:lnTo>
                  <a:lnTo>
                    <a:pt x="3197" y="1925"/>
                  </a:lnTo>
                  <a:lnTo>
                    <a:pt x="3197" y="1925"/>
                  </a:lnTo>
                  <a:lnTo>
                    <a:pt x="3197" y="1923"/>
                  </a:lnTo>
                  <a:lnTo>
                    <a:pt x="3197" y="1923"/>
                  </a:lnTo>
                  <a:lnTo>
                    <a:pt x="3197" y="1923"/>
                  </a:lnTo>
                  <a:lnTo>
                    <a:pt x="3197" y="1920"/>
                  </a:lnTo>
                  <a:lnTo>
                    <a:pt x="3197" y="1920"/>
                  </a:lnTo>
                  <a:lnTo>
                    <a:pt x="3195" y="1920"/>
                  </a:lnTo>
                  <a:lnTo>
                    <a:pt x="3195" y="1918"/>
                  </a:lnTo>
                  <a:lnTo>
                    <a:pt x="3195" y="1916"/>
                  </a:lnTo>
                  <a:lnTo>
                    <a:pt x="3195" y="1916"/>
                  </a:lnTo>
                  <a:lnTo>
                    <a:pt x="3197" y="1913"/>
                  </a:lnTo>
                  <a:lnTo>
                    <a:pt x="3197" y="1913"/>
                  </a:lnTo>
                  <a:lnTo>
                    <a:pt x="3197" y="1911"/>
                  </a:lnTo>
                  <a:lnTo>
                    <a:pt x="3197" y="1911"/>
                  </a:lnTo>
                  <a:lnTo>
                    <a:pt x="3197" y="1906"/>
                  </a:lnTo>
                  <a:lnTo>
                    <a:pt x="3197" y="1904"/>
                  </a:lnTo>
                  <a:lnTo>
                    <a:pt x="3199" y="1904"/>
                  </a:lnTo>
                  <a:lnTo>
                    <a:pt x="3199" y="1904"/>
                  </a:lnTo>
                  <a:lnTo>
                    <a:pt x="3202" y="1901"/>
                  </a:lnTo>
                  <a:lnTo>
                    <a:pt x="3202" y="1901"/>
                  </a:lnTo>
                  <a:lnTo>
                    <a:pt x="3202" y="1899"/>
                  </a:lnTo>
                  <a:lnTo>
                    <a:pt x="3202" y="1899"/>
                  </a:lnTo>
                  <a:lnTo>
                    <a:pt x="3202" y="1899"/>
                  </a:lnTo>
                  <a:lnTo>
                    <a:pt x="3199" y="1897"/>
                  </a:lnTo>
                  <a:lnTo>
                    <a:pt x="3199" y="1894"/>
                  </a:lnTo>
                  <a:lnTo>
                    <a:pt x="3199" y="1894"/>
                  </a:lnTo>
                  <a:lnTo>
                    <a:pt x="3199" y="1892"/>
                  </a:lnTo>
                  <a:lnTo>
                    <a:pt x="3199" y="1892"/>
                  </a:lnTo>
                  <a:lnTo>
                    <a:pt x="3199" y="1890"/>
                  </a:lnTo>
                  <a:lnTo>
                    <a:pt x="3199" y="1890"/>
                  </a:lnTo>
                  <a:lnTo>
                    <a:pt x="3199" y="1890"/>
                  </a:lnTo>
                  <a:lnTo>
                    <a:pt x="3202" y="1883"/>
                  </a:lnTo>
                  <a:lnTo>
                    <a:pt x="3202" y="1880"/>
                  </a:lnTo>
                  <a:lnTo>
                    <a:pt x="3202" y="1878"/>
                  </a:lnTo>
                  <a:lnTo>
                    <a:pt x="3204" y="1875"/>
                  </a:lnTo>
                  <a:lnTo>
                    <a:pt x="3204" y="1875"/>
                  </a:lnTo>
                  <a:lnTo>
                    <a:pt x="3204" y="1873"/>
                  </a:lnTo>
                  <a:lnTo>
                    <a:pt x="3204" y="1873"/>
                  </a:lnTo>
                  <a:lnTo>
                    <a:pt x="3204" y="1873"/>
                  </a:lnTo>
                  <a:lnTo>
                    <a:pt x="3204" y="1873"/>
                  </a:lnTo>
                  <a:lnTo>
                    <a:pt x="3204" y="1868"/>
                  </a:lnTo>
                  <a:lnTo>
                    <a:pt x="3204" y="1868"/>
                  </a:lnTo>
                  <a:lnTo>
                    <a:pt x="3204" y="1868"/>
                  </a:lnTo>
                  <a:lnTo>
                    <a:pt x="3204" y="1868"/>
                  </a:lnTo>
                  <a:lnTo>
                    <a:pt x="3202" y="1866"/>
                  </a:lnTo>
                  <a:lnTo>
                    <a:pt x="3202" y="1866"/>
                  </a:lnTo>
                  <a:lnTo>
                    <a:pt x="3199" y="1864"/>
                  </a:lnTo>
                  <a:lnTo>
                    <a:pt x="3199" y="1866"/>
                  </a:lnTo>
                  <a:lnTo>
                    <a:pt x="3199" y="1866"/>
                  </a:lnTo>
                  <a:lnTo>
                    <a:pt x="3197" y="1866"/>
                  </a:lnTo>
                  <a:lnTo>
                    <a:pt x="3197" y="1866"/>
                  </a:lnTo>
                  <a:lnTo>
                    <a:pt x="3195" y="1868"/>
                  </a:lnTo>
                  <a:lnTo>
                    <a:pt x="3195" y="1866"/>
                  </a:lnTo>
                  <a:lnTo>
                    <a:pt x="3195" y="1866"/>
                  </a:lnTo>
                  <a:lnTo>
                    <a:pt x="3195" y="1866"/>
                  </a:lnTo>
                  <a:lnTo>
                    <a:pt x="3192" y="1868"/>
                  </a:lnTo>
                  <a:lnTo>
                    <a:pt x="3192" y="1868"/>
                  </a:lnTo>
                  <a:lnTo>
                    <a:pt x="3192" y="1871"/>
                  </a:lnTo>
                  <a:lnTo>
                    <a:pt x="3190" y="1873"/>
                  </a:lnTo>
                  <a:lnTo>
                    <a:pt x="3190" y="1875"/>
                  </a:lnTo>
                  <a:lnTo>
                    <a:pt x="3190" y="1875"/>
                  </a:lnTo>
                  <a:lnTo>
                    <a:pt x="3190" y="1875"/>
                  </a:lnTo>
                  <a:lnTo>
                    <a:pt x="3190" y="1878"/>
                  </a:lnTo>
                  <a:lnTo>
                    <a:pt x="3190" y="1878"/>
                  </a:lnTo>
                  <a:lnTo>
                    <a:pt x="3188" y="1878"/>
                  </a:lnTo>
                  <a:lnTo>
                    <a:pt x="3185" y="1880"/>
                  </a:lnTo>
                  <a:lnTo>
                    <a:pt x="3185" y="1880"/>
                  </a:lnTo>
                  <a:lnTo>
                    <a:pt x="3185" y="1883"/>
                  </a:lnTo>
                  <a:lnTo>
                    <a:pt x="3185" y="1883"/>
                  </a:lnTo>
                  <a:lnTo>
                    <a:pt x="3183" y="1885"/>
                  </a:lnTo>
                  <a:lnTo>
                    <a:pt x="3183" y="1885"/>
                  </a:lnTo>
                  <a:lnTo>
                    <a:pt x="3183" y="1885"/>
                  </a:lnTo>
                  <a:lnTo>
                    <a:pt x="3180" y="1885"/>
                  </a:lnTo>
                  <a:lnTo>
                    <a:pt x="3180" y="1883"/>
                  </a:lnTo>
                  <a:lnTo>
                    <a:pt x="3180" y="1883"/>
                  </a:lnTo>
                  <a:lnTo>
                    <a:pt x="3180" y="1883"/>
                  </a:lnTo>
                  <a:lnTo>
                    <a:pt x="3180" y="1880"/>
                  </a:lnTo>
                  <a:lnTo>
                    <a:pt x="3180" y="1880"/>
                  </a:lnTo>
                  <a:lnTo>
                    <a:pt x="3180" y="1878"/>
                  </a:lnTo>
                  <a:lnTo>
                    <a:pt x="3180" y="1878"/>
                  </a:lnTo>
                  <a:lnTo>
                    <a:pt x="3180" y="1878"/>
                  </a:lnTo>
                  <a:lnTo>
                    <a:pt x="3180" y="1878"/>
                  </a:lnTo>
                  <a:lnTo>
                    <a:pt x="3180" y="1878"/>
                  </a:lnTo>
                  <a:lnTo>
                    <a:pt x="3180" y="1878"/>
                  </a:lnTo>
                  <a:lnTo>
                    <a:pt x="3180" y="1875"/>
                  </a:lnTo>
                  <a:lnTo>
                    <a:pt x="3180" y="1875"/>
                  </a:lnTo>
                  <a:lnTo>
                    <a:pt x="3180" y="1875"/>
                  </a:lnTo>
                  <a:lnTo>
                    <a:pt x="3180" y="1873"/>
                  </a:lnTo>
                  <a:lnTo>
                    <a:pt x="3183" y="1873"/>
                  </a:lnTo>
                  <a:lnTo>
                    <a:pt x="3183" y="1873"/>
                  </a:lnTo>
                  <a:lnTo>
                    <a:pt x="3183" y="1873"/>
                  </a:lnTo>
                  <a:lnTo>
                    <a:pt x="3183" y="1871"/>
                  </a:lnTo>
                  <a:lnTo>
                    <a:pt x="3183" y="1871"/>
                  </a:lnTo>
                  <a:lnTo>
                    <a:pt x="3183" y="1871"/>
                  </a:lnTo>
                  <a:lnTo>
                    <a:pt x="3183" y="1871"/>
                  </a:lnTo>
                  <a:lnTo>
                    <a:pt x="3185" y="1866"/>
                  </a:lnTo>
                  <a:lnTo>
                    <a:pt x="3185" y="1866"/>
                  </a:lnTo>
                  <a:lnTo>
                    <a:pt x="3185" y="1864"/>
                  </a:lnTo>
                  <a:lnTo>
                    <a:pt x="3185" y="1864"/>
                  </a:lnTo>
                  <a:lnTo>
                    <a:pt x="3188" y="1861"/>
                  </a:lnTo>
                  <a:lnTo>
                    <a:pt x="3190" y="1861"/>
                  </a:lnTo>
                  <a:lnTo>
                    <a:pt x="3192" y="1861"/>
                  </a:lnTo>
                  <a:lnTo>
                    <a:pt x="3192" y="1859"/>
                  </a:lnTo>
                  <a:lnTo>
                    <a:pt x="3192" y="1859"/>
                  </a:lnTo>
                  <a:lnTo>
                    <a:pt x="3192" y="1857"/>
                  </a:lnTo>
                  <a:lnTo>
                    <a:pt x="3192" y="1857"/>
                  </a:lnTo>
                  <a:lnTo>
                    <a:pt x="3192" y="1857"/>
                  </a:lnTo>
                  <a:lnTo>
                    <a:pt x="3192" y="1857"/>
                  </a:lnTo>
                  <a:lnTo>
                    <a:pt x="3192" y="1854"/>
                  </a:lnTo>
                  <a:lnTo>
                    <a:pt x="3192" y="1854"/>
                  </a:lnTo>
                  <a:lnTo>
                    <a:pt x="3192" y="1852"/>
                  </a:lnTo>
                  <a:lnTo>
                    <a:pt x="3192" y="1849"/>
                  </a:lnTo>
                  <a:lnTo>
                    <a:pt x="3195" y="1849"/>
                  </a:lnTo>
                  <a:lnTo>
                    <a:pt x="3199" y="1835"/>
                  </a:lnTo>
                  <a:lnTo>
                    <a:pt x="3202" y="1835"/>
                  </a:lnTo>
                  <a:lnTo>
                    <a:pt x="3202" y="1835"/>
                  </a:lnTo>
                  <a:lnTo>
                    <a:pt x="3202" y="1833"/>
                  </a:lnTo>
                  <a:lnTo>
                    <a:pt x="3202" y="1833"/>
                  </a:lnTo>
                  <a:lnTo>
                    <a:pt x="3202" y="1833"/>
                  </a:lnTo>
                  <a:lnTo>
                    <a:pt x="3202" y="1831"/>
                  </a:lnTo>
                  <a:lnTo>
                    <a:pt x="3202" y="1828"/>
                  </a:lnTo>
                  <a:lnTo>
                    <a:pt x="3204" y="1826"/>
                  </a:lnTo>
                  <a:lnTo>
                    <a:pt x="3204" y="1826"/>
                  </a:lnTo>
                  <a:lnTo>
                    <a:pt x="3204" y="1823"/>
                  </a:lnTo>
                  <a:lnTo>
                    <a:pt x="3207" y="1821"/>
                  </a:lnTo>
                  <a:lnTo>
                    <a:pt x="3207" y="1821"/>
                  </a:lnTo>
                  <a:lnTo>
                    <a:pt x="3209" y="1821"/>
                  </a:lnTo>
                  <a:lnTo>
                    <a:pt x="3209" y="1819"/>
                  </a:lnTo>
                  <a:lnTo>
                    <a:pt x="3209" y="1819"/>
                  </a:lnTo>
                  <a:lnTo>
                    <a:pt x="3209" y="1816"/>
                  </a:lnTo>
                  <a:lnTo>
                    <a:pt x="3209" y="1814"/>
                  </a:lnTo>
                  <a:lnTo>
                    <a:pt x="3209" y="1814"/>
                  </a:lnTo>
                  <a:lnTo>
                    <a:pt x="3209" y="1812"/>
                  </a:lnTo>
                  <a:lnTo>
                    <a:pt x="3209" y="1812"/>
                  </a:lnTo>
                  <a:lnTo>
                    <a:pt x="3211" y="1809"/>
                  </a:lnTo>
                  <a:lnTo>
                    <a:pt x="3211" y="1809"/>
                  </a:lnTo>
                  <a:lnTo>
                    <a:pt x="3211" y="1809"/>
                  </a:lnTo>
                  <a:lnTo>
                    <a:pt x="3211" y="1809"/>
                  </a:lnTo>
                  <a:lnTo>
                    <a:pt x="3211" y="1809"/>
                  </a:lnTo>
                  <a:lnTo>
                    <a:pt x="3211" y="1809"/>
                  </a:lnTo>
                  <a:lnTo>
                    <a:pt x="3211" y="1812"/>
                  </a:lnTo>
                  <a:lnTo>
                    <a:pt x="3211" y="1812"/>
                  </a:lnTo>
                  <a:lnTo>
                    <a:pt x="3211" y="1814"/>
                  </a:lnTo>
                  <a:lnTo>
                    <a:pt x="3211" y="1814"/>
                  </a:lnTo>
                  <a:lnTo>
                    <a:pt x="3211" y="1814"/>
                  </a:lnTo>
                  <a:lnTo>
                    <a:pt x="3211" y="1814"/>
                  </a:lnTo>
                  <a:lnTo>
                    <a:pt x="3211" y="1816"/>
                  </a:lnTo>
                  <a:lnTo>
                    <a:pt x="3211" y="1816"/>
                  </a:lnTo>
                  <a:lnTo>
                    <a:pt x="3211" y="1819"/>
                  </a:lnTo>
                  <a:lnTo>
                    <a:pt x="3211" y="1819"/>
                  </a:lnTo>
                  <a:lnTo>
                    <a:pt x="3214" y="1821"/>
                  </a:lnTo>
                  <a:lnTo>
                    <a:pt x="3214" y="1821"/>
                  </a:lnTo>
                  <a:lnTo>
                    <a:pt x="3214" y="1821"/>
                  </a:lnTo>
                  <a:lnTo>
                    <a:pt x="3214" y="1819"/>
                  </a:lnTo>
                  <a:lnTo>
                    <a:pt x="3214" y="1819"/>
                  </a:lnTo>
                  <a:lnTo>
                    <a:pt x="3216" y="1819"/>
                  </a:lnTo>
                  <a:lnTo>
                    <a:pt x="3216" y="1819"/>
                  </a:lnTo>
                  <a:lnTo>
                    <a:pt x="3216" y="1819"/>
                  </a:lnTo>
                  <a:lnTo>
                    <a:pt x="3216" y="1816"/>
                  </a:lnTo>
                  <a:lnTo>
                    <a:pt x="3216" y="1816"/>
                  </a:lnTo>
                  <a:lnTo>
                    <a:pt x="3218" y="1814"/>
                  </a:lnTo>
                  <a:lnTo>
                    <a:pt x="3218" y="1814"/>
                  </a:lnTo>
                  <a:lnTo>
                    <a:pt x="3218" y="1814"/>
                  </a:lnTo>
                  <a:lnTo>
                    <a:pt x="3218" y="1814"/>
                  </a:lnTo>
                  <a:lnTo>
                    <a:pt x="3218" y="1814"/>
                  </a:lnTo>
                  <a:lnTo>
                    <a:pt x="3218" y="1812"/>
                  </a:lnTo>
                  <a:lnTo>
                    <a:pt x="3218" y="1812"/>
                  </a:lnTo>
                  <a:lnTo>
                    <a:pt x="3218" y="1812"/>
                  </a:lnTo>
                  <a:lnTo>
                    <a:pt x="3218" y="1809"/>
                  </a:lnTo>
                  <a:lnTo>
                    <a:pt x="3221" y="1809"/>
                  </a:lnTo>
                  <a:lnTo>
                    <a:pt x="3221" y="1812"/>
                  </a:lnTo>
                  <a:lnTo>
                    <a:pt x="3223" y="1812"/>
                  </a:lnTo>
                  <a:lnTo>
                    <a:pt x="3223" y="1812"/>
                  </a:lnTo>
                  <a:lnTo>
                    <a:pt x="3223" y="1809"/>
                  </a:lnTo>
                  <a:lnTo>
                    <a:pt x="3223" y="1809"/>
                  </a:lnTo>
                  <a:lnTo>
                    <a:pt x="3225" y="1809"/>
                  </a:lnTo>
                  <a:lnTo>
                    <a:pt x="3225" y="1809"/>
                  </a:lnTo>
                  <a:lnTo>
                    <a:pt x="3225" y="1809"/>
                  </a:lnTo>
                  <a:lnTo>
                    <a:pt x="3225" y="1809"/>
                  </a:lnTo>
                  <a:lnTo>
                    <a:pt x="3228" y="1809"/>
                  </a:lnTo>
                  <a:lnTo>
                    <a:pt x="3228" y="1809"/>
                  </a:lnTo>
                  <a:lnTo>
                    <a:pt x="3225" y="1814"/>
                  </a:lnTo>
                  <a:lnTo>
                    <a:pt x="3228" y="1814"/>
                  </a:lnTo>
                  <a:lnTo>
                    <a:pt x="3228" y="1814"/>
                  </a:lnTo>
                  <a:lnTo>
                    <a:pt x="3228" y="1814"/>
                  </a:lnTo>
                  <a:lnTo>
                    <a:pt x="3228" y="1814"/>
                  </a:lnTo>
                  <a:lnTo>
                    <a:pt x="3228" y="1814"/>
                  </a:lnTo>
                  <a:lnTo>
                    <a:pt x="3225" y="1814"/>
                  </a:lnTo>
                  <a:lnTo>
                    <a:pt x="3225" y="1814"/>
                  </a:lnTo>
                  <a:lnTo>
                    <a:pt x="3225" y="1814"/>
                  </a:lnTo>
                  <a:lnTo>
                    <a:pt x="3225" y="1814"/>
                  </a:lnTo>
                  <a:lnTo>
                    <a:pt x="3225" y="1814"/>
                  </a:lnTo>
                  <a:lnTo>
                    <a:pt x="3225" y="1814"/>
                  </a:lnTo>
                  <a:lnTo>
                    <a:pt x="3225" y="1814"/>
                  </a:lnTo>
                  <a:lnTo>
                    <a:pt x="3225" y="1814"/>
                  </a:lnTo>
                  <a:lnTo>
                    <a:pt x="3225" y="1816"/>
                  </a:lnTo>
                  <a:lnTo>
                    <a:pt x="3225" y="1816"/>
                  </a:lnTo>
                  <a:lnTo>
                    <a:pt x="3223" y="1816"/>
                  </a:lnTo>
                  <a:lnTo>
                    <a:pt x="3223" y="1816"/>
                  </a:lnTo>
                  <a:lnTo>
                    <a:pt x="3223" y="1816"/>
                  </a:lnTo>
                  <a:lnTo>
                    <a:pt x="3223" y="1816"/>
                  </a:lnTo>
                  <a:lnTo>
                    <a:pt x="3223" y="1819"/>
                  </a:lnTo>
                  <a:lnTo>
                    <a:pt x="3223" y="1819"/>
                  </a:lnTo>
                  <a:lnTo>
                    <a:pt x="3223" y="1819"/>
                  </a:lnTo>
                  <a:lnTo>
                    <a:pt x="3223" y="1821"/>
                  </a:lnTo>
                  <a:lnTo>
                    <a:pt x="3223" y="1821"/>
                  </a:lnTo>
                  <a:lnTo>
                    <a:pt x="3223" y="1821"/>
                  </a:lnTo>
                  <a:lnTo>
                    <a:pt x="3225" y="1823"/>
                  </a:lnTo>
                  <a:lnTo>
                    <a:pt x="3225" y="1823"/>
                  </a:lnTo>
                  <a:lnTo>
                    <a:pt x="3225" y="1823"/>
                  </a:lnTo>
                  <a:lnTo>
                    <a:pt x="3225" y="1823"/>
                  </a:lnTo>
                  <a:lnTo>
                    <a:pt x="3225" y="1823"/>
                  </a:lnTo>
                  <a:lnTo>
                    <a:pt x="3225" y="1823"/>
                  </a:lnTo>
                  <a:lnTo>
                    <a:pt x="3225" y="1821"/>
                  </a:lnTo>
                  <a:lnTo>
                    <a:pt x="3225" y="1821"/>
                  </a:lnTo>
                  <a:lnTo>
                    <a:pt x="3225" y="1821"/>
                  </a:lnTo>
                  <a:lnTo>
                    <a:pt x="3225" y="1821"/>
                  </a:lnTo>
                  <a:lnTo>
                    <a:pt x="3225" y="1821"/>
                  </a:lnTo>
                  <a:lnTo>
                    <a:pt x="3225" y="1821"/>
                  </a:lnTo>
                  <a:lnTo>
                    <a:pt x="3225" y="1821"/>
                  </a:lnTo>
                  <a:lnTo>
                    <a:pt x="3225" y="1821"/>
                  </a:lnTo>
                  <a:lnTo>
                    <a:pt x="3225" y="1821"/>
                  </a:lnTo>
                  <a:lnTo>
                    <a:pt x="3225" y="1819"/>
                  </a:lnTo>
                  <a:lnTo>
                    <a:pt x="3228" y="1816"/>
                  </a:lnTo>
                  <a:lnTo>
                    <a:pt x="3228" y="1816"/>
                  </a:lnTo>
                  <a:lnTo>
                    <a:pt x="3228" y="1816"/>
                  </a:lnTo>
                  <a:lnTo>
                    <a:pt x="3228" y="1816"/>
                  </a:lnTo>
                  <a:lnTo>
                    <a:pt x="3228" y="1816"/>
                  </a:lnTo>
                  <a:lnTo>
                    <a:pt x="3228" y="1814"/>
                  </a:lnTo>
                  <a:lnTo>
                    <a:pt x="3228" y="1814"/>
                  </a:lnTo>
                  <a:lnTo>
                    <a:pt x="3230" y="1814"/>
                  </a:lnTo>
                  <a:lnTo>
                    <a:pt x="3230" y="1814"/>
                  </a:lnTo>
                  <a:lnTo>
                    <a:pt x="3230" y="1814"/>
                  </a:lnTo>
                  <a:lnTo>
                    <a:pt x="3233" y="1812"/>
                  </a:lnTo>
                  <a:lnTo>
                    <a:pt x="3233" y="1812"/>
                  </a:lnTo>
                  <a:lnTo>
                    <a:pt x="3233" y="1812"/>
                  </a:lnTo>
                  <a:lnTo>
                    <a:pt x="3233" y="1812"/>
                  </a:lnTo>
                  <a:lnTo>
                    <a:pt x="3235" y="1812"/>
                  </a:lnTo>
                  <a:lnTo>
                    <a:pt x="3235" y="1812"/>
                  </a:lnTo>
                  <a:lnTo>
                    <a:pt x="3235" y="1812"/>
                  </a:lnTo>
                  <a:lnTo>
                    <a:pt x="3235" y="1807"/>
                  </a:lnTo>
                  <a:lnTo>
                    <a:pt x="3235" y="1805"/>
                  </a:lnTo>
                  <a:lnTo>
                    <a:pt x="3237" y="1805"/>
                  </a:lnTo>
                  <a:lnTo>
                    <a:pt x="3242" y="1802"/>
                  </a:lnTo>
                  <a:lnTo>
                    <a:pt x="3244" y="1802"/>
                  </a:lnTo>
                  <a:lnTo>
                    <a:pt x="3247" y="1802"/>
                  </a:lnTo>
                  <a:lnTo>
                    <a:pt x="3249" y="1802"/>
                  </a:lnTo>
                  <a:lnTo>
                    <a:pt x="3249" y="1802"/>
                  </a:lnTo>
                  <a:lnTo>
                    <a:pt x="3249" y="1802"/>
                  </a:lnTo>
                  <a:lnTo>
                    <a:pt x="3249" y="1800"/>
                  </a:lnTo>
                  <a:lnTo>
                    <a:pt x="3254" y="1800"/>
                  </a:lnTo>
                  <a:lnTo>
                    <a:pt x="3259" y="1800"/>
                  </a:lnTo>
                  <a:lnTo>
                    <a:pt x="3259" y="1800"/>
                  </a:lnTo>
                  <a:lnTo>
                    <a:pt x="3259" y="1797"/>
                  </a:lnTo>
                  <a:lnTo>
                    <a:pt x="3261" y="1795"/>
                  </a:lnTo>
                  <a:lnTo>
                    <a:pt x="3261" y="1793"/>
                  </a:lnTo>
                  <a:lnTo>
                    <a:pt x="3263" y="1793"/>
                  </a:lnTo>
                  <a:lnTo>
                    <a:pt x="3266" y="1793"/>
                  </a:lnTo>
                  <a:lnTo>
                    <a:pt x="3266" y="1790"/>
                  </a:lnTo>
                  <a:lnTo>
                    <a:pt x="3266" y="1790"/>
                  </a:lnTo>
                  <a:lnTo>
                    <a:pt x="3268" y="1790"/>
                  </a:lnTo>
                  <a:lnTo>
                    <a:pt x="3268" y="1793"/>
                  </a:lnTo>
                  <a:lnTo>
                    <a:pt x="3268" y="1793"/>
                  </a:lnTo>
                  <a:lnTo>
                    <a:pt x="3268" y="1793"/>
                  </a:lnTo>
                  <a:lnTo>
                    <a:pt x="3268" y="1790"/>
                  </a:lnTo>
                  <a:lnTo>
                    <a:pt x="3270" y="1790"/>
                  </a:lnTo>
                  <a:lnTo>
                    <a:pt x="3270" y="1793"/>
                  </a:lnTo>
                  <a:lnTo>
                    <a:pt x="3273" y="1793"/>
                  </a:lnTo>
                  <a:lnTo>
                    <a:pt x="3275" y="1793"/>
                  </a:lnTo>
                  <a:lnTo>
                    <a:pt x="3275" y="1793"/>
                  </a:lnTo>
                  <a:lnTo>
                    <a:pt x="3278" y="1793"/>
                  </a:lnTo>
                  <a:lnTo>
                    <a:pt x="3282" y="1795"/>
                  </a:lnTo>
                  <a:lnTo>
                    <a:pt x="3282" y="1795"/>
                  </a:lnTo>
                  <a:lnTo>
                    <a:pt x="3285" y="1795"/>
                  </a:lnTo>
                  <a:lnTo>
                    <a:pt x="3285" y="1795"/>
                  </a:lnTo>
                  <a:lnTo>
                    <a:pt x="3285" y="1797"/>
                  </a:lnTo>
                  <a:lnTo>
                    <a:pt x="3285" y="1797"/>
                  </a:lnTo>
                  <a:lnTo>
                    <a:pt x="3285" y="1797"/>
                  </a:lnTo>
                  <a:lnTo>
                    <a:pt x="3287" y="1797"/>
                  </a:lnTo>
                  <a:lnTo>
                    <a:pt x="3287" y="1797"/>
                  </a:lnTo>
                  <a:lnTo>
                    <a:pt x="3287" y="1800"/>
                  </a:lnTo>
                  <a:lnTo>
                    <a:pt x="3289" y="1800"/>
                  </a:lnTo>
                  <a:lnTo>
                    <a:pt x="3289" y="1800"/>
                  </a:lnTo>
                  <a:lnTo>
                    <a:pt x="3292" y="1802"/>
                  </a:lnTo>
                  <a:lnTo>
                    <a:pt x="3292" y="1802"/>
                  </a:lnTo>
                  <a:lnTo>
                    <a:pt x="3294" y="1800"/>
                  </a:lnTo>
                  <a:lnTo>
                    <a:pt x="3294" y="1800"/>
                  </a:lnTo>
                  <a:lnTo>
                    <a:pt x="3292" y="1800"/>
                  </a:lnTo>
                  <a:lnTo>
                    <a:pt x="3292" y="1797"/>
                  </a:lnTo>
                  <a:lnTo>
                    <a:pt x="3294" y="1797"/>
                  </a:lnTo>
                  <a:lnTo>
                    <a:pt x="3292" y="1797"/>
                  </a:lnTo>
                  <a:lnTo>
                    <a:pt x="3292" y="1797"/>
                  </a:lnTo>
                  <a:lnTo>
                    <a:pt x="3292" y="1795"/>
                  </a:lnTo>
                  <a:lnTo>
                    <a:pt x="3292" y="1795"/>
                  </a:lnTo>
                  <a:lnTo>
                    <a:pt x="3294" y="1795"/>
                  </a:lnTo>
                  <a:lnTo>
                    <a:pt x="3294" y="1795"/>
                  </a:lnTo>
                  <a:lnTo>
                    <a:pt x="3294" y="1795"/>
                  </a:lnTo>
                  <a:lnTo>
                    <a:pt x="3294" y="1790"/>
                  </a:lnTo>
                  <a:lnTo>
                    <a:pt x="3294" y="1790"/>
                  </a:lnTo>
                  <a:lnTo>
                    <a:pt x="3296" y="1790"/>
                  </a:lnTo>
                  <a:lnTo>
                    <a:pt x="3296" y="1790"/>
                  </a:lnTo>
                  <a:lnTo>
                    <a:pt x="3296" y="1790"/>
                  </a:lnTo>
                  <a:lnTo>
                    <a:pt x="3299" y="1790"/>
                  </a:lnTo>
                  <a:lnTo>
                    <a:pt x="3299" y="1793"/>
                  </a:lnTo>
                  <a:lnTo>
                    <a:pt x="3299" y="1793"/>
                  </a:lnTo>
                  <a:lnTo>
                    <a:pt x="3299" y="1793"/>
                  </a:lnTo>
                  <a:lnTo>
                    <a:pt x="3299" y="1793"/>
                  </a:lnTo>
                  <a:lnTo>
                    <a:pt x="3299" y="1793"/>
                  </a:lnTo>
                  <a:lnTo>
                    <a:pt x="3299" y="1793"/>
                  </a:lnTo>
                  <a:lnTo>
                    <a:pt x="3301" y="1793"/>
                  </a:lnTo>
                  <a:lnTo>
                    <a:pt x="3301" y="1793"/>
                  </a:lnTo>
                  <a:lnTo>
                    <a:pt x="3301" y="1793"/>
                  </a:lnTo>
                  <a:lnTo>
                    <a:pt x="3301" y="1793"/>
                  </a:lnTo>
                  <a:lnTo>
                    <a:pt x="3301" y="1793"/>
                  </a:lnTo>
                  <a:lnTo>
                    <a:pt x="3304" y="1793"/>
                  </a:lnTo>
                  <a:lnTo>
                    <a:pt x="3306" y="1793"/>
                  </a:lnTo>
                  <a:lnTo>
                    <a:pt x="3306" y="1793"/>
                  </a:lnTo>
                  <a:lnTo>
                    <a:pt x="3306" y="1793"/>
                  </a:lnTo>
                  <a:lnTo>
                    <a:pt x="3306" y="1793"/>
                  </a:lnTo>
                  <a:lnTo>
                    <a:pt x="3306" y="1793"/>
                  </a:lnTo>
                  <a:lnTo>
                    <a:pt x="3306" y="1793"/>
                  </a:lnTo>
                  <a:lnTo>
                    <a:pt x="3306" y="1793"/>
                  </a:lnTo>
                  <a:lnTo>
                    <a:pt x="3308" y="1793"/>
                  </a:lnTo>
                  <a:lnTo>
                    <a:pt x="3308" y="1793"/>
                  </a:lnTo>
                  <a:lnTo>
                    <a:pt x="3311" y="1793"/>
                  </a:lnTo>
                  <a:lnTo>
                    <a:pt x="3318" y="1793"/>
                  </a:lnTo>
                  <a:lnTo>
                    <a:pt x="3318" y="1793"/>
                  </a:lnTo>
                  <a:lnTo>
                    <a:pt x="3318" y="1793"/>
                  </a:lnTo>
                  <a:lnTo>
                    <a:pt x="3318" y="1793"/>
                  </a:lnTo>
                  <a:lnTo>
                    <a:pt x="3320" y="1793"/>
                  </a:lnTo>
                  <a:lnTo>
                    <a:pt x="3320" y="1793"/>
                  </a:lnTo>
                  <a:lnTo>
                    <a:pt x="3322" y="1790"/>
                  </a:lnTo>
                  <a:lnTo>
                    <a:pt x="3322" y="1790"/>
                  </a:lnTo>
                  <a:lnTo>
                    <a:pt x="3322" y="1790"/>
                  </a:lnTo>
                  <a:lnTo>
                    <a:pt x="3322" y="1790"/>
                  </a:lnTo>
                  <a:lnTo>
                    <a:pt x="3322" y="1788"/>
                  </a:lnTo>
                  <a:lnTo>
                    <a:pt x="3322" y="1788"/>
                  </a:lnTo>
                  <a:lnTo>
                    <a:pt x="3320" y="1788"/>
                  </a:lnTo>
                  <a:lnTo>
                    <a:pt x="3320" y="1788"/>
                  </a:lnTo>
                  <a:lnTo>
                    <a:pt x="3320" y="1788"/>
                  </a:lnTo>
                  <a:lnTo>
                    <a:pt x="3320" y="1788"/>
                  </a:lnTo>
                  <a:lnTo>
                    <a:pt x="3318" y="1788"/>
                  </a:lnTo>
                  <a:lnTo>
                    <a:pt x="3318" y="1788"/>
                  </a:lnTo>
                  <a:lnTo>
                    <a:pt x="3318" y="1788"/>
                  </a:lnTo>
                  <a:lnTo>
                    <a:pt x="3315" y="1786"/>
                  </a:lnTo>
                  <a:lnTo>
                    <a:pt x="3315" y="1786"/>
                  </a:lnTo>
                  <a:lnTo>
                    <a:pt x="3315" y="1783"/>
                  </a:lnTo>
                  <a:lnTo>
                    <a:pt x="3315" y="1783"/>
                  </a:lnTo>
                  <a:lnTo>
                    <a:pt x="3315" y="1783"/>
                  </a:lnTo>
                  <a:lnTo>
                    <a:pt x="3315" y="1783"/>
                  </a:lnTo>
                  <a:lnTo>
                    <a:pt x="3315" y="1783"/>
                  </a:lnTo>
                  <a:lnTo>
                    <a:pt x="3315" y="1783"/>
                  </a:lnTo>
                  <a:lnTo>
                    <a:pt x="3315" y="1783"/>
                  </a:lnTo>
                  <a:lnTo>
                    <a:pt x="3313" y="1783"/>
                  </a:lnTo>
                  <a:lnTo>
                    <a:pt x="3313" y="1783"/>
                  </a:lnTo>
                  <a:lnTo>
                    <a:pt x="3313" y="1783"/>
                  </a:lnTo>
                  <a:lnTo>
                    <a:pt x="3313" y="1783"/>
                  </a:lnTo>
                  <a:lnTo>
                    <a:pt x="3313" y="1781"/>
                  </a:lnTo>
                  <a:lnTo>
                    <a:pt x="3313" y="1781"/>
                  </a:lnTo>
                  <a:lnTo>
                    <a:pt x="3311" y="1781"/>
                  </a:lnTo>
                  <a:lnTo>
                    <a:pt x="3311" y="1781"/>
                  </a:lnTo>
                  <a:lnTo>
                    <a:pt x="3311" y="1781"/>
                  </a:lnTo>
                  <a:lnTo>
                    <a:pt x="3308" y="1783"/>
                  </a:lnTo>
                  <a:lnTo>
                    <a:pt x="3308" y="1781"/>
                  </a:lnTo>
                  <a:lnTo>
                    <a:pt x="3308" y="1781"/>
                  </a:lnTo>
                  <a:lnTo>
                    <a:pt x="3308" y="1781"/>
                  </a:lnTo>
                  <a:lnTo>
                    <a:pt x="3308" y="1778"/>
                  </a:lnTo>
                  <a:lnTo>
                    <a:pt x="3308" y="1778"/>
                  </a:lnTo>
                  <a:lnTo>
                    <a:pt x="3311" y="1778"/>
                  </a:lnTo>
                  <a:lnTo>
                    <a:pt x="3311" y="1776"/>
                  </a:lnTo>
                  <a:lnTo>
                    <a:pt x="3308" y="1776"/>
                  </a:lnTo>
                  <a:lnTo>
                    <a:pt x="3308" y="1774"/>
                  </a:lnTo>
                  <a:lnTo>
                    <a:pt x="3308" y="1774"/>
                  </a:lnTo>
                  <a:lnTo>
                    <a:pt x="3308" y="1774"/>
                  </a:lnTo>
                  <a:lnTo>
                    <a:pt x="3308" y="1774"/>
                  </a:lnTo>
                  <a:lnTo>
                    <a:pt x="3311" y="1774"/>
                  </a:lnTo>
                  <a:lnTo>
                    <a:pt x="3311" y="1774"/>
                  </a:lnTo>
                  <a:lnTo>
                    <a:pt x="3311" y="1774"/>
                  </a:lnTo>
                  <a:lnTo>
                    <a:pt x="3311" y="1774"/>
                  </a:lnTo>
                  <a:lnTo>
                    <a:pt x="3311" y="1774"/>
                  </a:lnTo>
                  <a:lnTo>
                    <a:pt x="3313" y="1774"/>
                  </a:lnTo>
                  <a:lnTo>
                    <a:pt x="3313" y="1774"/>
                  </a:lnTo>
                  <a:lnTo>
                    <a:pt x="3311" y="1771"/>
                  </a:lnTo>
                  <a:lnTo>
                    <a:pt x="3311" y="1769"/>
                  </a:lnTo>
                  <a:lnTo>
                    <a:pt x="3308" y="1769"/>
                  </a:lnTo>
                  <a:lnTo>
                    <a:pt x="3311" y="1764"/>
                  </a:lnTo>
                  <a:lnTo>
                    <a:pt x="3308" y="1762"/>
                  </a:lnTo>
                  <a:lnTo>
                    <a:pt x="3308" y="1762"/>
                  </a:lnTo>
                  <a:lnTo>
                    <a:pt x="3306" y="1764"/>
                  </a:lnTo>
                  <a:lnTo>
                    <a:pt x="3304" y="1767"/>
                  </a:lnTo>
                  <a:lnTo>
                    <a:pt x="3301" y="1764"/>
                  </a:lnTo>
                  <a:lnTo>
                    <a:pt x="3301" y="1764"/>
                  </a:lnTo>
                  <a:lnTo>
                    <a:pt x="3299" y="1767"/>
                  </a:lnTo>
                  <a:lnTo>
                    <a:pt x="3299" y="1767"/>
                  </a:lnTo>
                  <a:lnTo>
                    <a:pt x="3299" y="1767"/>
                  </a:lnTo>
                  <a:lnTo>
                    <a:pt x="3299" y="1769"/>
                  </a:lnTo>
                  <a:lnTo>
                    <a:pt x="3296" y="1769"/>
                  </a:lnTo>
                  <a:lnTo>
                    <a:pt x="3296" y="1769"/>
                  </a:lnTo>
                  <a:lnTo>
                    <a:pt x="3296" y="1771"/>
                  </a:lnTo>
                  <a:lnTo>
                    <a:pt x="3294" y="1771"/>
                  </a:lnTo>
                  <a:lnTo>
                    <a:pt x="3294" y="1771"/>
                  </a:lnTo>
                  <a:lnTo>
                    <a:pt x="3294" y="1769"/>
                  </a:lnTo>
                  <a:lnTo>
                    <a:pt x="3292" y="1769"/>
                  </a:lnTo>
                  <a:lnTo>
                    <a:pt x="3292" y="1767"/>
                  </a:lnTo>
                  <a:lnTo>
                    <a:pt x="3289" y="1769"/>
                  </a:lnTo>
                  <a:lnTo>
                    <a:pt x="3289" y="1769"/>
                  </a:lnTo>
                  <a:lnTo>
                    <a:pt x="3287" y="1769"/>
                  </a:lnTo>
                  <a:lnTo>
                    <a:pt x="3287" y="1771"/>
                  </a:lnTo>
                  <a:lnTo>
                    <a:pt x="3285" y="1771"/>
                  </a:lnTo>
                  <a:lnTo>
                    <a:pt x="3285" y="1771"/>
                  </a:lnTo>
                  <a:lnTo>
                    <a:pt x="3282" y="1769"/>
                  </a:lnTo>
                  <a:lnTo>
                    <a:pt x="3282" y="1769"/>
                  </a:lnTo>
                  <a:lnTo>
                    <a:pt x="3282" y="1769"/>
                  </a:lnTo>
                  <a:lnTo>
                    <a:pt x="3280" y="1769"/>
                  </a:lnTo>
                  <a:lnTo>
                    <a:pt x="3280" y="1769"/>
                  </a:lnTo>
                  <a:lnTo>
                    <a:pt x="3280" y="1769"/>
                  </a:lnTo>
                  <a:lnTo>
                    <a:pt x="3280" y="1769"/>
                  </a:lnTo>
                  <a:lnTo>
                    <a:pt x="3278" y="1769"/>
                  </a:lnTo>
                  <a:lnTo>
                    <a:pt x="3278" y="1769"/>
                  </a:lnTo>
                  <a:lnTo>
                    <a:pt x="3278" y="1769"/>
                  </a:lnTo>
                  <a:lnTo>
                    <a:pt x="3278" y="1769"/>
                  </a:lnTo>
                  <a:lnTo>
                    <a:pt x="3278" y="1767"/>
                  </a:lnTo>
                  <a:lnTo>
                    <a:pt x="3278" y="1767"/>
                  </a:lnTo>
                  <a:lnTo>
                    <a:pt x="3278" y="1767"/>
                  </a:lnTo>
                  <a:lnTo>
                    <a:pt x="3278" y="1764"/>
                  </a:lnTo>
                  <a:lnTo>
                    <a:pt x="3278" y="1757"/>
                  </a:lnTo>
                  <a:lnTo>
                    <a:pt x="3278" y="1757"/>
                  </a:lnTo>
                  <a:lnTo>
                    <a:pt x="3278" y="1757"/>
                  </a:lnTo>
                  <a:lnTo>
                    <a:pt x="3278" y="1755"/>
                  </a:lnTo>
                  <a:lnTo>
                    <a:pt x="3278" y="1755"/>
                  </a:lnTo>
                  <a:lnTo>
                    <a:pt x="3278" y="1755"/>
                  </a:lnTo>
                  <a:lnTo>
                    <a:pt x="3278" y="1755"/>
                  </a:lnTo>
                  <a:lnTo>
                    <a:pt x="3275" y="1755"/>
                  </a:lnTo>
                  <a:lnTo>
                    <a:pt x="3275" y="1755"/>
                  </a:lnTo>
                  <a:lnTo>
                    <a:pt x="3273" y="1755"/>
                  </a:lnTo>
                  <a:lnTo>
                    <a:pt x="3270" y="1755"/>
                  </a:lnTo>
                  <a:lnTo>
                    <a:pt x="3266" y="1757"/>
                  </a:lnTo>
                  <a:lnTo>
                    <a:pt x="3261" y="1762"/>
                  </a:lnTo>
                  <a:lnTo>
                    <a:pt x="3259" y="1762"/>
                  </a:lnTo>
                  <a:lnTo>
                    <a:pt x="3247" y="1762"/>
                  </a:lnTo>
                  <a:lnTo>
                    <a:pt x="3244" y="1762"/>
                  </a:lnTo>
                  <a:lnTo>
                    <a:pt x="3244" y="1762"/>
                  </a:lnTo>
                  <a:lnTo>
                    <a:pt x="3244" y="1764"/>
                  </a:lnTo>
                  <a:lnTo>
                    <a:pt x="3237" y="1764"/>
                  </a:lnTo>
                  <a:lnTo>
                    <a:pt x="3237" y="1764"/>
                  </a:lnTo>
                  <a:lnTo>
                    <a:pt x="3235" y="1764"/>
                  </a:lnTo>
                  <a:lnTo>
                    <a:pt x="3233" y="1769"/>
                  </a:lnTo>
                  <a:lnTo>
                    <a:pt x="3228" y="1771"/>
                  </a:lnTo>
                  <a:lnTo>
                    <a:pt x="3225" y="1774"/>
                  </a:lnTo>
                  <a:lnTo>
                    <a:pt x="3225" y="1774"/>
                  </a:lnTo>
                  <a:lnTo>
                    <a:pt x="3225" y="1774"/>
                  </a:lnTo>
                  <a:lnTo>
                    <a:pt x="3223" y="1776"/>
                  </a:lnTo>
                  <a:lnTo>
                    <a:pt x="3223" y="1776"/>
                  </a:lnTo>
                  <a:lnTo>
                    <a:pt x="3221" y="1778"/>
                  </a:lnTo>
                  <a:lnTo>
                    <a:pt x="3221" y="1781"/>
                  </a:lnTo>
                  <a:lnTo>
                    <a:pt x="3218" y="1781"/>
                  </a:lnTo>
                  <a:lnTo>
                    <a:pt x="3218" y="1781"/>
                  </a:lnTo>
                  <a:lnTo>
                    <a:pt x="3218" y="1778"/>
                  </a:lnTo>
                  <a:lnTo>
                    <a:pt x="3218" y="1778"/>
                  </a:lnTo>
                  <a:lnTo>
                    <a:pt x="3218" y="1778"/>
                  </a:lnTo>
                  <a:lnTo>
                    <a:pt x="3218" y="1778"/>
                  </a:lnTo>
                  <a:lnTo>
                    <a:pt x="3216" y="1778"/>
                  </a:lnTo>
                  <a:lnTo>
                    <a:pt x="3216" y="1778"/>
                  </a:lnTo>
                  <a:lnTo>
                    <a:pt x="3216" y="1778"/>
                  </a:lnTo>
                  <a:lnTo>
                    <a:pt x="3214" y="1778"/>
                  </a:lnTo>
                  <a:lnTo>
                    <a:pt x="3214" y="1778"/>
                  </a:lnTo>
                  <a:lnTo>
                    <a:pt x="3214" y="1778"/>
                  </a:lnTo>
                  <a:lnTo>
                    <a:pt x="3211" y="1781"/>
                  </a:lnTo>
                  <a:lnTo>
                    <a:pt x="3211" y="1781"/>
                  </a:lnTo>
                  <a:lnTo>
                    <a:pt x="3211" y="1778"/>
                  </a:lnTo>
                  <a:lnTo>
                    <a:pt x="3211" y="1778"/>
                  </a:lnTo>
                  <a:lnTo>
                    <a:pt x="3209" y="1778"/>
                  </a:lnTo>
                  <a:lnTo>
                    <a:pt x="3209" y="1778"/>
                  </a:lnTo>
                  <a:lnTo>
                    <a:pt x="3209" y="1778"/>
                  </a:lnTo>
                  <a:lnTo>
                    <a:pt x="3209" y="1776"/>
                  </a:lnTo>
                  <a:lnTo>
                    <a:pt x="3207" y="1776"/>
                  </a:lnTo>
                  <a:lnTo>
                    <a:pt x="3207" y="1776"/>
                  </a:lnTo>
                  <a:lnTo>
                    <a:pt x="3207" y="1776"/>
                  </a:lnTo>
                  <a:lnTo>
                    <a:pt x="3207" y="1776"/>
                  </a:lnTo>
                  <a:lnTo>
                    <a:pt x="3207" y="1776"/>
                  </a:lnTo>
                  <a:lnTo>
                    <a:pt x="3207" y="1776"/>
                  </a:lnTo>
                  <a:lnTo>
                    <a:pt x="3207" y="1776"/>
                  </a:lnTo>
                  <a:lnTo>
                    <a:pt x="3204" y="1776"/>
                  </a:lnTo>
                  <a:lnTo>
                    <a:pt x="3204" y="1776"/>
                  </a:lnTo>
                  <a:lnTo>
                    <a:pt x="3204" y="1776"/>
                  </a:lnTo>
                  <a:lnTo>
                    <a:pt x="3204" y="1776"/>
                  </a:lnTo>
                  <a:lnTo>
                    <a:pt x="3204" y="1776"/>
                  </a:lnTo>
                  <a:lnTo>
                    <a:pt x="3202" y="1778"/>
                  </a:lnTo>
                  <a:lnTo>
                    <a:pt x="3202" y="1778"/>
                  </a:lnTo>
                  <a:lnTo>
                    <a:pt x="3202" y="1778"/>
                  </a:lnTo>
                  <a:lnTo>
                    <a:pt x="3199" y="1778"/>
                  </a:lnTo>
                  <a:lnTo>
                    <a:pt x="3199" y="1778"/>
                  </a:lnTo>
                  <a:lnTo>
                    <a:pt x="3195" y="1778"/>
                  </a:lnTo>
                  <a:lnTo>
                    <a:pt x="3192" y="1778"/>
                  </a:lnTo>
                  <a:lnTo>
                    <a:pt x="3192" y="1778"/>
                  </a:lnTo>
                  <a:lnTo>
                    <a:pt x="3192" y="1776"/>
                  </a:lnTo>
                  <a:lnTo>
                    <a:pt x="3192" y="1774"/>
                  </a:lnTo>
                  <a:lnTo>
                    <a:pt x="3192" y="1774"/>
                  </a:lnTo>
                  <a:lnTo>
                    <a:pt x="3190" y="1774"/>
                  </a:lnTo>
                  <a:lnTo>
                    <a:pt x="3190" y="1774"/>
                  </a:lnTo>
                  <a:lnTo>
                    <a:pt x="3188" y="1771"/>
                  </a:lnTo>
                  <a:lnTo>
                    <a:pt x="3188" y="1771"/>
                  </a:lnTo>
                  <a:lnTo>
                    <a:pt x="3188" y="1771"/>
                  </a:lnTo>
                  <a:lnTo>
                    <a:pt x="3188" y="1771"/>
                  </a:lnTo>
                  <a:lnTo>
                    <a:pt x="3185" y="1769"/>
                  </a:lnTo>
                  <a:lnTo>
                    <a:pt x="3185" y="1769"/>
                  </a:lnTo>
                  <a:lnTo>
                    <a:pt x="3183" y="1767"/>
                  </a:lnTo>
                  <a:lnTo>
                    <a:pt x="3183" y="1767"/>
                  </a:lnTo>
                  <a:lnTo>
                    <a:pt x="3183" y="1764"/>
                  </a:lnTo>
                  <a:lnTo>
                    <a:pt x="3183" y="1764"/>
                  </a:lnTo>
                  <a:lnTo>
                    <a:pt x="3180" y="1764"/>
                  </a:lnTo>
                  <a:lnTo>
                    <a:pt x="3180" y="1764"/>
                  </a:lnTo>
                  <a:lnTo>
                    <a:pt x="3180" y="1764"/>
                  </a:lnTo>
                  <a:lnTo>
                    <a:pt x="3180" y="1762"/>
                  </a:lnTo>
                  <a:lnTo>
                    <a:pt x="3180" y="1762"/>
                  </a:lnTo>
                  <a:lnTo>
                    <a:pt x="3178" y="1764"/>
                  </a:lnTo>
                  <a:lnTo>
                    <a:pt x="3178" y="1764"/>
                  </a:lnTo>
                  <a:lnTo>
                    <a:pt x="3178" y="1762"/>
                  </a:lnTo>
                  <a:lnTo>
                    <a:pt x="3178" y="1762"/>
                  </a:lnTo>
                  <a:lnTo>
                    <a:pt x="3178" y="1762"/>
                  </a:lnTo>
                  <a:lnTo>
                    <a:pt x="3176" y="1762"/>
                  </a:lnTo>
                  <a:lnTo>
                    <a:pt x="3176" y="1762"/>
                  </a:lnTo>
                  <a:lnTo>
                    <a:pt x="3176" y="1762"/>
                  </a:lnTo>
                  <a:lnTo>
                    <a:pt x="3176" y="1762"/>
                  </a:lnTo>
                  <a:lnTo>
                    <a:pt x="3176" y="1760"/>
                  </a:lnTo>
                  <a:lnTo>
                    <a:pt x="3171" y="1760"/>
                  </a:lnTo>
                  <a:lnTo>
                    <a:pt x="3166" y="1760"/>
                  </a:lnTo>
                  <a:lnTo>
                    <a:pt x="3164" y="1760"/>
                  </a:lnTo>
                  <a:lnTo>
                    <a:pt x="3162" y="1762"/>
                  </a:lnTo>
                  <a:lnTo>
                    <a:pt x="3162" y="1762"/>
                  </a:lnTo>
                  <a:lnTo>
                    <a:pt x="3159" y="1764"/>
                  </a:lnTo>
                  <a:lnTo>
                    <a:pt x="3159" y="1764"/>
                  </a:lnTo>
                  <a:lnTo>
                    <a:pt x="3159" y="1767"/>
                  </a:lnTo>
                  <a:lnTo>
                    <a:pt x="3157" y="1767"/>
                  </a:lnTo>
                  <a:lnTo>
                    <a:pt x="3157" y="1767"/>
                  </a:lnTo>
                  <a:lnTo>
                    <a:pt x="3159" y="1764"/>
                  </a:lnTo>
                  <a:lnTo>
                    <a:pt x="3159" y="1764"/>
                  </a:lnTo>
                  <a:lnTo>
                    <a:pt x="3159" y="1762"/>
                  </a:lnTo>
                  <a:lnTo>
                    <a:pt x="3162" y="1760"/>
                  </a:lnTo>
                  <a:lnTo>
                    <a:pt x="3162" y="1760"/>
                  </a:lnTo>
                  <a:lnTo>
                    <a:pt x="3162" y="1760"/>
                  </a:lnTo>
                  <a:lnTo>
                    <a:pt x="3162" y="1760"/>
                  </a:lnTo>
                  <a:lnTo>
                    <a:pt x="3162" y="1760"/>
                  </a:lnTo>
                  <a:lnTo>
                    <a:pt x="3159" y="1760"/>
                  </a:lnTo>
                  <a:lnTo>
                    <a:pt x="3159" y="1762"/>
                  </a:lnTo>
                  <a:lnTo>
                    <a:pt x="3157" y="1762"/>
                  </a:lnTo>
                  <a:lnTo>
                    <a:pt x="3157" y="1764"/>
                  </a:lnTo>
                  <a:lnTo>
                    <a:pt x="3154" y="1764"/>
                  </a:lnTo>
                  <a:lnTo>
                    <a:pt x="3154" y="1764"/>
                  </a:lnTo>
                  <a:lnTo>
                    <a:pt x="3154" y="1764"/>
                  </a:lnTo>
                  <a:lnTo>
                    <a:pt x="3154" y="1764"/>
                  </a:lnTo>
                  <a:lnTo>
                    <a:pt x="3152" y="1769"/>
                  </a:lnTo>
                  <a:lnTo>
                    <a:pt x="3152" y="1769"/>
                  </a:lnTo>
                  <a:lnTo>
                    <a:pt x="3152" y="1769"/>
                  </a:lnTo>
                  <a:lnTo>
                    <a:pt x="3152" y="1769"/>
                  </a:lnTo>
                  <a:lnTo>
                    <a:pt x="3152" y="1769"/>
                  </a:lnTo>
                  <a:lnTo>
                    <a:pt x="3152" y="1769"/>
                  </a:lnTo>
                  <a:lnTo>
                    <a:pt x="3152" y="1769"/>
                  </a:lnTo>
                  <a:lnTo>
                    <a:pt x="3152" y="1769"/>
                  </a:lnTo>
                  <a:lnTo>
                    <a:pt x="3152" y="1769"/>
                  </a:lnTo>
                  <a:lnTo>
                    <a:pt x="3152" y="1767"/>
                  </a:lnTo>
                  <a:lnTo>
                    <a:pt x="3152" y="1767"/>
                  </a:lnTo>
                  <a:lnTo>
                    <a:pt x="3152" y="1767"/>
                  </a:lnTo>
                  <a:lnTo>
                    <a:pt x="3152" y="1764"/>
                  </a:lnTo>
                  <a:lnTo>
                    <a:pt x="3152" y="1764"/>
                  </a:lnTo>
                  <a:lnTo>
                    <a:pt x="3152" y="1764"/>
                  </a:lnTo>
                  <a:lnTo>
                    <a:pt x="3152" y="1764"/>
                  </a:lnTo>
                  <a:lnTo>
                    <a:pt x="3152" y="1762"/>
                  </a:lnTo>
                  <a:lnTo>
                    <a:pt x="3152" y="1762"/>
                  </a:lnTo>
                  <a:lnTo>
                    <a:pt x="3152" y="1760"/>
                  </a:lnTo>
                  <a:lnTo>
                    <a:pt x="3152" y="1760"/>
                  </a:lnTo>
                  <a:lnTo>
                    <a:pt x="3152" y="1757"/>
                  </a:lnTo>
                  <a:lnTo>
                    <a:pt x="3150" y="1757"/>
                  </a:lnTo>
                  <a:lnTo>
                    <a:pt x="3150" y="1757"/>
                  </a:lnTo>
                  <a:lnTo>
                    <a:pt x="3150" y="1755"/>
                  </a:lnTo>
                  <a:lnTo>
                    <a:pt x="3150" y="1755"/>
                  </a:lnTo>
                  <a:lnTo>
                    <a:pt x="3150" y="1757"/>
                  </a:lnTo>
                  <a:lnTo>
                    <a:pt x="3150" y="1757"/>
                  </a:lnTo>
                  <a:lnTo>
                    <a:pt x="3147" y="1755"/>
                  </a:lnTo>
                  <a:lnTo>
                    <a:pt x="3147" y="1755"/>
                  </a:lnTo>
                  <a:lnTo>
                    <a:pt x="3150" y="1755"/>
                  </a:lnTo>
                  <a:lnTo>
                    <a:pt x="3150" y="1752"/>
                  </a:lnTo>
                  <a:lnTo>
                    <a:pt x="3150" y="1752"/>
                  </a:lnTo>
                  <a:lnTo>
                    <a:pt x="3150" y="1752"/>
                  </a:lnTo>
                  <a:lnTo>
                    <a:pt x="3147" y="1752"/>
                  </a:lnTo>
                  <a:lnTo>
                    <a:pt x="3145" y="1752"/>
                  </a:lnTo>
                  <a:lnTo>
                    <a:pt x="3145" y="1752"/>
                  </a:lnTo>
                  <a:lnTo>
                    <a:pt x="3145" y="1750"/>
                  </a:lnTo>
                  <a:lnTo>
                    <a:pt x="3143" y="1750"/>
                  </a:lnTo>
                  <a:lnTo>
                    <a:pt x="3145" y="1748"/>
                  </a:lnTo>
                  <a:lnTo>
                    <a:pt x="3145" y="1748"/>
                  </a:lnTo>
                  <a:lnTo>
                    <a:pt x="3143" y="1745"/>
                  </a:lnTo>
                  <a:lnTo>
                    <a:pt x="3143" y="1745"/>
                  </a:lnTo>
                  <a:lnTo>
                    <a:pt x="3143" y="1748"/>
                  </a:lnTo>
                  <a:lnTo>
                    <a:pt x="3136" y="1752"/>
                  </a:lnTo>
                  <a:lnTo>
                    <a:pt x="3136" y="1752"/>
                  </a:lnTo>
                  <a:lnTo>
                    <a:pt x="3136" y="1752"/>
                  </a:lnTo>
                  <a:lnTo>
                    <a:pt x="3136" y="1755"/>
                  </a:lnTo>
                  <a:lnTo>
                    <a:pt x="3136" y="1755"/>
                  </a:lnTo>
                  <a:lnTo>
                    <a:pt x="3133" y="1755"/>
                  </a:lnTo>
                  <a:lnTo>
                    <a:pt x="3133" y="1757"/>
                  </a:lnTo>
                  <a:lnTo>
                    <a:pt x="3133" y="1760"/>
                  </a:lnTo>
                  <a:lnTo>
                    <a:pt x="3133" y="1760"/>
                  </a:lnTo>
                  <a:lnTo>
                    <a:pt x="3131" y="1760"/>
                  </a:lnTo>
                  <a:lnTo>
                    <a:pt x="3131" y="1760"/>
                  </a:lnTo>
                  <a:lnTo>
                    <a:pt x="3128" y="1760"/>
                  </a:lnTo>
                  <a:lnTo>
                    <a:pt x="3128" y="1760"/>
                  </a:lnTo>
                  <a:lnTo>
                    <a:pt x="3126" y="1760"/>
                  </a:lnTo>
                  <a:lnTo>
                    <a:pt x="3126" y="1762"/>
                  </a:lnTo>
                  <a:lnTo>
                    <a:pt x="3124" y="1764"/>
                  </a:lnTo>
                  <a:lnTo>
                    <a:pt x="3121" y="1767"/>
                  </a:lnTo>
                  <a:lnTo>
                    <a:pt x="3119" y="1769"/>
                  </a:lnTo>
                  <a:lnTo>
                    <a:pt x="3105" y="1771"/>
                  </a:lnTo>
                  <a:lnTo>
                    <a:pt x="3102" y="1774"/>
                  </a:lnTo>
                  <a:lnTo>
                    <a:pt x="3098" y="1778"/>
                  </a:lnTo>
                  <a:lnTo>
                    <a:pt x="3095" y="1781"/>
                  </a:lnTo>
                  <a:lnTo>
                    <a:pt x="3088" y="1783"/>
                  </a:lnTo>
                  <a:lnTo>
                    <a:pt x="3088" y="1786"/>
                  </a:lnTo>
                  <a:lnTo>
                    <a:pt x="3086" y="1786"/>
                  </a:lnTo>
                  <a:lnTo>
                    <a:pt x="3086" y="1786"/>
                  </a:lnTo>
                  <a:lnTo>
                    <a:pt x="3083" y="1786"/>
                  </a:lnTo>
                  <a:lnTo>
                    <a:pt x="3083" y="1786"/>
                  </a:lnTo>
                  <a:lnTo>
                    <a:pt x="3081" y="1788"/>
                  </a:lnTo>
                  <a:lnTo>
                    <a:pt x="3081" y="1788"/>
                  </a:lnTo>
                  <a:lnTo>
                    <a:pt x="3079" y="1786"/>
                  </a:lnTo>
                  <a:lnTo>
                    <a:pt x="3076" y="1786"/>
                  </a:lnTo>
                  <a:lnTo>
                    <a:pt x="3074" y="1783"/>
                  </a:lnTo>
                  <a:lnTo>
                    <a:pt x="3072" y="1781"/>
                  </a:lnTo>
                  <a:lnTo>
                    <a:pt x="3069" y="1781"/>
                  </a:lnTo>
                  <a:lnTo>
                    <a:pt x="3069" y="1781"/>
                  </a:lnTo>
                  <a:lnTo>
                    <a:pt x="3072" y="1783"/>
                  </a:lnTo>
                  <a:lnTo>
                    <a:pt x="3072" y="1783"/>
                  </a:lnTo>
                  <a:lnTo>
                    <a:pt x="3069" y="1783"/>
                  </a:lnTo>
                  <a:lnTo>
                    <a:pt x="3069" y="1783"/>
                  </a:lnTo>
                  <a:lnTo>
                    <a:pt x="3069" y="1783"/>
                  </a:lnTo>
                  <a:lnTo>
                    <a:pt x="3069" y="1783"/>
                  </a:lnTo>
                  <a:lnTo>
                    <a:pt x="3072" y="1783"/>
                  </a:lnTo>
                  <a:lnTo>
                    <a:pt x="3069" y="1783"/>
                  </a:lnTo>
                  <a:lnTo>
                    <a:pt x="3069" y="1786"/>
                  </a:lnTo>
                  <a:lnTo>
                    <a:pt x="3065" y="1788"/>
                  </a:lnTo>
                  <a:lnTo>
                    <a:pt x="3065" y="1788"/>
                  </a:lnTo>
                  <a:lnTo>
                    <a:pt x="3062" y="1788"/>
                  </a:lnTo>
                  <a:lnTo>
                    <a:pt x="3065" y="1786"/>
                  </a:lnTo>
                  <a:lnTo>
                    <a:pt x="3065" y="1786"/>
                  </a:lnTo>
                  <a:lnTo>
                    <a:pt x="3067" y="1781"/>
                  </a:lnTo>
                  <a:lnTo>
                    <a:pt x="3067" y="1781"/>
                  </a:lnTo>
                  <a:lnTo>
                    <a:pt x="3067" y="1781"/>
                  </a:lnTo>
                  <a:lnTo>
                    <a:pt x="3065" y="1781"/>
                  </a:lnTo>
                  <a:lnTo>
                    <a:pt x="3065" y="1781"/>
                  </a:lnTo>
                  <a:lnTo>
                    <a:pt x="3065" y="1778"/>
                  </a:lnTo>
                  <a:lnTo>
                    <a:pt x="3065" y="1778"/>
                  </a:lnTo>
                  <a:lnTo>
                    <a:pt x="3067" y="1776"/>
                  </a:lnTo>
                  <a:lnTo>
                    <a:pt x="3067" y="1776"/>
                  </a:lnTo>
                  <a:lnTo>
                    <a:pt x="3067" y="1776"/>
                  </a:lnTo>
                  <a:lnTo>
                    <a:pt x="3067" y="1774"/>
                  </a:lnTo>
                  <a:lnTo>
                    <a:pt x="3069" y="1771"/>
                  </a:lnTo>
                  <a:lnTo>
                    <a:pt x="3069" y="1771"/>
                  </a:lnTo>
                  <a:lnTo>
                    <a:pt x="3067" y="1771"/>
                  </a:lnTo>
                  <a:lnTo>
                    <a:pt x="3069" y="1771"/>
                  </a:lnTo>
                  <a:lnTo>
                    <a:pt x="3069" y="1771"/>
                  </a:lnTo>
                  <a:lnTo>
                    <a:pt x="3069" y="1771"/>
                  </a:lnTo>
                  <a:lnTo>
                    <a:pt x="3067" y="1769"/>
                  </a:lnTo>
                  <a:lnTo>
                    <a:pt x="3067" y="1769"/>
                  </a:lnTo>
                  <a:lnTo>
                    <a:pt x="3067" y="1769"/>
                  </a:lnTo>
                  <a:lnTo>
                    <a:pt x="3067" y="1769"/>
                  </a:lnTo>
                  <a:lnTo>
                    <a:pt x="3067" y="1769"/>
                  </a:lnTo>
                  <a:lnTo>
                    <a:pt x="3067" y="1769"/>
                  </a:lnTo>
                  <a:lnTo>
                    <a:pt x="3067" y="1769"/>
                  </a:lnTo>
                  <a:lnTo>
                    <a:pt x="3065" y="1769"/>
                  </a:lnTo>
                  <a:lnTo>
                    <a:pt x="3065" y="1769"/>
                  </a:lnTo>
                  <a:lnTo>
                    <a:pt x="3065" y="1767"/>
                  </a:lnTo>
                  <a:lnTo>
                    <a:pt x="3065" y="1767"/>
                  </a:lnTo>
                  <a:lnTo>
                    <a:pt x="3065" y="1769"/>
                  </a:lnTo>
                  <a:lnTo>
                    <a:pt x="3065" y="1769"/>
                  </a:lnTo>
                  <a:lnTo>
                    <a:pt x="3065" y="1769"/>
                  </a:lnTo>
                  <a:lnTo>
                    <a:pt x="3065" y="1769"/>
                  </a:lnTo>
                  <a:lnTo>
                    <a:pt x="3065" y="1769"/>
                  </a:lnTo>
                  <a:lnTo>
                    <a:pt x="3062" y="1769"/>
                  </a:lnTo>
                  <a:lnTo>
                    <a:pt x="3062" y="1769"/>
                  </a:lnTo>
                  <a:lnTo>
                    <a:pt x="3062" y="1769"/>
                  </a:lnTo>
                  <a:lnTo>
                    <a:pt x="3062" y="1769"/>
                  </a:lnTo>
                  <a:lnTo>
                    <a:pt x="3062" y="1769"/>
                  </a:lnTo>
                  <a:lnTo>
                    <a:pt x="3060" y="1769"/>
                  </a:lnTo>
                  <a:lnTo>
                    <a:pt x="3060" y="1769"/>
                  </a:lnTo>
                  <a:lnTo>
                    <a:pt x="3060" y="1769"/>
                  </a:lnTo>
                  <a:lnTo>
                    <a:pt x="3060" y="1769"/>
                  </a:lnTo>
                  <a:lnTo>
                    <a:pt x="3060" y="1771"/>
                  </a:lnTo>
                  <a:lnTo>
                    <a:pt x="3057" y="1771"/>
                  </a:lnTo>
                  <a:lnTo>
                    <a:pt x="3057" y="1771"/>
                  </a:lnTo>
                  <a:lnTo>
                    <a:pt x="3057" y="1771"/>
                  </a:lnTo>
                  <a:lnTo>
                    <a:pt x="3057" y="1771"/>
                  </a:lnTo>
                  <a:lnTo>
                    <a:pt x="3057" y="1771"/>
                  </a:lnTo>
                  <a:lnTo>
                    <a:pt x="3057" y="1771"/>
                  </a:lnTo>
                  <a:lnTo>
                    <a:pt x="3057" y="1771"/>
                  </a:lnTo>
                  <a:lnTo>
                    <a:pt x="3057" y="1774"/>
                  </a:lnTo>
                  <a:lnTo>
                    <a:pt x="3055" y="1774"/>
                  </a:lnTo>
                  <a:lnTo>
                    <a:pt x="3055" y="1774"/>
                  </a:lnTo>
                  <a:lnTo>
                    <a:pt x="3055" y="1774"/>
                  </a:lnTo>
                  <a:lnTo>
                    <a:pt x="3055" y="1774"/>
                  </a:lnTo>
                  <a:lnTo>
                    <a:pt x="3055" y="1774"/>
                  </a:lnTo>
                  <a:lnTo>
                    <a:pt x="3055" y="1774"/>
                  </a:lnTo>
                  <a:lnTo>
                    <a:pt x="3055" y="1774"/>
                  </a:lnTo>
                  <a:lnTo>
                    <a:pt x="3055" y="1774"/>
                  </a:lnTo>
                  <a:lnTo>
                    <a:pt x="3053" y="1774"/>
                  </a:lnTo>
                  <a:lnTo>
                    <a:pt x="3053" y="1774"/>
                  </a:lnTo>
                  <a:lnTo>
                    <a:pt x="3053" y="1774"/>
                  </a:lnTo>
                  <a:lnTo>
                    <a:pt x="3053" y="1774"/>
                  </a:lnTo>
                  <a:lnTo>
                    <a:pt x="3050" y="1776"/>
                  </a:lnTo>
                  <a:lnTo>
                    <a:pt x="3048" y="1776"/>
                  </a:lnTo>
                  <a:lnTo>
                    <a:pt x="3046" y="1778"/>
                  </a:lnTo>
                  <a:lnTo>
                    <a:pt x="3046" y="1778"/>
                  </a:lnTo>
                  <a:lnTo>
                    <a:pt x="3043" y="1781"/>
                  </a:lnTo>
                  <a:lnTo>
                    <a:pt x="3041" y="1781"/>
                  </a:lnTo>
                  <a:lnTo>
                    <a:pt x="3031" y="1783"/>
                  </a:lnTo>
                  <a:lnTo>
                    <a:pt x="3027" y="1786"/>
                  </a:lnTo>
                  <a:lnTo>
                    <a:pt x="3027" y="1786"/>
                  </a:lnTo>
                  <a:lnTo>
                    <a:pt x="3024" y="1786"/>
                  </a:lnTo>
                  <a:lnTo>
                    <a:pt x="3024" y="1783"/>
                  </a:lnTo>
                  <a:lnTo>
                    <a:pt x="3022" y="1783"/>
                  </a:lnTo>
                  <a:lnTo>
                    <a:pt x="3022" y="1783"/>
                  </a:lnTo>
                  <a:lnTo>
                    <a:pt x="3022" y="1783"/>
                  </a:lnTo>
                  <a:lnTo>
                    <a:pt x="3020" y="1781"/>
                  </a:lnTo>
                  <a:lnTo>
                    <a:pt x="3022" y="1781"/>
                  </a:lnTo>
                  <a:lnTo>
                    <a:pt x="3022" y="1778"/>
                  </a:lnTo>
                  <a:lnTo>
                    <a:pt x="3027" y="1776"/>
                  </a:lnTo>
                  <a:lnTo>
                    <a:pt x="3027" y="1774"/>
                  </a:lnTo>
                  <a:lnTo>
                    <a:pt x="3029" y="1774"/>
                  </a:lnTo>
                  <a:lnTo>
                    <a:pt x="3031" y="1771"/>
                  </a:lnTo>
                  <a:lnTo>
                    <a:pt x="3034" y="1769"/>
                  </a:lnTo>
                  <a:lnTo>
                    <a:pt x="3034" y="1769"/>
                  </a:lnTo>
                  <a:lnTo>
                    <a:pt x="3036" y="1767"/>
                  </a:lnTo>
                  <a:lnTo>
                    <a:pt x="3036" y="1767"/>
                  </a:lnTo>
                  <a:lnTo>
                    <a:pt x="3036" y="1767"/>
                  </a:lnTo>
                  <a:lnTo>
                    <a:pt x="3036" y="1764"/>
                  </a:lnTo>
                  <a:lnTo>
                    <a:pt x="3036" y="1764"/>
                  </a:lnTo>
                  <a:lnTo>
                    <a:pt x="3038" y="1764"/>
                  </a:lnTo>
                  <a:lnTo>
                    <a:pt x="3038" y="1764"/>
                  </a:lnTo>
                  <a:lnTo>
                    <a:pt x="3038" y="1764"/>
                  </a:lnTo>
                  <a:lnTo>
                    <a:pt x="3038" y="1764"/>
                  </a:lnTo>
                  <a:lnTo>
                    <a:pt x="3041" y="1762"/>
                  </a:lnTo>
                  <a:lnTo>
                    <a:pt x="3048" y="1750"/>
                  </a:lnTo>
                  <a:lnTo>
                    <a:pt x="3057" y="1741"/>
                  </a:lnTo>
                  <a:lnTo>
                    <a:pt x="3060" y="1741"/>
                  </a:lnTo>
                  <a:lnTo>
                    <a:pt x="3065" y="1734"/>
                  </a:lnTo>
                  <a:lnTo>
                    <a:pt x="3074" y="1729"/>
                  </a:lnTo>
                  <a:lnTo>
                    <a:pt x="3079" y="1726"/>
                  </a:lnTo>
                  <a:lnTo>
                    <a:pt x="3079" y="1726"/>
                  </a:lnTo>
                  <a:lnTo>
                    <a:pt x="3081" y="1724"/>
                  </a:lnTo>
                  <a:lnTo>
                    <a:pt x="3081" y="1724"/>
                  </a:lnTo>
                  <a:lnTo>
                    <a:pt x="3088" y="1722"/>
                  </a:lnTo>
                  <a:lnTo>
                    <a:pt x="3100" y="1715"/>
                  </a:lnTo>
                  <a:lnTo>
                    <a:pt x="3100" y="1712"/>
                  </a:lnTo>
                  <a:lnTo>
                    <a:pt x="3102" y="1712"/>
                  </a:lnTo>
                  <a:lnTo>
                    <a:pt x="3102" y="1710"/>
                  </a:lnTo>
                  <a:lnTo>
                    <a:pt x="3102" y="1710"/>
                  </a:lnTo>
                  <a:lnTo>
                    <a:pt x="3105" y="1710"/>
                  </a:lnTo>
                  <a:lnTo>
                    <a:pt x="3105" y="1710"/>
                  </a:lnTo>
                  <a:lnTo>
                    <a:pt x="3105" y="1710"/>
                  </a:lnTo>
                  <a:lnTo>
                    <a:pt x="3105" y="1710"/>
                  </a:lnTo>
                  <a:lnTo>
                    <a:pt x="3105" y="1710"/>
                  </a:lnTo>
                  <a:lnTo>
                    <a:pt x="3102" y="1710"/>
                  </a:lnTo>
                  <a:lnTo>
                    <a:pt x="3102" y="1710"/>
                  </a:lnTo>
                  <a:lnTo>
                    <a:pt x="3100" y="1710"/>
                  </a:lnTo>
                  <a:lnTo>
                    <a:pt x="3100" y="1710"/>
                  </a:lnTo>
                  <a:lnTo>
                    <a:pt x="3100" y="1710"/>
                  </a:lnTo>
                  <a:lnTo>
                    <a:pt x="3100" y="1710"/>
                  </a:lnTo>
                  <a:lnTo>
                    <a:pt x="3098" y="1710"/>
                  </a:lnTo>
                  <a:lnTo>
                    <a:pt x="3098" y="1710"/>
                  </a:lnTo>
                  <a:lnTo>
                    <a:pt x="3095" y="1712"/>
                  </a:lnTo>
                  <a:lnTo>
                    <a:pt x="3093" y="1712"/>
                  </a:lnTo>
                  <a:lnTo>
                    <a:pt x="3091" y="1710"/>
                  </a:lnTo>
                  <a:lnTo>
                    <a:pt x="3091" y="1710"/>
                  </a:lnTo>
                  <a:lnTo>
                    <a:pt x="3091" y="1710"/>
                  </a:lnTo>
                  <a:lnTo>
                    <a:pt x="3088" y="1705"/>
                  </a:lnTo>
                  <a:lnTo>
                    <a:pt x="3088" y="1705"/>
                  </a:lnTo>
                  <a:lnTo>
                    <a:pt x="3086" y="1705"/>
                  </a:lnTo>
                  <a:lnTo>
                    <a:pt x="3083" y="1705"/>
                  </a:lnTo>
                  <a:lnTo>
                    <a:pt x="3074" y="1708"/>
                  </a:lnTo>
                  <a:lnTo>
                    <a:pt x="3074" y="1708"/>
                  </a:lnTo>
                  <a:lnTo>
                    <a:pt x="3074" y="1708"/>
                  </a:lnTo>
                  <a:lnTo>
                    <a:pt x="3074" y="1708"/>
                  </a:lnTo>
                  <a:lnTo>
                    <a:pt x="3072" y="1708"/>
                  </a:lnTo>
                  <a:lnTo>
                    <a:pt x="3072" y="1708"/>
                  </a:lnTo>
                  <a:lnTo>
                    <a:pt x="3072" y="1708"/>
                  </a:lnTo>
                  <a:lnTo>
                    <a:pt x="3072" y="1708"/>
                  </a:lnTo>
                  <a:lnTo>
                    <a:pt x="3069" y="1708"/>
                  </a:lnTo>
                  <a:lnTo>
                    <a:pt x="3069" y="1708"/>
                  </a:lnTo>
                  <a:lnTo>
                    <a:pt x="3069" y="1708"/>
                  </a:lnTo>
                  <a:lnTo>
                    <a:pt x="3065" y="1708"/>
                  </a:lnTo>
                  <a:lnTo>
                    <a:pt x="3065" y="1710"/>
                  </a:lnTo>
                  <a:lnTo>
                    <a:pt x="3062" y="1708"/>
                  </a:lnTo>
                  <a:lnTo>
                    <a:pt x="3062" y="1708"/>
                  </a:lnTo>
                  <a:lnTo>
                    <a:pt x="3062" y="1705"/>
                  </a:lnTo>
                  <a:lnTo>
                    <a:pt x="3062" y="1705"/>
                  </a:lnTo>
                  <a:lnTo>
                    <a:pt x="3060" y="1705"/>
                  </a:lnTo>
                  <a:lnTo>
                    <a:pt x="3060" y="1705"/>
                  </a:lnTo>
                  <a:lnTo>
                    <a:pt x="3060" y="1705"/>
                  </a:lnTo>
                  <a:lnTo>
                    <a:pt x="3060" y="1703"/>
                  </a:lnTo>
                  <a:lnTo>
                    <a:pt x="3060" y="1703"/>
                  </a:lnTo>
                  <a:lnTo>
                    <a:pt x="3060" y="1703"/>
                  </a:lnTo>
                  <a:lnTo>
                    <a:pt x="3060" y="1703"/>
                  </a:lnTo>
                  <a:lnTo>
                    <a:pt x="3060" y="1700"/>
                  </a:lnTo>
                  <a:lnTo>
                    <a:pt x="3057" y="1703"/>
                  </a:lnTo>
                  <a:lnTo>
                    <a:pt x="3055" y="1703"/>
                  </a:lnTo>
                  <a:lnTo>
                    <a:pt x="3053" y="1705"/>
                  </a:lnTo>
                  <a:lnTo>
                    <a:pt x="3053" y="1705"/>
                  </a:lnTo>
                  <a:lnTo>
                    <a:pt x="3048" y="1710"/>
                  </a:lnTo>
                  <a:lnTo>
                    <a:pt x="3046" y="1710"/>
                  </a:lnTo>
                  <a:lnTo>
                    <a:pt x="3046" y="1712"/>
                  </a:lnTo>
                  <a:lnTo>
                    <a:pt x="3043" y="1712"/>
                  </a:lnTo>
                  <a:lnTo>
                    <a:pt x="3041" y="1712"/>
                  </a:lnTo>
                  <a:lnTo>
                    <a:pt x="3038" y="1712"/>
                  </a:lnTo>
                  <a:lnTo>
                    <a:pt x="3038" y="1712"/>
                  </a:lnTo>
                  <a:lnTo>
                    <a:pt x="3038" y="1712"/>
                  </a:lnTo>
                  <a:lnTo>
                    <a:pt x="3034" y="1712"/>
                  </a:lnTo>
                  <a:lnTo>
                    <a:pt x="3034" y="1712"/>
                  </a:lnTo>
                  <a:lnTo>
                    <a:pt x="3034" y="1712"/>
                  </a:lnTo>
                  <a:lnTo>
                    <a:pt x="3034" y="1712"/>
                  </a:lnTo>
                  <a:lnTo>
                    <a:pt x="3034" y="1712"/>
                  </a:lnTo>
                  <a:lnTo>
                    <a:pt x="3034" y="1710"/>
                  </a:lnTo>
                  <a:lnTo>
                    <a:pt x="3034" y="1710"/>
                  </a:lnTo>
                  <a:lnTo>
                    <a:pt x="3034" y="1710"/>
                  </a:lnTo>
                  <a:lnTo>
                    <a:pt x="3031" y="1710"/>
                  </a:lnTo>
                  <a:lnTo>
                    <a:pt x="3029" y="1710"/>
                  </a:lnTo>
                  <a:lnTo>
                    <a:pt x="3029" y="1708"/>
                  </a:lnTo>
                  <a:lnTo>
                    <a:pt x="3029" y="1708"/>
                  </a:lnTo>
                  <a:lnTo>
                    <a:pt x="3029" y="1708"/>
                  </a:lnTo>
                  <a:lnTo>
                    <a:pt x="3027" y="1705"/>
                  </a:lnTo>
                  <a:lnTo>
                    <a:pt x="3024" y="1705"/>
                  </a:lnTo>
                  <a:lnTo>
                    <a:pt x="3020" y="1705"/>
                  </a:lnTo>
                  <a:lnTo>
                    <a:pt x="3020" y="1705"/>
                  </a:lnTo>
                  <a:lnTo>
                    <a:pt x="3020" y="1703"/>
                  </a:lnTo>
                  <a:lnTo>
                    <a:pt x="3020" y="1703"/>
                  </a:lnTo>
                  <a:lnTo>
                    <a:pt x="3017" y="1700"/>
                  </a:lnTo>
                  <a:lnTo>
                    <a:pt x="3017" y="1700"/>
                  </a:lnTo>
                  <a:lnTo>
                    <a:pt x="3017" y="1698"/>
                  </a:lnTo>
                  <a:lnTo>
                    <a:pt x="3017" y="1698"/>
                  </a:lnTo>
                  <a:lnTo>
                    <a:pt x="3012" y="1698"/>
                  </a:lnTo>
                  <a:lnTo>
                    <a:pt x="3010" y="1700"/>
                  </a:lnTo>
                  <a:lnTo>
                    <a:pt x="3008" y="1700"/>
                  </a:lnTo>
                  <a:lnTo>
                    <a:pt x="3008" y="1700"/>
                  </a:lnTo>
                  <a:lnTo>
                    <a:pt x="3008" y="1703"/>
                  </a:lnTo>
                  <a:lnTo>
                    <a:pt x="3008" y="1703"/>
                  </a:lnTo>
                  <a:lnTo>
                    <a:pt x="3008" y="1705"/>
                  </a:lnTo>
                  <a:lnTo>
                    <a:pt x="3008" y="1705"/>
                  </a:lnTo>
                  <a:lnTo>
                    <a:pt x="3008" y="1705"/>
                  </a:lnTo>
                  <a:lnTo>
                    <a:pt x="3008" y="1705"/>
                  </a:lnTo>
                  <a:lnTo>
                    <a:pt x="3005" y="1705"/>
                  </a:lnTo>
                  <a:lnTo>
                    <a:pt x="3005" y="1705"/>
                  </a:lnTo>
                  <a:lnTo>
                    <a:pt x="3003" y="1703"/>
                  </a:lnTo>
                  <a:lnTo>
                    <a:pt x="3003" y="1700"/>
                  </a:lnTo>
                  <a:lnTo>
                    <a:pt x="3003" y="1700"/>
                  </a:lnTo>
                  <a:lnTo>
                    <a:pt x="3003" y="1698"/>
                  </a:lnTo>
                  <a:lnTo>
                    <a:pt x="3003" y="1698"/>
                  </a:lnTo>
                  <a:lnTo>
                    <a:pt x="3001" y="1696"/>
                  </a:lnTo>
                  <a:lnTo>
                    <a:pt x="3001" y="1696"/>
                  </a:lnTo>
                  <a:lnTo>
                    <a:pt x="3001" y="1693"/>
                  </a:lnTo>
                  <a:lnTo>
                    <a:pt x="2998" y="1693"/>
                  </a:lnTo>
                  <a:lnTo>
                    <a:pt x="2996" y="1696"/>
                  </a:lnTo>
                  <a:lnTo>
                    <a:pt x="2994" y="1696"/>
                  </a:lnTo>
                  <a:lnTo>
                    <a:pt x="2994" y="1696"/>
                  </a:lnTo>
                  <a:lnTo>
                    <a:pt x="2994" y="1693"/>
                  </a:lnTo>
                  <a:lnTo>
                    <a:pt x="2994" y="1693"/>
                  </a:lnTo>
                  <a:lnTo>
                    <a:pt x="2994" y="1693"/>
                  </a:lnTo>
                  <a:lnTo>
                    <a:pt x="2996" y="1691"/>
                  </a:lnTo>
                  <a:lnTo>
                    <a:pt x="2996" y="1691"/>
                  </a:lnTo>
                  <a:lnTo>
                    <a:pt x="2996" y="1691"/>
                  </a:lnTo>
                  <a:lnTo>
                    <a:pt x="2996" y="1691"/>
                  </a:lnTo>
                  <a:lnTo>
                    <a:pt x="2991" y="1689"/>
                  </a:lnTo>
                  <a:lnTo>
                    <a:pt x="2986" y="1689"/>
                  </a:lnTo>
                  <a:lnTo>
                    <a:pt x="2984" y="1686"/>
                  </a:lnTo>
                  <a:lnTo>
                    <a:pt x="2984" y="1686"/>
                  </a:lnTo>
                  <a:lnTo>
                    <a:pt x="2977" y="1686"/>
                  </a:lnTo>
                  <a:lnTo>
                    <a:pt x="2972" y="1686"/>
                  </a:lnTo>
                  <a:lnTo>
                    <a:pt x="2970" y="1686"/>
                  </a:lnTo>
                  <a:lnTo>
                    <a:pt x="2968" y="1689"/>
                  </a:lnTo>
                  <a:lnTo>
                    <a:pt x="2968" y="1689"/>
                  </a:lnTo>
                  <a:lnTo>
                    <a:pt x="2968" y="1689"/>
                  </a:lnTo>
                  <a:lnTo>
                    <a:pt x="2968" y="1689"/>
                  </a:lnTo>
                  <a:lnTo>
                    <a:pt x="2965" y="1691"/>
                  </a:lnTo>
                  <a:lnTo>
                    <a:pt x="2965" y="1691"/>
                  </a:lnTo>
                  <a:lnTo>
                    <a:pt x="2963" y="1691"/>
                  </a:lnTo>
                  <a:lnTo>
                    <a:pt x="2960" y="1693"/>
                  </a:lnTo>
                  <a:lnTo>
                    <a:pt x="2960" y="1693"/>
                  </a:lnTo>
                  <a:lnTo>
                    <a:pt x="2956" y="1693"/>
                  </a:lnTo>
                  <a:lnTo>
                    <a:pt x="2956" y="1693"/>
                  </a:lnTo>
                  <a:lnTo>
                    <a:pt x="2953" y="1691"/>
                  </a:lnTo>
                  <a:lnTo>
                    <a:pt x="2953" y="1689"/>
                  </a:lnTo>
                  <a:lnTo>
                    <a:pt x="2951" y="1686"/>
                  </a:lnTo>
                  <a:lnTo>
                    <a:pt x="2946" y="1686"/>
                  </a:lnTo>
                  <a:lnTo>
                    <a:pt x="2939" y="1686"/>
                  </a:lnTo>
                  <a:lnTo>
                    <a:pt x="2939" y="1686"/>
                  </a:lnTo>
                  <a:lnTo>
                    <a:pt x="2939" y="1686"/>
                  </a:lnTo>
                  <a:lnTo>
                    <a:pt x="2937" y="1686"/>
                  </a:lnTo>
                  <a:lnTo>
                    <a:pt x="2937" y="1684"/>
                  </a:lnTo>
                  <a:lnTo>
                    <a:pt x="2937" y="1684"/>
                  </a:lnTo>
                  <a:lnTo>
                    <a:pt x="2937" y="1684"/>
                  </a:lnTo>
                  <a:lnTo>
                    <a:pt x="2937" y="1684"/>
                  </a:lnTo>
                  <a:lnTo>
                    <a:pt x="2937" y="1684"/>
                  </a:lnTo>
                  <a:lnTo>
                    <a:pt x="2937" y="1684"/>
                  </a:lnTo>
                  <a:lnTo>
                    <a:pt x="2930" y="1684"/>
                  </a:lnTo>
                  <a:lnTo>
                    <a:pt x="2930" y="1684"/>
                  </a:lnTo>
                  <a:lnTo>
                    <a:pt x="2925" y="1684"/>
                  </a:lnTo>
                  <a:lnTo>
                    <a:pt x="2923" y="1681"/>
                  </a:lnTo>
                  <a:lnTo>
                    <a:pt x="2923" y="1681"/>
                  </a:lnTo>
                  <a:lnTo>
                    <a:pt x="2923" y="1679"/>
                  </a:lnTo>
                  <a:lnTo>
                    <a:pt x="2923" y="1679"/>
                  </a:lnTo>
                  <a:lnTo>
                    <a:pt x="2923" y="1677"/>
                  </a:lnTo>
                  <a:lnTo>
                    <a:pt x="2920" y="1677"/>
                  </a:lnTo>
                  <a:lnTo>
                    <a:pt x="2920" y="1674"/>
                  </a:lnTo>
                  <a:lnTo>
                    <a:pt x="2920" y="1667"/>
                  </a:lnTo>
                  <a:lnTo>
                    <a:pt x="2918" y="1663"/>
                  </a:lnTo>
                  <a:lnTo>
                    <a:pt x="2918" y="1663"/>
                  </a:lnTo>
                  <a:lnTo>
                    <a:pt x="2918" y="1660"/>
                  </a:lnTo>
                  <a:lnTo>
                    <a:pt x="2918" y="1658"/>
                  </a:lnTo>
                  <a:lnTo>
                    <a:pt x="2918" y="1658"/>
                  </a:lnTo>
                  <a:lnTo>
                    <a:pt x="2915" y="1655"/>
                  </a:lnTo>
                  <a:lnTo>
                    <a:pt x="2915" y="1653"/>
                  </a:lnTo>
                  <a:lnTo>
                    <a:pt x="2915" y="1653"/>
                  </a:lnTo>
                  <a:lnTo>
                    <a:pt x="2915" y="1653"/>
                  </a:lnTo>
                  <a:lnTo>
                    <a:pt x="2913" y="1651"/>
                  </a:lnTo>
                  <a:lnTo>
                    <a:pt x="2911" y="1651"/>
                  </a:lnTo>
                  <a:lnTo>
                    <a:pt x="2906" y="1651"/>
                  </a:lnTo>
                  <a:lnTo>
                    <a:pt x="2904" y="1651"/>
                  </a:lnTo>
                  <a:lnTo>
                    <a:pt x="2904" y="1653"/>
                  </a:lnTo>
                  <a:lnTo>
                    <a:pt x="2904" y="1658"/>
                  </a:lnTo>
                  <a:lnTo>
                    <a:pt x="2906" y="1665"/>
                  </a:lnTo>
                  <a:lnTo>
                    <a:pt x="2906" y="1670"/>
                  </a:lnTo>
                  <a:lnTo>
                    <a:pt x="2906" y="1670"/>
                  </a:lnTo>
                  <a:lnTo>
                    <a:pt x="2906" y="1670"/>
                  </a:lnTo>
                  <a:lnTo>
                    <a:pt x="2904" y="1670"/>
                  </a:lnTo>
                  <a:lnTo>
                    <a:pt x="2897" y="1670"/>
                  </a:lnTo>
                  <a:lnTo>
                    <a:pt x="2889" y="1672"/>
                  </a:lnTo>
                  <a:lnTo>
                    <a:pt x="2882" y="1672"/>
                  </a:lnTo>
                  <a:lnTo>
                    <a:pt x="2873" y="1672"/>
                  </a:lnTo>
                  <a:lnTo>
                    <a:pt x="2866" y="1672"/>
                  </a:lnTo>
                  <a:lnTo>
                    <a:pt x="2859" y="1672"/>
                  </a:lnTo>
                  <a:lnTo>
                    <a:pt x="2852" y="1672"/>
                  </a:lnTo>
                  <a:lnTo>
                    <a:pt x="2842" y="1672"/>
                  </a:lnTo>
                  <a:lnTo>
                    <a:pt x="2835" y="1672"/>
                  </a:lnTo>
                  <a:lnTo>
                    <a:pt x="2833" y="1672"/>
                  </a:lnTo>
                  <a:lnTo>
                    <a:pt x="2828" y="1672"/>
                  </a:lnTo>
                  <a:lnTo>
                    <a:pt x="2821" y="1672"/>
                  </a:lnTo>
                  <a:lnTo>
                    <a:pt x="2811" y="1674"/>
                  </a:lnTo>
                  <a:lnTo>
                    <a:pt x="2804" y="1674"/>
                  </a:lnTo>
                  <a:lnTo>
                    <a:pt x="2797" y="1674"/>
                  </a:lnTo>
                  <a:lnTo>
                    <a:pt x="2790" y="1674"/>
                  </a:lnTo>
                  <a:lnTo>
                    <a:pt x="2781" y="1674"/>
                  </a:lnTo>
                  <a:lnTo>
                    <a:pt x="2773" y="1674"/>
                  </a:lnTo>
                  <a:lnTo>
                    <a:pt x="2766" y="1674"/>
                  </a:lnTo>
                  <a:lnTo>
                    <a:pt x="2757" y="1674"/>
                  </a:lnTo>
                  <a:lnTo>
                    <a:pt x="2750" y="1674"/>
                  </a:lnTo>
                  <a:lnTo>
                    <a:pt x="2743" y="1674"/>
                  </a:lnTo>
                  <a:lnTo>
                    <a:pt x="2736" y="1674"/>
                  </a:lnTo>
                  <a:lnTo>
                    <a:pt x="2726" y="1674"/>
                  </a:lnTo>
                  <a:lnTo>
                    <a:pt x="2719" y="1674"/>
                  </a:lnTo>
                  <a:lnTo>
                    <a:pt x="2712" y="1674"/>
                  </a:lnTo>
                  <a:lnTo>
                    <a:pt x="2705" y="1674"/>
                  </a:lnTo>
                  <a:lnTo>
                    <a:pt x="2695" y="1674"/>
                  </a:lnTo>
                  <a:lnTo>
                    <a:pt x="2688" y="1674"/>
                  </a:lnTo>
                  <a:lnTo>
                    <a:pt x="2688" y="1674"/>
                  </a:lnTo>
                  <a:lnTo>
                    <a:pt x="2681" y="1674"/>
                  </a:lnTo>
                  <a:lnTo>
                    <a:pt x="2674" y="1674"/>
                  </a:lnTo>
                  <a:lnTo>
                    <a:pt x="2665" y="1674"/>
                  </a:lnTo>
                  <a:lnTo>
                    <a:pt x="2658" y="1674"/>
                  </a:lnTo>
                  <a:lnTo>
                    <a:pt x="2650" y="1672"/>
                  </a:lnTo>
                  <a:lnTo>
                    <a:pt x="2643" y="1672"/>
                  </a:lnTo>
                  <a:lnTo>
                    <a:pt x="2634" y="1672"/>
                  </a:lnTo>
                  <a:lnTo>
                    <a:pt x="2627" y="1672"/>
                  </a:lnTo>
                  <a:lnTo>
                    <a:pt x="2620" y="1672"/>
                  </a:lnTo>
                  <a:lnTo>
                    <a:pt x="2610" y="1672"/>
                  </a:lnTo>
                  <a:lnTo>
                    <a:pt x="2603" y="1672"/>
                  </a:lnTo>
                  <a:lnTo>
                    <a:pt x="2596" y="1672"/>
                  </a:lnTo>
                  <a:lnTo>
                    <a:pt x="2594" y="1672"/>
                  </a:lnTo>
                  <a:lnTo>
                    <a:pt x="2589" y="1672"/>
                  </a:lnTo>
                  <a:lnTo>
                    <a:pt x="2579" y="1672"/>
                  </a:lnTo>
                  <a:lnTo>
                    <a:pt x="2572" y="1670"/>
                  </a:lnTo>
                  <a:lnTo>
                    <a:pt x="2565" y="1670"/>
                  </a:lnTo>
                  <a:lnTo>
                    <a:pt x="2558" y="1670"/>
                  </a:lnTo>
                  <a:lnTo>
                    <a:pt x="2549" y="1670"/>
                  </a:lnTo>
                  <a:lnTo>
                    <a:pt x="2542" y="1670"/>
                  </a:lnTo>
                  <a:lnTo>
                    <a:pt x="2534" y="1670"/>
                  </a:lnTo>
                  <a:lnTo>
                    <a:pt x="2527" y="1670"/>
                  </a:lnTo>
                  <a:lnTo>
                    <a:pt x="2518" y="1667"/>
                  </a:lnTo>
                  <a:lnTo>
                    <a:pt x="2511" y="1667"/>
                  </a:lnTo>
                  <a:lnTo>
                    <a:pt x="2504" y="1667"/>
                  </a:lnTo>
                  <a:lnTo>
                    <a:pt x="2497" y="1667"/>
                  </a:lnTo>
                  <a:lnTo>
                    <a:pt x="2487" y="1667"/>
                  </a:lnTo>
                  <a:lnTo>
                    <a:pt x="2480" y="1665"/>
                  </a:lnTo>
                  <a:lnTo>
                    <a:pt x="2473" y="1665"/>
                  </a:lnTo>
                  <a:lnTo>
                    <a:pt x="2466" y="1665"/>
                  </a:lnTo>
                  <a:lnTo>
                    <a:pt x="2456" y="1665"/>
                  </a:lnTo>
                  <a:lnTo>
                    <a:pt x="2449" y="1663"/>
                  </a:lnTo>
                  <a:lnTo>
                    <a:pt x="2442" y="1663"/>
                  </a:lnTo>
                  <a:lnTo>
                    <a:pt x="2435" y="1663"/>
                  </a:lnTo>
                  <a:lnTo>
                    <a:pt x="2426" y="1663"/>
                  </a:lnTo>
                  <a:lnTo>
                    <a:pt x="2418" y="1660"/>
                  </a:lnTo>
                  <a:lnTo>
                    <a:pt x="2411" y="1660"/>
                  </a:lnTo>
                  <a:lnTo>
                    <a:pt x="2402" y="1660"/>
                  </a:lnTo>
                  <a:lnTo>
                    <a:pt x="2395" y="1660"/>
                  </a:lnTo>
                  <a:lnTo>
                    <a:pt x="2388" y="1658"/>
                  </a:lnTo>
                  <a:lnTo>
                    <a:pt x="2385" y="1658"/>
                  </a:lnTo>
                  <a:lnTo>
                    <a:pt x="2381" y="1658"/>
                  </a:lnTo>
                  <a:lnTo>
                    <a:pt x="2371" y="1658"/>
                  </a:lnTo>
                  <a:lnTo>
                    <a:pt x="2364" y="1655"/>
                  </a:lnTo>
                  <a:lnTo>
                    <a:pt x="2357" y="1655"/>
                  </a:lnTo>
                  <a:lnTo>
                    <a:pt x="2350" y="1655"/>
                  </a:lnTo>
                  <a:lnTo>
                    <a:pt x="2340" y="1653"/>
                  </a:lnTo>
                  <a:lnTo>
                    <a:pt x="2333" y="1653"/>
                  </a:lnTo>
                  <a:lnTo>
                    <a:pt x="2326" y="1653"/>
                  </a:lnTo>
                  <a:lnTo>
                    <a:pt x="2319" y="1651"/>
                  </a:lnTo>
                  <a:lnTo>
                    <a:pt x="2312" y="1651"/>
                  </a:lnTo>
                  <a:lnTo>
                    <a:pt x="2303" y="1651"/>
                  </a:lnTo>
                  <a:lnTo>
                    <a:pt x="2295" y="1648"/>
                  </a:lnTo>
                  <a:lnTo>
                    <a:pt x="2288" y="1648"/>
                  </a:lnTo>
                  <a:lnTo>
                    <a:pt x="2281" y="1648"/>
                  </a:lnTo>
                  <a:lnTo>
                    <a:pt x="2272" y="1646"/>
                  </a:lnTo>
                  <a:lnTo>
                    <a:pt x="2265" y="1646"/>
                  </a:lnTo>
                  <a:lnTo>
                    <a:pt x="2258" y="1644"/>
                  </a:lnTo>
                  <a:lnTo>
                    <a:pt x="2250" y="1644"/>
                  </a:lnTo>
                  <a:lnTo>
                    <a:pt x="2243" y="1644"/>
                  </a:lnTo>
                  <a:lnTo>
                    <a:pt x="2241" y="1644"/>
                  </a:lnTo>
                  <a:lnTo>
                    <a:pt x="2234" y="1641"/>
                  </a:lnTo>
                  <a:lnTo>
                    <a:pt x="2227" y="1641"/>
                  </a:lnTo>
                  <a:lnTo>
                    <a:pt x="2220" y="1639"/>
                  </a:lnTo>
                  <a:lnTo>
                    <a:pt x="2210" y="1639"/>
                  </a:lnTo>
                  <a:lnTo>
                    <a:pt x="2203" y="1637"/>
                  </a:lnTo>
                  <a:lnTo>
                    <a:pt x="2196" y="1637"/>
                  </a:lnTo>
                  <a:lnTo>
                    <a:pt x="2189" y="1637"/>
                  </a:lnTo>
                  <a:lnTo>
                    <a:pt x="2179" y="1634"/>
                  </a:lnTo>
                  <a:lnTo>
                    <a:pt x="2172" y="1634"/>
                  </a:lnTo>
                  <a:lnTo>
                    <a:pt x="2172" y="1634"/>
                  </a:lnTo>
                  <a:lnTo>
                    <a:pt x="2165" y="1632"/>
                  </a:lnTo>
                  <a:lnTo>
                    <a:pt x="2158" y="1632"/>
                  </a:lnTo>
                  <a:lnTo>
                    <a:pt x="2151" y="1629"/>
                  </a:lnTo>
                  <a:lnTo>
                    <a:pt x="2142" y="1629"/>
                  </a:lnTo>
                  <a:lnTo>
                    <a:pt x="2139" y="1627"/>
                  </a:lnTo>
                  <a:lnTo>
                    <a:pt x="2135" y="1627"/>
                  </a:lnTo>
                  <a:lnTo>
                    <a:pt x="2127" y="1627"/>
                  </a:lnTo>
                  <a:lnTo>
                    <a:pt x="2120" y="1625"/>
                  </a:lnTo>
                  <a:lnTo>
                    <a:pt x="2111" y="1625"/>
                  </a:lnTo>
                  <a:lnTo>
                    <a:pt x="2104" y="1622"/>
                  </a:lnTo>
                  <a:lnTo>
                    <a:pt x="2097" y="1622"/>
                  </a:lnTo>
                  <a:lnTo>
                    <a:pt x="2090" y="1620"/>
                  </a:lnTo>
                  <a:lnTo>
                    <a:pt x="2082" y="1618"/>
                  </a:lnTo>
                  <a:lnTo>
                    <a:pt x="2073" y="1618"/>
                  </a:lnTo>
                  <a:lnTo>
                    <a:pt x="2066" y="1615"/>
                  </a:lnTo>
                  <a:lnTo>
                    <a:pt x="2059" y="1615"/>
                  </a:lnTo>
                  <a:lnTo>
                    <a:pt x="2052" y="1613"/>
                  </a:lnTo>
                  <a:lnTo>
                    <a:pt x="2042" y="1613"/>
                  </a:lnTo>
                  <a:lnTo>
                    <a:pt x="2035" y="1611"/>
                  </a:lnTo>
                  <a:lnTo>
                    <a:pt x="2028" y="1608"/>
                  </a:lnTo>
                  <a:lnTo>
                    <a:pt x="2021" y="1608"/>
                  </a:lnTo>
                  <a:lnTo>
                    <a:pt x="2014" y="1606"/>
                  </a:lnTo>
                  <a:lnTo>
                    <a:pt x="2004" y="1606"/>
                  </a:lnTo>
                  <a:lnTo>
                    <a:pt x="1997" y="1603"/>
                  </a:lnTo>
                  <a:lnTo>
                    <a:pt x="1990" y="1601"/>
                  </a:lnTo>
                  <a:lnTo>
                    <a:pt x="1983" y="1601"/>
                  </a:lnTo>
                  <a:lnTo>
                    <a:pt x="1976" y="1599"/>
                  </a:lnTo>
                  <a:lnTo>
                    <a:pt x="1967" y="1596"/>
                  </a:lnTo>
                  <a:lnTo>
                    <a:pt x="1959" y="1596"/>
                  </a:lnTo>
                  <a:lnTo>
                    <a:pt x="1952" y="1594"/>
                  </a:lnTo>
                  <a:lnTo>
                    <a:pt x="1945" y="1592"/>
                  </a:lnTo>
                  <a:lnTo>
                    <a:pt x="1940" y="1592"/>
                  </a:lnTo>
                  <a:lnTo>
                    <a:pt x="1940" y="1592"/>
                  </a:lnTo>
                  <a:lnTo>
                    <a:pt x="1940" y="1594"/>
                  </a:lnTo>
                  <a:lnTo>
                    <a:pt x="1943" y="1594"/>
                  </a:lnTo>
                  <a:lnTo>
                    <a:pt x="1940" y="1594"/>
                  </a:lnTo>
                  <a:lnTo>
                    <a:pt x="1940" y="1594"/>
                  </a:lnTo>
                  <a:lnTo>
                    <a:pt x="1938" y="1594"/>
                  </a:lnTo>
                  <a:lnTo>
                    <a:pt x="1938" y="1594"/>
                  </a:lnTo>
                  <a:lnTo>
                    <a:pt x="1940" y="1594"/>
                  </a:lnTo>
                  <a:lnTo>
                    <a:pt x="1940" y="1596"/>
                  </a:lnTo>
                  <a:lnTo>
                    <a:pt x="1940" y="1596"/>
                  </a:lnTo>
                  <a:lnTo>
                    <a:pt x="1940" y="1596"/>
                  </a:lnTo>
                  <a:lnTo>
                    <a:pt x="1940" y="1596"/>
                  </a:lnTo>
                  <a:lnTo>
                    <a:pt x="1940" y="1596"/>
                  </a:lnTo>
                  <a:lnTo>
                    <a:pt x="1940" y="1599"/>
                  </a:lnTo>
                  <a:lnTo>
                    <a:pt x="1940" y="1599"/>
                  </a:lnTo>
                  <a:lnTo>
                    <a:pt x="1940" y="1601"/>
                  </a:lnTo>
                  <a:lnTo>
                    <a:pt x="1940" y="1601"/>
                  </a:lnTo>
                  <a:lnTo>
                    <a:pt x="1940" y="1601"/>
                  </a:lnTo>
                  <a:lnTo>
                    <a:pt x="1940" y="1603"/>
                  </a:lnTo>
                  <a:lnTo>
                    <a:pt x="1940" y="1603"/>
                  </a:lnTo>
                  <a:lnTo>
                    <a:pt x="1943" y="1603"/>
                  </a:lnTo>
                  <a:lnTo>
                    <a:pt x="1943" y="1603"/>
                  </a:lnTo>
                  <a:lnTo>
                    <a:pt x="1943" y="1606"/>
                  </a:lnTo>
                  <a:lnTo>
                    <a:pt x="1943" y="1606"/>
                  </a:lnTo>
                  <a:lnTo>
                    <a:pt x="1943" y="1606"/>
                  </a:lnTo>
                  <a:lnTo>
                    <a:pt x="1940" y="1606"/>
                  </a:lnTo>
                  <a:lnTo>
                    <a:pt x="1940" y="1606"/>
                  </a:lnTo>
                  <a:lnTo>
                    <a:pt x="1943" y="1606"/>
                  </a:lnTo>
                  <a:lnTo>
                    <a:pt x="1943" y="1608"/>
                  </a:lnTo>
                  <a:lnTo>
                    <a:pt x="1943" y="1606"/>
                  </a:lnTo>
                  <a:lnTo>
                    <a:pt x="1943" y="1606"/>
                  </a:lnTo>
                  <a:lnTo>
                    <a:pt x="1945" y="1603"/>
                  </a:lnTo>
                  <a:lnTo>
                    <a:pt x="1945" y="1603"/>
                  </a:lnTo>
                  <a:lnTo>
                    <a:pt x="1945" y="1606"/>
                  </a:lnTo>
                  <a:lnTo>
                    <a:pt x="1948" y="1606"/>
                  </a:lnTo>
                  <a:lnTo>
                    <a:pt x="1948" y="1606"/>
                  </a:lnTo>
                  <a:lnTo>
                    <a:pt x="1948" y="1608"/>
                  </a:lnTo>
                  <a:lnTo>
                    <a:pt x="1945" y="1608"/>
                  </a:lnTo>
                  <a:lnTo>
                    <a:pt x="1945" y="1611"/>
                  </a:lnTo>
                  <a:lnTo>
                    <a:pt x="1948" y="1611"/>
                  </a:lnTo>
                  <a:lnTo>
                    <a:pt x="1948" y="1611"/>
                  </a:lnTo>
                  <a:lnTo>
                    <a:pt x="1948" y="1611"/>
                  </a:lnTo>
                  <a:lnTo>
                    <a:pt x="1948" y="1613"/>
                  </a:lnTo>
                  <a:lnTo>
                    <a:pt x="1948" y="1613"/>
                  </a:lnTo>
                  <a:lnTo>
                    <a:pt x="1948" y="1613"/>
                  </a:lnTo>
                  <a:lnTo>
                    <a:pt x="1948" y="1613"/>
                  </a:lnTo>
                  <a:lnTo>
                    <a:pt x="1948" y="1613"/>
                  </a:lnTo>
                  <a:lnTo>
                    <a:pt x="1948" y="1615"/>
                  </a:lnTo>
                  <a:lnTo>
                    <a:pt x="1948" y="1615"/>
                  </a:lnTo>
                  <a:lnTo>
                    <a:pt x="1948" y="1618"/>
                  </a:lnTo>
                  <a:lnTo>
                    <a:pt x="1948" y="1618"/>
                  </a:lnTo>
                  <a:lnTo>
                    <a:pt x="1945" y="1618"/>
                  </a:lnTo>
                  <a:lnTo>
                    <a:pt x="1945" y="1615"/>
                  </a:lnTo>
                  <a:lnTo>
                    <a:pt x="1945" y="1615"/>
                  </a:lnTo>
                  <a:lnTo>
                    <a:pt x="1943" y="1615"/>
                  </a:lnTo>
                  <a:lnTo>
                    <a:pt x="1943" y="1615"/>
                  </a:lnTo>
                  <a:lnTo>
                    <a:pt x="1945" y="1618"/>
                  </a:lnTo>
                  <a:lnTo>
                    <a:pt x="1945" y="1618"/>
                  </a:lnTo>
                  <a:lnTo>
                    <a:pt x="1945" y="1618"/>
                  </a:lnTo>
                  <a:lnTo>
                    <a:pt x="1945" y="1620"/>
                  </a:lnTo>
                  <a:lnTo>
                    <a:pt x="1945" y="1620"/>
                  </a:lnTo>
                  <a:lnTo>
                    <a:pt x="1945" y="1620"/>
                  </a:lnTo>
                  <a:lnTo>
                    <a:pt x="1945" y="1622"/>
                  </a:lnTo>
                  <a:lnTo>
                    <a:pt x="1945" y="1622"/>
                  </a:lnTo>
                  <a:lnTo>
                    <a:pt x="1945" y="1622"/>
                  </a:lnTo>
                  <a:lnTo>
                    <a:pt x="1945" y="1622"/>
                  </a:lnTo>
                  <a:lnTo>
                    <a:pt x="1943" y="1622"/>
                  </a:lnTo>
                  <a:lnTo>
                    <a:pt x="1943" y="1622"/>
                  </a:lnTo>
                  <a:lnTo>
                    <a:pt x="1943" y="1620"/>
                  </a:lnTo>
                  <a:lnTo>
                    <a:pt x="1943" y="1620"/>
                  </a:lnTo>
                  <a:lnTo>
                    <a:pt x="1943" y="1620"/>
                  </a:lnTo>
                  <a:lnTo>
                    <a:pt x="1940" y="1620"/>
                  </a:lnTo>
                  <a:lnTo>
                    <a:pt x="1940" y="1620"/>
                  </a:lnTo>
                  <a:lnTo>
                    <a:pt x="1940" y="1618"/>
                  </a:lnTo>
                  <a:lnTo>
                    <a:pt x="1940" y="1618"/>
                  </a:lnTo>
                  <a:lnTo>
                    <a:pt x="1938" y="1618"/>
                  </a:lnTo>
                  <a:lnTo>
                    <a:pt x="1938" y="1618"/>
                  </a:lnTo>
                  <a:lnTo>
                    <a:pt x="1938" y="1618"/>
                  </a:lnTo>
                  <a:lnTo>
                    <a:pt x="1938" y="1618"/>
                  </a:lnTo>
                  <a:lnTo>
                    <a:pt x="1938" y="1618"/>
                  </a:lnTo>
                  <a:lnTo>
                    <a:pt x="1938" y="1620"/>
                  </a:lnTo>
                  <a:lnTo>
                    <a:pt x="1938" y="1620"/>
                  </a:lnTo>
                  <a:lnTo>
                    <a:pt x="1938" y="1620"/>
                  </a:lnTo>
                  <a:lnTo>
                    <a:pt x="1938" y="1620"/>
                  </a:lnTo>
                  <a:lnTo>
                    <a:pt x="1938" y="1622"/>
                  </a:lnTo>
                  <a:lnTo>
                    <a:pt x="1938" y="1622"/>
                  </a:lnTo>
                  <a:lnTo>
                    <a:pt x="1938" y="1622"/>
                  </a:lnTo>
                  <a:lnTo>
                    <a:pt x="1938" y="1622"/>
                  </a:lnTo>
                  <a:lnTo>
                    <a:pt x="1938" y="1622"/>
                  </a:lnTo>
                  <a:lnTo>
                    <a:pt x="1938" y="1622"/>
                  </a:lnTo>
                  <a:lnTo>
                    <a:pt x="1938" y="1625"/>
                  </a:lnTo>
                  <a:lnTo>
                    <a:pt x="1940" y="1622"/>
                  </a:lnTo>
                  <a:lnTo>
                    <a:pt x="1940" y="1622"/>
                  </a:lnTo>
                  <a:lnTo>
                    <a:pt x="1940" y="1622"/>
                  </a:lnTo>
                  <a:lnTo>
                    <a:pt x="1940" y="1622"/>
                  </a:lnTo>
                  <a:lnTo>
                    <a:pt x="1940" y="1622"/>
                  </a:lnTo>
                  <a:lnTo>
                    <a:pt x="1943" y="1622"/>
                  </a:lnTo>
                  <a:lnTo>
                    <a:pt x="1943" y="1622"/>
                  </a:lnTo>
                  <a:lnTo>
                    <a:pt x="1940" y="1622"/>
                  </a:lnTo>
                  <a:lnTo>
                    <a:pt x="1940" y="1625"/>
                  </a:lnTo>
                  <a:lnTo>
                    <a:pt x="1943" y="1625"/>
                  </a:lnTo>
                  <a:lnTo>
                    <a:pt x="1943" y="1625"/>
                  </a:lnTo>
                  <a:lnTo>
                    <a:pt x="1943" y="1627"/>
                  </a:lnTo>
                  <a:lnTo>
                    <a:pt x="1943" y="1627"/>
                  </a:lnTo>
                  <a:lnTo>
                    <a:pt x="1943" y="1627"/>
                  </a:lnTo>
                  <a:lnTo>
                    <a:pt x="1945" y="1627"/>
                  </a:lnTo>
                  <a:lnTo>
                    <a:pt x="1945" y="1627"/>
                  </a:lnTo>
                  <a:lnTo>
                    <a:pt x="1945" y="1629"/>
                  </a:lnTo>
                  <a:lnTo>
                    <a:pt x="1948" y="1629"/>
                  </a:lnTo>
                  <a:lnTo>
                    <a:pt x="1948" y="1629"/>
                  </a:lnTo>
                  <a:lnTo>
                    <a:pt x="1948" y="1632"/>
                  </a:lnTo>
                  <a:lnTo>
                    <a:pt x="1948" y="1632"/>
                  </a:lnTo>
                  <a:lnTo>
                    <a:pt x="1948" y="1632"/>
                  </a:lnTo>
                  <a:lnTo>
                    <a:pt x="1945" y="1632"/>
                  </a:lnTo>
                  <a:lnTo>
                    <a:pt x="1945" y="1634"/>
                  </a:lnTo>
                  <a:lnTo>
                    <a:pt x="1945" y="1634"/>
                  </a:lnTo>
                  <a:lnTo>
                    <a:pt x="1945" y="1634"/>
                  </a:lnTo>
                  <a:lnTo>
                    <a:pt x="1945" y="1634"/>
                  </a:lnTo>
                  <a:lnTo>
                    <a:pt x="1945" y="1634"/>
                  </a:lnTo>
                  <a:lnTo>
                    <a:pt x="1945" y="1632"/>
                  </a:lnTo>
                  <a:lnTo>
                    <a:pt x="1945" y="1632"/>
                  </a:lnTo>
                  <a:lnTo>
                    <a:pt x="1943" y="1632"/>
                  </a:lnTo>
                  <a:lnTo>
                    <a:pt x="1943" y="1632"/>
                  </a:lnTo>
                  <a:lnTo>
                    <a:pt x="1940" y="1632"/>
                  </a:lnTo>
                  <a:lnTo>
                    <a:pt x="1940" y="1634"/>
                  </a:lnTo>
                  <a:lnTo>
                    <a:pt x="1940" y="1634"/>
                  </a:lnTo>
                  <a:lnTo>
                    <a:pt x="1940" y="1637"/>
                  </a:lnTo>
                  <a:lnTo>
                    <a:pt x="1940" y="1639"/>
                  </a:lnTo>
                  <a:lnTo>
                    <a:pt x="1940" y="1639"/>
                  </a:lnTo>
                  <a:lnTo>
                    <a:pt x="1943" y="1641"/>
                  </a:lnTo>
                  <a:lnTo>
                    <a:pt x="1943" y="1641"/>
                  </a:lnTo>
                  <a:lnTo>
                    <a:pt x="1945" y="1644"/>
                  </a:lnTo>
                  <a:lnTo>
                    <a:pt x="1945" y="1644"/>
                  </a:lnTo>
                  <a:lnTo>
                    <a:pt x="1945" y="1644"/>
                  </a:lnTo>
                  <a:lnTo>
                    <a:pt x="1945" y="1641"/>
                  </a:lnTo>
                  <a:lnTo>
                    <a:pt x="1945" y="1641"/>
                  </a:lnTo>
                  <a:lnTo>
                    <a:pt x="1945" y="1641"/>
                  </a:lnTo>
                  <a:lnTo>
                    <a:pt x="1943" y="1641"/>
                  </a:lnTo>
                  <a:lnTo>
                    <a:pt x="1943" y="1639"/>
                  </a:lnTo>
                  <a:lnTo>
                    <a:pt x="1943" y="1639"/>
                  </a:lnTo>
                  <a:lnTo>
                    <a:pt x="1943" y="1639"/>
                  </a:lnTo>
                  <a:lnTo>
                    <a:pt x="1943" y="1637"/>
                  </a:lnTo>
                  <a:lnTo>
                    <a:pt x="1943" y="1637"/>
                  </a:lnTo>
                  <a:lnTo>
                    <a:pt x="1943" y="1637"/>
                  </a:lnTo>
                  <a:lnTo>
                    <a:pt x="1943" y="1637"/>
                  </a:lnTo>
                  <a:lnTo>
                    <a:pt x="1943" y="1634"/>
                  </a:lnTo>
                  <a:lnTo>
                    <a:pt x="1943" y="1634"/>
                  </a:lnTo>
                  <a:lnTo>
                    <a:pt x="1945" y="1634"/>
                  </a:lnTo>
                  <a:lnTo>
                    <a:pt x="1945" y="1634"/>
                  </a:lnTo>
                  <a:lnTo>
                    <a:pt x="1945" y="1634"/>
                  </a:lnTo>
                  <a:lnTo>
                    <a:pt x="1945" y="1634"/>
                  </a:lnTo>
                  <a:lnTo>
                    <a:pt x="1945" y="1637"/>
                  </a:lnTo>
                  <a:lnTo>
                    <a:pt x="1945" y="1637"/>
                  </a:lnTo>
                  <a:lnTo>
                    <a:pt x="1945" y="1639"/>
                  </a:lnTo>
                  <a:lnTo>
                    <a:pt x="1945" y="1641"/>
                  </a:lnTo>
                  <a:lnTo>
                    <a:pt x="1945" y="1641"/>
                  </a:lnTo>
                  <a:lnTo>
                    <a:pt x="1948" y="1644"/>
                  </a:lnTo>
                  <a:lnTo>
                    <a:pt x="1950" y="1646"/>
                  </a:lnTo>
                  <a:lnTo>
                    <a:pt x="1950" y="1646"/>
                  </a:lnTo>
                  <a:lnTo>
                    <a:pt x="1950" y="1646"/>
                  </a:lnTo>
                  <a:lnTo>
                    <a:pt x="1950" y="1646"/>
                  </a:lnTo>
                  <a:lnTo>
                    <a:pt x="1950" y="1646"/>
                  </a:lnTo>
                  <a:lnTo>
                    <a:pt x="1950" y="1646"/>
                  </a:lnTo>
                  <a:lnTo>
                    <a:pt x="1950" y="1646"/>
                  </a:lnTo>
                  <a:lnTo>
                    <a:pt x="1950" y="1646"/>
                  </a:lnTo>
                  <a:lnTo>
                    <a:pt x="1950" y="1646"/>
                  </a:lnTo>
                  <a:lnTo>
                    <a:pt x="1950" y="1648"/>
                  </a:lnTo>
                  <a:lnTo>
                    <a:pt x="1950" y="1648"/>
                  </a:lnTo>
                  <a:lnTo>
                    <a:pt x="1948" y="1648"/>
                  </a:lnTo>
                  <a:lnTo>
                    <a:pt x="1948" y="1648"/>
                  </a:lnTo>
                  <a:lnTo>
                    <a:pt x="1948" y="1648"/>
                  </a:lnTo>
                  <a:lnTo>
                    <a:pt x="1948" y="1648"/>
                  </a:lnTo>
                  <a:lnTo>
                    <a:pt x="1945" y="1648"/>
                  </a:lnTo>
                  <a:lnTo>
                    <a:pt x="1945" y="1651"/>
                  </a:lnTo>
                  <a:lnTo>
                    <a:pt x="1945" y="1651"/>
                  </a:lnTo>
                  <a:lnTo>
                    <a:pt x="1945" y="1651"/>
                  </a:lnTo>
                  <a:lnTo>
                    <a:pt x="1945" y="1651"/>
                  </a:lnTo>
                  <a:lnTo>
                    <a:pt x="1945" y="1651"/>
                  </a:lnTo>
                  <a:lnTo>
                    <a:pt x="1943" y="1653"/>
                  </a:lnTo>
                  <a:lnTo>
                    <a:pt x="1943" y="1653"/>
                  </a:lnTo>
                  <a:lnTo>
                    <a:pt x="1943" y="1653"/>
                  </a:lnTo>
                  <a:lnTo>
                    <a:pt x="1943" y="1655"/>
                  </a:lnTo>
                  <a:lnTo>
                    <a:pt x="1940" y="1655"/>
                  </a:lnTo>
                  <a:lnTo>
                    <a:pt x="1940" y="1655"/>
                  </a:lnTo>
                  <a:lnTo>
                    <a:pt x="1940" y="1658"/>
                  </a:lnTo>
                  <a:lnTo>
                    <a:pt x="1940" y="1658"/>
                  </a:lnTo>
                  <a:lnTo>
                    <a:pt x="1940" y="1658"/>
                  </a:lnTo>
                  <a:lnTo>
                    <a:pt x="1940" y="1660"/>
                  </a:lnTo>
                  <a:lnTo>
                    <a:pt x="1940" y="1660"/>
                  </a:lnTo>
                  <a:lnTo>
                    <a:pt x="1940" y="1660"/>
                  </a:lnTo>
                  <a:lnTo>
                    <a:pt x="1940" y="1663"/>
                  </a:lnTo>
                  <a:lnTo>
                    <a:pt x="1940" y="1663"/>
                  </a:lnTo>
                  <a:lnTo>
                    <a:pt x="1938" y="1663"/>
                  </a:lnTo>
                  <a:lnTo>
                    <a:pt x="1938" y="1663"/>
                  </a:lnTo>
                  <a:lnTo>
                    <a:pt x="1938" y="1663"/>
                  </a:lnTo>
                  <a:lnTo>
                    <a:pt x="1938" y="1663"/>
                  </a:lnTo>
                  <a:lnTo>
                    <a:pt x="1938" y="1663"/>
                  </a:lnTo>
                  <a:lnTo>
                    <a:pt x="1938" y="1665"/>
                  </a:lnTo>
                  <a:lnTo>
                    <a:pt x="1938" y="1665"/>
                  </a:lnTo>
                  <a:lnTo>
                    <a:pt x="1938" y="1665"/>
                  </a:lnTo>
                  <a:lnTo>
                    <a:pt x="1940" y="1667"/>
                  </a:lnTo>
                  <a:lnTo>
                    <a:pt x="1940" y="1667"/>
                  </a:lnTo>
                  <a:lnTo>
                    <a:pt x="1940" y="1667"/>
                  </a:lnTo>
                  <a:lnTo>
                    <a:pt x="1940" y="1667"/>
                  </a:lnTo>
                  <a:lnTo>
                    <a:pt x="1940" y="1670"/>
                  </a:lnTo>
                  <a:lnTo>
                    <a:pt x="1940" y="1670"/>
                  </a:lnTo>
                  <a:lnTo>
                    <a:pt x="1940" y="1667"/>
                  </a:lnTo>
                  <a:lnTo>
                    <a:pt x="1940" y="1667"/>
                  </a:lnTo>
                  <a:lnTo>
                    <a:pt x="1938" y="1667"/>
                  </a:lnTo>
                  <a:lnTo>
                    <a:pt x="1938" y="1667"/>
                  </a:lnTo>
                  <a:lnTo>
                    <a:pt x="1938" y="1667"/>
                  </a:lnTo>
                  <a:lnTo>
                    <a:pt x="1938" y="1670"/>
                  </a:lnTo>
                  <a:lnTo>
                    <a:pt x="1938" y="1672"/>
                  </a:lnTo>
                  <a:lnTo>
                    <a:pt x="1938" y="1672"/>
                  </a:lnTo>
                  <a:lnTo>
                    <a:pt x="1938" y="1672"/>
                  </a:lnTo>
                  <a:lnTo>
                    <a:pt x="1938" y="1674"/>
                  </a:lnTo>
                  <a:lnTo>
                    <a:pt x="1938" y="1674"/>
                  </a:lnTo>
                  <a:lnTo>
                    <a:pt x="1938" y="1677"/>
                  </a:lnTo>
                  <a:lnTo>
                    <a:pt x="1938" y="1677"/>
                  </a:lnTo>
                  <a:lnTo>
                    <a:pt x="1938" y="1679"/>
                  </a:lnTo>
                  <a:lnTo>
                    <a:pt x="1938" y="1679"/>
                  </a:lnTo>
                  <a:lnTo>
                    <a:pt x="1938" y="1679"/>
                  </a:lnTo>
                  <a:lnTo>
                    <a:pt x="1938" y="1681"/>
                  </a:lnTo>
                  <a:lnTo>
                    <a:pt x="1936" y="1681"/>
                  </a:lnTo>
                  <a:lnTo>
                    <a:pt x="1936" y="1681"/>
                  </a:lnTo>
                  <a:lnTo>
                    <a:pt x="1936" y="1681"/>
                  </a:lnTo>
                  <a:lnTo>
                    <a:pt x="1936" y="1681"/>
                  </a:lnTo>
                  <a:lnTo>
                    <a:pt x="1933" y="1681"/>
                  </a:lnTo>
                  <a:lnTo>
                    <a:pt x="1933" y="1681"/>
                  </a:lnTo>
                  <a:lnTo>
                    <a:pt x="1936" y="1684"/>
                  </a:lnTo>
                  <a:lnTo>
                    <a:pt x="1936" y="1684"/>
                  </a:lnTo>
                  <a:lnTo>
                    <a:pt x="1933" y="1684"/>
                  </a:lnTo>
                  <a:lnTo>
                    <a:pt x="1933" y="1684"/>
                  </a:lnTo>
                  <a:lnTo>
                    <a:pt x="1933" y="1684"/>
                  </a:lnTo>
                  <a:lnTo>
                    <a:pt x="1933" y="1681"/>
                  </a:lnTo>
                  <a:lnTo>
                    <a:pt x="1931" y="1681"/>
                  </a:lnTo>
                  <a:lnTo>
                    <a:pt x="1931" y="1681"/>
                  </a:lnTo>
                  <a:lnTo>
                    <a:pt x="1931" y="1684"/>
                  </a:lnTo>
                  <a:lnTo>
                    <a:pt x="1929" y="1684"/>
                  </a:lnTo>
                  <a:lnTo>
                    <a:pt x="1929" y="1686"/>
                  </a:lnTo>
                  <a:lnTo>
                    <a:pt x="1924" y="1689"/>
                  </a:lnTo>
                  <a:lnTo>
                    <a:pt x="1924" y="1691"/>
                  </a:lnTo>
                  <a:lnTo>
                    <a:pt x="1922" y="1691"/>
                  </a:lnTo>
                  <a:lnTo>
                    <a:pt x="1922" y="1691"/>
                  </a:lnTo>
                  <a:lnTo>
                    <a:pt x="1922" y="1691"/>
                  </a:lnTo>
                  <a:lnTo>
                    <a:pt x="1922" y="1689"/>
                  </a:lnTo>
                  <a:lnTo>
                    <a:pt x="1922" y="1689"/>
                  </a:lnTo>
                  <a:lnTo>
                    <a:pt x="1919" y="1689"/>
                  </a:lnTo>
                  <a:lnTo>
                    <a:pt x="1919" y="1689"/>
                  </a:lnTo>
                  <a:lnTo>
                    <a:pt x="1919" y="1686"/>
                  </a:lnTo>
                  <a:lnTo>
                    <a:pt x="1919" y="1686"/>
                  </a:lnTo>
                  <a:lnTo>
                    <a:pt x="1919" y="1686"/>
                  </a:lnTo>
                  <a:lnTo>
                    <a:pt x="1919" y="1689"/>
                  </a:lnTo>
                  <a:lnTo>
                    <a:pt x="1919" y="1689"/>
                  </a:lnTo>
                  <a:lnTo>
                    <a:pt x="1919" y="1689"/>
                  </a:lnTo>
                  <a:lnTo>
                    <a:pt x="1917" y="1689"/>
                  </a:lnTo>
                  <a:lnTo>
                    <a:pt x="1917" y="1689"/>
                  </a:lnTo>
                  <a:lnTo>
                    <a:pt x="1917" y="1689"/>
                  </a:lnTo>
                  <a:lnTo>
                    <a:pt x="1917" y="1686"/>
                  </a:lnTo>
                  <a:lnTo>
                    <a:pt x="1919" y="1686"/>
                  </a:lnTo>
                  <a:lnTo>
                    <a:pt x="1919" y="1686"/>
                  </a:lnTo>
                  <a:lnTo>
                    <a:pt x="1917" y="1686"/>
                  </a:lnTo>
                  <a:lnTo>
                    <a:pt x="1917" y="1689"/>
                  </a:lnTo>
                  <a:lnTo>
                    <a:pt x="1917" y="1689"/>
                  </a:lnTo>
                  <a:lnTo>
                    <a:pt x="1917" y="1689"/>
                  </a:lnTo>
                  <a:lnTo>
                    <a:pt x="1917" y="1689"/>
                  </a:lnTo>
                  <a:lnTo>
                    <a:pt x="1914" y="1691"/>
                  </a:lnTo>
                  <a:lnTo>
                    <a:pt x="1914" y="1691"/>
                  </a:lnTo>
                  <a:lnTo>
                    <a:pt x="1914" y="1691"/>
                  </a:lnTo>
                  <a:lnTo>
                    <a:pt x="1914" y="1691"/>
                  </a:lnTo>
                  <a:lnTo>
                    <a:pt x="1914" y="1691"/>
                  </a:lnTo>
                  <a:lnTo>
                    <a:pt x="1914" y="1691"/>
                  </a:lnTo>
                  <a:lnTo>
                    <a:pt x="1914" y="1691"/>
                  </a:lnTo>
                  <a:lnTo>
                    <a:pt x="1914" y="1689"/>
                  </a:lnTo>
                  <a:lnTo>
                    <a:pt x="1914" y="1689"/>
                  </a:lnTo>
                  <a:lnTo>
                    <a:pt x="1914" y="1689"/>
                  </a:lnTo>
                  <a:lnTo>
                    <a:pt x="1914" y="1689"/>
                  </a:lnTo>
                  <a:lnTo>
                    <a:pt x="1914" y="1689"/>
                  </a:lnTo>
                  <a:lnTo>
                    <a:pt x="1914" y="1689"/>
                  </a:lnTo>
                  <a:lnTo>
                    <a:pt x="1914" y="1689"/>
                  </a:lnTo>
                  <a:lnTo>
                    <a:pt x="1912" y="1689"/>
                  </a:lnTo>
                  <a:lnTo>
                    <a:pt x="1912" y="1689"/>
                  </a:lnTo>
                  <a:lnTo>
                    <a:pt x="1912" y="1689"/>
                  </a:lnTo>
                  <a:lnTo>
                    <a:pt x="1912" y="1689"/>
                  </a:lnTo>
                  <a:lnTo>
                    <a:pt x="1914" y="1686"/>
                  </a:lnTo>
                  <a:lnTo>
                    <a:pt x="1914" y="1686"/>
                  </a:lnTo>
                  <a:lnTo>
                    <a:pt x="1914" y="1684"/>
                  </a:lnTo>
                  <a:lnTo>
                    <a:pt x="1914" y="1686"/>
                  </a:lnTo>
                  <a:lnTo>
                    <a:pt x="1914" y="1686"/>
                  </a:lnTo>
                  <a:lnTo>
                    <a:pt x="1914" y="1686"/>
                  </a:lnTo>
                  <a:lnTo>
                    <a:pt x="1910" y="1689"/>
                  </a:lnTo>
                  <a:lnTo>
                    <a:pt x="1910" y="1689"/>
                  </a:lnTo>
                  <a:lnTo>
                    <a:pt x="1910" y="1686"/>
                  </a:lnTo>
                  <a:lnTo>
                    <a:pt x="1910" y="1686"/>
                  </a:lnTo>
                  <a:lnTo>
                    <a:pt x="1912" y="1686"/>
                  </a:lnTo>
                  <a:lnTo>
                    <a:pt x="1912" y="1686"/>
                  </a:lnTo>
                  <a:lnTo>
                    <a:pt x="1912" y="1686"/>
                  </a:lnTo>
                  <a:lnTo>
                    <a:pt x="1912" y="1686"/>
                  </a:lnTo>
                  <a:lnTo>
                    <a:pt x="1910" y="1686"/>
                  </a:lnTo>
                  <a:lnTo>
                    <a:pt x="1910" y="1686"/>
                  </a:lnTo>
                  <a:lnTo>
                    <a:pt x="1910" y="1686"/>
                  </a:lnTo>
                  <a:lnTo>
                    <a:pt x="1912" y="1686"/>
                  </a:lnTo>
                  <a:lnTo>
                    <a:pt x="1912" y="1686"/>
                  </a:lnTo>
                  <a:lnTo>
                    <a:pt x="1914" y="1684"/>
                  </a:lnTo>
                  <a:lnTo>
                    <a:pt x="1914" y="1684"/>
                  </a:lnTo>
                  <a:lnTo>
                    <a:pt x="1917" y="1679"/>
                  </a:lnTo>
                  <a:lnTo>
                    <a:pt x="1917" y="1679"/>
                  </a:lnTo>
                  <a:lnTo>
                    <a:pt x="1917" y="1679"/>
                  </a:lnTo>
                  <a:lnTo>
                    <a:pt x="1919" y="1679"/>
                  </a:lnTo>
                  <a:lnTo>
                    <a:pt x="1919" y="1679"/>
                  </a:lnTo>
                  <a:lnTo>
                    <a:pt x="1919" y="1679"/>
                  </a:lnTo>
                  <a:lnTo>
                    <a:pt x="1922" y="1677"/>
                  </a:lnTo>
                  <a:lnTo>
                    <a:pt x="1922" y="1674"/>
                  </a:lnTo>
                  <a:lnTo>
                    <a:pt x="1922" y="1674"/>
                  </a:lnTo>
                  <a:lnTo>
                    <a:pt x="1922" y="1674"/>
                  </a:lnTo>
                  <a:lnTo>
                    <a:pt x="1922" y="1677"/>
                  </a:lnTo>
                  <a:lnTo>
                    <a:pt x="1922" y="1677"/>
                  </a:lnTo>
                  <a:lnTo>
                    <a:pt x="1922" y="1677"/>
                  </a:lnTo>
                  <a:lnTo>
                    <a:pt x="1922" y="1677"/>
                  </a:lnTo>
                  <a:lnTo>
                    <a:pt x="1922" y="1677"/>
                  </a:lnTo>
                  <a:lnTo>
                    <a:pt x="1922" y="1679"/>
                  </a:lnTo>
                  <a:lnTo>
                    <a:pt x="1922" y="1679"/>
                  </a:lnTo>
                  <a:lnTo>
                    <a:pt x="1922" y="1681"/>
                  </a:lnTo>
                  <a:lnTo>
                    <a:pt x="1922" y="1681"/>
                  </a:lnTo>
                  <a:lnTo>
                    <a:pt x="1919" y="1681"/>
                  </a:lnTo>
                  <a:lnTo>
                    <a:pt x="1922" y="1684"/>
                  </a:lnTo>
                  <a:lnTo>
                    <a:pt x="1922" y="1686"/>
                  </a:lnTo>
                  <a:lnTo>
                    <a:pt x="1922" y="1686"/>
                  </a:lnTo>
                  <a:lnTo>
                    <a:pt x="1922" y="1686"/>
                  </a:lnTo>
                  <a:lnTo>
                    <a:pt x="1922" y="1684"/>
                  </a:lnTo>
                  <a:lnTo>
                    <a:pt x="1922" y="1684"/>
                  </a:lnTo>
                  <a:lnTo>
                    <a:pt x="1922" y="1684"/>
                  </a:lnTo>
                  <a:lnTo>
                    <a:pt x="1922" y="1684"/>
                  </a:lnTo>
                  <a:lnTo>
                    <a:pt x="1922" y="1684"/>
                  </a:lnTo>
                  <a:lnTo>
                    <a:pt x="1924" y="1684"/>
                  </a:lnTo>
                  <a:lnTo>
                    <a:pt x="1922" y="1684"/>
                  </a:lnTo>
                  <a:lnTo>
                    <a:pt x="1924" y="1684"/>
                  </a:lnTo>
                  <a:lnTo>
                    <a:pt x="1924" y="1684"/>
                  </a:lnTo>
                  <a:lnTo>
                    <a:pt x="1924" y="1684"/>
                  </a:lnTo>
                  <a:lnTo>
                    <a:pt x="1924" y="1681"/>
                  </a:lnTo>
                  <a:lnTo>
                    <a:pt x="1924" y="1681"/>
                  </a:lnTo>
                  <a:lnTo>
                    <a:pt x="1924" y="1679"/>
                  </a:lnTo>
                  <a:lnTo>
                    <a:pt x="1924" y="1679"/>
                  </a:lnTo>
                  <a:lnTo>
                    <a:pt x="1924" y="1679"/>
                  </a:lnTo>
                  <a:lnTo>
                    <a:pt x="1924" y="1679"/>
                  </a:lnTo>
                  <a:lnTo>
                    <a:pt x="1924" y="1679"/>
                  </a:lnTo>
                  <a:lnTo>
                    <a:pt x="1924" y="1679"/>
                  </a:lnTo>
                  <a:lnTo>
                    <a:pt x="1924" y="1679"/>
                  </a:lnTo>
                  <a:lnTo>
                    <a:pt x="1926" y="1677"/>
                  </a:lnTo>
                  <a:lnTo>
                    <a:pt x="1926" y="1677"/>
                  </a:lnTo>
                  <a:lnTo>
                    <a:pt x="1926" y="1677"/>
                  </a:lnTo>
                  <a:lnTo>
                    <a:pt x="1926" y="1677"/>
                  </a:lnTo>
                  <a:lnTo>
                    <a:pt x="1929" y="1677"/>
                  </a:lnTo>
                  <a:lnTo>
                    <a:pt x="1929" y="1674"/>
                  </a:lnTo>
                  <a:lnTo>
                    <a:pt x="1929" y="1677"/>
                  </a:lnTo>
                  <a:lnTo>
                    <a:pt x="1929" y="1677"/>
                  </a:lnTo>
                  <a:lnTo>
                    <a:pt x="1926" y="1679"/>
                  </a:lnTo>
                  <a:lnTo>
                    <a:pt x="1926" y="1679"/>
                  </a:lnTo>
                  <a:lnTo>
                    <a:pt x="1926" y="1679"/>
                  </a:lnTo>
                  <a:lnTo>
                    <a:pt x="1926" y="1679"/>
                  </a:lnTo>
                  <a:lnTo>
                    <a:pt x="1926" y="1681"/>
                  </a:lnTo>
                  <a:lnTo>
                    <a:pt x="1926" y="1681"/>
                  </a:lnTo>
                  <a:lnTo>
                    <a:pt x="1929" y="1684"/>
                  </a:lnTo>
                  <a:lnTo>
                    <a:pt x="1929" y="1684"/>
                  </a:lnTo>
                  <a:lnTo>
                    <a:pt x="1929" y="1681"/>
                  </a:lnTo>
                  <a:lnTo>
                    <a:pt x="1929" y="1681"/>
                  </a:lnTo>
                  <a:lnTo>
                    <a:pt x="1929" y="1679"/>
                  </a:lnTo>
                  <a:lnTo>
                    <a:pt x="1931" y="1679"/>
                  </a:lnTo>
                  <a:lnTo>
                    <a:pt x="1931" y="1679"/>
                  </a:lnTo>
                  <a:lnTo>
                    <a:pt x="1931" y="1679"/>
                  </a:lnTo>
                  <a:lnTo>
                    <a:pt x="1931" y="1677"/>
                  </a:lnTo>
                  <a:lnTo>
                    <a:pt x="1931" y="1677"/>
                  </a:lnTo>
                  <a:lnTo>
                    <a:pt x="1931" y="1677"/>
                  </a:lnTo>
                  <a:lnTo>
                    <a:pt x="1931" y="1674"/>
                  </a:lnTo>
                  <a:lnTo>
                    <a:pt x="1933" y="1672"/>
                  </a:lnTo>
                  <a:lnTo>
                    <a:pt x="1933" y="1672"/>
                  </a:lnTo>
                  <a:lnTo>
                    <a:pt x="1933" y="1672"/>
                  </a:lnTo>
                  <a:lnTo>
                    <a:pt x="1933" y="1670"/>
                  </a:lnTo>
                  <a:lnTo>
                    <a:pt x="1933" y="1670"/>
                  </a:lnTo>
                  <a:lnTo>
                    <a:pt x="1933" y="1670"/>
                  </a:lnTo>
                  <a:lnTo>
                    <a:pt x="1933" y="1667"/>
                  </a:lnTo>
                  <a:lnTo>
                    <a:pt x="1933" y="1667"/>
                  </a:lnTo>
                  <a:lnTo>
                    <a:pt x="1931" y="1667"/>
                  </a:lnTo>
                  <a:lnTo>
                    <a:pt x="1931" y="1667"/>
                  </a:lnTo>
                  <a:lnTo>
                    <a:pt x="1931" y="1667"/>
                  </a:lnTo>
                  <a:lnTo>
                    <a:pt x="1929" y="1670"/>
                  </a:lnTo>
                  <a:lnTo>
                    <a:pt x="1929" y="1667"/>
                  </a:lnTo>
                  <a:lnTo>
                    <a:pt x="1929" y="1667"/>
                  </a:lnTo>
                  <a:lnTo>
                    <a:pt x="1929" y="1667"/>
                  </a:lnTo>
                  <a:lnTo>
                    <a:pt x="1931" y="1667"/>
                  </a:lnTo>
                  <a:lnTo>
                    <a:pt x="1931" y="1667"/>
                  </a:lnTo>
                  <a:lnTo>
                    <a:pt x="1929" y="1667"/>
                  </a:lnTo>
                  <a:lnTo>
                    <a:pt x="1929" y="1665"/>
                  </a:lnTo>
                  <a:lnTo>
                    <a:pt x="1929" y="1665"/>
                  </a:lnTo>
                  <a:lnTo>
                    <a:pt x="1929" y="1665"/>
                  </a:lnTo>
                  <a:lnTo>
                    <a:pt x="1929" y="1663"/>
                  </a:lnTo>
                  <a:lnTo>
                    <a:pt x="1929" y="1663"/>
                  </a:lnTo>
                  <a:lnTo>
                    <a:pt x="1929" y="1663"/>
                  </a:lnTo>
                  <a:lnTo>
                    <a:pt x="1929" y="1663"/>
                  </a:lnTo>
                  <a:lnTo>
                    <a:pt x="1931" y="1665"/>
                  </a:lnTo>
                  <a:lnTo>
                    <a:pt x="1931" y="1667"/>
                  </a:lnTo>
                  <a:lnTo>
                    <a:pt x="1931" y="1667"/>
                  </a:lnTo>
                  <a:lnTo>
                    <a:pt x="1931" y="1665"/>
                  </a:lnTo>
                  <a:lnTo>
                    <a:pt x="1931" y="1665"/>
                  </a:lnTo>
                  <a:lnTo>
                    <a:pt x="1931" y="1660"/>
                  </a:lnTo>
                  <a:lnTo>
                    <a:pt x="1931" y="1660"/>
                  </a:lnTo>
                  <a:lnTo>
                    <a:pt x="1931" y="1660"/>
                  </a:lnTo>
                  <a:lnTo>
                    <a:pt x="1931" y="1660"/>
                  </a:lnTo>
                  <a:lnTo>
                    <a:pt x="1931" y="1660"/>
                  </a:lnTo>
                  <a:lnTo>
                    <a:pt x="1931" y="1658"/>
                  </a:lnTo>
                  <a:lnTo>
                    <a:pt x="1931" y="1658"/>
                  </a:lnTo>
                  <a:lnTo>
                    <a:pt x="1933" y="1660"/>
                  </a:lnTo>
                  <a:lnTo>
                    <a:pt x="1933" y="1660"/>
                  </a:lnTo>
                  <a:lnTo>
                    <a:pt x="1933" y="1660"/>
                  </a:lnTo>
                  <a:lnTo>
                    <a:pt x="1933" y="1660"/>
                  </a:lnTo>
                  <a:lnTo>
                    <a:pt x="1936" y="1658"/>
                  </a:lnTo>
                  <a:lnTo>
                    <a:pt x="1936" y="1658"/>
                  </a:lnTo>
                  <a:lnTo>
                    <a:pt x="1936" y="1660"/>
                  </a:lnTo>
                  <a:lnTo>
                    <a:pt x="1938" y="1660"/>
                  </a:lnTo>
                  <a:lnTo>
                    <a:pt x="1938" y="1660"/>
                  </a:lnTo>
                  <a:lnTo>
                    <a:pt x="1938" y="1658"/>
                  </a:lnTo>
                  <a:lnTo>
                    <a:pt x="1938" y="1658"/>
                  </a:lnTo>
                  <a:lnTo>
                    <a:pt x="1938" y="1658"/>
                  </a:lnTo>
                  <a:lnTo>
                    <a:pt x="1938" y="1658"/>
                  </a:lnTo>
                  <a:lnTo>
                    <a:pt x="1938" y="1658"/>
                  </a:lnTo>
                  <a:lnTo>
                    <a:pt x="1938" y="1658"/>
                  </a:lnTo>
                  <a:lnTo>
                    <a:pt x="1938" y="1655"/>
                  </a:lnTo>
                  <a:lnTo>
                    <a:pt x="1938" y="1655"/>
                  </a:lnTo>
                  <a:lnTo>
                    <a:pt x="1938" y="1655"/>
                  </a:lnTo>
                  <a:lnTo>
                    <a:pt x="1938" y="1655"/>
                  </a:lnTo>
                  <a:lnTo>
                    <a:pt x="1938" y="1653"/>
                  </a:lnTo>
                  <a:lnTo>
                    <a:pt x="1938" y="1653"/>
                  </a:lnTo>
                  <a:lnTo>
                    <a:pt x="1938" y="1651"/>
                  </a:lnTo>
                  <a:lnTo>
                    <a:pt x="1938" y="1651"/>
                  </a:lnTo>
                  <a:lnTo>
                    <a:pt x="1936" y="1648"/>
                  </a:lnTo>
                  <a:lnTo>
                    <a:pt x="1936" y="1648"/>
                  </a:lnTo>
                  <a:lnTo>
                    <a:pt x="1936" y="1648"/>
                  </a:lnTo>
                  <a:lnTo>
                    <a:pt x="1936" y="1648"/>
                  </a:lnTo>
                  <a:lnTo>
                    <a:pt x="1936" y="1651"/>
                  </a:lnTo>
                  <a:lnTo>
                    <a:pt x="1936" y="1653"/>
                  </a:lnTo>
                  <a:lnTo>
                    <a:pt x="1936" y="1653"/>
                  </a:lnTo>
                  <a:lnTo>
                    <a:pt x="1936" y="1655"/>
                  </a:lnTo>
                  <a:lnTo>
                    <a:pt x="1933" y="1653"/>
                  </a:lnTo>
                  <a:lnTo>
                    <a:pt x="1933" y="1653"/>
                  </a:lnTo>
                  <a:lnTo>
                    <a:pt x="1933" y="1653"/>
                  </a:lnTo>
                  <a:lnTo>
                    <a:pt x="1933" y="1653"/>
                  </a:lnTo>
                  <a:lnTo>
                    <a:pt x="1933" y="1653"/>
                  </a:lnTo>
                  <a:lnTo>
                    <a:pt x="1933" y="1653"/>
                  </a:lnTo>
                  <a:lnTo>
                    <a:pt x="1933" y="1653"/>
                  </a:lnTo>
                  <a:lnTo>
                    <a:pt x="1929" y="1658"/>
                  </a:lnTo>
                  <a:lnTo>
                    <a:pt x="1929" y="1658"/>
                  </a:lnTo>
                  <a:lnTo>
                    <a:pt x="1926" y="1660"/>
                  </a:lnTo>
                  <a:lnTo>
                    <a:pt x="1926" y="1660"/>
                  </a:lnTo>
                  <a:lnTo>
                    <a:pt x="1926" y="1660"/>
                  </a:lnTo>
                  <a:lnTo>
                    <a:pt x="1926" y="1663"/>
                  </a:lnTo>
                  <a:lnTo>
                    <a:pt x="1922" y="1663"/>
                  </a:lnTo>
                  <a:lnTo>
                    <a:pt x="1919" y="1663"/>
                  </a:lnTo>
                  <a:lnTo>
                    <a:pt x="1919" y="1663"/>
                  </a:lnTo>
                  <a:lnTo>
                    <a:pt x="1917" y="1667"/>
                  </a:lnTo>
                  <a:lnTo>
                    <a:pt x="1914" y="1670"/>
                  </a:lnTo>
                  <a:lnTo>
                    <a:pt x="1914" y="1670"/>
                  </a:lnTo>
                  <a:lnTo>
                    <a:pt x="1912" y="1672"/>
                  </a:lnTo>
                  <a:lnTo>
                    <a:pt x="1912" y="1672"/>
                  </a:lnTo>
                  <a:lnTo>
                    <a:pt x="1912" y="1672"/>
                  </a:lnTo>
                  <a:lnTo>
                    <a:pt x="1912" y="1674"/>
                  </a:lnTo>
                  <a:lnTo>
                    <a:pt x="1912" y="1674"/>
                  </a:lnTo>
                  <a:lnTo>
                    <a:pt x="1917" y="1674"/>
                  </a:lnTo>
                  <a:lnTo>
                    <a:pt x="1919" y="1672"/>
                  </a:lnTo>
                  <a:lnTo>
                    <a:pt x="1922" y="1672"/>
                  </a:lnTo>
                  <a:lnTo>
                    <a:pt x="1922" y="1672"/>
                  </a:lnTo>
                  <a:lnTo>
                    <a:pt x="1919" y="1674"/>
                  </a:lnTo>
                  <a:lnTo>
                    <a:pt x="1919" y="1674"/>
                  </a:lnTo>
                  <a:lnTo>
                    <a:pt x="1912" y="1674"/>
                  </a:lnTo>
                  <a:lnTo>
                    <a:pt x="1910" y="1674"/>
                  </a:lnTo>
                  <a:lnTo>
                    <a:pt x="1910" y="1674"/>
                  </a:lnTo>
                  <a:lnTo>
                    <a:pt x="1910" y="1674"/>
                  </a:lnTo>
                  <a:lnTo>
                    <a:pt x="1910" y="1672"/>
                  </a:lnTo>
                  <a:lnTo>
                    <a:pt x="1912" y="1670"/>
                  </a:lnTo>
                  <a:lnTo>
                    <a:pt x="1912" y="1670"/>
                  </a:lnTo>
                  <a:lnTo>
                    <a:pt x="1914" y="1667"/>
                  </a:lnTo>
                  <a:lnTo>
                    <a:pt x="1914" y="1667"/>
                  </a:lnTo>
                  <a:lnTo>
                    <a:pt x="1917" y="1665"/>
                  </a:lnTo>
                  <a:lnTo>
                    <a:pt x="1917" y="1665"/>
                  </a:lnTo>
                  <a:lnTo>
                    <a:pt x="1919" y="1660"/>
                  </a:lnTo>
                  <a:lnTo>
                    <a:pt x="1922" y="1660"/>
                  </a:lnTo>
                  <a:lnTo>
                    <a:pt x="1922" y="1660"/>
                  </a:lnTo>
                  <a:lnTo>
                    <a:pt x="1922" y="1660"/>
                  </a:lnTo>
                  <a:lnTo>
                    <a:pt x="1922" y="1660"/>
                  </a:lnTo>
                  <a:lnTo>
                    <a:pt x="1922" y="1658"/>
                  </a:lnTo>
                  <a:lnTo>
                    <a:pt x="1924" y="1658"/>
                  </a:lnTo>
                  <a:lnTo>
                    <a:pt x="1924" y="1658"/>
                  </a:lnTo>
                  <a:lnTo>
                    <a:pt x="1924" y="1655"/>
                  </a:lnTo>
                  <a:lnTo>
                    <a:pt x="1924" y="1655"/>
                  </a:lnTo>
                  <a:lnTo>
                    <a:pt x="1924" y="1653"/>
                  </a:lnTo>
                  <a:lnTo>
                    <a:pt x="1924" y="1653"/>
                  </a:lnTo>
                  <a:lnTo>
                    <a:pt x="1924" y="1653"/>
                  </a:lnTo>
                  <a:lnTo>
                    <a:pt x="1926" y="1653"/>
                  </a:lnTo>
                  <a:lnTo>
                    <a:pt x="1926" y="1653"/>
                  </a:lnTo>
                  <a:lnTo>
                    <a:pt x="1926" y="1655"/>
                  </a:lnTo>
                  <a:lnTo>
                    <a:pt x="1926" y="1653"/>
                  </a:lnTo>
                  <a:lnTo>
                    <a:pt x="1926" y="1653"/>
                  </a:lnTo>
                  <a:lnTo>
                    <a:pt x="1926" y="1653"/>
                  </a:lnTo>
                  <a:lnTo>
                    <a:pt x="1926" y="1651"/>
                  </a:lnTo>
                  <a:lnTo>
                    <a:pt x="1926" y="1653"/>
                  </a:lnTo>
                  <a:lnTo>
                    <a:pt x="1926" y="1655"/>
                  </a:lnTo>
                  <a:lnTo>
                    <a:pt x="1926" y="1658"/>
                  </a:lnTo>
                  <a:lnTo>
                    <a:pt x="1924" y="1660"/>
                  </a:lnTo>
                  <a:lnTo>
                    <a:pt x="1924" y="1660"/>
                  </a:lnTo>
                  <a:lnTo>
                    <a:pt x="1924" y="1660"/>
                  </a:lnTo>
                  <a:lnTo>
                    <a:pt x="1926" y="1660"/>
                  </a:lnTo>
                  <a:lnTo>
                    <a:pt x="1926" y="1660"/>
                  </a:lnTo>
                  <a:lnTo>
                    <a:pt x="1926" y="1660"/>
                  </a:lnTo>
                  <a:lnTo>
                    <a:pt x="1926" y="1658"/>
                  </a:lnTo>
                  <a:lnTo>
                    <a:pt x="1926" y="1658"/>
                  </a:lnTo>
                  <a:lnTo>
                    <a:pt x="1926" y="1658"/>
                  </a:lnTo>
                  <a:lnTo>
                    <a:pt x="1929" y="1655"/>
                  </a:lnTo>
                  <a:lnTo>
                    <a:pt x="1929" y="1655"/>
                  </a:lnTo>
                  <a:lnTo>
                    <a:pt x="1931" y="1653"/>
                  </a:lnTo>
                  <a:lnTo>
                    <a:pt x="1931" y="1653"/>
                  </a:lnTo>
                  <a:lnTo>
                    <a:pt x="1931" y="1651"/>
                  </a:lnTo>
                  <a:lnTo>
                    <a:pt x="1931" y="1651"/>
                  </a:lnTo>
                  <a:lnTo>
                    <a:pt x="1933" y="1651"/>
                  </a:lnTo>
                  <a:lnTo>
                    <a:pt x="1933" y="1651"/>
                  </a:lnTo>
                  <a:lnTo>
                    <a:pt x="1933" y="1651"/>
                  </a:lnTo>
                  <a:lnTo>
                    <a:pt x="1933" y="1651"/>
                  </a:lnTo>
                  <a:lnTo>
                    <a:pt x="1933" y="1648"/>
                  </a:lnTo>
                  <a:lnTo>
                    <a:pt x="1933" y="1646"/>
                  </a:lnTo>
                  <a:lnTo>
                    <a:pt x="1933" y="1646"/>
                  </a:lnTo>
                  <a:lnTo>
                    <a:pt x="1933" y="1646"/>
                  </a:lnTo>
                  <a:lnTo>
                    <a:pt x="1933" y="1646"/>
                  </a:lnTo>
                  <a:lnTo>
                    <a:pt x="1931" y="1644"/>
                  </a:lnTo>
                  <a:lnTo>
                    <a:pt x="1931" y="1644"/>
                  </a:lnTo>
                  <a:lnTo>
                    <a:pt x="1931" y="1641"/>
                  </a:lnTo>
                  <a:lnTo>
                    <a:pt x="1931" y="1641"/>
                  </a:lnTo>
                  <a:lnTo>
                    <a:pt x="1931" y="1641"/>
                  </a:lnTo>
                  <a:lnTo>
                    <a:pt x="1931" y="1639"/>
                  </a:lnTo>
                  <a:lnTo>
                    <a:pt x="1931" y="1639"/>
                  </a:lnTo>
                  <a:lnTo>
                    <a:pt x="1931" y="1639"/>
                  </a:lnTo>
                  <a:lnTo>
                    <a:pt x="1931" y="1639"/>
                  </a:lnTo>
                  <a:lnTo>
                    <a:pt x="1931" y="1639"/>
                  </a:lnTo>
                  <a:lnTo>
                    <a:pt x="1931" y="1637"/>
                  </a:lnTo>
                  <a:lnTo>
                    <a:pt x="1931" y="1637"/>
                  </a:lnTo>
                  <a:lnTo>
                    <a:pt x="1931" y="1637"/>
                  </a:lnTo>
                  <a:lnTo>
                    <a:pt x="1929" y="1637"/>
                  </a:lnTo>
                  <a:lnTo>
                    <a:pt x="1929" y="1637"/>
                  </a:lnTo>
                  <a:lnTo>
                    <a:pt x="1929" y="1637"/>
                  </a:lnTo>
                  <a:lnTo>
                    <a:pt x="1926" y="1637"/>
                  </a:lnTo>
                  <a:lnTo>
                    <a:pt x="1926" y="1639"/>
                  </a:lnTo>
                  <a:lnTo>
                    <a:pt x="1926" y="1639"/>
                  </a:lnTo>
                  <a:lnTo>
                    <a:pt x="1929" y="1641"/>
                  </a:lnTo>
                  <a:lnTo>
                    <a:pt x="1929" y="1641"/>
                  </a:lnTo>
                  <a:lnTo>
                    <a:pt x="1929" y="1644"/>
                  </a:lnTo>
                  <a:lnTo>
                    <a:pt x="1926" y="1644"/>
                  </a:lnTo>
                  <a:lnTo>
                    <a:pt x="1926" y="1644"/>
                  </a:lnTo>
                  <a:lnTo>
                    <a:pt x="1926" y="1644"/>
                  </a:lnTo>
                  <a:lnTo>
                    <a:pt x="1926" y="1644"/>
                  </a:lnTo>
                  <a:lnTo>
                    <a:pt x="1926" y="1641"/>
                  </a:lnTo>
                  <a:lnTo>
                    <a:pt x="1926" y="1641"/>
                  </a:lnTo>
                  <a:lnTo>
                    <a:pt x="1926" y="1639"/>
                  </a:lnTo>
                  <a:lnTo>
                    <a:pt x="1926" y="1639"/>
                  </a:lnTo>
                  <a:lnTo>
                    <a:pt x="1926" y="1639"/>
                  </a:lnTo>
                  <a:lnTo>
                    <a:pt x="1926" y="1639"/>
                  </a:lnTo>
                  <a:lnTo>
                    <a:pt x="1926" y="1639"/>
                  </a:lnTo>
                  <a:lnTo>
                    <a:pt x="1926" y="1637"/>
                  </a:lnTo>
                  <a:lnTo>
                    <a:pt x="1926" y="1637"/>
                  </a:lnTo>
                  <a:lnTo>
                    <a:pt x="1924" y="1637"/>
                  </a:lnTo>
                  <a:lnTo>
                    <a:pt x="1924" y="1637"/>
                  </a:lnTo>
                  <a:lnTo>
                    <a:pt x="1922" y="1639"/>
                  </a:lnTo>
                  <a:lnTo>
                    <a:pt x="1922" y="1639"/>
                  </a:lnTo>
                  <a:lnTo>
                    <a:pt x="1922" y="1639"/>
                  </a:lnTo>
                  <a:lnTo>
                    <a:pt x="1922" y="1639"/>
                  </a:lnTo>
                  <a:lnTo>
                    <a:pt x="1922" y="1639"/>
                  </a:lnTo>
                  <a:lnTo>
                    <a:pt x="1922" y="1637"/>
                  </a:lnTo>
                  <a:lnTo>
                    <a:pt x="1922" y="1634"/>
                  </a:lnTo>
                  <a:lnTo>
                    <a:pt x="1919" y="1634"/>
                  </a:lnTo>
                  <a:lnTo>
                    <a:pt x="1919" y="1634"/>
                  </a:lnTo>
                  <a:lnTo>
                    <a:pt x="1919" y="1634"/>
                  </a:lnTo>
                  <a:lnTo>
                    <a:pt x="1919" y="1632"/>
                  </a:lnTo>
                  <a:lnTo>
                    <a:pt x="1919" y="1632"/>
                  </a:lnTo>
                  <a:lnTo>
                    <a:pt x="1919" y="1632"/>
                  </a:lnTo>
                  <a:lnTo>
                    <a:pt x="1919" y="1632"/>
                  </a:lnTo>
                  <a:lnTo>
                    <a:pt x="1919" y="1632"/>
                  </a:lnTo>
                  <a:lnTo>
                    <a:pt x="1919" y="1632"/>
                  </a:lnTo>
                  <a:lnTo>
                    <a:pt x="1917" y="1632"/>
                  </a:lnTo>
                  <a:lnTo>
                    <a:pt x="1914" y="1634"/>
                  </a:lnTo>
                  <a:lnTo>
                    <a:pt x="1914" y="1634"/>
                  </a:lnTo>
                  <a:lnTo>
                    <a:pt x="1914" y="1634"/>
                  </a:lnTo>
                  <a:lnTo>
                    <a:pt x="1912" y="1634"/>
                  </a:lnTo>
                  <a:lnTo>
                    <a:pt x="1910" y="1634"/>
                  </a:lnTo>
                  <a:lnTo>
                    <a:pt x="1910" y="1632"/>
                  </a:lnTo>
                  <a:lnTo>
                    <a:pt x="1907" y="1632"/>
                  </a:lnTo>
                  <a:lnTo>
                    <a:pt x="1907" y="1632"/>
                  </a:lnTo>
                  <a:lnTo>
                    <a:pt x="1907" y="1632"/>
                  </a:lnTo>
                  <a:lnTo>
                    <a:pt x="1910" y="1632"/>
                  </a:lnTo>
                  <a:lnTo>
                    <a:pt x="1910" y="1632"/>
                  </a:lnTo>
                  <a:lnTo>
                    <a:pt x="1910" y="1632"/>
                  </a:lnTo>
                  <a:lnTo>
                    <a:pt x="1907" y="1632"/>
                  </a:lnTo>
                  <a:lnTo>
                    <a:pt x="1907" y="1632"/>
                  </a:lnTo>
                  <a:lnTo>
                    <a:pt x="1905" y="1632"/>
                  </a:lnTo>
                  <a:lnTo>
                    <a:pt x="1905" y="1632"/>
                  </a:lnTo>
                  <a:lnTo>
                    <a:pt x="1905" y="1629"/>
                  </a:lnTo>
                  <a:lnTo>
                    <a:pt x="1905" y="1629"/>
                  </a:lnTo>
                  <a:lnTo>
                    <a:pt x="1905" y="1629"/>
                  </a:lnTo>
                  <a:lnTo>
                    <a:pt x="1903" y="1629"/>
                  </a:lnTo>
                  <a:lnTo>
                    <a:pt x="1903" y="1629"/>
                  </a:lnTo>
                  <a:lnTo>
                    <a:pt x="1900" y="1629"/>
                  </a:lnTo>
                  <a:lnTo>
                    <a:pt x="1900" y="1627"/>
                  </a:lnTo>
                  <a:lnTo>
                    <a:pt x="1898" y="1627"/>
                  </a:lnTo>
                  <a:lnTo>
                    <a:pt x="1896" y="1627"/>
                  </a:lnTo>
                  <a:lnTo>
                    <a:pt x="1896" y="1627"/>
                  </a:lnTo>
                  <a:lnTo>
                    <a:pt x="1893" y="1627"/>
                  </a:lnTo>
                  <a:lnTo>
                    <a:pt x="1893" y="1627"/>
                  </a:lnTo>
                  <a:lnTo>
                    <a:pt x="1891" y="1627"/>
                  </a:lnTo>
                  <a:lnTo>
                    <a:pt x="1891" y="1627"/>
                  </a:lnTo>
                  <a:lnTo>
                    <a:pt x="1891" y="1627"/>
                  </a:lnTo>
                  <a:lnTo>
                    <a:pt x="1888" y="1625"/>
                  </a:lnTo>
                  <a:lnTo>
                    <a:pt x="1888" y="1625"/>
                  </a:lnTo>
                  <a:lnTo>
                    <a:pt x="1886" y="1622"/>
                  </a:lnTo>
                  <a:lnTo>
                    <a:pt x="1886" y="1622"/>
                  </a:lnTo>
                  <a:lnTo>
                    <a:pt x="1884" y="1620"/>
                  </a:lnTo>
                  <a:lnTo>
                    <a:pt x="1881" y="1620"/>
                  </a:lnTo>
                  <a:lnTo>
                    <a:pt x="1881" y="1620"/>
                  </a:lnTo>
                  <a:lnTo>
                    <a:pt x="1881" y="1620"/>
                  </a:lnTo>
                  <a:lnTo>
                    <a:pt x="1879" y="1618"/>
                  </a:lnTo>
                  <a:lnTo>
                    <a:pt x="1879" y="1618"/>
                  </a:lnTo>
                  <a:lnTo>
                    <a:pt x="1879" y="1618"/>
                  </a:lnTo>
                  <a:lnTo>
                    <a:pt x="1877" y="1615"/>
                  </a:lnTo>
                  <a:lnTo>
                    <a:pt x="1874" y="1615"/>
                  </a:lnTo>
                  <a:lnTo>
                    <a:pt x="1872" y="1613"/>
                  </a:lnTo>
                  <a:lnTo>
                    <a:pt x="1872" y="1611"/>
                  </a:lnTo>
                  <a:lnTo>
                    <a:pt x="1872" y="1611"/>
                  </a:lnTo>
                  <a:lnTo>
                    <a:pt x="1869" y="1611"/>
                  </a:lnTo>
                  <a:lnTo>
                    <a:pt x="1869" y="1611"/>
                  </a:lnTo>
                  <a:lnTo>
                    <a:pt x="1869" y="1611"/>
                  </a:lnTo>
                  <a:lnTo>
                    <a:pt x="1869" y="1608"/>
                  </a:lnTo>
                  <a:lnTo>
                    <a:pt x="1867" y="1608"/>
                  </a:lnTo>
                  <a:lnTo>
                    <a:pt x="1867" y="1608"/>
                  </a:lnTo>
                  <a:lnTo>
                    <a:pt x="1867" y="1611"/>
                  </a:lnTo>
                  <a:lnTo>
                    <a:pt x="1867" y="1611"/>
                  </a:lnTo>
                  <a:lnTo>
                    <a:pt x="1867" y="1611"/>
                  </a:lnTo>
                  <a:lnTo>
                    <a:pt x="1867" y="1611"/>
                  </a:lnTo>
                  <a:lnTo>
                    <a:pt x="1867" y="1613"/>
                  </a:lnTo>
                  <a:lnTo>
                    <a:pt x="1867" y="1613"/>
                  </a:lnTo>
                  <a:lnTo>
                    <a:pt x="1867" y="1613"/>
                  </a:lnTo>
                  <a:lnTo>
                    <a:pt x="1867" y="1613"/>
                  </a:lnTo>
                  <a:lnTo>
                    <a:pt x="1867" y="1613"/>
                  </a:lnTo>
                  <a:lnTo>
                    <a:pt x="1867" y="1613"/>
                  </a:lnTo>
                  <a:lnTo>
                    <a:pt x="1867" y="1615"/>
                  </a:lnTo>
                  <a:lnTo>
                    <a:pt x="1867" y="1615"/>
                  </a:lnTo>
                  <a:lnTo>
                    <a:pt x="1867" y="1615"/>
                  </a:lnTo>
                  <a:lnTo>
                    <a:pt x="1865" y="1615"/>
                  </a:lnTo>
                  <a:lnTo>
                    <a:pt x="1865" y="1615"/>
                  </a:lnTo>
                  <a:lnTo>
                    <a:pt x="1865" y="1618"/>
                  </a:lnTo>
                  <a:lnTo>
                    <a:pt x="1865" y="1618"/>
                  </a:lnTo>
                  <a:lnTo>
                    <a:pt x="1865" y="1618"/>
                  </a:lnTo>
                  <a:lnTo>
                    <a:pt x="1865" y="1620"/>
                  </a:lnTo>
                  <a:lnTo>
                    <a:pt x="1865" y="1620"/>
                  </a:lnTo>
                  <a:lnTo>
                    <a:pt x="1865" y="1620"/>
                  </a:lnTo>
                  <a:lnTo>
                    <a:pt x="1865" y="1620"/>
                  </a:lnTo>
                  <a:lnTo>
                    <a:pt x="1865" y="1625"/>
                  </a:lnTo>
                  <a:lnTo>
                    <a:pt x="1865" y="1625"/>
                  </a:lnTo>
                  <a:lnTo>
                    <a:pt x="1865" y="1627"/>
                  </a:lnTo>
                  <a:lnTo>
                    <a:pt x="1865" y="1629"/>
                  </a:lnTo>
                  <a:lnTo>
                    <a:pt x="1865" y="1632"/>
                  </a:lnTo>
                  <a:lnTo>
                    <a:pt x="1865" y="1634"/>
                  </a:lnTo>
                  <a:lnTo>
                    <a:pt x="1865" y="1637"/>
                  </a:lnTo>
                  <a:lnTo>
                    <a:pt x="1865" y="1637"/>
                  </a:lnTo>
                  <a:lnTo>
                    <a:pt x="1865" y="1637"/>
                  </a:lnTo>
                  <a:lnTo>
                    <a:pt x="1867" y="1637"/>
                  </a:lnTo>
                  <a:lnTo>
                    <a:pt x="1867" y="1639"/>
                  </a:lnTo>
                  <a:lnTo>
                    <a:pt x="1867" y="1641"/>
                  </a:lnTo>
                  <a:lnTo>
                    <a:pt x="1867" y="1641"/>
                  </a:lnTo>
                  <a:lnTo>
                    <a:pt x="1869" y="1644"/>
                  </a:lnTo>
                  <a:lnTo>
                    <a:pt x="1869" y="1644"/>
                  </a:lnTo>
                  <a:lnTo>
                    <a:pt x="1869" y="1644"/>
                  </a:lnTo>
                  <a:lnTo>
                    <a:pt x="1869" y="1644"/>
                  </a:lnTo>
                  <a:lnTo>
                    <a:pt x="1869" y="1646"/>
                  </a:lnTo>
                  <a:lnTo>
                    <a:pt x="1869" y="1648"/>
                  </a:lnTo>
                  <a:lnTo>
                    <a:pt x="1869" y="1651"/>
                  </a:lnTo>
                  <a:lnTo>
                    <a:pt x="1869" y="1651"/>
                  </a:lnTo>
                  <a:lnTo>
                    <a:pt x="1869" y="1655"/>
                  </a:lnTo>
                  <a:lnTo>
                    <a:pt x="1869" y="1658"/>
                  </a:lnTo>
                  <a:lnTo>
                    <a:pt x="1869" y="1665"/>
                  </a:lnTo>
                  <a:lnTo>
                    <a:pt x="1869" y="1665"/>
                  </a:lnTo>
                  <a:lnTo>
                    <a:pt x="1869" y="1665"/>
                  </a:lnTo>
                  <a:lnTo>
                    <a:pt x="1869" y="1667"/>
                  </a:lnTo>
                  <a:lnTo>
                    <a:pt x="1869" y="1667"/>
                  </a:lnTo>
                  <a:lnTo>
                    <a:pt x="1869" y="1665"/>
                  </a:lnTo>
                  <a:lnTo>
                    <a:pt x="1869" y="1665"/>
                  </a:lnTo>
                  <a:lnTo>
                    <a:pt x="1869" y="1667"/>
                  </a:lnTo>
                  <a:lnTo>
                    <a:pt x="1869" y="1667"/>
                  </a:lnTo>
                  <a:lnTo>
                    <a:pt x="1869" y="1670"/>
                  </a:lnTo>
                  <a:lnTo>
                    <a:pt x="1869" y="1670"/>
                  </a:lnTo>
                  <a:lnTo>
                    <a:pt x="1872" y="1670"/>
                  </a:lnTo>
                  <a:lnTo>
                    <a:pt x="1872" y="1672"/>
                  </a:lnTo>
                  <a:lnTo>
                    <a:pt x="1872" y="1674"/>
                  </a:lnTo>
                  <a:lnTo>
                    <a:pt x="1869" y="1679"/>
                  </a:lnTo>
                  <a:lnTo>
                    <a:pt x="1869" y="1681"/>
                  </a:lnTo>
                  <a:lnTo>
                    <a:pt x="1869" y="1681"/>
                  </a:lnTo>
                  <a:lnTo>
                    <a:pt x="1869" y="1686"/>
                  </a:lnTo>
                  <a:lnTo>
                    <a:pt x="1869" y="1686"/>
                  </a:lnTo>
                  <a:lnTo>
                    <a:pt x="1869" y="1689"/>
                  </a:lnTo>
                  <a:lnTo>
                    <a:pt x="1869" y="1689"/>
                  </a:lnTo>
                  <a:lnTo>
                    <a:pt x="1869" y="1689"/>
                  </a:lnTo>
                  <a:lnTo>
                    <a:pt x="1869" y="1689"/>
                  </a:lnTo>
                  <a:lnTo>
                    <a:pt x="1869" y="1689"/>
                  </a:lnTo>
                  <a:lnTo>
                    <a:pt x="1869" y="1689"/>
                  </a:lnTo>
                  <a:lnTo>
                    <a:pt x="1869" y="1689"/>
                  </a:lnTo>
                  <a:lnTo>
                    <a:pt x="1869" y="1689"/>
                  </a:lnTo>
                  <a:lnTo>
                    <a:pt x="1872" y="1689"/>
                  </a:lnTo>
                  <a:lnTo>
                    <a:pt x="1872" y="1689"/>
                  </a:lnTo>
                  <a:lnTo>
                    <a:pt x="1872" y="1689"/>
                  </a:lnTo>
                  <a:lnTo>
                    <a:pt x="1872" y="1689"/>
                  </a:lnTo>
                  <a:lnTo>
                    <a:pt x="1872" y="1689"/>
                  </a:lnTo>
                  <a:lnTo>
                    <a:pt x="1869" y="1686"/>
                  </a:lnTo>
                  <a:lnTo>
                    <a:pt x="1869" y="1686"/>
                  </a:lnTo>
                  <a:lnTo>
                    <a:pt x="1869" y="1686"/>
                  </a:lnTo>
                  <a:lnTo>
                    <a:pt x="1872" y="1686"/>
                  </a:lnTo>
                  <a:lnTo>
                    <a:pt x="1872" y="1684"/>
                  </a:lnTo>
                  <a:lnTo>
                    <a:pt x="1872" y="1684"/>
                  </a:lnTo>
                  <a:lnTo>
                    <a:pt x="1872" y="1684"/>
                  </a:lnTo>
                  <a:lnTo>
                    <a:pt x="1872" y="1684"/>
                  </a:lnTo>
                  <a:lnTo>
                    <a:pt x="1872" y="1684"/>
                  </a:lnTo>
                  <a:lnTo>
                    <a:pt x="1874" y="1684"/>
                  </a:lnTo>
                  <a:lnTo>
                    <a:pt x="1874" y="1684"/>
                  </a:lnTo>
                  <a:lnTo>
                    <a:pt x="1874" y="1684"/>
                  </a:lnTo>
                  <a:lnTo>
                    <a:pt x="1874" y="1684"/>
                  </a:lnTo>
                  <a:lnTo>
                    <a:pt x="1877" y="1686"/>
                  </a:lnTo>
                  <a:lnTo>
                    <a:pt x="1874" y="1686"/>
                  </a:lnTo>
                  <a:lnTo>
                    <a:pt x="1874" y="1686"/>
                  </a:lnTo>
                  <a:lnTo>
                    <a:pt x="1877" y="1686"/>
                  </a:lnTo>
                  <a:lnTo>
                    <a:pt x="1879" y="1689"/>
                  </a:lnTo>
                  <a:lnTo>
                    <a:pt x="1877" y="1689"/>
                  </a:lnTo>
                  <a:lnTo>
                    <a:pt x="1877" y="1689"/>
                  </a:lnTo>
                  <a:lnTo>
                    <a:pt x="1877" y="1689"/>
                  </a:lnTo>
                  <a:lnTo>
                    <a:pt x="1879" y="1689"/>
                  </a:lnTo>
                  <a:lnTo>
                    <a:pt x="1881" y="1689"/>
                  </a:lnTo>
                  <a:lnTo>
                    <a:pt x="1881" y="1689"/>
                  </a:lnTo>
                  <a:lnTo>
                    <a:pt x="1881" y="1689"/>
                  </a:lnTo>
                  <a:lnTo>
                    <a:pt x="1879" y="1691"/>
                  </a:lnTo>
                  <a:lnTo>
                    <a:pt x="1877" y="1691"/>
                  </a:lnTo>
                  <a:lnTo>
                    <a:pt x="1874" y="1691"/>
                  </a:lnTo>
                  <a:lnTo>
                    <a:pt x="1874" y="1691"/>
                  </a:lnTo>
                  <a:lnTo>
                    <a:pt x="1874" y="1691"/>
                  </a:lnTo>
                  <a:lnTo>
                    <a:pt x="1872" y="1691"/>
                  </a:lnTo>
                  <a:lnTo>
                    <a:pt x="1872" y="1691"/>
                  </a:lnTo>
                  <a:lnTo>
                    <a:pt x="1872" y="1693"/>
                  </a:lnTo>
                  <a:lnTo>
                    <a:pt x="1874" y="1693"/>
                  </a:lnTo>
                  <a:lnTo>
                    <a:pt x="1874" y="1693"/>
                  </a:lnTo>
                  <a:lnTo>
                    <a:pt x="1874" y="1693"/>
                  </a:lnTo>
                  <a:lnTo>
                    <a:pt x="1874" y="1693"/>
                  </a:lnTo>
                  <a:lnTo>
                    <a:pt x="1874" y="1696"/>
                  </a:lnTo>
                  <a:lnTo>
                    <a:pt x="1872" y="1693"/>
                  </a:lnTo>
                  <a:lnTo>
                    <a:pt x="1872" y="1693"/>
                  </a:lnTo>
                  <a:lnTo>
                    <a:pt x="1872" y="1693"/>
                  </a:lnTo>
                  <a:lnTo>
                    <a:pt x="1872" y="1693"/>
                  </a:lnTo>
                  <a:lnTo>
                    <a:pt x="1872" y="1693"/>
                  </a:lnTo>
                  <a:lnTo>
                    <a:pt x="1872" y="1691"/>
                  </a:lnTo>
                  <a:lnTo>
                    <a:pt x="1872" y="1691"/>
                  </a:lnTo>
                  <a:lnTo>
                    <a:pt x="1872" y="1689"/>
                  </a:lnTo>
                  <a:lnTo>
                    <a:pt x="1869" y="1691"/>
                  </a:lnTo>
                  <a:lnTo>
                    <a:pt x="1869" y="1691"/>
                  </a:lnTo>
                  <a:lnTo>
                    <a:pt x="1869" y="1693"/>
                  </a:lnTo>
                  <a:lnTo>
                    <a:pt x="1869" y="1696"/>
                  </a:lnTo>
                  <a:lnTo>
                    <a:pt x="1869" y="1698"/>
                  </a:lnTo>
                  <a:lnTo>
                    <a:pt x="1869" y="1698"/>
                  </a:lnTo>
                  <a:lnTo>
                    <a:pt x="1869" y="1698"/>
                  </a:lnTo>
                  <a:lnTo>
                    <a:pt x="1872" y="1700"/>
                  </a:lnTo>
                  <a:lnTo>
                    <a:pt x="1872" y="1700"/>
                  </a:lnTo>
                  <a:lnTo>
                    <a:pt x="1872" y="1700"/>
                  </a:lnTo>
                  <a:lnTo>
                    <a:pt x="1872" y="1700"/>
                  </a:lnTo>
                  <a:lnTo>
                    <a:pt x="1872" y="1700"/>
                  </a:lnTo>
                  <a:lnTo>
                    <a:pt x="1874" y="1703"/>
                  </a:lnTo>
                  <a:lnTo>
                    <a:pt x="1874" y="1700"/>
                  </a:lnTo>
                  <a:lnTo>
                    <a:pt x="1874" y="1700"/>
                  </a:lnTo>
                  <a:lnTo>
                    <a:pt x="1874" y="1700"/>
                  </a:lnTo>
                  <a:lnTo>
                    <a:pt x="1874" y="1700"/>
                  </a:lnTo>
                  <a:lnTo>
                    <a:pt x="1874" y="1700"/>
                  </a:lnTo>
                  <a:lnTo>
                    <a:pt x="1877" y="1700"/>
                  </a:lnTo>
                  <a:lnTo>
                    <a:pt x="1877" y="1700"/>
                  </a:lnTo>
                  <a:lnTo>
                    <a:pt x="1877" y="1700"/>
                  </a:lnTo>
                  <a:lnTo>
                    <a:pt x="1877" y="1700"/>
                  </a:lnTo>
                  <a:lnTo>
                    <a:pt x="1877" y="1700"/>
                  </a:lnTo>
                  <a:lnTo>
                    <a:pt x="1879" y="1703"/>
                  </a:lnTo>
                  <a:lnTo>
                    <a:pt x="1879" y="1703"/>
                  </a:lnTo>
                  <a:lnTo>
                    <a:pt x="1879" y="1705"/>
                  </a:lnTo>
                  <a:lnTo>
                    <a:pt x="1881" y="1705"/>
                  </a:lnTo>
                  <a:lnTo>
                    <a:pt x="1879" y="1705"/>
                  </a:lnTo>
                  <a:lnTo>
                    <a:pt x="1879" y="1705"/>
                  </a:lnTo>
                  <a:lnTo>
                    <a:pt x="1879" y="1705"/>
                  </a:lnTo>
                  <a:lnTo>
                    <a:pt x="1879" y="1705"/>
                  </a:lnTo>
                  <a:lnTo>
                    <a:pt x="1879" y="1703"/>
                  </a:lnTo>
                  <a:lnTo>
                    <a:pt x="1879" y="1703"/>
                  </a:lnTo>
                  <a:lnTo>
                    <a:pt x="1877" y="1703"/>
                  </a:lnTo>
                  <a:lnTo>
                    <a:pt x="1874" y="1703"/>
                  </a:lnTo>
                  <a:lnTo>
                    <a:pt x="1874" y="1705"/>
                  </a:lnTo>
                  <a:lnTo>
                    <a:pt x="1874" y="1705"/>
                  </a:lnTo>
                  <a:lnTo>
                    <a:pt x="1874" y="1708"/>
                  </a:lnTo>
                  <a:lnTo>
                    <a:pt x="1874" y="1708"/>
                  </a:lnTo>
                  <a:lnTo>
                    <a:pt x="1874" y="1705"/>
                  </a:lnTo>
                  <a:lnTo>
                    <a:pt x="1872" y="1705"/>
                  </a:lnTo>
                  <a:lnTo>
                    <a:pt x="1874" y="1708"/>
                  </a:lnTo>
                  <a:lnTo>
                    <a:pt x="1874" y="1708"/>
                  </a:lnTo>
                  <a:lnTo>
                    <a:pt x="1874" y="1710"/>
                  </a:lnTo>
                  <a:lnTo>
                    <a:pt x="1874" y="1710"/>
                  </a:lnTo>
                  <a:lnTo>
                    <a:pt x="1874" y="1710"/>
                  </a:lnTo>
                  <a:lnTo>
                    <a:pt x="1874" y="1710"/>
                  </a:lnTo>
                  <a:lnTo>
                    <a:pt x="1874" y="1712"/>
                  </a:lnTo>
                  <a:lnTo>
                    <a:pt x="1874" y="1712"/>
                  </a:lnTo>
                  <a:lnTo>
                    <a:pt x="1874" y="1712"/>
                  </a:lnTo>
                  <a:lnTo>
                    <a:pt x="1872" y="1712"/>
                  </a:lnTo>
                  <a:lnTo>
                    <a:pt x="1872" y="1712"/>
                  </a:lnTo>
                  <a:lnTo>
                    <a:pt x="1872" y="1712"/>
                  </a:lnTo>
                  <a:lnTo>
                    <a:pt x="1872" y="1715"/>
                  </a:lnTo>
                  <a:lnTo>
                    <a:pt x="1872" y="1715"/>
                  </a:lnTo>
                  <a:lnTo>
                    <a:pt x="1872" y="1715"/>
                  </a:lnTo>
                  <a:lnTo>
                    <a:pt x="1872" y="1715"/>
                  </a:lnTo>
                  <a:lnTo>
                    <a:pt x="1872" y="1715"/>
                  </a:lnTo>
                  <a:lnTo>
                    <a:pt x="1874" y="1715"/>
                  </a:lnTo>
                  <a:lnTo>
                    <a:pt x="1872" y="1715"/>
                  </a:lnTo>
                  <a:lnTo>
                    <a:pt x="1872" y="1715"/>
                  </a:lnTo>
                  <a:lnTo>
                    <a:pt x="1874" y="1717"/>
                  </a:lnTo>
                  <a:lnTo>
                    <a:pt x="1874" y="1717"/>
                  </a:lnTo>
                  <a:lnTo>
                    <a:pt x="1874" y="1717"/>
                  </a:lnTo>
                  <a:lnTo>
                    <a:pt x="1874" y="1719"/>
                  </a:lnTo>
                  <a:lnTo>
                    <a:pt x="1874" y="1717"/>
                  </a:lnTo>
                  <a:lnTo>
                    <a:pt x="1872" y="1717"/>
                  </a:lnTo>
                  <a:lnTo>
                    <a:pt x="1872" y="1715"/>
                  </a:lnTo>
                  <a:lnTo>
                    <a:pt x="1872" y="1715"/>
                  </a:lnTo>
                  <a:lnTo>
                    <a:pt x="1872" y="1717"/>
                  </a:lnTo>
                  <a:lnTo>
                    <a:pt x="1872" y="1717"/>
                  </a:lnTo>
                  <a:lnTo>
                    <a:pt x="1869" y="1719"/>
                  </a:lnTo>
                  <a:lnTo>
                    <a:pt x="1869" y="1717"/>
                  </a:lnTo>
                  <a:lnTo>
                    <a:pt x="1869" y="1717"/>
                  </a:lnTo>
                  <a:lnTo>
                    <a:pt x="1867" y="1717"/>
                  </a:lnTo>
                  <a:lnTo>
                    <a:pt x="1869" y="1715"/>
                  </a:lnTo>
                  <a:lnTo>
                    <a:pt x="1869" y="1712"/>
                  </a:lnTo>
                  <a:lnTo>
                    <a:pt x="1869" y="1712"/>
                  </a:lnTo>
                  <a:lnTo>
                    <a:pt x="1869" y="1708"/>
                  </a:lnTo>
                  <a:lnTo>
                    <a:pt x="1869" y="1708"/>
                  </a:lnTo>
                  <a:lnTo>
                    <a:pt x="1869" y="1705"/>
                  </a:lnTo>
                  <a:lnTo>
                    <a:pt x="1869" y="1705"/>
                  </a:lnTo>
                  <a:lnTo>
                    <a:pt x="1869" y="1705"/>
                  </a:lnTo>
                  <a:lnTo>
                    <a:pt x="1869" y="1703"/>
                  </a:lnTo>
                  <a:lnTo>
                    <a:pt x="1869" y="1703"/>
                  </a:lnTo>
                  <a:lnTo>
                    <a:pt x="1869" y="1703"/>
                  </a:lnTo>
                  <a:lnTo>
                    <a:pt x="1869" y="1708"/>
                  </a:lnTo>
                  <a:lnTo>
                    <a:pt x="1867" y="1715"/>
                  </a:lnTo>
                  <a:lnTo>
                    <a:pt x="1867" y="1717"/>
                  </a:lnTo>
                  <a:lnTo>
                    <a:pt x="1867" y="1719"/>
                  </a:lnTo>
                  <a:lnTo>
                    <a:pt x="1865" y="1719"/>
                  </a:lnTo>
                  <a:lnTo>
                    <a:pt x="1865" y="1719"/>
                  </a:lnTo>
                  <a:lnTo>
                    <a:pt x="1865" y="1722"/>
                  </a:lnTo>
                  <a:lnTo>
                    <a:pt x="1865" y="1722"/>
                  </a:lnTo>
                  <a:lnTo>
                    <a:pt x="1865" y="1722"/>
                  </a:lnTo>
                  <a:lnTo>
                    <a:pt x="1865" y="1722"/>
                  </a:lnTo>
                  <a:lnTo>
                    <a:pt x="1865" y="1724"/>
                  </a:lnTo>
                  <a:lnTo>
                    <a:pt x="1865" y="1724"/>
                  </a:lnTo>
                  <a:lnTo>
                    <a:pt x="1865" y="1722"/>
                  </a:lnTo>
                  <a:lnTo>
                    <a:pt x="1865" y="1724"/>
                  </a:lnTo>
                  <a:lnTo>
                    <a:pt x="1867" y="1724"/>
                  </a:lnTo>
                  <a:lnTo>
                    <a:pt x="1867" y="1724"/>
                  </a:lnTo>
                  <a:lnTo>
                    <a:pt x="1867" y="1722"/>
                  </a:lnTo>
                  <a:lnTo>
                    <a:pt x="1865" y="1722"/>
                  </a:lnTo>
                  <a:lnTo>
                    <a:pt x="1867" y="1722"/>
                  </a:lnTo>
                  <a:lnTo>
                    <a:pt x="1867" y="1722"/>
                  </a:lnTo>
                  <a:lnTo>
                    <a:pt x="1867" y="1722"/>
                  </a:lnTo>
                  <a:lnTo>
                    <a:pt x="1867" y="1722"/>
                  </a:lnTo>
                  <a:lnTo>
                    <a:pt x="1867" y="1722"/>
                  </a:lnTo>
                  <a:lnTo>
                    <a:pt x="1869" y="1722"/>
                  </a:lnTo>
                  <a:lnTo>
                    <a:pt x="1869" y="1722"/>
                  </a:lnTo>
                  <a:lnTo>
                    <a:pt x="1869" y="1722"/>
                  </a:lnTo>
                  <a:lnTo>
                    <a:pt x="1869" y="1724"/>
                  </a:lnTo>
                  <a:lnTo>
                    <a:pt x="1869" y="1724"/>
                  </a:lnTo>
                  <a:lnTo>
                    <a:pt x="1869" y="1724"/>
                  </a:lnTo>
                  <a:lnTo>
                    <a:pt x="1869" y="1726"/>
                  </a:lnTo>
                  <a:lnTo>
                    <a:pt x="1872" y="1726"/>
                  </a:lnTo>
                  <a:lnTo>
                    <a:pt x="1872" y="1726"/>
                  </a:lnTo>
                  <a:lnTo>
                    <a:pt x="1872" y="1726"/>
                  </a:lnTo>
                  <a:lnTo>
                    <a:pt x="1872" y="1726"/>
                  </a:lnTo>
                  <a:lnTo>
                    <a:pt x="1872" y="1726"/>
                  </a:lnTo>
                  <a:lnTo>
                    <a:pt x="1872" y="1726"/>
                  </a:lnTo>
                  <a:lnTo>
                    <a:pt x="1874" y="1724"/>
                  </a:lnTo>
                  <a:lnTo>
                    <a:pt x="1874" y="1724"/>
                  </a:lnTo>
                  <a:lnTo>
                    <a:pt x="1874" y="1724"/>
                  </a:lnTo>
                  <a:lnTo>
                    <a:pt x="1874" y="1724"/>
                  </a:lnTo>
                  <a:lnTo>
                    <a:pt x="1874" y="1724"/>
                  </a:lnTo>
                  <a:lnTo>
                    <a:pt x="1877" y="1724"/>
                  </a:lnTo>
                  <a:lnTo>
                    <a:pt x="1877" y="1724"/>
                  </a:lnTo>
                  <a:lnTo>
                    <a:pt x="1877" y="1724"/>
                  </a:lnTo>
                  <a:lnTo>
                    <a:pt x="1877" y="1724"/>
                  </a:lnTo>
                  <a:lnTo>
                    <a:pt x="1877" y="1724"/>
                  </a:lnTo>
                  <a:lnTo>
                    <a:pt x="1877" y="1724"/>
                  </a:lnTo>
                  <a:lnTo>
                    <a:pt x="1877" y="1724"/>
                  </a:lnTo>
                  <a:lnTo>
                    <a:pt x="1877" y="1724"/>
                  </a:lnTo>
                  <a:lnTo>
                    <a:pt x="1879" y="1724"/>
                  </a:lnTo>
                  <a:lnTo>
                    <a:pt x="1879" y="1724"/>
                  </a:lnTo>
                  <a:lnTo>
                    <a:pt x="1879" y="1724"/>
                  </a:lnTo>
                  <a:lnTo>
                    <a:pt x="1879" y="1724"/>
                  </a:lnTo>
                  <a:lnTo>
                    <a:pt x="1879" y="1726"/>
                  </a:lnTo>
                  <a:lnTo>
                    <a:pt x="1879" y="1726"/>
                  </a:lnTo>
                  <a:lnTo>
                    <a:pt x="1879" y="1726"/>
                  </a:lnTo>
                  <a:lnTo>
                    <a:pt x="1881" y="1726"/>
                  </a:lnTo>
                  <a:lnTo>
                    <a:pt x="1886" y="1726"/>
                  </a:lnTo>
                  <a:lnTo>
                    <a:pt x="1886" y="1729"/>
                  </a:lnTo>
                  <a:lnTo>
                    <a:pt x="1886" y="1729"/>
                  </a:lnTo>
                  <a:lnTo>
                    <a:pt x="1888" y="1729"/>
                  </a:lnTo>
                  <a:lnTo>
                    <a:pt x="1888" y="1731"/>
                  </a:lnTo>
                  <a:lnTo>
                    <a:pt x="1888" y="1731"/>
                  </a:lnTo>
                  <a:lnTo>
                    <a:pt x="1891" y="1734"/>
                  </a:lnTo>
                  <a:lnTo>
                    <a:pt x="1891" y="1736"/>
                  </a:lnTo>
                  <a:lnTo>
                    <a:pt x="1893" y="1736"/>
                  </a:lnTo>
                  <a:lnTo>
                    <a:pt x="1893" y="1736"/>
                  </a:lnTo>
                  <a:lnTo>
                    <a:pt x="1896" y="1734"/>
                  </a:lnTo>
                  <a:lnTo>
                    <a:pt x="1896" y="1734"/>
                  </a:lnTo>
                  <a:lnTo>
                    <a:pt x="1896" y="1734"/>
                  </a:lnTo>
                  <a:lnTo>
                    <a:pt x="1896" y="1736"/>
                  </a:lnTo>
                  <a:lnTo>
                    <a:pt x="1896" y="1736"/>
                  </a:lnTo>
                  <a:lnTo>
                    <a:pt x="1893" y="1736"/>
                  </a:lnTo>
                  <a:lnTo>
                    <a:pt x="1893" y="1736"/>
                  </a:lnTo>
                  <a:lnTo>
                    <a:pt x="1893" y="1736"/>
                  </a:lnTo>
                  <a:lnTo>
                    <a:pt x="1891" y="1736"/>
                  </a:lnTo>
                  <a:lnTo>
                    <a:pt x="1891" y="1736"/>
                  </a:lnTo>
                  <a:lnTo>
                    <a:pt x="1891" y="1736"/>
                  </a:lnTo>
                  <a:lnTo>
                    <a:pt x="1888" y="1734"/>
                  </a:lnTo>
                  <a:lnTo>
                    <a:pt x="1888" y="1734"/>
                  </a:lnTo>
                  <a:lnTo>
                    <a:pt x="1886" y="1734"/>
                  </a:lnTo>
                  <a:lnTo>
                    <a:pt x="1886" y="1734"/>
                  </a:lnTo>
                  <a:lnTo>
                    <a:pt x="1886" y="1731"/>
                  </a:lnTo>
                  <a:lnTo>
                    <a:pt x="1886" y="1731"/>
                  </a:lnTo>
                  <a:lnTo>
                    <a:pt x="1886" y="1731"/>
                  </a:lnTo>
                  <a:lnTo>
                    <a:pt x="1886" y="1731"/>
                  </a:lnTo>
                  <a:lnTo>
                    <a:pt x="1886" y="1729"/>
                  </a:lnTo>
                  <a:lnTo>
                    <a:pt x="1886" y="1729"/>
                  </a:lnTo>
                  <a:lnTo>
                    <a:pt x="1884" y="1729"/>
                  </a:lnTo>
                  <a:lnTo>
                    <a:pt x="1884" y="1729"/>
                  </a:lnTo>
                  <a:lnTo>
                    <a:pt x="1884" y="1729"/>
                  </a:lnTo>
                  <a:lnTo>
                    <a:pt x="1881" y="1729"/>
                  </a:lnTo>
                  <a:lnTo>
                    <a:pt x="1881" y="1731"/>
                  </a:lnTo>
                  <a:lnTo>
                    <a:pt x="1881" y="1729"/>
                  </a:lnTo>
                  <a:lnTo>
                    <a:pt x="1881" y="1729"/>
                  </a:lnTo>
                  <a:lnTo>
                    <a:pt x="1881" y="1731"/>
                  </a:lnTo>
                  <a:lnTo>
                    <a:pt x="1881" y="1731"/>
                  </a:lnTo>
                  <a:lnTo>
                    <a:pt x="1881" y="1731"/>
                  </a:lnTo>
                  <a:lnTo>
                    <a:pt x="1877" y="1731"/>
                  </a:lnTo>
                  <a:lnTo>
                    <a:pt x="1877" y="1731"/>
                  </a:lnTo>
                  <a:lnTo>
                    <a:pt x="1877" y="1731"/>
                  </a:lnTo>
                  <a:lnTo>
                    <a:pt x="1874" y="1729"/>
                  </a:lnTo>
                  <a:lnTo>
                    <a:pt x="1874" y="1729"/>
                  </a:lnTo>
                  <a:lnTo>
                    <a:pt x="1874" y="1729"/>
                  </a:lnTo>
                  <a:lnTo>
                    <a:pt x="1874" y="1729"/>
                  </a:lnTo>
                  <a:lnTo>
                    <a:pt x="1872" y="1729"/>
                  </a:lnTo>
                  <a:lnTo>
                    <a:pt x="1872" y="1729"/>
                  </a:lnTo>
                  <a:lnTo>
                    <a:pt x="1872" y="1729"/>
                  </a:lnTo>
                  <a:lnTo>
                    <a:pt x="1872" y="1729"/>
                  </a:lnTo>
                  <a:lnTo>
                    <a:pt x="1872" y="1729"/>
                  </a:lnTo>
                  <a:lnTo>
                    <a:pt x="1872" y="1729"/>
                  </a:lnTo>
                  <a:lnTo>
                    <a:pt x="1872" y="1729"/>
                  </a:lnTo>
                  <a:lnTo>
                    <a:pt x="1872" y="1729"/>
                  </a:lnTo>
                  <a:lnTo>
                    <a:pt x="1872" y="1731"/>
                  </a:lnTo>
                  <a:lnTo>
                    <a:pt x="1874" y="1731"/>
                  </a:lnTo>
                  <a:lnTo>
                    <a:pt x="1874" y="1731"/>
                  </a:lnTo>
                  <a:lnTo>
                    <a:pt x="1874" y="1731"/>
                  </a:lnTo>
                  <a:lnTo>
                    <a:pt x="1874" y="1731"/>
                  </a:lnTo>
                  <a:lnTo>
                    <a:pt x="1874" y="1731"/>
                  </a:lnTo>
                  <a:lnTo>
                    <a:pt x="1872" y="1731"/>
                  </a:lnTo>
                  <a:lnTo>
                    <a:pt x="1872" y="1734"/>
                  </a:lnTo>
                  <a:lnTo>
                    <a:pt x="1872" y="1734"/>
                  </a:lnTo>
                  <a:lnTo>
                    <a:pt x="1872" y="1734"/>
                  </a:lnTo>
                  <a:lnTo>
                    <a:pt x="1872" y="1731"/>
                  </a:lnTo>
                  <a:lnTo>
                    <a:pt x="1872" y="1731"/>
                  </a:lnTo>
                  <a:lnTo>
                    <a:pt x="1872" y="1731"/>
                  </a:lnTo>
                  <a:lnTo>
                    <a:pt x="1872" y="1731"/>
                  </a:lnTo>
                  <a:lnTo>
                    <a:pt x="1872" y="1731"/>
                  </a:lnTo>
                  <a:lnTo>
                    <a:pt x="1869" y="1729"/>
                  </a:lnTo>
                  <a:lnTo>
                    <a:pt x="1869" y="1729"/>
                  </a:lnTo>
                  <a:lnTo>
                    <a:pt x="1869" y="1729"/>
                  </a:lnTo>
                  <a:lnTo>
                    <a:pt x="1869" y="1729"/>
                  </a:lnTo>
                  <a:lnTo>
                    <a:pt x="1869" y="1729"/>
                  </a:lnTo>
                  <a:lnTo>
                    <a:pt x="1869" y="1729"/>
                  </a:lnTo>
                  <a:lnTo>
                    <a:pt x="1869" y="1726"/>
                  </a:lnTo>
                  <a:lnTo>
                    <a:pt x="1867" y="1726"/>
                  </a:lnTo>
                  <a:lnTo>
                    <a:pt x="1867" y="1726"/>
                  </a:lnTo>
                  <a:lnTo>
                    <a:pt x="1867" y="1726"/>
                  </a:lnTo>
                  <a:lnTo>
                    <a:pt x="1867" y="1726"/>
                  </a:lnTo>
                  <a:lnTo>
                    <a:pt x="1867" y="1724"/>
                  </a:lnTo>
                  <a:lnTo>
                    <a:pt x="1867" y="1724"/>
                  </a:lnTo>
                  <a:lnTo>
                    <a:pt x="1867" y="1726"/>
                  </a:lnTo>
                  <a:lnTo>
                    <a:pt x="1867" y="1726"/>
                  </a:lnTo>
                  <a:lnTo>
                    <a:pt x="1867" y="1731"/>
                  </a:lnTo>
                  <a:lnTo>
                    <a:pt x="1867" y="1734"/>
                  </a:lnTo>
                  <a:lnTo>
                    <a:pt x="1867" y="1736"/>
                  </a:lnTo>
                  <a:lnTo>
                    <a:pt x="1867" y="1738"/>
                  </a:lnTo>
                  <a:lnTo>
                    <a:pt x="1867" y="1738"/>
                  </a:lnTo>
                  <a:lnTo>
                    <a:pt x="1867" y="1738"/>
                  </a:lnTo>
                  <a:lnTo>
                    <a:pt x="1865" y="1738"/>
                  </a:lnTo>
                  <a:lnTo>
                    <a:pt x="1865" y="1738"/>
                  </a:lnTo>
                  <a:lnTo>
                    <a:pt x="1865" y="1741"/>
                  </a:lnTo>
                  <a:lnTo>
                    <a:pt x="1865" y="1741"/>
                  </a:lnTo>
                  <a:lnTo>
                    <a:pt x="1865" y="1741"/>
                  </a:lnTo>
                  <a:lnTo>
                    <a:pt x="1865" y="1743"/>
                  </a:lnTo>
                  <a:lnTo>
                    <a:pt x="1865" y="1743"/>
                  </a:lnTo>
                  <a:lnTo>
                    <a:pt x="1865" y="1745"/>
                  </a:lnTo>
                  <a:lnTo>
                    <a:pt x="1865" y="1748"/>
                  </a:lnTo>
                  <a:lnTo>
                    <a:pt x="1862" y="1748"/>
                  </a:lnTo>
                  <a:lnTo>
                    <a:pt x="1862" y="1748"/>
                  </a:lnTo>
                  <a:lnTo>
                    <a:pt x="1862" y="1750"/>
                  </a:lnTo>
                  <a:lnTo>
                    <a:pt x="1862" y="1750"/>
                  </a:lnTo>
                  <a:lnTo>
                    <a:pt x="1862" y="1750"/>
                  </a:lnTo>
                  <a:lnTo>
                    <a:pt x="1862" y="1750"/>
                  </a:lnTo>
                  <a:lnTo>
                    <a:pt x="1862" y="1750"/>
                  </a:lnTo>
                  <a:lnTo>
                    <a:pt x="1862" y="1750"/>
                  </a:lnTo>
                  <a:lnTo>
                    <a:pt x="1862" y="1752"/>
                  </a:lnTo>
                  <a:lnTo>
                    <a:pt x="1862" y="1752"/>
                  </a:lnTo>
                  <a:lnTo>
                    <a:pt x="1862" y="1752"/>
                  </a:lnTo>
                  <a:lnTo>
                    <a:pt x="1862" y="1755"/>
                  </a:lnTo>
                  <a:lnTo>
                    <a:pt x="1862" y="1755"/>
                  </a:lnTo>
                  <a:lnTo>
                    <a:pt x="1862" y="1755"/>
                  </a:lnTo>
                  <a:lnTo>
                    <a:pt x="1862" y="1755"/>
                  </a:lnTo>
                  <a:lnTo>
                    <a:pt x="1862" y="1755"/>
                  </a:lnTo>
                  <a:lnTo>
                    <a:pt x="1865" y="1752"/>
                  </a:lnTo>
                  <a:lnTo>
                    <a:pt x="1865" y="1752"/>
                  </a:lnTo>
                  <a:lnTo>
                    <a:pt x="1865" y="1752"/>
                  </a:lnTo>
                  <a:lnTo>
                    <a:pt x="1865" y="1752"/>
                  </a:lnTo>
                  <a:lnTo>
                    <a:pt x="1865" y="1755"/>
                  </a:lnTo>
                  <a:lnTo>
                    <a:pt x="1865" y="1755"/>
                  </a:lnTo>
                  <a:lnTo>
                    <a:pt x="1865" y="1755"/>
                  </a:lnTo>
                  <a:lnTo>
                    <a:pt x="1865" y="1755"/>
                  </a:lnTo>
                  <a:lnTo>
                    <a:pt x="1865" y="1755"/>
                  </a:lnTo>
                  <a:lnTo>
                    <a:pt x="1865" y="1755"/>
                  </a:lnTo>
                  <a:lnTo>
                    <a:pt x="1865" y="1755"/>
                  </a:lnTo>
                  <a:lnTo>
                    <a:pt x="1865" y="1755"/>
                  </a:lnTo>
                  <a:lnTo>
                    <a:pt x="1865" y="1755"/>
                  </a:lnTo>
                  <a:lnTo>
                    <a:pt x="1865" y="1755"/>
                  </a:lnTo>
                  <a:lnTo>
                    <a:pt x="1865" y="1755"/>
                  </a:lnTo>
                  <a:lnTo>
                    <a:pt x="1865" y="1755"/>
                  </a:lnTo>
                  <a:lnTo>
                    <a:pt x="1862" y="1755"/>
                  </a:lnTo>
                  <a:lnTo>
                    <a:pt x="1862" y="1755"/>
                  </a:lnTo>
                  <a:lnTo>
                    <a:pt x="1862" y="1757"/>
                  </a:lnTo>
                  <a:lnTo>
                    <a:pt x="1862" y="1760"/>
                  </a:lnTo>
                  <a:lnTo>
                    <a:pt x="1860" y="1760"/>
                  </a:lnTo>
                  <a:lnTo>
                    <a:pt x="1862" y="1760"/>
                  </a:lnTo>
                  <a:lnTo>
                    <a:pt x="1862" y="1762"/>
                  </a:lnTo>
                  <a:lnTo>
                    <a:pt x="1862" y="1762"/>
                  </a:lnTo>
                  <a:lnTo>
                    <a:pt x="1862" y="1762"/>
                  </a:lnTo>
                  <a:lnTo>
                    <a:pt x="1862" y="1762"/>
                  </a:lnTo>
                  <a:lnTo>
                    <a:pt x="1862" y="1762"/>
                  </a:lnTo>
                  <a:lnTo>
                    <a:pt x="1862" y="1764"/>
                  </a:lnTo>
                  <a:lnTo>
                    <a:pt x="1862" y="1764"/>
                  </a:lnTo>
                  <a:lnTo>
                    <a:pt x="1862" y="1764"/>
                  </a:lnTo>
                  <a:lnTo>
                    <a:pt x="1862" y="1764"/>
                  </a:lnTo>
                  <a:lnTo>
                    <a:pt x="1862" y="1764"/>
                  </a:lnTo>
                  <a:lnTo>
                    <a:pt x="1862" y="1764"/>
                  </a:lnTo>
                  <a:lnTo>
                    <a:pt x="1862" y="1764"/>
                  </a:lnTo>
                  <a:lnTo>
                    <a:pt x="1862" y="1764"/>
                  </a:lnTo>
                  <a:lnTo>
                    <a:pt x="1860" y="1764"/>
                  </a:lnTo>
                  <a:lnTo>
                    <a:pt x="1860" y="1762"/>
                  </a:lnTo>
                  <a:lnTo>
                    <a:pt x="1862" y="1760"/>
                  </a:lnTo>
                  <a:lnTo>
                    <a:pt x="1860" y="1762"/>
                  </a:lnTo>
                  <a:lnTo>
                    <a:pt x="1860" y="1762"/>
                  </a:lnTo>
                  <a:lnTo>
                    <a:pt x="1860" y="1764"/>
                  </a:lnTo>
                  <a:lnTo>
                    <a:pt x="1860" y="1767"/>
                  </a:lnTo>
                  <a:lnTo>
                    <a:pt x="1860" y="1767"/>
                  </a:lnTo>
                  <a:lnTo>
                    <a:pt x="1860" y="1769"/>
                  </a:lnTo>
                  <a:lnTo>
                    <a:pt x="1860" y="1769"/>
                  </a:lnTo>
                  <a:lnTo>
                    <a:pt x="1860" y="1769"/>
                  </a:lnTo>
                  <a:lnTo>
                    <a:pt x="1858" y="1769"/>
                  </a:lnTo>
                  <a:lnTo>
                    <a:pt x="1860" y="1769"/>
                  </a:lnTo>
                  <a:lnTo>
                    <a:pt x="1860" y="1767"/>
                  </a:lnTo>
                  <a:lnTo>
                    <a:pt x="1860" y="1767"/>
                  </a:lnTo>
                  <a:lnTo>
                    <a:pt x="1860" y="1769"/>
                  </a:lnTo>
                  <a:lnTo>
                    <a:pt x="1860" y="1769"/>
                  </a:lnTo>
                  <a:lnTo>
                    <a:pt x="1858" y="1769"/>
                  </a:lnTo>
                  <a:lnTo>
                    <a:pt x="1858" y="1769"/>
                  </a:lnTo>
                  <a:lnTo>
                    <a:pt x="1858" y="1771"/>
                  </a:lnTo>
                  <a:lnTo>
                    <a:pt x="1858" y="1771"/>
                  </a:lnTo>
                  <a:lnTo>
                    <a:pt x="1858" y="1771"/>
                  </a:lnTo>
                  <a:lnTo>
                    <a:pt x="1858" y="1771"/>
                  </a:lnTo>
                  <a:lnTo>
                    <a:pt x="1858" y="1771"/>
                  </a:lnTo>
                  <a:lnTo>
                    <a:pt x="1858" y="1771"/>
                  </a:lnTo>
                  <a:lnTo>
                    <a:pt x="1858" y="1774"/>
                  </a:lnTo>
                  <a:lnTo>
                    <a:pt x="1858" y="1774"/>
                  </a:lnTo>
                  <a:lnTo>
                    <a:pt x="1858" y="1776"/>
                  </a:lnTo>
                  <a:lnTo>
                    <a:pt x="1858" y="1776"/>
                  </a:lnTo>
                  <a:lnTo>
                    <a:pt x="1855" y="1778"/>
                  </a:lnTo>
                  <a:lnTo>
                    <a:pt x="1858" y="1778"/>
                  </a:lnTo>
                  <a:lnTo>
                    <a:pt x="1855" y="1778"/>
                  </a:lnTo>
                  <a:lnTo>
                    <a:pt x="1855" y="1781"/>
                  </a:lnTo>
                  <a:lnTo>
                    <a:pt x="1855" y="1781"/>
                  </a:lnTo>
                  <a:lnTo>
                    <a:pt x="1855" y="1783"/>
                  </a:lnTo>
                  <a:lnTo>
                    <a:pt x="1855" y="1783"/>
                  </a:lnTo>
                  <a:lnTo>
                    <a:pt x="1853" y="1783"/>
                  </a:lnTo>
                  <a:lnTo>
                    <a:pt x="1853" y="1786"/>
                  </a:lnTo>
                  <a:lnTo>
                    <a:pt x="1853" y="1786"/>
                  </a:lnTo>
                  <a:lnTo>
                    <a:pt x="1853" y="1786"/>
                  </a:lnTo>
                  <a:lnTo>
                    <a:pt x="1853" y="1788"/>
                  </a:lnTo>
                  <a:lnTo>
                    <a:pt x="1853" y="1790"/>
                  </a:lnTo>
                  <a:lnTo>
                    <a:pt x="1851" y="1790"/>
                  </a:lnTo>
                  <a:lnTo>
                    <a:pt x="1851" y="1793"/>
                  </a:lnTo>
                  <a:lnTo>
                    <a:pt x="1851" y="1793"/>
                  </a:lnTo>
                  <a:lnTo>
                    <a:pt x="1851" y="1793"/>
                  </a:lnTo>
                  <a:lnTo>
                    <a:pt x="1851" y="1793"/>
                  </a:lnTo>
                  <a:lnTo>
                    <a:pt x="1851" y="1793"/>
                  </a:lnTo>
                  <a:lnTo>
                    <a:pt x="1851" y="1793"/>
                  </a:lnTo>
                  <a:lnTo>
                    <a:pt x="1851" y="1795"/>
                  </a:lnTo>
                  <a:lnTo>
                    <a:pt x="1851" y="1795"/>
                  </a:lnTo>
                  <a:lnTo>
                    <a:pt x="1848" y="1797"/>
                  </a:lnTo>
                  <a:lnTo>
                    <a:pt x="1848" y="1797"/>
                  </a:lnTo>
                  <a:lnTo>
                    <a:pt x="1848" y="1797"/>
                  </a:lnTo>
                  <a:lnTo>
                    <a:pt x="1848" y="1800"/>
                  </a:lnTo>
                  <a:lnTo>
                    <a:pt x="1848" y="1800"/>
                  </a:lnTo>
                  <a:lnTo>
                    <a:pt x="1848" y="1802"/>
                  </a:lnTo>
                  <a:lnTo>
                    <a:pt x="1848" y="1802"/>
                  </a:lnTo>
                  <a:lnTo>
                    <a:pt x="1848" y="1805"/>
                  </a:lnTo>
                  <a:lnTo>
                    <a:pt x="1846" y="1805"/>
                  </a:lnTo>
                  <a:lnTo>
                    <a:pt x="1846" y="1805"/>
                  </a:lnTo>
                  <a:lnTo>
                    <a:pt x="1846" y="1805"/>
                  </a:lnTo>
                  <a:lnTo>
                    <a:pt x="1848" y="1805"/>
                  </a:lnTo>
                  <a:lnTo>
                    <a:pt x="1848" y="1805"/>
                  </a:lnTo>
                  <a:lnTo>
                    <a:pt x="1848" y="1807"/>
                  </a:lnTo>
                  <a:lnTo>
                    <a:pt x="1846" y="1807"/>
                  </a:lnTo>
                  <a:lnTo>
                    <a:pt x="1846" y="1807"/>
                  </a:lnTo>
                  <a:lnTo>
                    <a:pt x="1846" y="1807"/>
                  </a:lnTo>
                  <a:lnTo>
                    <a:pt x="1846" y="1807"/>
                  </a:lnTo>
                  <a:lnTo>
                    <a:pt x="1846" y="1807"/>
                  </a:lnTo>
                  <a:lnTo>
                    <a:pt x="1848" y="1807"/>
                  </a:lnTo>
                  <a:lnTo>
                    <a:pt x="1848" y="1807"/>
                  </a:lnTo>
                  <a:lnTo>
                    <a:pt x="1848" y="1807"/>
                  </a:lnTo>
                  <a:lnTo>
                    <a:pt x="1848" y="1807"/>
                  </a:lnTo>
                  <a:lnTo>
                    <a:pt x="1848" y="1807"/>
                  </a:lnTo>
                  <a:lnTo>
                    <a:pt x="1848" y="1807"/>
                  </a:lnTo>
                  <a:lnTo>
                    <a:pt x="1848" y="1807"/>
                  </a:lnTo>
                  <a:lnTo>
                    <a:pt x="1848" y="1809"/>
                  </a:lnTo>
                  <a:lnTo>
                    <a:pt x="1848" y="1809"/>
                  </a:lnTo>
                  <a:lnTo>
                    <a:pt x="1848" y="1809"/>
                  </a:lnTo>
                  <a:lnTo>
                    <a:pt x="1848" y="1809"/>
                  </a:lnTo>
                  <a:lnTo>
                    <a:pt x="1848" y="1807"/>
                  </a:lnTo>
                  <a:lnTo>
                    <a:pt x="1848" y="1807"/>
                  </a:lnTo>
                  <a:lnTo>
                    <a:pt x="1846" y="1807"/>
                  </a:lnTo>
                  <a:lnTo>
                    <a:pt x="1846" y="1807"/>
                  </a:lnTo>
                  <a:lnTo>
                    <a:pt x="1843" y="1814"/>
                  </a:lnTo>
                  <a:lnTo>
                    <a:pt x="1843" y="1816"/>
                  </a:lnTo>
                  <a:lnTo>
                    <a:pt x="1843" y="1816"/>
                  </a:lnTo>
                  <a:lnTo>
                    <a:pt x="1843" y="1816"/>
                  </a:lnTo>
                  <a:lnTo>
                    <a:pt x="1843" y="1816"/>
                  </a:lnTo>
                  <a:lnTo>
                    <a:pt x="1843" y="1816"/>
                  </a:lnTo>
                  <a:lnTo>
                    <a:pt x="1846" y="1816"/>
                  </a:lnTo>
                  <a:lnTo>
                    <a:pt x="1846" y="1816"/>
                  </a:lnTo>
                  <a:lnTo>
                    <a:pt x="1846" y="1816"/>
                  </a:lnTo>
                  <a:lnTo>
                    <a:pt x="1846" y="1819"/>
                  </a:lnTo>
                  <a:lnTo>
                    <a:pt x="1846" y="1819"/>
                  </a:lnTo>
                  <a:lnTo>
                    <a:pt x="1846" y="1816"/>
                  </a:lnTo>
                  <a:lnTo>
                    <a:pt x="1846" y="1816"/>
                  </a:lnTo>
                  <a:lnTo>
                    <a:pt x="1843" y="1816"/>
                  </a:lnTo>
                  <a:lnTo>
                    <a:pt x="1843" y="1816"/>
                  </a:lnTo>
                  <a:lnTo>
                    <a:pt x="1843" y="1819"/>
                  </a:lnTo>
                  <a:lnTo>
                    <a:pt x="1843" y="1819"/>
                  </a:lnTo>
                  <a:lnTo>
                    <a:pt x="1841" y="1821"/>
                  </a:lnTo>
                  <a:lnTo>
                    <a:pt x="1841" y="1821"/>
                  </a:lnTo>
                  <a:lnTo>
                    <a:pt x="1841" y="1823"/>
                  </a:lnTo>
                  <a:lnTo>
                    <a:pt x="1841" y="1823"/>
                  </a:lnTo>
                  <a:lnTo>
                    <a:pt x="1841" y="1823"/>
                  </a:lnTo>
                  <a:lnTo>
                    <a:pt x="1841" y="1823"/>
                  </a:lnTo>
                  <a:lnTo>
                    <a:pt x="1841" y="1823"/>
                  </a:lnTo>
                  <a:lnTo>
                    <a:pt x="1841" y="1826"/>
                  </a:lnTo>
                  <a:lnTo>
                    <a:pt x="1839" y="1828"/>
                  </a:lnTo>
                  <a:lnTo>
                    <a:pt x="1839" y="1833"/>
                  </a:lnTo>
                  <a:lnTo>
                    <a:pt x="1836" y="1835"/>
                  </a:lnTo>
                  <a:lnTo>
                    <a:pt x="1836" y="1838"/>
                  </a:lnTo>
                  <a:lnTo>
                    <a:pt x="1839" y="1838"/>
                  </a:lnTo>
                  <a:lnTo>
                    <a:pt x="1836" y="1838"/>
                  </a:lnTo>
                  <a:lnTo>
                    <a:pt x="1836" y="1838"/>
                  </a:lnTo>
                  <a:lnTo>
                    <a:pt x="1836" y="1840"/>
                  </a:lnTo>
                  <a:lnTo>
                    <a:pt x="1836" y="1840"/>
                  </a:lnTo>
                  <a:lnTo>
                    <a:pt x="1834" y="1845"/>
                  </a:lnTo>
                  <a:lnTo>
                    <a:pt x="1832" y="1849"/>
                  </a:lnTo>
                  <a:lnTo>
                    <a:pt x="1832" y="1852"/>
                  </a:lnTo>
                  <a:lnTo>
                    <a:pt x="1832" y="1854"/>
                  </a:lnTo>
                  <a:lnTo>
                    <a:pt x="1832" y="1854"/>
                  </a:lnTo>
                  <a:lnTo>
                    <a:pt x="1832" y="1854"/>
                  </a:lnTo>
                  <a:lnTo>
                    <a:pt x="1832" y="1852"/>
                  </a:lnTo>
                  <a:lnTo>
                    <a:pt x="1834" y="1852"/>
                  </a:lnTo>
                  <a:lnTo>
                    <a:pt x="1834" y="1852"/>
                  </a:lnTo>
                  <a:lnTo>
                    <a:pt x="1834" y="1852"/>
                  </a:lnTo>
                  <a:lnTo>
                    <a:pt x="1834" y="1852"/>
                  </a:lnTo>
                  <a:lnTo>
                    <a:pt x="1834" y="1852"/>
                  </a:lnTo>
                  <a:lnTo>
                    <a:pt x="1836" y="1854"/>
                  </a:lnTo>
                  <a:lnTo>
                    <a:pt x="1836" y="1854"/>
                  </a:lnTo>
                  <a:lnTo>
                    <a:pt x="1836" y="1854"/>
                  </a:lnTo>
                  <a:lnTo>
                    <a:pt x="1834" y="1854"/>
                  </a:lnTo>
                  <a:lnTo>
                    <a:pt x="1834" y="1854"/>
                  </a:lnTo>
                  <a:lnTo>
                    <a:pt x="1834" y="1852"/>
                  </a:lnTo>
                  <a:lnTo>
                    <a:pt x="1834" y="1852"/>
                  </a:lnTo>
                  <a:lnTo>
                    <a:pt x="1834" y="1852"/>
                  </a:lnTo>
                  <a:lnTo>
                    <a:pt x="1834" y="1852"/>
                  </a:lnTo>
                  <a:lnTo>
                    <a:pt x="1834" y="1852"/>
                  </a:lnTo>
                  <a:lnTo>
                    <a:pt x="1834" y="1854"/>
                  </a:lnTo>
                  <a:lnTo>
                    <a:pt x="1832" y="1854"/>
                  </a:lnTo>
                  <a:lnTo>
                    <a:pt x="1832" y="1854"/>
                  </a:lnTo>
                  <a:lnTo>
                    <a:pt x="1832" y="1854"/>
                  </a:lnTo>
                  <a:lnTo>
                    <a:pt x="1829" y="1854"/>
                  </a:lnTo>
                  <a:lnTo>
                    <a:pt x="1829" y="1857"/>
                  </a:lnTo>
                  <a:lnTo>
                    <a:pt x="1829" y="1859"/>
                  </a:lnTo>
                  <a:lnTo>
                    <a:pt x="1827" y="1861"/>
                  </a:lnTo>
                  <a:lnTo>
                    <a:pt x="1825" y="1866"/>
                  </a:lnTo>
                  <a:lnTo>
                    <a:pt x="1822" y="1868"/>
                  </a:lnTo>
                  <a:lnTo>
                    <a:pt x="1822" y="1868"/>
                  </a:lnTo>
                  <a:lnTo>
                    <a:pt x="1825" y="1868"/>
                  </a:lnTo>
                  <a:lnTo>
                    <a:pt x="1825" y="1866"/>
                  </a:lnTo>
                  <a:lnTo>
                    <a:pt x="1827" y="1866"/>
                  </a:lnTo>
                  <a:lnTo>
                    <a:pt x="1827" y="1866"/>
                  </a:lnTo>
                  <a:lnTo>
                    <a:pt x="1827" y="1866"/>
                  </a:lnTo>
                  <a:lnTo>
                    <a:pt x="1827" y="1866"/>
                  </a:lnTo>
                  <a:lnTo>
                    <a:pt x="1829" y="1866"/>
                  </a:lnTo>
                  <a:lnTo>
                    <a:pt x="1827" y="1866"/>
                  </a:lnTo>
                  <a:lnTo>
                    <a:pt x="1827" y="1866"/>
                  </a:lnTo>
                  <a:lnTo>
                    <a:pt x="1829" y="1866"/>
                  </a:lnTo>
                  <a:lnTo>
                    <a:pt x="1829" y="1868"/>
                  </a:lnTo>
                  <a:lnTo>
                    <a:pt x="1829" y="1868"/>
                  </a:lnTo>
                  <a:lnTo>
                    <a:pt x="1829" y="1868"/>
                  </a:lnTo>
                  <a:lnTo>
                    <a:pt x="1829" y="1871"/>
                  </a:lnTo>
                  <a:lnTo>
                    <a:pt x="1829" y="1871"/>
                  </a:lnTo>
                  <a:lnTo>
                    <a:pt x="1829" y="1871"/>
                  </a:lnTo>
                  <a:lnTo>
                    <a:pt x="1827" y="1868"/>
                  </a:lnTo>
                  <a:lnTo>
                    <a:pt x="1827" y="1868"/>
                  </a:lnTo>
                  <a:lnTo>
                    <a:pt x="1827" y="1868"/>
                  </a:lnTo>
                  <a:lnTo>
                    <a:pt x="1827" y="1868"/>
                  </a:lnTo>
                  <a:lnTo>
                    <a:pt x="1827" y="1866"/>
                  </a:lnTo>
                  <a:lnTo>
                    <a:pt x="1827" y="1866"/>
                  </a:lnTo>
                  <a:lnTo>
                    <a:pt x="1827" y="1866"/>
                  </a:lnTo>
                  <a:lnTo>
                    <a:pt x="1827" y="1866"/>
                  </a:lnTo>
                  <a:lnTo>
                    <a:pt x="1825" y="1868"/>
                  </a:lnTo>
                  <a:lnTo>
                    <a:pt x="1825" y="1868"/>
                  </a:lnTo>
                  <a:lnTo>
                    <a:pt x="1825" y="1868"/>
                  </a:lnTo>
                  <a:lnTo>
                    <a:pt x="1822" y="1868"/>
                  </a:lnTo>
                  <a:lnTo>
                    <a:pt x="1822" y="1871"/>
                  </a:lnTo>
                  <a:lnTo>
                    <a:pt x="1822" y="1871"/>
                  </a:lnTo>
                  <a:lnTo>
                    <a:pt x="1822" y="1871"/>
                  </a:lnTo>
                  <a:lnTo>
                    <a:pt x="1822" y="1873"/>
                  </a:lnTo>
                  <a:lnTo>
                    <a:pt x="1822" y="1871"/>
                  </a:lnTo>
                  <a:lnTo>
                    <a:pt x="1822" y="1871"/>
                  </a:lnTo>
                  <a:lnTo>
                    <a:pt x="1822" y="1871"/>
                  </a:lnTo>
                  <a:lnTo>
                    <a:pt x="1822" y="1868"/>
                  </a:lnTo>
                  <a:lnTo>
                    <a:pt x="1822" y="1871"/>
                  </a:lnTo>
                  <a:lnTo>
                    <a:pt x="1820" y="1871"/>
                  </a:lnTo>
                  <a:lnTo>
                    <a:pt x="1820" y="1871"/>
                  </a:lnTo>
                  <a:lnTo>
                    <a:pt x="1820" y="1871"/>
                  </a:lnTo>
                  <a:lnTo>
                    <a:pt x="1820" y="1871"/>
                  </a:lnTo>
                  <a:lnTo>
                    <a:pt x="1820" y="1873"/>
                  </a:lnTo>
                  <a:lnTo>
                    <a:pt x="1817" y="1880"/>
                  </a:lnTo>
                  <a:lnTo>
                    <a:pt x="1817" y="1880"/>
                  </a:lnTo>
                  <a:lnTo>
                    <a:pt x="1817" y="1880"/>
                  </a:lnTo>
                  <a:lnTo>
                    <a:pt x="1815" y="1883"/>
                  </a:lnTo>
                  <a:lnTo>
                    <a:pt x="1815" y="1883"/>
                  </a:lnTo>
                  <a:lnTo>
                    <a:pt x="1815" y="1885"/>
                  </a:lnTo>
                  <a:lnTo>
                    <a:pt x="1815" y="1885"/>
                  </a:lnTo>
                  <a:lnTo>
                    <a:pt x="1813" y="1887"/>
                  </a:lnTo>
                  <a:lnTo>
                    <a:pt x="1813" y="1890"/>
                  </a:lnTo>
                  <a:lnTo>
                    <a:pt x="1808" y="1894"/>
                  </a:lnTo>
                  <a:lnTo>
                    <a:pt x="1808" y="1894"/>
                  </a:lnTo>
                  <a:lnTo>
                    <a:pt x="1808" y="1894"/>
                  </a:lnTo>
                  <a:lnTo>
                    <a:pt x="1808" y="1894"/>
                  </a:lnTo>
                  <a:lnTo>
                    <a:pt x="1808" y="1894"/>
                  </a:lnTo>
                  <a:lnTo>
                    <a:pt x="1808" y="1899"/>
                  </a:lnTo>
                  <a:lnTo>
                    <a:pt x="1808" y="1899"/>
                  </a:lnTo>
                  <a:lnTo>
                    <a:pt x="1810" y="1899"/>
                  </a:lnTo>
                  <a:lnTo>
                    <a:pt x="1810" y="1899"/>
                  </a:lnTo>
                  <a:lnTo>
                    <a:pt x="1810" y="1901"/>
                  </a:lnTo>
                  <a:lnTo>
                    <a:pt x="1810" y="1901"/>
                  </a:lnTo>
                  <a:lnTo>
                    <a:pt x="1810" y="1901"/>
                  </a:lnTo>
                  <a:lnTo>
                    <a:pt x="1810" y="1904"/>
                  </a:lnTo>
                  <a:lnTo>
                    <a:pt x="1810" y="1904"/>
                  </a:lnTo>
                  <a:lnTo>
                    <a:pt x="1810" y="1904"/>
                  </a:lnTo>
                  <a:lnTo>
                    <a:pt x="1810" y="1906"/>
                  </a:lnTo>
                  <a:lnTo>
                    <a:pt x="1810" y="1906"/>
                  </a:lnTo>
                  <a:lnTo>
                    <a:pt x="1810" y="1909"/>
                  </a:lnTo>
                  <a:lnTo>
                    <a:pt x="1810" y="1909"/>
                  </a:lnTo>
                  <a:lnTo>
                    <a:pt x="1810" y="1911"/>
                  </a:lnTo>
                  <a:lnTo>
                    <a:pt x="1810" y="1911"/>
                  </a:lnTo>
                  <a:lnTo>
                    <a:pt x="1810" y="1913"/>
                  </a:lnTo>
                  <a:lnTo>
                    <a:pt x="1808" y="1913"/>
                  </a:lnTo>
                  <a:lnTo>
                    <a:pt x="1808" y="1913"/>
                  </a:lnTo>
                  <a:lnTo>
                    <a:pt x="1808" y="1916"/>
                  </a:lnTo>
                  <a:lnTo>
                    <a:pt x="1808" y="1916"/>
                  </a:lnTo>
                  <a:lnTo>
                    <a:pt x="1808" y="1918"/>
                  </a:lnTo>
                  <a:lnTo>
                    <a:pt x="1808" y="1918"/>
                  </a:lnTo>
                  <a:lnTo>
                    <a:pt x="1808" y="1918"/>
                  </a:lnTo>
                  <a:lnTo>
                    <a:pt x="1808" y="1918"/>
                  </a:lnTo>
                  <a:lnTo>
                    <a:pt x="1808" y="1920"/>
                  </a:lnTo>
                  <a:lnTo>
                    <a:pt x="1808" y="1920"/>
                  </a:lnTo>
                  <a:lnTo>
                    <a:pt x="1808" y="1920"/>
                  </a:lnTo>
                  <a:lnTo>
                    <a:pt x="1808" y="1923"/>
                  </a:lnTo>
                  <a:lnTo>
                    <a:pt x="1808" y="1923"/>
                  </a:lnTo>
                  <a:lnTo>
                    <a:pt x="1808" y="1925"/>
                  </a:lnTo>
                  <a:lnTo>
                    <a:pt x="1808" y="1925"/>
                  </a:lnTo>
                  <a:lnTo>
                    <a:pt x="1808" y="1925"/>
                  </a:lnTo>
                  <a:lnTo>
                    <a:pt x="1808" y="1928"/>
                  </a:lnTo>
                  <a:lnTo>
                    <a:pt x="1808" y="1928"/>
                  </a:lnTo>
                  <a:lnTo>
                    <a:pt x="1808" y="1930"/>
                  </a:lnTo>
                  <a:lnTo>
                    <a:pt x="1808" y="1930"/>
                  </a:lnTo>
                  <a:lnTo>
                    <a:pt x="1808" y="1932"/>
                  </a:lnTo>
                  <a:lnTo>
                    <a:pt x="1808" y="1932"/>
                  </a:lnTo>
                  <a:lnTo>
                    <a:pt x="1808" y="1932"/>
                  </a:lnTo>
                  <a:lnTo>
                    <a:pt x="1808" y="1935"/>
                  </a:lnTo>
                  <a:lnTo>
                    <a:pt x="1810" y="1937"/>
                  </a:lnTo>
                  <a:lnTo>
                    <a:pt x="1810" y="1937"/>
                  </a:lnTo>
                  <a:lnTo>
                    <a:pt x="1810" y="1937"/>
                  </a:lnTo>
                  <a:lnTo>
                    <a:pt x="1810" y="1939"/>
                  </a:lnTo>
                  <a:lnTo>
                    <a:pt x="1813" y="1939"/>
                  </a:lnTo>
                  <a:lnTo>
                    <a:pt x="1813" y="1939"/>
                  </a:lnTo>
                  <a:lnTo>
                    <a:pt x="1810" y="1942"/>
                  </a:lnTo>
                  <a:lnTo>
                    <a:pt x="1810" y="1944"/>
                  </a:lnTo>
                  <a:lnTo>
                    <a:pt x="1810" y="1946"/>
                  </a:lnTo>
                  <a:lnTo>
                    <a:pt x="1808" y="1949"/>
                  </a:lnTo>
                  <a:lnTo>
                    <a:pt x="1808" y="1949"/>
                  </a:lnTo>
                  <a:lnTo>
                    <a:pt x="1808" y="1949"/>
                  </a:lnTo>
                  <a:lnTo>
                    <a:pt x="1808" y="1949"/>
                  </a:lnTo>
                  <a:lnTo>
                    <a:pt x="1808" y="1951"/>
                  </a:lnTo>
                  <a:lnTo>
                    <a:pt x="1808" y="1951"/>
                  </a:lnTo>
                  <a:lnTo>
                    <a:pt x="1810" y="1951"/>
                  </a:lnTo>
                  <a:lnTo>
                    <a:pt x="1810" y="1951"/>
                  </a:lnTo>
                  <a:lnTo>
                    <a:pt x="1810" y="1951"/>
                  </a:lnTo>
                  <a:lnTo>
                    <a:pt x="1810" y="1951"/>
                  </a:lnTo>
                  <a:lnTo>
                    <a:pt x="1810" y="1954"/>
                  </a:lnTo>
                  <a:lnTo>
                    <a:pt x="1810" y="1956"/>
                  </a:lnTo>
                  <a:lnTo>
                    <a:pt x="1810" y="1956"/>
                  </a:lnTo>
                  <a:lnTo>
                    <a:pt x="1810" y="1958"/>
                  </a:lnTo>
                  <a:lnTo>
                    <a:pt x="1810" y="1958"/>
                  </a:lnTo>
                  <a:lnTo>
                    <a:pt x="1810" y="1958"/>
                  </a:lnTo>
                  <a:lnTo>
                    <a:pt x="1810" y="1961"/>
                  </a:lnTo>
                  <a:lnTo>
                    <a:pt x="1810" y="1961"/>
                  </a:lnTo>
                  <a:lnTo>
                    <a:pt x="1810" y="1961"/>
                  </a:lnTo>
                  <a:lnTo>
                    <a:pt x="1810" y="1963"/>
                  </a:lnTo>
                  <a:lnTo>
                    <a:pt x="1810" y="1963"/>
                  </a:lnTo>
                  <a:lnTo>
                    <a:pt x="1810" y="1963"/>
                  </a:lnTo>
                  <a:lnTo>
                    <a:pt x="1813" y="1963"/>
                  </a:lnTo>
                  <a:lnTo>
                    <a:pt x="1810" y="1963"/>
                  </a:lnTo>
                  <a:lnTo>
                    <a:pt x="1810" y="1965"/>
                  </a:lnTo>
                  <a:lnTo>
                    <a:pt x="1810" y="1968"/>
                  </a:lnTo>
                  <a:lnTo>
                    <a:pt x="1810" y="1970"/>
                  </a:lnTo>
                  <a:lnTo>
                    <a:pt x="1808" y="1972"/>
                  </a:lnTo>
                  <a:lnTo>
                    <a:pt x="1808" y="1975"/>
                  </a:lnTo>
                  <a:lnTo>
                    <a:pt x="1806" y="1980"/>
                  </a:lnTo>
                  <a:lnTo>
                    <a:pt x="1806" y="1980"/>
                  </a:lnTo>
                  <a:lnTo>
                    <a:pt x="1806" y="1982"/>
                  </a:lnTo>
                  <a:lnTo>
                    <a:pt x="1803" y="1982"/>
                  </a:lnTo>
                  <a:lnTo>
                    <a:pt x="1803" y="1982"/>
                  </a:lnTo>
                  <a:lnTo>
                    <a:pt x="1803" y="1982"/>
                  </a:lnTo>
                  <a:lnTo>
                    <a:pt x="1803" y="1982"/>
                  </a:lnTo>
                  <a:lnTo>
                    <a:pt x="1803" y="1984"/>
                  </a:lnTo>
                  <a:lnTo>
                    <a:pt x="1803" y="1984"/>
                  </a:lnTo>
                  <a:lnTo>
                    <a:pt x="1803" y="1984"/>
                  </a:lnTo>
                  <a:lnTo>
                    <a:pt x="1803" y="1987"/>
                  </a:lnTo>
                  <a:lnTo>
                    <a:pt x="1803" y="1987"/>
                  </a:lnTo>
                  <a:lnTo>
                    <a:pt x="1803" y="1987"/>
                  </a:lnTo>
                  <a:lnTo>
                    <a:pt x="1803" y="1987"/>
                  </a:lnTo>
                  <a:lnTo>
                    <a:pt x="1803" y="1987"/>
                  </a:lnTo>
                  <a:lnTo>
                    <a:pt x="1806" y="1987"/>
                  </a:lnTo>
                  <a:lnTo>
                    <a:pt x="1806" y="1987"/>
                  </a:lnTo>
                  <a:lnTo>
                    <a:pt x="1803" y="1989"/>
                  </a:lnTo>
                  <a:lnTo>
                    <a:pt x="1803" y="1991"/>
                  </a:lnTo>
                  <a:lnTo>
                    <a:pt x="1803" y="1994"/>
                  </a:lnTo>
                  <a:lnTo>
                    <a:pt x="1801" y="1996"/>
                  </a:lnTo>
                  <a:lnTo>
                    <a:pt x="1799" y="1998"/>
                  </a:lnTo>
                  <a:lnTo>
                    <a:pt x="1796" y="2001"/>
                  </a:lnTo>
                  <a:lnTo>
                    <a:pt x="1796" y="2001"/>
                  </a:lnTo>
                  <a:lnTo>
                    <a:pt x="1799" y="2001"/>
                  </a:lnTo>
                  <a:lnTo>
                    <a:pt x="1799" y="1998"/>
                  </a:lnTo>
                  <a:lnTo>
                    <a:pt x="1799" y="1998"/>
                  </a:lnTo>
                  <a:lnTo>
                    <a:pt x="1801" y="1998"/>
                  </a:lnTo>
                  <a:lnTo>
                    <a:pt x="1801" y="1996"/>
                  </a:lnTo>
                  <a:lnTo>
                    <a:pt x="1801" y="1996"/>
                  </a:lnTo>
                  <a:lnTo>
                    <a:pt x="1801" y="1996"/>
                  </a:lnTo>
                  <a:lnTo>
                    <a:pt x="1801" y="1996"/>
                  </a:lnTo>
                  <a:lnTo>
                    <a:pt x="1801" y="1996"/>
                  </a:lnTo>
                  <a:lnTo>
                    <a:pt x="1801" y="1996"/>
                  </a:lnTo>
                  <a:lnTo>
                    <a:pt x="1801" y="1996"/>
                  </a:lnTo>
                  <a:lnTo>
                    <a:pt x="1803" y="1996"/>
                  </a:lnTo>
                  <a:lnTo>
                    <a:pt x="1803" y="1996"/>
                  </a:lnTo>
                  <a:lnTo>
                    <a:pt x="1803" y="1996"/>
                  </a:lnTo>
                  <a:lnTo>
                    <a:pt x="1803" y="1996"/>
                  </a:lnTo>
                  <a:lnTo>
                    <a:pt x="1803" y="1998"/>
                  </a:lnTo>
                  <a:lnTo>
                    <a:pt x="1803" y="1998"/>
                  </a:lnTo>
                  <a:lnTo>
                    <a:pt x="1803" y="1998"/>
                  </a:lnTo>
                  <a:lnTo>
                    <a:pt x="1803" y="1998"/>
                  </a:lnTo>
                  <a:lnTo>
                    <a:pt x="1801" y="1998"/>
                  </a:lnTo>
                  <a:lnTo>
                    <a:pt x="1801" y="1998"/>
                  </a:lnTo>
                  <a:lnTo>
                    <a:pt x="1801" y="1998"/>
                  </a:lnTo>
                  <a:lnTo>
                    <a:pt x="1801" y="1998"/>
                  </a:lnTo>
                  <a:lnTo>
                    <a:pt x="1799" y="1998"/>
                  </a:lnTo>
                  <a:lnTo>
                    <a:pt x="1799" y="1998"/>
                  </a:lnTo>
                  <a:lnTo>
                    <a:pt x="1799" y="1998"/>
                  </a:lnTo>
                  <a:lnTo>
                    <a:pt x="1799" y="2001"/>
                  </a:lnTo>
                  <a:lnTo>
                    <a:pt x="1799" y="2001"/>
                  </a:lnTo>
                  <a:lnTo>
                    <a:pt x="1799" y="2001"/>
                  </a:lnTo>
                  <a:lnTo>
                    <a:pt x="1799" y="2001"/>
                  </a:lnTo>
                  <a:lnTo>
                    <a:pt x="1799" y="2001"/>
                  </a:lnTo>
                  <a:lnTo>
                    <a:pt x="1799" y="2001"/>
                  </a:lnTo>
                  <a:lnTo>
                    <a:pt x="1796" y="2001"/>
                  </a:lnTo>
                  <a:lnTo>
                    <a:pt x="1796" y="2003"/>
                  </a:lnTo>
                  <a:lnTo>
                    <a:pt x="1796" y="2003"/>
                  </a:lnTo>
                  <a:lnTo>
                    <a:pt x="1796" y="2003"/>
                  </a:lnTo>
                  <a:lnTo>
                    <a:pt x="1796" y="2003"/>
                  </a:lnTo>
                  <a:lnTo>
                    <a:pt x="1796" y="2003"/>
                  </a:lnTo>
                  <a:lnTo>
                    <a:pt x="1796" y="2003"/>
                  </a:lnTo>
                  <a:lnTo>
                    <a:pt x="1796" y="2003"/>
                  </a:lnTo>
                  <a:lnTo>
                    <a:pt x="1796" y="2006"/>
                  </a:lnTo>
                  <a:lnTo>
                    <a:pt x="1796" y="2003"/>
                  </a:lnTo>
                  <a:lnTo>
                    <a:pt x="1796" y="2003"/>
                  </a:lnTo>
                  <a:lnTo>
                    <a:pt x="1796" y="2003"/>
                  </a:lnTo>
                  <a:lnTo>
                    <a:pt x="1796" y="2003"/>
                  </a:lnTo>
                  <a:lnTo>
                    <a:pt x="1796" y="2003"/>
                  </a:lnTo>
                  <a:lnTo>
                    <a:pt x="1796" y="2001"/>
                  </a:lnTo>
                  <a:lnTo>
                    <a:pt x="1796" y="2001"/>
                  </a:lnTo>
                  <a:lnTo>
                    <a:pt x="1796" y="2001"/>
                  </a:lnTo>
                  <a:lnTo>
                    <a:pt x="1794" y="2003"/>
                  </a:lnTo>
                  <a:lnTo>
                    <a:pt x="1794" y="2003"/>
                  </a:lnTo>
                  <a:lnTo>
                    <a:pt x="1794" y="2006"/>
                  </a:lnTo>
                  <a:lnTo>
                    <a:pt x="1794" y="2006"/>
                  </a:lnTo>
                  <a:lnTo>
                    <a:pt x="1794" y="2006"/>
                  </a:lnTo>
                  <a:lnTo>
                    <a:pt x="1794" y="2006"/>
                  </a:lnTo>
                  <a:lnTo>
                    <a:pt x="1791" y="2006"/>
                  </a:lnTo>
                  <a:lnTo>
                    <a:pt x="1791" y="2006"/>
                  </a:lnTo>
                  <a:lnTo>
                    <a:pt x="1791" y="2006"/>
                  </a:lnTo>
                  <a:lnTo>
                    <a:pt x="1791" y="2006"/>
                  </a:lnTo>
                  <a:lnTo>
                    <a:pt x="1791" y="2008"/>
                  </a:lnTo>
                  <a:lnTo>
                    <a:pt x="1791" y="2008"/>
                  </a:lnTo>
                  <a:lnTo>
                    <a:pt x="1789" y="2010"/>
                  </a:lnTo>
                  <a:lnTo>
                    <a:pt x="1789" y="2010"/>
                  </a:lnTo>
                  <a:lnTo>
                    <a:pt x="1789" y="2013"/>
                  </a:lnTo>
                  <a:lnTo>
                    <a:pt x="1789" y="2013"/>
                  </a:lnTo>
                  <a:lnTo>
                    <a:pt x="1789" y="2013"/>
                  </a:lnTo>
                  <a:lnTo>
                    <a:pt x="1787" y="2015"/>
                  </a:lnTo>
                  <a:lnTo>
                    <a:pt x="1787" y="2015"/>
                  </a:lnTo>
                  <a:lnTo>
                    <a:pt x="1787" y="2017"/>
                  </a:lnTo>
                  <a:lnTo>
                    <a:pt x="1787" y="2020"/>
                  </a:lnTo>
                  <a:lnTo>
                    <a:pt x="1787" y="2020"/>
                  </a:lnTo>
                  <a:lnTo>
                    <a:pt x="1787" y="2022"/>
                  </a:lnTo>
                  <a:lnTo>
                    <a:pt x="1787" y="2024"/>
                  </a:lnTo>
                  <a:lnTo>
                    <a:pt x="1787" y="2024"/>
                  </a:lnTo>
                  <a:lnTo>
                    <a:pt x="1787" y="2027"/>
                  </a:lnTo>
                  <a:lnTo>
                    <a:pt x="1787" y="2027"/>
                  </a:lnTo>
                  <a:lnTo>
                    <a:pt x="1787" y="2027"/>
                  </a:lnTo>
                  <a:lnTo>
                    <a:pt x="1789" y="2029"/>
                  </a:lnTo>
                  <a:lnTo>
                    <a:pt x="1791" y="2032"/>
                  </a:lnTo>
                  <a:lnTo>
                    <a:pt x="1791" y="2032"/>
                  </a:lnTo>
                  <a:lnTo>
                    <a:pt x="1794" y="2034"/>
                  </a:lnTo>
                  <a:lnTo>
                    <a:pt x="1794" y="2034"/>
                  </a:lnTo>
                  <a:lnTo>
                    <a:pt x="1794" y="2036"/>
                  </a:lnTo>
                  <a:lnTo>
                    <a:pt x="1794" y="2036"/>
                  </a:lnTo>
                  <a:lnTo>
                    <a:pt x="1794" y="2039"/>
                  </a:lnTo>
                  <a:lnTo>
                    <a:pt x="1794" y="2039"/>
                  </a:lnTo>
                  <a:lnTo>
                    <a:pt x="1794" y="2039"/>
                  </a:lnTo>
                  <a:lnTo>
                    <a:pt x="1796" y="2039"/>
                  </a:lnTo>
                  <a:lnTo>
                    <a:pt x="1796" y="2039"/>
                  </a:lnTo>
                  <a:lnTo>
                    <a:pt x="1796" y="2039"/>
                  </a:lnTo>
                  <a:lnTo>
                    <a:pt x="1796" y="2039"/>
                  </a:lnTo>
                  <a:lnTo>
                    <a:pt x="1796" y="2041"/>
                  </a:lnTo>
                  <a:lnTo>
                    <a:pt x="1796" y="2041"/>
                  </a:lnTo>
                  <a:lnTo>
                    <a:pt x="1799" y="2043"/>
                  </a:lnTo>
                  <a:lnTo>
                    <a:pt x="1799" y="2046"/>
                  </a:lnTo>
                  <a:lnTo>
                    <a:pt x="1799" y="2046"/>
                  </a:lnTo>
                  <a:lnTo>
                    <a:pt x="1799" y="2048"/>
                  </a:lnTo>
                  <a:lnTo>
                    <a:pt x="1801" y="2051"/>
                  </a:lnTo>
                  <a:lnTo>
                    <a:pt x="1801" y="2051"/>
                  </a:lnTo>
                  <a:lnTo>
                    <a:pt x="1801" y="2051"/>
                  </a:lnTo>
                  <a:lnTo>
                    <a:pt x="1801" y="2053"/>
                  </a:lnTo>
                  <a:lnTo>
                    <a:pt x="1801" y="2053"/>
                  </a:lnTo>
                  <a:lnTo>
                    <a:pt x="1801" y="2055"/>
                  </a:lnTo>
                  <a:lnTo>
                    <a:pt x="1801" y="2055"/>
                  </a:lnTo>
                  <a:lnTo>
                    <a:pt x="1801" y="2055"/>
                  </a:lnTo>
                  <a:lnTo>
                    <a:pt x="1801" y="2058"/>
                  </a:lnTo>
                  <a:lnTo>
                    <a:pt x="1801" y="2058"/>
                  </a:lnTo>
                  <a:lnTo>
                    <a:pt x="1801" y="2058"/>
                  </a:lnTo>
                  <a:lnTo>
                    <a:pt x="1801" y="2058"/>
                  </a:lnTo>
                  <a:lnTo>
                    <a:pt x="1801" y="2060"/>
                  </a:lnTo>
                  <a:lnTo>
                    <a:pt x="1801" y="2060"/>
                  </a:lnTo>
                  <a:lnTo>
                    <a:pt x="1801" y="2062"/>
                  </a:lnTo>
                  <a:lnTo>
                    <a:pt x="1801" y="2065"/>
                  </a:lnTo>
                  <a:lnTo>
                    <a:pt x="1801" y="2065"/>
                  </a:lnTo>
                  <a:lnTo>
                    <a:pt x="1801" y="2067"/>
                  </a:lnTo>
                  <a:lnTo>
                    <a:pt x="1799" y="2067"/>
                  </a:lnTo>
                  <a:lnTo>
                    <a:pt x="1799" y="2069"/>
                  </a:lnTo>
                  <a:lnTo>
                    <a:pt x="1799" y="2072"/>
                  </a:lnTo>
                  <a:lnTo>
                    <a:pt x="1796" y="2074"/>
                  </a:lnTo>
                  <a:lnTo>
                    <a:pt x="1799" y="2077"/>
                  </a:lnTo>
                  <a:lnTo>
                    <a:pt x="1796" y="2077"/>
                  </a:lnTo>
                  <a:lnTo>
                    <a:pt x="1799" y="2077"/>
                  </a:lnTo>
                  <a:lnTo>
                    <a:pt x="1796" y="2079"/>
                  </a:lnTo>
                  <a:lnTo>
                    <a:pt x="1799" y="2079"/>
                  </a:lnTo>
                  <a:lnTo>
                    <a:pt x="1799" y="2081"/>
                  </a:lnTo>
                  <a:lnTo>
                    <a:pt x="1799" y="2084"/>
                  </a:lnTo>
                  <a:lnTo>
                    <a:pt x="1799" y="2086"/>
                  </a:lnTo>
                  <a:lnTo>
                    <a:pt x="1799" y="2086"/>
                  </a:lnTo>
                  <a:lnTo>
                    <a:pt x="1799" y="2086"/>
                  </a:lnTo>
                  <a:lnTo>
                    <a:pt x="1799" y="2088"/>
                  </a:lnTo>
                  <a:lnTo>
                    <a:pt x="1799" y="2088"/>
                  </a:lnTo>
                  <a:lnTo>
                    <a:pt x="1799" y="2091"/>
                  </a:lnTo>
                  <a:lnTo>
                    <a:pt x="1799" y="2091"/>
                  </a:lnTo>
                  <a:lnTo>
                    <a:pt x="1799" y="2091"/>
                  </a:lnTo>
                  <a:lnTo>
                    <a:pt x="1799" y="2093"/>
                  </a:lnTo>
                  <a:lnTo>
                    <a:pt x="1799" y="2093"/>
                  </a:lnTo>
                  <a:lnTo>
                    <a:pt x="1796" y="2095"/>
                  </a:lnTo>
                  <a:lnTo>
                    <a:pt x="1796" y="2095"/>
                  </a:lnTo>
                  <a:lnTo>
                    <a:pt x="1796" y="2095"/>
                  </a:lnTo>
                  <a:lnTo>
                    <a:pt x="1796" y="2098"/>
                  </a:lnTo>
                  <a:lnTo>
                    <a:pt x="1796" y="2098"/>
                  </a:lnTo>
                  <a:lnTo>
                    <a:pt x="1796" y="2098"/>
                  </a:lnTo>
                  <a:lnTo>
                    <a:pt x="1799" y="2100"/>
                  </a:lnTo>
                  <a:lnTo>
                    <a:pt x="1799" y="2100"/>
                  </a:lnTo>
                  <a:lnTo>
                    <a:pt x="1799" y="2103"/>
                  </a:lnTo>
                  <a:lnTo>
                    <a:pt x="1801" y="2105"/>
                  </a:lnTo>
                  <a:lnTo>
                    <a:pt x="1801" y="2105"/>
                  </a:lnTo>
                  <a:lnTo>
                    <a:pt x="1801" y="2105"/>
                  </a:lnTo>
                  <a:lnTo>
                    <a:pt x="1801" y="2105"/>
                  </a:lnTo>
                  <a:lnTo>
                    <a:pt x="1803" y="2107"/>
                  </a:lnTo>
                  <a:lnTo>
                    <a:pt x="1803" y="2107"/>
                  </a:lnTo>
                  <a:lnTo>
                    <a:pt x="1803" y="2110"/>
                  </a:lnTo>
                  <a:lnTo>
                    <a:pt x="1806" y="2112"/>
                  </a:lnTo>
                  <a:lnTo>
                    <a:pt x="1806" y="2112"/>
                  </a:lnTo>
                  <a:lnTo>
                    <a:pt x="1806" y="2112"/>
                  </a:lnTo>
                  <a:lnTo>
                    <a:pt x="1806" y="2114"/>
                  </a:lnTo>
                  <a:lnTo>
                    <a:pt x="1806" y="2114"/>
                  </a:lnTo>
                  <a:lnTo>
                    <a:pt x="1806" y="2117"/>
                  </a:lnTo>
                  <a:lnTo>
                    <a:pt x="1808" y="2117"/>
                  </a:lnTo>
                  <a:lnTo>
                    <a:pt x="1808" y="2117"/>
                  </a:lnTo>
                  <a:lnTo>
                    <a:pt x="1808" y="2117"/>
                  </a:lnTo>
                  <a:lnTo>
                    <a:pt x="1808" y="2119"/>
                  </a:lnTo>
                  <a:lnTo>
                    <a:pt x="1808" y="2119"/>
                  </a:lnTo>
                  <a:lnTo>
                    <a:pt x="1810" y="2119"/>
                  </a:lnTo>
                  <a:lnTo>
                    <a:pt x="1810" y="2121"/>
                  </a:lnTo>
                  <a:lnTo>
                    <a:pt x="1813" y="2124"/>
                  </a:lnTo>
                  <a:lnTo>
                    <a:pt x="1815" y="2126"/>
                  </a:lnTo>
                  <a:lnTo>
                    <a:pt x="1815" y="2126"/>
                  </a:lnTo>
                  <a:lnTo>
                    <a:pt x="1815" y="2126"/>
                  </a:lnTo>
                  <a:lnTo>
                    <a:pt x="1815" y="2129"/>
                  </a:lnTo>
                  <a:lnTo>
                    <a:pt x="1815" y="2129"/>
                  </a:lnTo>
                  <a:lnTo>
                    <a:pt x="1815" y="2129"/>
                  </a:lnTo>
                  <a:lnTo>
                    <a:pt x="1815" y="2129"/>
                  </a:lnTo>
                  <a:lnTo>
                    <a:pt x="1815" y="2131"/>
                  </a:lnTo>
                  <a:lnTo>
                    <a:pt x="1815" y="2131"/>
                  </a:lnTo>
                  <a:lnTo>
                    <a:pt x="1815" y="2133"/>
                  </a:lnTo>
                  <a:lnTo>
                    <a:pt x="1815" y="2133"/>
                  </a:lnTo>
                  <a:lnTo>
                    <a:pt x="1815" y="2133"/>
                  </a:lnTo>
                  <a:lnTo>
                    <a:pt x="1815" y="2133"/>
                  </a:lnTo>
                  <a:lnTo>
                    <a:pt x="1815" y="2133"/>
                  </a:lnTo>
                  <a:lnTo>
                    <a:pt x="1817" y="2133"/>
                  </a:lnTo>
                  <a:lnTo>
                    <a:pt x="1817" y="2133"/>
                  </a:lnTo>
                  <a:lnTo>
                    <a:pt x="1817" y="2136"/>
                  </a:lnTo>
                  <a:lnTo>
                    <a:pt x="1817" y="2136"/>
                  </a:lnTo>
                  <a:lnTo>
                    <a:pt x="1820" y="2136"/>
                  </a:lnTo>
                  <a:lnTo>
                    <a:pt x="1817" y="2138"/>
                  </a:lnTo>
                  <a:lnTo>
                    <a:pt x="1817" y="2138"/>
                  </a:lnTo>
                  <a:lnTo>
                    <a:pt x="1820" y="2138"/>
                  </a:lnTo>
                  <a:lnTo>
                    <a:pt x="1820" y="2138"/>
                  </a:lnTo>
                  <a:lnTo>
                    <a:pt x="1820" y="2138"/>
                  </a:lnTo>
                  <a:lnTo>
                    <a:pt x="1820" y="2138"/>
                  </a:lnTo>
                  <a:lnTo>
                    <a:pt x="1820" y="2143"/>
                  </a:lnTo>
                  <a:lnTo>
                    <a:pt x="1822" y="2145"/>
                  </a:lnTo>
                  <a:lnTo>
                    <a:pt x="1822" y="2145"/>
                  </a:lnTo>
                  <a:lnTo>
                    <a:pt x="1822" y="2148"/>
                  </a:lnTo>
                  <a:lnTo>
                    <a:pt x="1822" y="2145"/>
                  </a:lnTo>
                  <a:lnTo>
                    <a:pt x="1822" y="2145"/>
                  </a:lnTo>
                  <a:lnTo>
                    <a:pt x="1820" y="2143"/>
                  </a:lnTo>
                  <a:lnTo>
                    <a:pt x="1820" y="2143"/>
                  </a:lnTo>
                  <a:lnTo>
                    <a:pt x="1820" y="2140"/>
                  </a:lnTo>
                  <a:lnTo>
                    <a:pt x="1817" y="2138"/>
                  </a:lnTo>
                  <a:lnTo>
                    <a:pt x="1817" y="2138"/>
                  </a:lnTo>
                  <a:lnTo>
                    <a:pt x="1817" y="2138"/>
                  </a:lnTo>
                  <a:lnTo>
                    <a:pt x="1817" y="2138"/>
                  </a:lnTo>
                  <a:lnTo>
                    <a:pt x="1817" y="2138"/>
                  </a:lnTo>
                  <a:lnTo>
                    <a:pt x="1817" y="2138"/>
                  </a:lnTo>
                  <a:lnTo>
                    <a:pt x="1817" y="2140"/>
                  </a:lnTo>
                  <a:lnTo>
                    <a:pt x="1817" y="2140"/>
                  </a:lnTo>
                  <a:lnTo>
                    <a:pt x="1817" y="2140"/>
                  </a:lnTo>
                  <a:lnTo>
                    <a:pt x="1817" y="2140"/>
                  </a:lnTo>
                  <a:lnTo>
                    <a:pt x="1817" y="2143"/>
                  </a:lnTo>
                  <a:lnTo>
                    <a:pt x="1815" y="2148"/>
                  </a:lnTo>
                  <a:lnTo>
                    <a:pt x="1815" y="2150"/>
                  </a:lnTo>
                  <a:lnTo>
                    <a:pt x="1815" y="2150"/>
                  </a:lnTo>
                  <a:lnTo>
                    <a:pt x="1813" y="2150"/>
                  </a:lnTo>
                  <a:lnTo>
                    <a:pt x="1815" y="2150"/>
                  </a:lnTo>
                  <a:lnTo>
                    <a:pt x="1815" y="2150"/>
                  </a:lnTo>
                  <a:lnTo>
                    <a:pt x="1815" y="2150"/>
                  </a:lnTo>
                  <a:lnTo>
                    <a:pt x="1815" y="2150"/>
                  </a:lnTo>
                  <a:lnTo>
                    <a:pt x="1815" y="2150"/>
                  </a:lnTo>
                  <a:lnTo>
                    <a:pt x="1815" y="2150"/>
                  </a:lnTo>
                  <a:lnTo>
                    <a:pt x="1815" y="2150"/>
                  </a:lnTo>
                  <a:lnTo>
                    <a:pt x="1815" y="2150"/>
                  </a:lnTo>
                  <a:lnTo>
                    <a:pt x="1815" y="2148"/>
                  </a:lnTo>
                  <a:lnTo>
                    <a:pt x="1817" y="2148"/>
                  </a:lnTo>
                  <a:lnTo>
                    <a:pt x="1817" y="2148"/>
                  </a:lnTo>
                  <a:lnTo>
                    <a:pt x="1817" y="2148"/>
                  </a:lnTo>
                  <a:lnTo>
                    <a:pt x="1817" y="2148"/>
                  </a:lnTo>
                  <a:lnTo>
                    <a:pt x="1817" y="2148"/>
                  </a:lnTo>
                  <a:lnTo>
                    <a:pt x="1817" y="2148"/>
                  </a:lnTo>
                  <a:lnTo>
                    <a:pt x="1817" y="2148"/>
                  </a:lnTo>
                  <a:lnTo>
                    <a:pt x="1817" y="2145"/>
                  </a:lnTo>
                  <a:lnTo>
                    <a:pt x="1817" y="2145"/>
                  </a:lnTo>
                  <a:lnTo>
                    <a:pt x="1817" y="2148"/>
                  </a:lnTo>
                  <a:lnTo>
                    <a:pt x="1817" y="2148"/>
                  </a:lnTo>
                  <a:lnTo>
                    <a:pt x="1817" y="2148"/>
                  </a:lnTo>
                  <a:lnTo>
                    <a:pt x="1817" y="2148"/>
                  </a:lnTo>
                  <a:lnTo>
                    <a:pt x="1820" y="2148"/>
                  </a:lnTo>
                  <a:lnTo>
                    <a:pt x="1822" y="2150"/>
                  </a:lnTo>
                  <a:lnTo>
                    <a:pt x="1822" y="2150"/>
                  </a:lnTo>
                  <a:lnTo>
                    <a:pt x="1822" y="2152"/>
                  </a:lnTo>
                  <a:lnTo>
                    <a:pt x="1822" y="2152"/>
                  </a:lnTo>
                  <a:lnTo>
                    <a:pt x="1822" y="2152"/>
                  </a:lnTo>
                  <a:lnTo>
                    <a:pt x="1822" y="2155"/>
                  </a:lnTo>
                  <a:lnTo>
                    <a:pt x="1825" y="2155"/>
                  </a:lnTo>
                  <a:lnTo>
                    <a:pt x="1825" y="2155"/>
                  </a:lnTo>
                  <a:lnTo>
                    <a:pt x="1825" y="2157"/>
                  </a:lnTo>
                  <a:lnTo>
                    <a:pt x="1825" y="2157"/>
                  </a:lnTo>
                  <a:lnTo>
                    <a:pt x="1825" y="2157"/>
                  </a:lnTo>
                  <a:lnTo>
                    <a:pt x="1825" y="2157"/>
                  </a:lnTo>
                  <a:lnTo>
                    <a:pt x="1827" y="2157"/>
                  </a:lnTo>
                  <a:lnTo>
                    <a:pt x="1827" y="2157"/>
                  </a:lnTo>
                  <a:lnTo>
                    <a:pt x="1827" y="2157"/>
                  </a:lnTo>
                  <a:lnTo>
                    <a:pt x="1829" y="2159"/>
                  </a:lnTo>
                  <a:lnTo>
                    <a:pt x="1829" y="2159"/>
                  </a:lnTo>
                  <a:lnTo>
                    <a:pt x="1829" y="2159"/>
                  </a:lnTo>
                  <a:lnTo>
                    <a:pt x="1829" y="2159"/>
                  </a:lnTo>
                  <a:lnTo>
                    <a:pt x="1829" y="2159"/>
                  </a:lnTo>
                  <a:lnTo>
                    <a:pt x="1832" y="2162"/>
                  </a:lnTo>
                  <a:lnTo>
                    <a:pt x="1832" y="2162"/>
                  </a:lnTo>
                  <a:lnTo>
                    <a:pt x="1832" y="2162"/>
                  </a:lnTo>
                  <a:lnTo>
                    <a:pt x="1832" y="2162"/>
                  </a:lnTo>
                  <a:lnTo>
                    <a:pt x="1832" y="2162"/>
                  </a:lnTo>
                  <a:lnTo>
                    <a:pt x="1832" y="2162"/>
                  </a:lnTo>
                  <a:lnTo>
                    <a:pt x="1834" y="2162"/>
                  </a:lnTo>
                  <a:lnTo>
                    <a:pt x="1834" y="2162"/>
                  </a:lnTo>
                  <a:lnTo>
                    <a:pt x="1834" y="2162"/>
                  </a:lnTo>
                  <a:lnTo>
                    <a:pt x="1834" y="2162"/>
                  </a:lnTo>
                  <a:lnTo>
                    <a:pt x="1834" y="2162"/>
                  </a:lnTo>
                  <a:lnTo>
                    <a:pt x="1834" y="2159"/>
                  </a:lnTo>
                  <a:lnTo>
                    <a:pt x="1834" y="2159"/>
                  </a:lnTo>
                  <a:lnTo>
                    <a:pt x="1834" y="2159"/>
                  </a:lnTo>
                  <a:lnTo>
                    <a:pt x="1834" y="2159"/>
                  </a:lnTo>
                  <a:lnTo>
                    <a:pt x="1834" y="2159"/>
                  </a:lnTo>
                  <a:lnTo>
                    <a:pt x="1834" y="2159"/>
                  </a:lnTo>
                  <a:lnTo>
                    <a:pt x="1834" y="2159"/>
                  </a:lnTo>
                  <a:lnTo>
                    <a:pt x="1834" y="2159"/>
                  </a:lnTo>
                  <a:lnTo>
                    <a:pt x="1834" y="2159"/>
                  </a:lnTo>
                  <a:lnTo>
                    <a:pt x="1834" y="2159"/>
                  </a:lnTo>
                  <a:lnTo>
                    <a:pt x="1834" y="2159"/>
                  </a:lnTo>
                  <a:lnTo>
                    <a:pt x="1834" y="2159"/>
                  </a:lnTo>
                  <a:lnTo>
                    <a:pt x="1834" y="2159"/>
                  </a:lnTo>
                  <a:lnTo>
                    <a:pt x="1834" y="2159"/>
                  </a:lnTo>
                  <a:lnTo>
                    <a:pt x="1836" y="2159"/>
                  </a:lnTo>
                  <a:lnTo>
                    <a:pt x="1836" y="2159"/>
                  </a:lnTo>
                  <a:lnTo>
                    <a:pt x="1836" y="2159"/>
                  </a:lnTo>
                  <a:lnTo>
                    <a:pt x="1834" y="2159"/>
                  </a:lnTo>
                  <a:lnTo>
                    <a:pt x="1834" y="2157"/>
                  </a:lnTo>
                  <a:lnTo>
                    <a:pt x="1834" y="2157"/>
                  </a:lnTo>
                  <a:lnTo>
                    <a:pt x="1834" y="2157"/>
                  </a:lnTo>
                  <a:lnTo>
                    <a:pt x="1834" y="2157"/>
                  </a:lnTo>
                  <a:lnTo>
                    <a:pt x="1834" y="2157"/>
                  </a:lnTo>
                  <a:lnTo>
                    <a:pt x="1834" y="2157"/>
                  </a:lnTo>
                  <a:lnTo>
                    <a:pt x="1834" y="2157"/>
                  </a:lnTo>
                  <a:lnTo>
                    <a:pt x="1834" y="2157"/>
                  </a:lnTo>
                  <a:lnTo>
                    <a:pt x="1834" y="2155"/>
                  </a:lnTo>
                  <a:lnTo>
                    <a:pt x="1834" y="2155"/>
                  </a:lnTo>
                  <a:lnTo>
                    <a:pt x="1834" y="2155"/>
                  </a:lnTo>
                  <a:lnTo>
                    <a:pt x="1836" y="2155"/>
                  </a:lnTo>
                  <a:lnTo>
                    <a:pt x="1836" y="2155"/>
                  </a:lnTo>
                  <a:lnTo>
                    <a:pt x="1836" y="2155"/>
                  </a:lnTo>
                  <a:lnTo>
                    <a:pt x="1836" y="2155"/>
                  </a:lnTo>
                  <a:lnTo>
                    <a:pt x="1836" y="2155"/>
                  </a:lnTo>
                  <a:lnTo>
                    <a:pt x="1836" y="2155"/>
                  </a:lnTo>
                  <a:lnTo>
                    <a:pt x="1836" y="2152"/>
                  </a:lnTo>
                  <a:lnTo>
                    <a:pt x="1834" y="2152"/>
                  </a:lnTo>
                  <a:lnTo>
                    <a:pt x="1834" y="2152"/>
                  </a:lnTo>
                  <a:lnTo>
                    <a:pt x="1834" y="2152"/>
                  </a:lnTo>
                  <a:lnTo>
                    <a:pt x="1834" y="2152"/>
                  </a:lnTo>
                  <a:lnTo>
                    <a:pt x="1836" y="2150"/>
                  </a:lnTo>
                  <a:lnTo>
                    <a:pt x="1836" y="2150"/>
                  </a:lnTo>
                  <a:lnTo>
                    <a:pt x="1836" y="2148"/>
                  </a:lnTo>
                  <a:lnTo>
                    <a:pt x="1836" y="2148"/>
                  </a:lnTo>
                  <a:lnTo>
                    <a:pt x="1836" y="2148"/>
                  </a:lnTo>
                  <a:lnTo>
                    <a:pt x="1839" y="2148"/>
                  </a:lnTo>
                  <a:lnTo>
                    <a:pt x="1839" y="2148"/>
                  </a:lnTo>
                  <a:lnTo>
                    <a:pt x="1839" y="2148"/>
                  </a:lnTo>
                  <a:lnTo>
                    <a:pt x="1841" y="2145"/>
                  </a:lnTo>
                  <a:lnTo>
                    <a:pt x="1843" y="2150"/>
                  </a:lnTo>
                  <a:lnTo>
                    <a:pt x="1843" y="2150"/>
                  </a:lnTo>
                  <a:lnTo>
                    <a:pt x="1843" y="2152"/>
                  </a:lnTo>
                  <a:lnTo>
                    <a:pt x="1843" y="2152"/>
                  </a:lnTo>
                  <a:lnTo>
                    <a:pt x="1846" y="2152"/>
                  </a:lnTo>
                  <a:lnTo>
                    <a:pt x="1846" y="2152"/>
                  </a:lnTo>
                  <a:lnTo>
                    <a:pt x="1846" y="2152"/>
                  </a:lnTo>
                  <a:lnTo>
                    <a:pt x="1848" y="2152"/>
                  </a:lnTo>
                  <a:lnTo>
                    <a:pt x="1848" y="2152"/>
                  </a:lnTo>
                  <a:lnTo>
                    <a:pt x="1848" y="2152"/>
                  </a:lnTo>
                  <a:lnTo>
                    <a:pt x="1848" y="2152"/>
                  </a:lnTo>
                  <a:lnTo>
                    <a:pt x="1848" y="2155"/>
                  </a:lnTo>
                  <a:lnTo>
                    <a:pt x="1851" y="2155"/>
                  </a:lnTo>
                  <a:lnTo>
                    <a:pt x="1851" y="2155"/>
                  </a:lnTo>
                  <a:lnTo>
                    <a:pt x="1851" y="2152"/>
                  </a:lnTo>
                  <a:lnTo>
                    <a:pt x="1851" y="2152"/>
                  </a:lnTo>
                  <a:lnTo>
                    <a:pt x="1853" y="2152"/>
                  </a:lnTo>
                  <a:lnTo>
                    <a:pt x="1853" y="2150"/>
                  </a:lnTo>
                  <a:lnTo>
                    <a:pt x="1853" y="2150"/>
                  </a:lnTo>
                  <a:lnTo>
                    <a:pt x="1853" y="2150"/>
                  </a:lnTo>
                  <a:lnTo>
                    <a:pt x="1853" y="2150"/>
                  </a:lnTo>
                  <a:lnTo>
                    <a:pt x="1853" y="2150"/>
                  </a:lnTo>
                  <a:lnTo>
                    <a:pt x="1855" y="2150"/>
                  </a:lnTo>
                  <a:lnTo>
                    <a:pt x="1855" y="2150"/>
                  </a:lnTo>
                  <a:lnTo>
                    <a:pt x="1855" y="2150"/>
                  </a:lnTo>
                  <a:lnTo>
                    <a:pt x="1855" y="2152"/>
                  </a:lnTo>
                  <a:lnTo>
                    <a:pt x="1855" y="2152"/>
                  </a:lnTo>
                  <a:lnTo>
                    <a:pt x="1855" y="2152"/>
                  </a:lnTo>
                  <a:lnTo>
                    <a:pt x="1855" y="2155"/>
                  </a:lnTo>
                  <a:lnTo>
                    <a:pt x="1858" y="2155"/>
                  </a:lnTo>
                  <a:lnTo>
                    <a:pt x="1858" y="2155"/>
                  </a:lnTo>
                  <a:lnTo>
                    <a:pt x="1858" y="2155"/>
                  </a:lnTo>
                  <a:lnTo>
                    <a:pt x="1858" y="2155"/>
                  </a:lnTo>
                  <a:lnTo>
                    <a:pt x="1858" y="2155"/>
                  </a:lnTo>
                  <a:lnTo>
                    <a:pt x="1858" y="2155"/>
                  </a:lnTo>
                  <a:lnTo>
                    <a:pt x="1858" y="2155"/>
                  </a:lnTo>
                  <a:lnTo>
                    <a:pt x="1860" y="2155"/>
                  </a:lnTo>
                  <a:lnTo>
                    <a:pt x="1860" y="2155"/>
                  </a:lnTo>
                  <a:lnTo>
                    <a:pt x="1860" y="2155"/>
                  </a:lnTo>
                  <a:lnTo>
                    <a:pt x="1860" y="2155"/>
                  </a:lnTo>
                  <a:lnTo>
                    <a:pt x="1862" y="2155"/>
                  </a:lnTo>
                  <a:lnTo>
                    <a:pt x="1862" y="2155"/>
                  </a:lnTo>
                  <a:lnTo>
                    <a:pt x="1865" y="2155"/>
                  </a:lnTo>
                  <a:lnTo>
                    <a:pt x="1865" y="2155"/>
                  </a:lnTo>
                  <a:lnTo>
                    <a:pt x="1867" y="2155"/>
                  </a:lnTo>
                  <a:lnTo>
                    <a:pt x="1867" y="2152"/>
                  </a:lnTo>
                  <a:lnTo>
                    <a:pt x="1867" y="2152"/>
                  </a:lnTo>
                  <a:lnTo>
                    <a:pt x="1867" y="2152"/>
                  </a:lnTo>
                  <a:lnTo>
                    <a:pt x="1867" y="2152"/>
                  </a:lnTo>
                  <a:lnTo>
                    <a:pt x="1867" y="2155"/>
                  </a:lnTo>
                  <a:lnTo>
                    <a:pt x="1867" y="2155"/>
                  </a:lnTo>
                  <a:lnTo>
                    <a:pt x="1865" y="2155"/>
                  </a:lnTo>
                  <a:lnTo>
                    <a:pt x="1865" y="2155"/>
                  </a:lnTo>
                  <a:lnTo>
                    <a:pt x="1865" y="2155"/>
                  </a:lnTo>
                  <a:lnTo>
                    <a:pt x="1865" y="2155"/>
                  </a:lnTo>
                  <a:lnTo>
                    <a:pt x="1862" y="2155"/>
                  </a:lnTo>
                  <a:lnTo>
                    <a:pt x="1862" y="2157"/>
                  </a:lnTo>
                  <a:lnTo>
                    <a:pt x="1862" y="2157"/>
                  </a:lnTo>
                  <a:lnTo>
                    <a:pt x="1862" y="2157"/>
                  </a:lnTo>
                  <a:lnTo>
                    <a:pt x="1865" y="2157"/>
                  </a:lnTo>
                  <a:lnTo>
                    <a:pt x="1865" y="2157"/>
                  </a:lnTo>
                  <a:lnTo>
                    <a:pt x="1865" y="2157"/>
                  </a:lnTo>
                  <a:lnTo>
                    <a:pt x="1867" y="2157"/>
                  </a:lnTo>
                  <a:lnTo>
                    <a:pt x="1867" y="2157"/>
                  </a:lnTo>
                  <a:lnTo>
                    <a:pt x="1867" y="2157"/>
                  </a:lnTo>
                  <a:lnTo>
                    <a:pt x="1867" y="2155"/>
                  </a:lnTo>
                  <a:lnTo>
                    <a:pt x="1867" y="2155"/>
                  </a:lnTo>
                  <a:lnTo>
                    <a:pt x="1869" y="2155"/>
                  </a:lnTo>
                  <a:lnTo>
                    <a:pt x="1869" y="2155"/>
                  </a:lnTo>
                  <a:lnTo>
                    <a:pt x="1869" y="2155"/>
                  </a:lnTo>
                  <a:lnTo>
                    <a:pt x="1869" y="2155"/>
                  </a:lnTo>
                  <a:lnTo>
                    <a:pt x="1869" y="2155"/>
                  </a:lnTo>
                  <a:lnTo>
                    <a:pt x="1869" y="2155"/>
                  </a:lnTo>
                  <a:lnTo>
                    <a:pt x="1869" y="2155"/>
                  </a:lnTo>
                  <a:lnTo>
                    <a:pt x="1872" y="2155"/>
                  </a:lnTo>
                  <a:lnTo>
                    <a:pt x="1872" y="2155"/>
                  </a:lnTo>
                  <a:lnTo>
                    <a:pt x="1872" y="2155"/>
                  </a:lnTo>
                  <a:lnTo>
                    <a:pt x="1872" y="2157"/>
                  </a:lnTo>
                  <a:lnTo>
                    <a:pt x="1872" y="2157"/>
                  </a:lnTo>
                  <a:lnTo>
                    <a:pt x="1872" y="2157"/>
                  </a:lnTo>
                  <a:lnTo>
                    <a:pt x="1874" y="2157"/>
                  </a:lnTo>
                  <a:lnTo>
                    <a:pt x="1874" y="2157"/>
                  </a:lnTo>
                  <a:lnTo>
                    <a:pt x="1874" y="2157"/>
                  </a:lnTo>
                  <a:lnTo>
                    <a:pt x="1874" y="2159"/>
                  </a:lnTo>
                  <a:lnTo>
                    <a:pt x="1874" y="2159"/>
                  </a:lnTo>
                  <a:lnTo>
                    <a:pt x="1874" y="2159"/>
                  </a:lnTo>
                  <a:lnTo>
                    <a:pt x="1874" y="2159"/>
                  </a:lnTo>
                  <a:lnTo>
                    <a:pt x="1877" y="2159"/>
                  </a:lnTo>
                  <a:lnTo>
                    <a:pt x="1877" y="2162"/>
                  </a:lnTo>
                  <a:lnTo>
                    <a:pt x="1877" y="2162"/>
                  </a:lnTo>
                  <a:lnTo>
                    <a:pt x="1877" y="2162"/>
                  </a:lnTo>
                  <a:lnTo>
                    <a:pt x="1874" y="2159"/>
                  </a:lnTo>
                  <a:lnTo>
                    <a:pt x="1874" y="2159"/>
                  </a:lnTo>
                  <a:lnTo>
                    <a:pt x="1874" y="2159"/>
                  </a:lnTo>
                  <a:lnTo>
                    <a:pt x="1874" y="2159"/>
                  </a:lnTo>
                  <a:lnTo>
                    <a:pt x="1872" y="2159"/>
                  </a:lnTo>
                  <a:lnTo>
                    <a:pt x="1872" y="2157"/>
                  </a:lnTo>
                  <a:lnTo>
                    <a:pt x="1872" y="2157"/>
                  </a:lnTo>
                  <a:lnTo>
                    <a:pt x="1872" y="2157"/>
                  </a:lnTo>
                  <a:lnTo>
                    <a:pt x="1872" y="2157"/>
                  </a:lnTo>
                  <a:lnTo>
                    <a:pt x="1872" y="2157"/>
                  </a:lnTo>
                  <a:lnTo>
                    <a:pt x="1872" y="2157"/>
                  </a:lnTo>
                  <a:lnTo>
                    <a:pt x="1872" y="2159"/>
                  </a:lnTo>
                  <a:lnTo>
                    <a:pt x="1872" y="2159"/>
                  </a:lnTo>
                  <a:lnTo>
                    <a:pt x="1869" y="2159"/>
                  </a:lnTo>
                  <a:lnTo>
                    <a:pt x="1869" y="2159"/>
                  </a:lnTo>
                  <a:lnTo>
                    <a:pt x="1869" y="2159"/>
                  </a:lnTo>
                  <a:lnTo>
                    <a:pt x="1869" y="2159"/>
                  </a:lnTo>
                  <a:lnTo>
                    <a:pt x="1869" y="2157"/>
                  </a:lnTo>
                  <a:lnTo>
                    <a:pt x="1869" y="2157"/>
                  </a:lnTo>
                  <a:lnTo>
                    <a:pt x="1869" y="2157"/>
                  </a:lnTo>
                  <a:lnTo>
                    <a:pt x="1869" y="2157"/>
                  </a:lnTo>
                  <a:lnTo>
                    <a:pt x="1869" y="2157"/>
                  </a:lnTo>
                  <a:lnTo>
                    <a:pt x="1872" y="2157"/>
                  </a:lnTo>
                  <a:lnTo>
                    <a:pt x="1872" y="2157"/>
                  </a:lnTo>
                  <a:lnTo>
                    <a:pt x="1872" y="2157"/>
                  </a:lnTo>
                  <a:lnTo>
                    <a:pt x="1872" y="2157"/>
                  </a:lnTo>
                  <a:lnTo>
                    <a:pt x="1872" y="2157"/>
                  </a:lnTo>
                  <a:lnTo>
                    <a:pt x="1872" y="2155"/>
                  </a:lnTo>
                  <a:lnTo>
                    <a:pt x="1872" y="2155"/>
                  </a:lnTo>
                  <a:lnTo>
                    <a:pt x="1869" y="2155"/>
                  </a:lnTo>
                  <a:lnTo>
                    <a:pt x="1869" y="2155"/>
                  </a:lnTo>
                  <a:lnTo>
                    <a:pt x="1869" y="2155"/>
                  </a:lnTo>
                  <a:lnTo>
                    <a:pt x="1869" y="2155"/>
                  </a:lnTo>
                  <a:lnTo>
                    <a:pt x="1869" y="2155"/>
                  </a:lnTo>
                  <a:lnTo>
                    <a:pt x="1867" y="2155"/>
                  </a:lnTo>
                  <a:lnTo>
                    <a:pt x="1867" y="2157"/>
                  </a:lnTo>
                  <a:lnTo>
                    <a:pt x="1867" y="2157"/>
                  </a:lnTo>
                  <a:lnTo>
                    <a:pt x="1867" y="2157"/>
                  </a:lnTo>
                  <a:lnTo>
                    <a:pt x="1867" y="2157"/>
                  </a:lnTo>
                  <a:lnTo>
                    <a:pt x="1867" y="2157"/>
                  </a:lnTo>
                  <a:lnTo>
                    <a:pt x="1867" y="2157"/>
                  </a:lnTo>
                  <a:lnTo>
                    <a:pt x="1867" y="2157"/>
                  </a:lnTo>
                  <a:lnTo>
                    <a:pt x="1865" y="2157"/>
                  </a:lnTo>
                  <a:lnTo>
                    <a:pt x="1865" y="2157"/>
                  </a:lnTo>
                  <a:lnTo>
                    <a:pt x="1865" y="2159"/>
                  </a:lnTo>
                  <a:lnTo>
                    <a:pt x="1867" y="2159"/>
                  </a:lnTo>
                  <a:lnTo>
                    <a:pt x="1867" y="2159"/>
                  </a:lnTo>
                  <a:lnTo>
                    <a:pt x="1867" y="2159"/>
                  </a:lnTo>
                  <a:lnTo>
                    <a:pt x="1867" y="2159"/>
                  </a:lnTo>
                  <a:lnTo>
                    <a:pt x="1865" y="2159"/>
                  </a:lnTo>
                  <a:lnTo>
                    <a:pt x="1865" y="2157"/>
                  </a:lnTo>
                  <a:lnTo>
                    <a:pt x="1862" y="2157"/>
                  </a:lnTo>
                  <a:lnTo>
                    <a:pt x="1860" y="2157"/>
                  </a:lnTo>
                  <a:lnTo>
                    <a:pt x="1860" y="2157"/>
                  </a:lnTo>
                  <a:lnTo>
                    <a:pt x="1860" y="2157"/>
                  </a:lnTo>
                  <a:lnTo>
                    <a:pt x="1858" y="2155"/>
                  </a:lnTo>
                  <a:lnTo>
                    <a:pt x="1855" y="2155"/>
                  </a:lnTo>
                  <a:lnTo>
                    <a:pt x="1853" y="2155"/>
                  </a:lnTo>
                  <a:lnTo>
                    <a:pt x="1851" y="2155"/>
                  </a:lnTo>
                  <a:lnTo>
                    <a:pt x="1851" y="2155"/>
                  </a:lnTo>
                  <a:lnTo>
                    <a:pt x="1848" y="2155"/>
                  </a:lnTo>
                  <a:lnTo>
                    <a:pt x="1848" y="2155"/>
                  </a:lnTo>
                  <a:lnTo>
                    <a:pt x="1848" y="2152"/>
                  </a:lnTo>
                  <a:lnTo>
                    <a:pt x="1846" y="2152"/>
                  </a:lnTo>
                  <a:lnTo>
                    <a:pt x="1846" y="2152"/>
                  </a:lnTo>
                  <a:lnTo>
                    <a:pt x="1846" y="2152"/>
                  </a:lnTo>
                  <a:lnTo>
                    <a:pt x="1843" y="2152"/>
                  </a:lnTo>
                  <a:lnTo>
                    <a:pt x="1843" y="2152"/>
                  </a:lnTo>
                  <a:lnTo>
                    <a:pt x="1843" y="2155"/>
                  </a:lnTo>
                  <a:lnTo>
                    <a:pt x="1843" y="2155"/>
                  </a:lnTo>
                  <a:lnTo>
                    <a:pt x="1841" y="2155"/>
                  </a:lnTo>
                  <a:lnTo>
                    <a:pt x="1841" y="2155"/>
                  </a:lnTo>
                  <a:lnTo>
                    <a:pt x="1841" y="2155"/>
                  </a:lnTo>
                  <a:lnTo>
                    <a:pt x="1841" y="2155"/>
                  </a:lnTo>
                  <a:lnTo>
                    <a:pt x="1839" y="2155"/>
                  </a:lnTo>
                  <a:lnTo>
                    <a:pt x="1839" y="2155"/>
                  </a:lnTo>
                  <a:lnTo>
                    <a:pt x="1839" y="2155"/>
                  </a:lnTo>
                  <a:lnTo>
                    <a:pt x="1839" y="2155"/>
                  </a:lnTo>
                  <a:lnTo>
                    <a:pt x="1839" y="2155"/>
                  </a:lnTo>
                  <a:lnTo>
                    <a:pt x="1839" y="2157"/>
                  </a:lnTo>
                  <a:lnTo>
                    <a:pt x="1836" y="2155"/>
                  </a:lnTo>
                  <a:lnTo>
                    <a:pt x="1836" y="2155"/>
                  </a:lnTo>
                  <a:lnTo>
                    <a:pt x="1836" y="2157"/>
                  </a:lnTo>
                  <a:lnTo>
                    <a:pt x="1836" y="2157"/>
                  </a:lnTo>
                  <a:lnTo>
                    <a:pt x="1839" y="2157"/>
                  </a:lnTo>
                  <a:lnTo>
                    <a:pt x="1839" y="2157"/>
                  </a:lnTo>
                  <a:lnTo>
                    <a:pt x="1839" y="2159"/>
                  </a:lnTo>
                  <a:lnTo>
                    <a:pt x="1839" y="2159"/>
                  </a:lnTo>
                  <a:lnTo>
                    <a:pt x="1839" y="2159"/>
                  </a:lnTo>
                  <a:lnTo>
                    <a:pt x="1841" y="2159"/>
                  </a:lnTo>
                  <a:lnTo>
                    <a:pt x="1841" y="2159"/>
                  </a:lnTo>
                  <a:lnTo>
                    <a:pt x="1841" y="2162"/>
                  </a:lnTo>
                  <a:lnTo>
                    <a:pt x="1841" y="2162"/>
                  </a:lnTo>
                  <a:lnTo>
                    <a:pt x="1841" y="2162"/>
                  </a:lnTo>
                  <a:lnTo>
                    <a:pt x="1841" y="2162"/>
                  </a:lnTo>
                  <a:lnTo>
                    <a:pt x="1841" y="2162"/>
                  </a:lnTo>
                  <a:lnTo>
                    <a:pt x="1841" y="2164"/>
                  </a:lnTo>
                  <a:lnTo>
                    <a:pt x="1841" y="2164"/>
                  </a:lnTo>
                  <a:lnTo>
                    <a:pt x="1839" y="2164"/>
                  </a:lnTo>
                  <a:lnTo>
                    <a:pt x="1839" y="2164"/>
                  </a:lnTo>
                  <a:lnTo>
                    <a:pt x="1839" y="2164"/>
                  </a:lnTo>
                  <a:lnTo>
                    <a:pt x="1839" y="2164"/>
                  </a:lnTo>
                  <a:lnTo>
                    <a:pt x="1839" y="2164"/>
                  </a:lnTo>
                  <a:lnTo>
                    <a:pt x="1839" y="2164"/>
                  </a:lnTo>
                  <a:lnTo>
                    <a:pt x="1839" y="2164"/>
                  </a:lnTo>
                  <a:lnTo>
                    <a:pt x="1839" y="2164"/>
                  </a:lnTo>
                  <a:lnTo>
                    <a:pt x="1839" y="2164"/>
                  </a:lnTo>
                  <a:lnTo>
                    <a:pt x="1839" y="2164"/>
                  </a:lnTo>
                  <a:lnTo>
                    <a:pt x="1839" y="2164"/>
                  </a:lnTo>
                  <a:lnTo>
                    <a:pt x="1839" y="2166"/>
                  </a:lnTo>
                  <a:lnTo>
                    <a:pt x="1839" y="2166"/>
                  </a:lnTo>
                  <a:lnTo>
                    <a:pt x="1839" y="2166"/>
                  </a:lnTo>
                  <a:lnTo>
                    <a:pt x="1841" y="2166"/>
                  </a:lnTo>
                  <a:lnTo>
                    <a:pt x="1841" y="2166"/>
                  </a:lnTo>
                  <a:lnTo>
                    <a:pt x="1841" y="2166"/>
                  </a:lnTo>
                  <a:lnTo>
                    <a:pt x="1841" y="2166"/>
                  </a:lnTo>
                  <a:lnTo>
                    <a:pt x="1841" y="2166"/>
                  </a:lnTo>
                  <a:lnTo>
                    <a:pt x="1841" y="2166"/>
                  </a:lnTo>
                  <a:lnTo>
                    <a:pt x="1843" y="2166"/>
                  </a:lnTo>
                  <a:lnTo>
                    <a:pt x="1843" y="2166"/>
                  </a:lnTo>
                  <a:lnTo>
                    <a:pt x="1843" y="2166"/>
                  </a:lnTo>
                  <a:lnTo>
                    <a:pt x="1843" y="2169"/>
                  </a:lnTo>
                  <a:lnTo>
                    <a:pt x="1841" y="2169"/>
                  </a:lnTo>
                  <a:lnTo>
                    <a:pt x="1841" y="2169"/>
                  </a:lnTo>
                  <a:lnTo>
                    <a:pt x="1841" y="2169"/>
                  </a:lnTo>
                  <a:lnTo>
                    <a:pt x="1843" y="2171"/>
                  </a:lnTo>
                  <a:lnTo>
                    <a:pt x="1843" y="2169"/>
                  </a:lnTo>
                  <a:lnTo>
                    <a:pt x="1843" y="2171"/>
                  </a:lnTo>
                  <a:lnTo>
                    <a:pt x="1843" y="2171"/>
                  </a:lnTo>
                  <a:lnTo>
                    <a:pt x="1843" y="2174"/>
                  </a:lnTo>
                  <a:lnTo>
                    <a:pt x="1843" y="2176"/>
                  </a:lnTo>
                  <a:lnTo>
                    <a:pt x="1843" y="2176"/>
                  </a:lnTo>
                  <a:lnTo>
                    <a:pt x="1846" y="2178"/>
                  </a:lnTo>
                  <a:lnTo>
                    <a:pt x="1846" y="2181"/>
                  </a:lnTo>
                  <a:lnTo>
                    <a:pt x="1846" y="2181"/>
                  </a:lnTo>
                  <a:lnTo>
                    <a:pt x="1846" y="2181"/>
                  </a:lnTo>
                  <a:lnTo>
                    <a:pt x="1846" y="2181"/>
                  </a:lnTo>
                  <a:lnTo>
                    <a:pt x="1846" y="2181"/>
                  </a:lnTo>
                  <a:lnTo>
                    <a:pt x="1846" y="2183"/>
                  </a:lnTo>
                  <a:lnTo>
                    <a:pt x="1846" y="2183"/>
                  </a:lnTo>
                  <a:lnTo>
                    <a:pt x="1846" y="2183"/>
                  </a:lnTo>
                  <a:lnTo>
                    <a:pt x="1846" y="2183"/>
                  </a:lnTo>
                  <a:lnTo>
                    <a:pt x="1846" y="2183"/>
                  </a:lnTo>
                  <a:lnTo>
                    <a:pt x="1848" y="2183"/>
                  </a:lnTo>
                  <a:lnTo>
                    <a:pt x="1848" y="2183"/>
                  </a:lnTo>
                  <a:lnTo>
                    <a:pt x="1848" y="2183"/>
                  </a:lnTo>
                  <a:lnTo>
                    <a:pt x="1846" y="2185"/>
                  </a:lnTo>
                  <a:lnTo>
                    <a:pt x="1846" y="2183"/>
                  </a:lnTo>
                  <a:lnTo>
                    <a:pt x="1846" y="2183"/>
                  </a:lnTo>
                  <a:lnTo>
                    <a:pt x="1843" y="2183"/>
                  </a:lnTo>
                  <a:lnTo>
                    <a:pt x="1843" y="2181"/>
                  </a:lnTo>
                  <a:lnTo>
                    <a:pt x="1843" y="2181"/>
                  </a:lnTo>
                  <a:lnTo>
                    <a:pt x="1843" y="2181"/>
                  </a:lnTo>
                  <a:lnTo>
                    <a:pt x="1843" y="2181"/>
                  </a:lnTo>
                  <a:lnTo>
                    <a:pt x="1843" y="2181"/>
                  </a:lnTo>
                  <a:lnTo>
                    <a:pt x="1841" y="2181"/>
                  </a:lnTo>
                  <a:lnTo>
                    <a:pt x="1841" y="2181"/>
                  </a:lnTo>
                  <a:lnTo>
                    <a:pt x="1841" y="2181"/>
                  </a:lnTo>
                  <a:lnTo>
                    <a:pt x="1841" y="2178"/>
                  </a:lnTo>
                  <a:lnTo>
                    <a:pt x="1841" y="2178"/>
                  </a:lnTo>
                  <a:lnTo>
                    <a:pt x="1841" y="2178"/>
                  </a:lnTo>
                  <a:lnTo>
                    <a:pt x="1841" y="2178"/>
                  </a:lnTo>
                  <a:lnTo>
                    <a:pt x="1841" y="2178"/>
                  </a:lnTo>
                  <a:lnTo>
                    <a:pt x="1841" y="2178"/>
                  </a:lnTo>
                  <a:lnTo>
                    <a:pt x="1839" y="2176"/>
                  </a:lnTo>
                  <a:lnTo>
                    <a:pt x="1839" y="2176"/>
                  </a:lnTo>
                  <a:lnTo>
                    <a:pt x="1839" y="2176"/>
                  </a:lnTo>
                  <a:lnTo>
                    <a:pt x="1839" y="2176"/>
                  </a:lnTo>
                  <a:lnTo>
                    <a:pt x="1836" y="2176"/>
                  </a:lnTo>
                  <a:lnTo>
                    <a:pt x="1836" y="2176"/>
                  </a:lnTo>
                  <a:lnTo>
                    <a:pt x="1836" y="2176"/>
                  </a:lnTo>
                  <a:lnTo>
                    <a:pt x="1836" y="2174"/>
                  </a:lnTo>
                  <a:lnTo>
                    <a:pt x="1836" y="2174"/>
                  </a:lnTo>
                  <a:lnTo>
                    <a:pt x="1836" y="2174"/>
                  </a:lnTo>
                  <a:lnTo>
                    <a:pt x="1836" y="2174"/>
                  </a:lnTo>
                  <a:lnTo>
                    <a:pt x="1836" y="2174"/>
                  </a:lnTo>
                  <a:lnTo>
                    <a:pt x="1836" y="2174"/>
                  </a:lnTo>
                  <a:lnTo>
                    <a:pt x="1836" y="2174"/>
                  </a:lnTo>
                  <a:lnTo>
                    <a:pt x="1836" y="2174"/>
                  </a:lnTo>
                  <a:lnTo>
                    <a:pt x="1836" y="2171"/>
                  </a:lnTo>
                  <a:lnTo>
                    <a:pt x="1836" y="2171"/>
                  </a:lnTo>
                  <a:lnTo>
                    <a:pt x="1836" y="2171"/>
                  </a:lnTo>
                  <a:lnTo>
                    <a:pt x="1836" y="2171"/>
                  </a:lnTo>
                  <a:lnTo>
                    <a:pt x="1836" y="2171"/>
                  </a:lnTo>
                  <a:lnTo>
                    <a:pt x="1836" y="2171"/>
                  </a:lnTo>
                  <a:lnTo>
                    <a:pt x="1836" y="2169"/>
                  </a:lnTo>
                  <a:lnTo>
                    <a:pt x="1836" y="2169"/>
                  </a:lnTo>
                  <a:lnTo>
                    <a:pt x="1836" y="2169"/>
                  </a:lnTo>
                  <a:lnTo>
                    <a:pt x="1836" y="2169"/>
                  </a:lnTo>
                  <a:lnTo>
                    <a:pt x="1836" y="2169"/>
                  </a:lnTo>
                  <a:lnTo>
                    <a:pt x="1836" y="2166"/>
                  </a:lnTo>
                  <a:lnTo>
                    <a:pt x="1836" y="2166"/>
                  </a:lnTo>
                  <a:lnTo>
                    <a:pt x="1836" y="2166"/>
                  </a:lnTo>
                  <a:lnTo>
                    <a:pt x="1836" y="2166"/>
                  </a:lnTo>
                  <a:lnTo>
                    <a:pt x="1836" y="2166"/>
                  </a:lnTo>
                  <a:lnTo>
                    <a:pt x="1836" y="2164"/>
                  </a:lnTo>
                  <a:lnTo>
                    <a:pt x="1836" y="2164"/>
                  </a:lnTo>
                  <a:lnTo>
                    <a:pt x="1836" y="2164"/>
                  </a:lnTo>
                  <a:lnTo>
                    <a:pt x="1836" y="2164"/>
                  </a:lnTo>
                  <a:lnTo>
                    <a:pt x="1836" y="2164"/>
                  </a:lnTo>
                  <a:lnTo>
                    <a:pt x="1834" y="2164"/>
                  </a:lnTo>
                  <a:lnTo>
                    <a:pt x="1834" y="2162"/>
                  </a:lnTo>
                  <a:lnTo>
                    <a:pt x="1834" y="2164"/>
                  </a:lnTo>
                  <a:lnTo>
                    <a:pt x="1832" y="2164"/>
                  </a:lnTo>
                  <a:lnTo>
                    <a:pt x="1832" y="2164"/>
                  </a:lnTo>
                  <a:lnTo>
                    <a:pt x="1832" y="2164"/>
                  </a:lnTo>
                  <a:lnTo>
                    <a:pt x="1832" y="2166"/>
                  </a:lnTo>
                  <a:lnTo>
                    <a:pt x="1832" y="2166"/>
                  </a:lnTo>
                  <a:lnTo>
                    <a:pt x="1832" y="2169"/>
                  </a:lnTo>
                  <a:lnTo>
                    <a:pt x="1832" y="2169"/>
                  </a:lnTo>
                  <a:lnTo>
                    <a:pt x="1832" y="2171"/>
                  </a:lnTo>
                  <a:lnTo>
                    <a:pt x="1829" y="2174"/>
                  </a:lnTo>
                  <a:lnTo>
                    <a:pt x="1829" y="2174"/>
                  </a:lnTo>
                  <a:lnTo>
                    <a:pt x="1829" y="2174"/>
                  </a:lnTo>
                  <a:lnTo>
                    <a:pt x="1829" y="2174"/>
                  </a:lnTo>
                  <a:lnTo>
                    <a:pt x="1829" y="2174"/>
                  </a:lnTo>
                  <a:lnTo>
                    <a:pt x="1829" y="2174"/>
                  </a:lnTo>
                  <a:lnTo>
                    <a:pt x="1829" y="2174"/>
                  </a:lnTo>
                  <a:lnTo>
                    <a:pt x="1829" y="2174"/>
                  </a:lnTo>
                  <a:lnTo>
                    <a:pt x="1829" y="2176"/>
                  </a:lnTo>
                  <a:lnTo>
                    <a:pt x="1829" y="2176"/>
                  </a:lnTo>
                  <a:lnTo>
                    <a:pt x="1829" y="2176"/>
                  </a:lnTo>
                  <a:lnTo>
                    <a:pt x="1829" y="2178"/>
                  </a:lnTo>
                  <a:lnTo>
                    <a:pt x="1829" y="2178"/>
                  </a:lnTo>
                  <a:lnTo>
                    <a:pt x="1829" y="2178"/>
                  </a:lnTo>
                  <a:lnTo>
                    <a:pt x="1829" y="2178"/>
                  </a:lnTo>
                  <a:lnTo>
                    <a:pt x="1829" y="2178"/>
                  </a:lnTo>
                  <a:lnTo>
                    <a:pt x="1829" y="2178"/>
                  </a:lnTo>
                  <a:lnTo>
                    <a:pt x="1829" y="2178"/>
                  </a:lnTo>
                  <a:lnTo>
                    <a:pt x="1832" y="2178"/>
                  </a:lnTo>
                  <a:lnTo>
                    <a:pt x="1832" y="2181"/>
                  </a:lnTo>
                  <a:lnTo>
                    <a:pt x="1832" y="2181"/>
                  </a:lnTo>
                  <a:lnTo>
                    <a:pt x="1832" y="2183"/>
                  </a:lnTo>
                  <a:lnTo>
                    <a:pt x="1832" y="2185"/>
                  </a:lnTo>
                  <a:lnTo>
                    <a:pt x="1832" y="2185"/>
                  </a:lnTo>
                  <a:lnTo>
                    <a:pt x="1832" y="2185"/>
                  </a:lnTo>
                  <a:lnTo>
                    <a:pt x="1832" y="2188"/>
                  </a:lnTo>
                  <a:lnTo>
                    <a:pt x="1832" y="2190"/>
                  </a:lnTo>
                  <a:lnTo>
                    <a:pt x="1832" y="2190"/>
                  </a:lnTo>
                  <a:lnTo>
                    <a:pt x="1829" y="2190"/>
                  </a:lnTo>
                  <a:lnTo>
                    <a:pt x="1829" y="2192"/>
                  </a:lnTo>
                  <a:lnTo>
                    <a:pt x="1829" y="2192"/>
                  </a:lnTo>
                  <a:lnTo>
                    <a:pt x="1829" y="2192"/>
                  </a:lnTo>
                  <a:lnTo>
                    <a:pt x="1829" y="2195"/>
                  </a:lnTo>
                  <a:lnTo>
                    <a:pt x="1829" y="2195"/>
                  </a:lnTo>
                  <a:lnTo>
                    <a:pt x="1832" y="2195"/>
                  </a:lnTo>
                  <a:lnTo>
                    <a:pt x="1832" y="2195"/>
                  </a:lnTo>
                  <a:lnTo>
                    <a:pt x="1832" y="2195"/>
                  </a:lnTo>
                  <a:lnTo>
                    <a:pt x="1832" y="2197"/>
                  </a:lnTo>
                  <a:lnTo>
                    <a:pt x="1832" y="2197"/>
                  </a:lnTo>
                  <a:lnTo>
                    <a:pt x="1832" y="2197"/>
                  </a:lnTo>
                  <a:lnTo>
                    <a:pt x="1832" y="2200"/>
                  </a:lnTo>
                  <a:lnTo>
                    <a:pt x="1832" y="2200"/>
                  </a:lnTo>
                  <a:lnTo>
                    <a:pt x="1834" y="2200"/>
                  </a:lnTo>
                  <a:lnTo>
                    <a:pt x="1834" y="2200"/>
                  </a:lnTo>
                  <a:lnTo>
                    <a:pt x="1834" y="2200"/>
                  </a:lnTo>
                  <a:lnTo>
                    <a:pt x="1834" y="2200"/>
                  </a:lnTo>
                  <a:lnTo>
                    <a:pt x="1834" y="2202"/>
                  </a:lnTo>
                  <a:lnTo>
                    <a:pt x="1834" y="2202"/>
                  </a:lnTo>
                  <a:lnTo>
                    <a:pt x="1836" y="2204"/>
                  </a:lnTo>
                  <a:lnTo>
                    <a:pt x="1836" y="2204"/>
                  </a:lnTo>
                  <a:lnTo>
                    <a:pt x="1836" y="2204"/>
                  </a:lnTo>
                  <a:lnTo>
                    <a:pt x="1836" y="2207"/>
                  </a:lnTo>
                  <a:lnTo>
                    <a:pt x="1839" y="2207"/>
                  </a:lnTo>
                  <a:lnTo>
                    <a:pt x="1839" y="2207"/>
                  </a:lnTo>
                  <a:lnTo>
                    <a:pt x="1839" y="2207"/>
                  </a:lnTo>
                  <a:lnTo>
                    <a:pt x="1839" y="2207"/>
                  </a:lnTo>
                  <a:lnTo>
                    <a:pt x="1839" y="2209"/>
                  </a:lnTo>
                  <a:lnTo>
                    <a:pt x="1841" y="2209"/>
                  </a:lnTo>
                  <a:lnTo>
                    <a:pt x="1841" y="2209"/>
                  </a:lnTo>
                  <a:lnTo>
                    <a:pt x="1841" y="2209"/>
                  </a:lnTo>
                  <a:lnTo>
                    <a:pt x="1841" y="2209"/>
                  </a:lnTo>
                  <a:lnTo>
                    <a:pt x="1843" y="2209"/>
                  </a:lnTo>
                  <a:lnTo>
                    <a:pt x="1843" y="2209"/>
                  </a:lnTo>
                  <a:lnTo>
                    <a:pt x="1843" y="2209"/>
                  </a:lnTo>
                  <a:lnTo>
                    <a:pt x="1843" y="2209"/>
                  </a:lnTo>
                  <a:lnTo>
                    <a:pt x="1843" y="2209"/>
                  </a:lnTo>
                  <a:lnTo>
                    <a:pt x="1843" y="2209"/>
                  </a:lnTo>
                  <a:lnTo>
                    <a:pt x="1846" y="2209"/>
                  </a:lnTo>
                  <a:lnTo>
                    <a:pt x="1846" y="2209"/>
                  </a:lnTo>
                  <a:lnTo>
                    <a:pt x="1846" y="2209"/>
                  </a:lnTo>
                  <a:lnTo>
                    <a:pt x="1846" y="2209"/>
                  </a:lnTo>
                  <a:lnTo>
                    <a:pt x="1848" y="2209"/>
                  </a:lnTo>
                  <a:lnTo>
                    <a:pt x="1848" y="2209"/>
                  </a:lnTo>
                  <a:lnTo>
                    <a:pt x="1848" y="2211"/>
                  </a:lnTo>
                  <a:lnTo>
                    <a:pt x="1851" y="2216"/>
                  </a:lnTo>
                  <a:lnTo>
                    <a:pt x="1851" y="2218"/>
                  </a:lnTo>
                  <a:lnTo>
                    <a:pt x="1851" y="2218"/>
                  </a:lnTo>
                  <a:lnTo>
                    <a:pt x="1851" y="2221"/>
                  </a:lnTo>
                  <a:lnTo>
                    <a:pt x="1851" y="2221"/>
                  </a:lnTo>
                  <a:lnTo>
                    <a:pt x="1851" y="2221"/>
                  </a:lnTo>
                  <a:lnTo>
                    <a:pt x="1851" y="2221"/>
                  </a:lnTo>
                  <a:lnTo>
                    <a:pt x="1851" y="2221"/>
                  </a:lnTo>
                  <a:lnTo>
                    <a:pt x="1851" y="2221"/>
                  </a:lnTo>
                  <a:lnTo>
                    <a:pt x="1851" y="2223"/>
                  </a:lnTo>
                  <a:lnTo>
                    <a:pt x="1851" y="2223"/>
                  </a:lnTo>
                  <a:lnTo>
                    <a:pt x="1851" y="2223"/>
                  </a:lnTo>
                  <a:lnTo>
                    <a:pt x="1851" y="2223"/>
                  </a:lnTo>
                  <a:lnTo>
                    <a:pt x="1848" y="2221"/>
                  </a:lnTo>
                  <a:lnTo>
                    <a:pt x="1848" y="2223"/>
                  </a:lnTo>
                  <a:lnTo>
                    <a:pt x="1848" y="2223"/>
                  </a:lnTo>
                  <a:lnTo>
                    <a:pt x="1848" y="2226"/>
                  </a:lnTo>
                  <a:lnTo>
                    <a:pt x="1846" y="2226"/>
                  </a:lnTo>
                  <a:lnTo>
                    <a:pt x="1846" y="2228"/>
                  </a:lnTo>
                  <a:lnTo>
                    <a:pt x="1846" y="2228"/>
                  </a:lnTo>
                  <a:lnTo>
                    <a:pt x="1846" y="2228"/>
                  </a:lnTo>
                  <a:lnTo>
                    <a:pt x="1846" y="2228"/>
                  </a:lnTo>
                  <a:lnTo>
                    <a:pt x="1843" y="2228"/>
                  </a:lnTo>
                  <a:lnTo>
                    <a:pt x="1843" y="2226"/>
                  </a:lnTo>
                  <a:lnTo>
                    <a:pt x="1843" y="2226"/>
                  </a:lnTo>
                  <a:lnTo>
                    <a:pt x="1843" y="2226"/>
                  </a:lnTo>
                  <a:lnTo>
                    <a:pt x="1843" y="2226"/>
                  </a:lnTo>
                  <a:lnTo>
                    <a:pt x="1843" y="2226"/>
                  </a:lnTo>
                  <a:lnTo>
                    <a:pt x="1843" y="2226"/>
                  </a:lnTo>
                  <a:lnTo>
                    <a:pt x="1843" y="2226"/>
                  </a:lnTo>
                  <a:lnTo>
                    <a:pt x="1843" y="2226"/>
                  </a:lnTo>
                  <a:lnTo>
                    <a:pt x="1843" y="2226"/>
                  </a:lnTo>
                  <a:lnTo>
                    <a:pt x="1841" y="2228"/>
                  </a:lnTo>
                  <a:lnTo>
                    <a:pt x="1841" y="2226"/>
                  </a:lnTo>
                  <a:lnTo>
                    <a:pt x="1841" y="2226"/>
                  </a:lnTo>
                  <a:lnTo>
                    <a:pt x="1841" y="2228"/>
                  </a:lnTo>
                  <a:lnTo>
                    <a:pt x="1841" y="2228"/>
                  </a:lnTo>
                  <a:lnTo>
                    <a:pt x="1841" y="2228"/>
                  </a:lnTo>
                  <a:lnTo>
                    <a:pt x="1841" y="2228"/>
                  </a:lnTo>
                  <a:lnTo>
                    <a:pt x="1841" y="2228"/>
                  </a:lnTo>
                  <a:lnTo>
                    <a:pt x="1841" y="2228"/>
                  </a:lnTo>
                  <a:lnTo>
                    <a:pt x="1841" y="2228"/>
                  </a:lnTo>
                  <a:lnTo>
                    <a:pt x="1841" y="2230"/>
                  </a:lnTo>
                  <a:lnTo>
                    <a:pt x="1841" y="2230"/>
                  </a:lnTo>
                  <a:lnTo>
                    <a:pt x="1841" y="2228"/>
                  </a:lnTo>
                  <a:lnTo>
                    <a:pt x="1841" y="2230"/>
                  </a:lnTo>
                  <a:lnTo>
                    <a:pt x="1841" y="2230"/>
                  </a:lnTo>
                  <a:lnTo>
                    <a:pt x="1843" y="2230"/>
                  </a:lnTo>
                  <a:lnTo>
                    <a:pt x="1843" y="2230"/>
                  </a:lnTo>
                  <a:lnTo>
                    <a:pt x="1843" y="2230"/>
                  </a:lnTo>
                  <a:lnTo>
                    <a:pt x="1841" y="2230"/>
                  </a:lnTo>
                  <a:lnTo>
                    <a:pt x="1841" y="2230"/>
                  </a:lnTo>
                  <a:lnTo>
                    <a:pt x="1843" y="2230"/>
                  </a:lnTo>
                  <a:lnTo>
                    <a:pt x="1843" y="2230"/>
                  </a:lnTo>
                  <a:lnTo>
                    <a:pt x="1841" y="2230"/>
                  </a:lnTo>
                  <a:lnTo>
                    <a:pt x="1841" y="2230"/>
                  </a:lnTo>
                  <a:lnTo>
                    <a:pt x="1841" y="2230"/>
                  </a:lnTo>
                  <a:lnTo>
                    <a:pt x="1841" y="2230"/>
                  </a:lnTo>
                  <a:lnTo>
                    <a:pt x="1841" y="2230"/>
                  </a:lnTo>
                  <a:lnTo>
                    <a:pt x="1841" y="2233"/>
                  </a:lnTo>
                  <a:lnTo>
                    <a:pt x="1841" y="2233"/>
                  </a:lnTo>
                  <a:lnTo>
                    <a:pt x="1841" y="2233"/>
                  </a:lnTo>
                  <a:lnTo>
                    <a:pt x="1841" y="2233"/>
                  </a:lnTo>
                  <a:lnTo>
                    <a:pt x="1841" y="2233"/>
                  </a:lnTo>
                  <a:lnTo>
                    <a:pt x="1841" y="2233"/>
                  </a:lnTo>
                  <a:lnTo>
                    <a:pt x="1841" y="2233"/>
                  </a:lnTo>
                  <a:lnTo>
                    <a:pt x="1841" y="2235"/>
                  </a:lnTo>
                  <a:lnTo>
                    <a:pt x="1841" y="2235"/>
                  </a:lnTo>
                  <a:lnTo>
                    <a:pt x="1841" y="2235"/>
                  </a:lnTo>
                  <a:lnTo>
                    <a:pt x="1841" y="2235"/>
                  </a:lnTo>
                  <a:lnTo>
                    <a:pt x="1841" y="2235"/>
                  </a:lnTo>
                  <a:lnTo>
                    <a:pt x="1841" y="2237"/>
                  </a:lnTo>
                  <a:lnTo>
                    <a:pt x="1841" y="2237"/>
                  </a:lnTo>
                  <a:lnTo>
                    <a:pt x="1841" y="2237"/>
                  </a:lnTo>
                  <a:lnTo>
                    <a:pt x="1841" y="2237"/>
                  </a:lnTo>
                  <a:lnTo>
                    <a:pt x="1841" y="2237"/>
                  </a:lnTo>
                  <a:lnTo>
                    <a:pt x="1841" y="2237"/>
                  </a:lnTo>
                  <a:lnTo>
                    <a:pt x="1841" y="2240"/>
                  </a:lnTo>
                  <a:lnTo>
                    <a:pt x="1841" y="2240"/>
                  </a:lnTo>
                  <a:lnTo>
                    <a:pt x="1841" y="2240"/>
                  </a:lnTo>
                  <a:lnTo>
                    <a:pt x="1841" y="2240"/>
                  </a:lnTo>
                  <a:lnTo>
                    <a:pt x="1841" y="2240"/>
                  </a:lnTo>
                  <a:lnTo>
                    <a:pt x="1841" y="2240"/>
                  </a:lnTo>
                  <a:lnTo>
                    <a:pt x="1841" y="2242"/>
                  </a:lnTo>
                  <a:lnTo>
                    <a:pt x="1841" y="2242"/>
                  </a:lnTo>
                  <a:lnTo>
                    <a:pt x="1841" y="2242"/>
                  </a:lnTo>
                  <a:lnTo>
                    <a:pt x="1841" y="2242"/>
                  </a:lnTo>
                  <a:lnTo>
                    <a:pt x="1841" y="2242"/>
                  </a:lnTo>
                  <a:lnTo>
                    <a:pt x="1841" y="2244"/>
                  </a:lnTo>
                  <a:lnTo>
                    <a:pt x="1843" y="2244"/>
                  </a:lnTo>
                  <a:lnTo>
                    <a:pt x="1843" y="2244"/>
                  </a:lnTo>
                  <a:lnTo>
                    <a:pt x="1843" y="2244"/>
                  </a:lnTo>
                  <a:lnTo>
                    <a:pt x="1843" y="2244"/>
                  </a:lnTo>
                  <a:lnTo>
                    <a:pt x="1843" y="2244"/>
                  </a:lnTo>
                  <a:lnTo>
                    <a:pt x="1843" y="2247"/>
                  </a:lnTo>
                  <a:lnTo>
                    <a:pt x="1843" y="2247"/>
                  </a:lnTo>
                  <a:lnTo>
                    <a:pt x="1843" y="2247"/>
                  </a:lnTo>
                  <a:lnTo>
                    <a:pt x="1846" y="2247"/>
                  </a:lnTo>
                  <a:lnTo>
                    <a:pt x="1846" y="2249"/>
                  </a:lnTo>
                  <a:lnTo>
                    <a:pt x="1846" y="2249"/>
                  </a:lnTo>
                  <a:lnTo>
                    <a:pt x="1848" y="2249"/>
                  </a:lnTo>
                  <a:lnTo>
                    <a:pt x="1848" y="2252"/>
                  </a:lnTo>
                  <a:lnTo>
                    <a:pt x="1848" y="2252"/>
                  </a:lnTo>
                  <a:lnTo>
                    <a:pt x="1848" y="2252"/>
                  </a:lnTo>
                  <a:lnTo>
                    <a:pt x="1851" y="2254"/>
                  </a:lnTo>
                  <a:lnTo>
                    <a:pt x="1851" y="2254"/>
                  </a:lnTo>
                  <a:lnTo>
                    <a:pt x="1851" y="2256"/>
                  </a:lnTo>
                  <a:lnTo>
                    <a:pt x="1851" y="2256"/>
                  </a:lnTo>
                  <a:lnTo>
                    <a:pt x="1851" y="2256"/>
                  </a:lnTo>
                  <a:lnTo>
                    <a:pt x="1851" y="2256"/>
                  </a:lnTo>
                  <a:lnTo>
                    <a:pt x="1851" y="2259"/>
                  </a:lnTo>
                  <a:lnTo>
                    <a:pt x="1853" y="2259"/>
                  </a:lnTo>
                  <a:lnTo>
                    <a:pt x="1853" y="2259"/>
                  </a:lnTo>
                  <a:lnTo>
                    <a:pt x="1853" y="2261"/>
                  </a:lnTo>
                  <a:lnTo>
                    <a:pt x="1853" y="2261"/>
                  </a:lnTo>
                  <a:lnTo>
                    <a:pt x="1855" y="2261"/>
                  </a:lnTo>
                  <a:lnTo>
                    <a:pt x="1855" y="2263"/>
                  </a:lnTo>
                  <a:lnTo>
                    <a:pt x="1855" y="2263"/>
                  </a:lnTo>
                  <a:lnTo>
                    <a:pt x="1855" y="2263"/>
                  </a:lnTo>
                  <a:lnTo>
                    <a:pt x="1855" y="2266"/>
                  </a:lnTo>
                  <a:lnTo>
                    <a:pt x="1855" y="2266"/>
                  </a:lnTo>
                  <a:lnTo>
                    <a:pt x="1855" y="2266"/>
                  </a:lnTo>
                  <a:lnTo>
                    <a:pt x="1855" y="2268"/>
                  </a:lnTo>
                  <a:lnTo>
                    <a:pt x="1855" y="2268"/>
                  </a:lnTo>
                  <a:lnTo>
                    <a:pt x="1855" y="2268"/>
                  </a:lnTo>
                  <a:lnTo>
                    <a:pt x="1855" y="2268"/>
                  </a:lnTo>
                  <a:lnTo>
                    <a:pt x="1858" y="2271"/>
                  </a:lnTo>
                  <a:lnTo>
                    <a:pt x="1858" y="2271"/>
                  </a:lnTo>
                  <a:lnTo>
                    <a:pt x="1858" y="2273"/>
                  </a:lnTo>
                  <a:lnTo>
                    <a:pt x="1860" y="2273"/>
                  </a:lnTo>
                  <a:lnTo>
                    <a:pt x="1860" y="2278"/>
                  </a:lnTo>
                  <a:lnTo>
                    <a:pt x="1860" y="2278"/>
                  </a:lnTo>
                  <a:lnTo>
                    <a:pt x="1860" y="2278"/>
                  </a:lnTo>
                  <a:lnTo>
                    <a:pt x="1860" y="2278"/>
                  </a:lnTo>
                  <a:lnTo>
                    <a:pt x="1860" y="2280"/>
                  </a:lnTo>
                  <a:lnTo>
                    <a:pt x="1860" y="2280"/>
                  </a:lnTo>
                  <a:lnTo>
                    <a:pt x="1860" y="2280"/>
                  </a:lnTo>
                  <a:lnTo>
                    <a:pt x="1862" y="2280"/>
                  </a:lnTo>
                  <a:lnTo>
                    <a:pt x="1862" y="2280"/>
                  </a:lnTo>
                  <a:lnTo>
                    <a:pt x="1862" y="2282"/>
                  </a:lnTo>
                  <a:lnTo>
                    <a:pt x="1862" y="2282"/>
                  </a:lnTo>
                  <a:lnTo>
                    <a:pt x="1862" y="2280"/>
                  </a:lnTo>
                  <a:lnTo>
                    <a:pt x="1862" y="2280"/>
                  </a:lnTo>
                  <a:lnTo>
                    <a:pt x="1865" y="2282"/>
                  </a:lnTo>
                  <a:lnTo>
                    <a:pt x="1865" y="2282"/>
                  </a:lnTo>
                  <a:lnTo>
                    <a:pt x="1865" y="2282"/>
                  </a:lnTo>
                  <a:lnTo>
                    <a:pt x="1865" y="2285"/>
                  </a:lnTo>
                  <a:lnTo>
                    <a:pt x="1867" y="2287"/>
                  </a:lnTo>
                  <a:lnTo>
                    <a:pt x="1867" y="2287"/>
                  </a:lnTo>
                  <a:lnTo>
                    <a:pt x="1867" y="2289"/>
                  </a:lnTo>
                  <a:lnTo>
                    <a:pt x="1869" y="2292"/>
                  </a:lnTo>
                  <a:lnTo>
                    <a:pt x="1869" y="2292"/>
                  </a:lnTo>
                  <a:lnTo>
                    <a:pt x="1872" y="2292"/>
                  </a:lnTo>
                  <a:lnTo>
                    <a:pt x="1872" y="2292"/>
                  </a:lnTo>
                  <a:lnTo>
                    <a:pt x="1872" y="2292"/>
                  </a:lnTo>
                  <a:lnTo>
                    <a:pt x="1874" y="2294"/>
                  </a:lnTo>
                  <a:lnTo>
                    <a:pt x="1874" y="2294"/>
                  </a:lnTo>
                  <a:lnTo>
                    <a:pt x="1874" y="2294"/>
                  </a:lnTo>
                  <a:lnTo>
                    <a:pt x="1874" y="2297"/>
                  </a:lnTo>
                  <a:lnTo>
                    <a:pt x="1874" y="2297"/>
                  </a:lnTo>
                  <a:lnTo>
                    <a:pt x="1874" y="2297"/>
                  </a:lnTo>
                  <a:lnTo>
                    <a:pt x="1874" y="2299"/>
                  </a:lnTo>
                  <a:lnTo>
                    <a:pt x="1874" y="2299"/>
                  </a:lnTo>
                  <a:lnTo>
                    <a:pt x="1874" y="2299"/>
                  </a:lnTo>
                  <a:lnTo>
                    <a:pt x="1874" y="2299"/>
                  </a:lnTo>
                  <a:lnTo>
                    <a:pt x="1874" y="2299"/>
                  </a:lnTo>
                  <a:lnTo>
                    <a:pt x="1874" y="2299"/>
                  </a:lnTo>
                  <a:lnTo>
                    <a:pt x="1874" y="2299"/>
                  </a:lnTo>
                  <a:lnTo>
                    <a:pt x="1874" y="2299"/>
                  </a:lnTo>
                  <a:lnTo>
                    <a:pt x="1874" y="2297"/>
                  </a:lnTo>
                  <a:lnTo>
                    <a:pt x="1874" y="2299"/>
                  </a:lnTo>
                  <a:lnTo>
                    <a:pt x="1872" y="2301"/>
                  </a:lnTo>
                  <a:lnTo>
                    <a:pt x="1872" y="2301"/>
                  </a:lnTo>
                  <a:lnTo>
                    <a:pt x="1872" y="2304"/>
                  </a:lnTo>
                  <a:lnTo>
                    <a:pt x="1872" y="2304"/>
                  </a:lnTo>
                  <a:lnTo>
                    <a:pt x="1872" y="2304"/>
                  </a:lnTo>
                  <a:lnTo>
                    <a:pt x="1872" y="2306"/>
                  </a:lnTo>
                  <a:lnTo>
                    <a:pt x="1874" y="2308"/>
                  </a:lnTo>
                  <a:lnTo>
                    <a:pt x="1877" y="2308"/>
                  </a:lnTo>
                  <a:lnTo>
                    <a:pt x="1877" y="2308"/>
                  </a:lnTo>
                  <a:lnTo>
                    <a:pt x="1877" y="2308"/>
                  </a:lnTo>
                  <a:lnTo>
                    <a:pt x="1877" y="2308"/>
                  </a:lnTo>
                  <a:lnTo>
                    <a:pt x="1877" y="2308"/>
                  </a:lnTo>
                  <a:lnTo>
                    <a:pt x="1879" y="2308"/>
                  </a:lnTo>
                  <a:lnTo>
                    <a:pt x="1879" y="2308"/>
                  </a:lnTo>
                  <a:lnTo>
                    <a:pt x="1879" y="2308"/>
                  </a:lnTo>
                  <a:lnTo>
                    <a:pt x="1879" y="2308"/>
                  </a:lnTo>
                  <a:lnTo>
                    <a:pt x="1879" y="2311"/>
                  </a:lnTo>
                  <a:lnTo>
                    <a:pt x="1881" y="2311"/>
                  </a:lnTo>
                  <a:lnTo>
                    <a:pt x="1881" y="2311"/>
                  </a:lnTo>
                  <a:lnTo>
                    <a:pt x="1881" y="2311"/>
                  </a:lnTo>
                  <a:lnTo>
                    <a:pt x="1881" y="2313"/>
                  </a:lnTo>
                  <a:lnTo>
                    <a:pt x="1881" y="2313"/>
                  </a:lnTo>
                  <a:lnTo>
                    <a:pt x="1881" y="2315"/>
                  </a:lnTo>
                  <a:lnTo>
                    <a:pt x="1879" y="2318"/>
                  </a:lnTo>
                  <a:lnTo>
                    <a:pt x="1879" y="2320"/>
                  </a:lnTo>
                  <a:lnTo>
                    <a:pt x="1877" y="2323"/>
                  </a:lnTo>
                  <a:lnTo>
                    <a:pt x="1877" y="2323"/>
                  </a:lnTo>
                  <a:lnTo>
                    <a:pt x="1879" y="2323"/>
                  </a:lnTo>
                  <a:lnTo>
                    <a:pt x="1879" y="2323"/>
                  </a:lnTo>
                  <a:lnTo>
                    <a:pt x="1879" y="2323"/>
                  </a:lnTo>
                  <a:lnTo>
                    <a:pt x="1879" y="2325"/>
                  </a:lnTo>
                  <a:lnTo>
                    <a:pt x="1879" y="2325"/>
                  </a:lnTo>
                  <a:lnTo>
                    <a:pt x="1879" y="2325"/>
                  </a:lnTo>
                  <a:lnTo>
                    <a:pt x="1879" y="2325"/>
                  </a:lnTo>
                  <a:lnTo>
                    <a:pt x="1879" y="2327"/>
                  </a:lnTo>
                  <a:lnTo>
                    <a:pt x="1879" y="2327"/>
                  </a:lnTo>
                  <a:lnTo>
                    <a:pt x="1877" y="2330"/>
                  </a:lnTo>
                  <a:lnTo>
                    <a:pt x="1879" y="2330"/>
                  </a:lnTo>
                  <a:lnTo>
                    <a:pt x="1879" y="2332"/>
                  </a:lnTo>
                  <a:lnTo>
                    <a:pt x="1879" y="2332"/>
                  </a:lnTo>
                  <a:lnTo>
                    <a:pt x="1879" y="2334"/>
                  </a:lnTo>
                  <a:lnTo>
                    <a:pt x="1877" y="2334"/>
                  </a:lnTo>
                  <a:lnTo>
                    <a:pt x="1877" y="2337"/>
                  </a:lnTo>
                  <a:lnTo>
                    <a:pt x="1877" y="2337"/>
                  </a:lnTo>
                  <a:lnTo>
                    <a:pt x="1877" y="2337"/>
                  </a:lnTo>
                  <a:lnTo>
                    <a:pt x="1877" y="2339"/>
                  </a:lnTo>
                  <a:lnTo>
                    <a:pt x="1877" y="2339"/>
                  </a:lnTo>
                  <a:lnTo>
                    <a:pt x="1877" y="2339"/>
                  </a:lnTo>
                  <a:lnTo>
                    <a:pt x="1877" y="2339"/>
                  </a:lnTo>
                  <a:lnTo>
                    <a:pt x="1879" y="2339"/>
                  </a:lnTo>
                  <a:lnTo>
                    <a:pt x="1879" y="2341"/>
                  </a:lnTo>
                  <a:lnTo>
                    <a:pt x="1879" y="2341"/>
                  </a:lnTo>
                  <a:lnTo>
                    <a:pt x="1881" y="2341"/>
                  </a:lnTo>
                  <a:lnTo>
                    <a:pt x="1881" y="2344"/>
                  </a:lnTo>
                  <a:lnTo>
                    <a:pt x="1881" y="2346"/>
                  </a:lnTo>
                  <a:lnTo>
                    <a:pt x="1881" y="2346"/>
                  </a:lnTo>
                  <a:lnTo>
                    <a:pt x="1884" y="2346"/>
                  </a:lnTo>
                  <a:lnTo>
                    <a:pt x="1884" y="2346"/>
                  </a:lnTo>
                  <a:lnTo>
                    <a:pt x="1888" y="2346"/>
                  </a:lnTo>
                  <a:lnTo>
                    <a:pt x="1893" y="2346"/>
                  </a:lnTo>
                  <a:lnTo>
                    <a:pt x="1896" y="2349"/>
                  </a:lnTo>
                  <a:lnTo>
                    <a:pt x="1898" y="2349"/>
                  </a:lnTo>
                  <a:lnTo>
                    <a:pt x="1900" y="2349"/>
                  </a:lnTo>
                  <a:lnTo>
                    <a:pt x="1900" y="2349"/>
                  </a:lnTo>
                  <a:lnTo>
                    <a:pt x="1900" y="2349"/>
                  </a:lnTo>
                  <a:lnTo>
                    <a:pt x="1900" y="2349"/>
                  </a:lnTo>
                  <a:lnTo>
                    <a:pt x="1903" y="2349"/>
                  </a:lnTo>
                  <a:lnTo>
                    <a:pt x="1903" y="2351"/>
                  </a:lnTo>
                  <a:lnTo>
                    <a:pt x="1903" y="2351"/>
                  </a:lnTo>
                  <a:lnTo>
                    <a:pt x="1903" y="2351"/>
                  </a:lnTo>
                  <a:lnTo>
                    <a:pt x="1903" y="2351"/>
                  </a:lnTo>
                  <a:lnTo>
                    <a:pt x="1903" y="2351"/>
                  </a:lnTo>
                  <a:lnTo>
                    <a:pt x="1903" y="2351"/>
                  </a:lnTo>
                  <a:lnTo>
                    <a:pt x="1905" y="2351"/>
                  </a:lnTo>
                  <a:lnTo>
                    <a:pt x="1905" y="2351"/>
                  </a:lnTo>
                  <a:lnTo>
                    <a:pt x="1905" y="2351"/>
                  </a:lnTo>
                  <a:lnTo>
                    <a:pt x="1905" y="2353"/>
                  </a:lnTo>
                  <a:lnTo>
                    <a:pt x="1905" y="2353"/>
                  </a:lnTo>
                  <a:lnTo>
                    <a:pt x="1905" y="2353"/>
                  </a:lnTo>
                  <a:lnTo>
                    <a:pt x="1907" y="2353"/>
                  </a:lnTo>
                  <a:lnTo>
                    <a:pt x="1907" y="2353"/>
                  </a:lnTo>
                  <a:lnTo>
                    <a:pt x="1907" y="2353"/>
                  </a:lnTo>
                  <a:lnTo>
                    <a:pt x="1907" y="2353"/>
                  </a:lnTo>
                  <a:lnTo>
                    <a:pt x="1907" y="2353"/>
                  </a:lnTo>
                  <a:lnTo>
                    <a:pt x="1907" y="2353"/>
                  </a:lnTo>
                  <a:lnTo>
                    <a:pt x="1907" y="2353"/>
                  </a:lnTo>
                  <a:lnTo>
                    <a:pt x="1907" y="2353"/>
                  </a:lnTo>
                  <a:lnTo>
                    <a:pt x="1910" y="2353"/>
                  </a:lnTo>
                  <a:lnTo>
                    <a:pt x="1910" y="2353"/>
                  </a:lnTo>
                  <a:lnTo>
                    <a:pt x="1910" y="2353"/>
                  </a:lnTo>
                  <a:lnTo>
                    <a:pt x="1912" y="2353"/>
                  </a:lnTo>
                  <a:lnTo>
                    <a:pt x="1912" y="2353"/>
                  </a:lnTo>
                  <a:lnTo>
                    <a:pt x="1912" y="2353"/>
                  </a:lnTo>
                  <a:lnTo>
                    <a:pt x="1912" y="2353"/>
                  </a:lnTo>
                  <a:lnTo>
                    <a:pt x="1912" y="2353"/>
                  </a:lnTo>
                  <a:lnTo>
                    <a:pt x="1912" y="2353"/>
                  </a:lnTo>
                  <a:lnTo>
                    <a:pt x="1912" y="2353"/>
                  </a:lnTo>
                  <a:lnTo>
                    <a:pt x="1912" y="2353"/>
                  </a:lnTo>
                  <a:lnTo>
                    <a:pt x="1914" y="2353"/>
                  </a:lnTo>
                  <a:lnTo>
                    <a:pt x="1914" y="2353"/>
                  </a:lnTo>
                  <a:lnTo>
                    <a:pt x="1914" y="2353"/>
                  </a:lnTo>
                  <a:lnTo>
                    <a:pt x="1914" y="2353"/>
                  </a:lnTo>
                  <a:lnTo>
                    <a:pt x="1914" y="2353"/>
                  </a:lnTo>
                  <a:lnTo>
                    <a:pt x="1917" y="2353"/>
                  </a:lnTo>
                  <a:lnTo>
                    <a:pt x="1917" y="2353"/>
                  </a:lnTo>
                  <a:lnTo>
                    <a:pt x="1917" y="2353"/>
                  </a:lnTo>
                  <a:lnTo>
                    <a:pt x="1917" y="2353"/>
                  </a:lnTo>
                  <a:lnTo>
                    <a:pt x="1917" y="2356"/>
                  </a:lnTo>
                  <a:lnTo>
                    <a:pt x="1919" y="2356"/>
                  </a:lnTo>
                  <a:lnTo>
                    <a:pt x="1919" y="2356"/>
                  </a:lnTo>
                  <a:lnTo>
                    <a:pt x="1919" y="2356"/>
                  </a:lnTo>
                  <a:lnTo>
                    <a:pt x="1919" y="2356"/>
                  </a:lnTo>
                  <a:lnTo>
                    <a:pt x="1919" y="2356"/>
                  </a:lnTo>
                  <a:lnTo>
                    <a:pt x="1919" y="2356"/>
                  </a:lnTo>
                  <a:lnTo>
                    <a:pt x="1919" y="2356"/>
                  </a:lnTo>
                  <a:lnTo>
                    <a:pt x="1919" y="2356"/>
                  </a:lnTo>
                  <a:lnTo>
                    <a:pt x="1919" y="2356"/>
                  </a:lnTo>
                  <a:lnTo>
                    <a:pt x="1922" y="2356"/>
                  </a:lnTo>
                  <a:lnTo>
                    <a:pt x="1922" y="2356"/>
                  </a:lnTo>
                  <a:lnTo>
                    <a:pt x="1922" y="2356"/>
                  </a:lnTo>
                  <a:lnTo>
                    <a:pt x="1922" y="2358"/>
                  </a:lnTo>
                  <a:lnTo>
                    <a:pt x="1922" y="2358"/>
                  </a:lnTo>
                  <a:lnTo>
                    <a:pt x="1922" y="2358"/>
                  </a:lnTo>
                  <a:lnTo>
                    <a:pt x="1922" y="2358"/>
                  </a:lnTo>
                  <a:lnTo>
                    <a:pt x="1922" y="2358"/>
                  </a:lnTo>
                  <a:lnTo>
                    <a:pt x="1922" y="2358"/>
                  </a:lnTo>
                  <a:lnTo>
                    <a:pt x="1922" y="2358"/>
                  </a:lnTo>
                  <a:lnTo>
                    <a:pt x="1922" y="2358"/>
                  </a:lnTo>
                  <a:lnTo>
                    <a:pt x="1924" y="2358"/>
                  </a:lnTo>
                  <a:lnTo>
                    <a:pt x="1924" y="2358"/>
                  </a:lnTo>
                  <a:lnTo>
                    <a:pt x="1924" y="2358"/>
                  </a:lnTo>
                  <a:lnTo>
                    <a:pt x="1924" y="2358"/>
                  </a:lnTo>
                  <a:lnTo>
                    <a:pt x="1924" y="2360"/>
                  </a:lnTo>
                  <a:lnTo>
                    <a:pt x="1924" y="2360"/>
                  </a:lnTo>
                  <a:lnTo>
                    <a:pt x="1924" y="2360"/>
                  </a:lnTo>
                  <a:lnTo>
                    <a:pt x="1924" y="2360"/>
                  </a:lnTo>
                  <a:lnTo>
                    <a:pt x="1924" y="2360"/>
                  </a:lnTo>
                  <a:lnTo>
                    <a:pt x="1924" y="2360"/>
                  </a:lnTo>
                  <a:lnTo>
                    <a:pt x="1926" y="2360"/>
                  </a:lnTo>
                  <a:lnTo>
                    <a:pt x="1926" y="2360"/>
                  </a:lnTo>
                  <a:lnTo>
                    <a:pt x="1926" y="2360"/>
                  </a:lnTo>
                  <a:lnTo>
                    <a:pt x="1926" y="2360"/>
                  </a:lnTo>
                  <a:lnTo>
                    <a:pt x="1926" y="2360"/>
                  </a:lnTo>
                  <a:lnTo>
                    <a:pt x="1926" y="2363"/>
                  </a:lnTo>
                  <a:lnTo>
                    <a:pt x="1926" y="2363"/>
                  </a:lnTo>
                  <a:lnTo>
                    <a:pt x="1926" y="2363"/>
                  </a:lnTo>
                  <a:lnTo>
                    <a:pt x="1929" y="2363"/>
                  </a:lnTo>
                  <a:lnTo>
                    <a:pt x="1929" y="2363"/>
                  </a:lnTo>
                  <a:lnTo>
                    <a:pt x="1929" y="2363"/>
                  </a:lnTo>
                  <a:lnTo>
                    <a:pt x="1929" y="2363"/>
                  </a:lnTo>
                  <a:lnTo>
                    <a:pt x="1929" y="2363"/>
                  </a:lnTo>
                  <a:lnTo>
                    <a:pt x="1929" y="2363"/>
                  </a:lnTo>
                  <a:lnTo>
                    <a:pt x="1929" y="2365"/>
                  </a:lnTo>
                  <a:lnTo>
                    <a:pt x="1929" y="2365"/>
                  </a:lnTo>
                  <a:lnTo>
                    <a:pt x="1929" y="2365"/>
                  </a:lnTo>
                  <a:lnTo>
                    <a:pt x="1929" y="2365"/>
                  </a:lnTo>
                  <a:lnTo>
                    <a:pt x="1929" y="2365"/>
                  </a:lnTo>
                  <a:lnTo>
                    <a:pt x="1929" y="2367"/>
                  </a:lnTo>
                  <a:lnTo>
                    <a:pt x="1929" y="2367"/>
                  </a:lnTo>
                  <a:lnTo>
                    <a:pt x="1929" y="2367"/>
                  </a:lnTo>
                  <a:lnTo>
                    <a:pt x="1931" y="2370"/>
                  </a:lnTo>
                  <a:lnTo>
                    <a:pt x="1931" y="2370"/>
                  </a:lnTo>
                  <a:lnTo>
                    <a:pt x="1931" y="2370"/>
                  </a:lnTo>
                  <a:lnTo>
                    <a:pt x="1931" y="2370"/>
                  </a:lnTo>
                  <a:lnTo>
                    <a:pt x="1931" y="2370"/>
                  </a:lnTo>
                  <a:lnTo>
                    <a:pt x="1931" y="2370"/>
                  </a:lnTo>
                  <a:lnTo>
                    <a:pt x="1931" y="2370"/>
                  </a:lnTo>
                  <a:lnTo>
                    <a:pt x="1931" y="2370"/>
                  </a:lnTo>
                  <a:lnTo>
                    <a:pt x="1931" y="2370"/>
                  </a:lnTo>
                  <a:lnTo>
                    <a:pt x="1931" y="2370"/>
                  </a:lnTo>
                  <a:lnTo>
                    <a:pt x="1931" y="2370"/>
                  </a:lnTo>
                  <a:lnTo>
                    <a:pt x="1931" y="2370"/>
                  </a:lnTo>
                  <a:lnTo>
                    <a:pt x="1931" y="2370"/>
                  </a:lnTo>
                  <a:lnTo>
                    <a:pt x="1931" y="2370"/>
                  </a:lnTo>
                  <a:lnTo>
                    <a:pt x="1931" y="2370"/>
                  </a:lnTo>
                  <a:lnTo>
                    <a:pt x="1933" y="2372"/>
                  </a:lnTo>
                  <a:lnTo>
                    <a:pt x="1933" y="2375"/>
                  </a:lnTo>
                  <a:lnTo>
                    <a:pt x="1936" y="2375"/>
                  </a:lnTo>
                  <a:lnTo>
                    <a:pt x="1936" y="2375"/>
                  </a:lnTo>
                  <a:lnTo>
                    <a:pt x="1933" y="2375"/>
                  </a:lnTo>
                  <a:lnTo>
                    <a:pt x="1933" y="2372"/>
                  </a:lnTo>
                  <a:lnTo>
                    <a:pt x="1933" y="2372"/>
                  </a:lnTo>
                  <a:lnTo>
                    <a:pt x="1933" y="2372"/>
                  </a:lnTo>
                  <a:lnTo>
                    <a:pt x="1936" y="2375"/>
                  </a:lnTo>
                  <a:lnTo>
                    <a:pt x="1936" y="2375"/>
                  </a:lnTo>
                  <a:lnTo>
                    <a:pt x="1936" y="2375"/>
                  </a:lnTo>
                  <a:lnTo>
                    <a:pt x="1938" y="2375"/>
                  </a:lnTo>
                  <a:lnTo>
                    <a:pt x="1938" y="2377"/>
                  </a:lnTo>
                  <a:lnTo>
                    <a:pt x="1938" y="2377"/>
                  </a:lnTo>
                  <a:lnTo>
                    <a:pt x="1940" y="2377"/>
                  </a:lnTo>
                  <a:lnTo>
                    <a:pt x="1940" y="2377"/>
                  </a:lnTo>
                  <a:lnTo>
                    <a:pt x="1940" y="2377"/>
                  </a:lnTo>
                  <a:lnTo>
                    <a:pt x="1940" y="2377"/>
                  </a:lnTo>
                  <a:lnTo>
                    <a:pt x="1943" y="2377"/>
                  </a:lnTo>
                  <a:lnTo>
                    <a:pt x="1943" y="2377"/>
                  </a:lnTo>
                  <a:lnTo>
                    <a:pt x="1943" y="2377"/>
                  </a:lnTo>
                  <a:lnTo>
                    <a:pt x="1943" y="2379"/>
                  </a:lnTo>
                  <a:lnTo>
                    <a:pt x="1943" y="2379"/>
                  </a:lnTo>
                  <a:lnTo>
                    <a:pt x="1945" y="2379"/>
                  </a:lnTo>
                  <a:lnTo>
                    <a:pt x="1945" y="2379"/>
                  </a:lnTo>
                  <a:lnTo>
                    <a:pt x="1945" y="2379"/>
                  </a:lnTo>
                  <a:lnTo>
                    <a:pt x="1945" y="2382"/>
                  </a:lnTo>
                  <a:lnTo>
                    <a:pt x="1948" y="2382"/>
                  </a:lnTo>
                  <a:lnTo>
                    <a:pt x="1948" y="2382"/>
                  </a:lnTo>
                  <a:lnTo>
                    <a:pt x="1948" y="2379"/>
                  </a:lnTo>
                  <a:lnTo>
                    <a:pt x="1948" y="2379"/>
                  </a:lnTo>
                  <a:lnTo>
                    <a:pt x="1948" y="2379"/>
                  </a:lnTo>
                  <a:lnTo>
                    <a:pt x="1948" y="2379"/>
                  </a:lnTo>
                  <a:lnTo>
                    <a:pt x="1948" y="2379"/>
                  </a:lnTo>
                  <a:lnTo>
                    <a:pt x="1948" y="2379"/>
                  </a:lnTo>
                  <a:lnTo>
                    <a:pt x="1948" y="2379"/>
                  </a:lnTo>
                  <a:lnTo>
                    <a:pt x="1948" y="2379"/>
                  </a:lnTo>
                  <a:lnTo>
                    <a:pt x="1950" y="2379"/>
                  </a:lnTo>
                  <a:lnTo>
                    <a:pt x="1950" y="2379"/>
                  </a:lnTo>
                  <a:lnTo>
                    <a:pt x="1950" y="2379"/>
                  </a:lnTo>
                  <a:lnTo>
                    <a:pt x="1952" y="2379"/>
                  </a:lnTo>
                  <a:lnTo>
                    <a:pt x="1952" y="2379"/>
                  </a:lnTo>
                  <a:lnTo>
                    <a:pt x="1952" y="2379"/>
                  </a:lnTo>
                  <a:lnTo>
                    <a:pt x="1952" y="2379"/>
                  </a:lnTo>
                  <a:lnTo>
                    <a:pt x="1952" y="2379"/>
                  </a:lnTo>
                  <a:lnTo>
                    <a:pt x="1955" y="2379"/>
                  </a:lnTo>
                  <a:lnTo>
                    <a:pt x="1955" y="2379"/>
                  </a:lnTo>
                  <a:lnTo>
                    <a:pt x="1955" y="2379"/>
                  </a:lnTo>
                  <a:lnTo>
                    <a:pt x="1955" y="2379"/>
                  </a:lnTo>
                  <a:lnTo>
                    <a:pt x="1957" y="2382"/>
                  </a:lnTo>
                  <a:lnTo>
                    <a:pt x="1957" y="2379"/>
                  </a:lnTo>
                  <a:lnTo>
                    <a:pt x="1957" y="2382"/>
                  </a:lnTo>
                  <a:lnTo>
                    <a:pt x="1957" y="2382"/>
                  </a:lnTo>
                  <a:lnTo>
                    <a:pt x="1959" y="2382"/>
                  </a:lnTo>
                  <a:lnTo>
                    <a:pt x="1959" y="2384"/>
                  </a:lnTo>
                  <a:lnTo>
                    <a:pt x="1962" y="2386"/>
                  </a:lnTo>
                  <a:lnTo>
                    <a:pt x="1962" y="2389"/>
                  </a:lnTo>
                  <a:lnTo>
                    <a:pt x="1962" y="2389"/>
                  </a:lnTo>
                  <a:lnTo>
                    <a:pt x="1962" y="2391"/>
                  </a:lnTo>
                  <a:lnTo>
                    <a:pt x="1962" y="2391"/>
                  </a:lnTo>
                  <a:lnTo>
                    <a:pt x="1962" y="2391"/>
                  </a:lnTo>
                  <a:lnTo>
                    <a:pt x="1962" y="2394"/>
                  </a:lnTo>
                  <a:lnTo>
                    <a:pt x="1962" y="2394"/>
                  </a:lnTo>
                  <a:lnTo>
                    <a:pt x="1962" y="2394"/>
                  </a:lnTo>
                  <a:lnTo>
                    <a:pt x="1962" y="2394"/>
                  </a:lnTo>
                  <a:lnTo>
                    <a:pt x="1959" y="2394"/>
                  </a:lnTo>
                  <a:lnTo>
                    <a:pt x="1959" y="2396"/>
                  </a:lnTo>
                  <a:lnTo>
                    <a:pt x="1959" y="2396"/>
                  </a:lnTo>
                  <a:lnTo>
                    <a:pt x="1959" y="2396"/>
                  </a:lnTo>
                  <a:lnTo>
                    <a:pt x="1959" y="2396"/>
                  </a:lnTo>
                  <a:lnTo>
                    <a:pt x="1962" y="2396"/>
                  </a:lnTo>
                  <a:lnTo>
                    <a:pt x="1962" y="2396"/>
                  </a:lnTo>
                  <a:lnTo>
                    <a:pt x="1962" y="2396"/>
                  </a:lnTo>
                  <a:lnTo>
                    <a:pt x="1962" y="2396"/>
                  </a:lnTo>
                  <a:lnTo>
                    <a:pt x="1962" y="2396"/>
                  </a:lnTo>
                  <a:lnTo>
                    <a:pt x="1962" y="2398"/>
                  </a:lnTo>
                  <a:lnTo>
                    <a:pt x="1962" y="2398"/>
                  </a:lnTo>
                  <a:lnTo>
                    <a:pt x="1964" y="2398"/>
                  </a:lnTo>
                  <a:lnTo>
                    <a:pt x="1964" y="2398"/>
                  </a:lnTo>
                  <a:lnTo>
                    <a:pt x="1964" y="2398"/>
                  </a:lnTo>
                  <a:lnTo>
                    <a:pt x="1964" y="2398"/>
                  </a:lnTo>
                  <a:lnTo>
                    <a:pt x="1967" y="2398"/>
                  </a:lnTo>
                  <a:lnTo>
                    <a:pt x="1967" y="2398"/>
                  </a:lnTo>
                  <a:lnTo>
                    <a:pt x="1967" y="2398"/>
                  </a:lnTo>
                  <a:lnTo>
                    <a:pt x="1967" y="2398"/>
                  </a:lnTo>
                  <a:lnTo>
                    <a:pt x="1967" y="2398"/>
                  </a:lnTo>
                  <a:lnTo>
                    <a:pt x="1967" y="2398"/>
                  </a:lnTo>
                  <a:lnTo>
                    <a:pt x="1967" y="2398"/>
                  </a:lnTo>
                  <a:lnTo>
                    <a:pt x="1967" y="2396"/>
                  </a:lnTo>
                  <a:lnTo>
                    <a:pt x="1967" y="2396"/>
                  </a:lnTo>
                  <a:lnTo>
                    <a:pt x="1967" y="2396"/>
                  </a:lnTo>
                  <a:lnTo>
                    <a:pt x="1967" y="2396"/>
                  </a:lnTo>
                  <a:lnTo>
                    <a:pt x="1967" y="2396"/>
                  </a:lnTo>
                  <a:lnTo>
                    <a:pt x="1967" y="2396"/>
                  </a:lnTo>
                  <a:lnTo>
                    <a:pt x="1969" y="2396"/>
                  </a:lnTo>
                  <a:lnTo>
                    <a:pt x="1969" y="2396"/>
                  </a:lnTo>
                  <a:lnTo>
                    <a:pt x="1969" y="2396"/>
                  </a:lnTo>
                  <a:lnTo>
                    <a:pt x="1969" y="2398"/>
                  </a:lnTo>
                  <a:lnTo>
                    <a:pt x="1969" y="2398"/>
                  </a:lnTo>
                  <a:lnTo>
                    <a:pt x="1969" y="2398"/>
                  </a:lnTo>
                  <a:lnTo>
                    <a:pt x="1969" y="2398"/>
                  </a:lnTo>
                  <a:lnTo>
                    <a:pt x="1969" y="2398"/>
                  </a:lnTo>
                  <a:lnTo>
                    <a:pt x="1969" y="2398"/>
                  </a:lnTo>
                  <a:lnTo>
                    <a:pt x="1969" y="2398"/>
                  </a:lnTo>
                  <a:lnTo>
                    <a:pt x="1969" y="2398"/>
                  </a:lnTo>
                  <a:lnTo>
                    <a:pt x="1969" y="2396"/>
                  </a:lnTo>
                  <a:lnTo>
                    <a:pt x="1969" y="2396"/>
                  </a:lnTo>
                  <a:lnTo>
                    <a:pt x="1971" y="2398"/>
                  </a:lnTo>
                  <a:lnTo>
                    <a:pt x="1971" y="2396"/>
                  </a:lnTo>
                  <a:lnTo>
                    <a:pt x="1971" y="2398"/>
                  </a:lnTo>
                  <a:lnTo>
                    <a:pt x="1974" y="2398"/>
                  </a:lnTo>
                  <a:lnTo>
                    <a:pt x="1974" y="2398"/>
                  </a:lnTo>
                  <a:lnTo>
                    <a:pt x="1978" y="2405"/>
                  </a:lnTo>
                  <a:lnTo>
                    <a:pt x="1981" y="2405"/>
                  </a:lnTo>
                  <a:lnTo>
                    <a:pt x="1981" y="2408"/>
                  </a:lnTo>
                  <a:lnTo>
                    <a:pt x="1983" y="2410"/>
                  </a:lnTo>
                  <a:lnTo>
                    <a:pt x="1985" y="2412"/>
                  </a:lnTo>
                  <a:lnTo>
                    <a:pt x="1988" y="2415"/>
                  </a:lnTo>
                  <a:lnTo>
                    <a:pt x="1988" y="2415"/>
                  </a:lnTo>
                  <a:lnTo>
                    <a:pt x="1990" y="2415"/>
                  </a:lnTo>
                  <a:lnTo>
                    <a:pt x="1990" y="2417"/>
                  </a:lnTo>
                  <a:lnTo>
                    <a:pt x="1993" y="2420"/>
                  </a:lnTo>
                  <a:lnTo>
                    <a:pt x="1995" y="2422"/>
                  </a:lnTo>
                  <a:lnTo>
                    <a:pt x="2000" y="2431"/>
                  </a:lnTo>
                  <a:lnTo>
                    <a:pt x="2002" y="2436"/>
                  </a:lnTo>
                  <a:lnTo>
                    <a:pt x="2002" y="2438"/>
                  </a:lnTo>
                  <a:lnTo>
                    <a:pt x="2002" y="2441"/>
                  </a:lnTo>
                  <a:lnTo>
                    <a:pt x="2002" y="2441"/>
                  </a:lnTo>
                  <a:lnTo>
                    <a:pt x="2002" y="2441"/>
                  </a:lnTo>
                  <a:lnTo>
                    <a:pt x="2002" y="2446"/>
                  </a:lnTo>
                  <a:lnTo>
                    <a:pt x="2002" y="2448"/>
                  </a:lnTo>
                  <a:lnTo>
                    <a:pt x="2002" y="2448"/>
                  </a:lnTo>
                  <a:lnTo>
                    <a:pt x="2002" y="2448"/>
                  </a:lnTo>
                  <a:lnTo>
                    <a:pt x="2002" y="2448"/>
                  </a:lnTo>
                  <a:lnTo>
                    <a:pt x="2000" y="2450"/>
                  </a:lnTo>
                  <a:lnTo>
                    <a:pt x="2000" y="2450"/>
                  </a:lnTo>
                  <a:lnTo>
                    <a:pt x="2002" y="2453"/>
                  </a:lnTo>
                  <a:lnTo>
                    <a:pt x="2002" y="2453"/>
                  </a:lnTo>
                  <a:lnTo>
                    <a:pt x="2002" y="2455"/>
                  </a:lnTo>
                  <a:lnTo>
                    <a:pt x="2000" y="2457"/>
                  </a:lnTo>
                  <a:lnTo>
                    <a:pt x="2000" y="2457"/>
                  </a:lnTo>
                  <a:lnTo>
                    <a:pt x="2002" y="2457"/>
                  </a:lnTo>
                  <a:lnTo>
                    <a:pt x="2002" y="2457"/>
                  </a:lnTo>
                  <a:lnTo>
                    <a:pt x="2002" y="2455"/>
                  </a:lnTo>
                  <a:lnTo>
                    <a:pt x="2002" y="2455"/>
                  </a:lnTo>
                  <a:lnTo>
                    <a:pt x="2002" y="2455"/>
                  </a:lnTo>
                  <a:lnTo>
                    <a:pt x="2004" y="2455"/>
                  </a:lnTo>
                  <a:lnTo>
                    <a:pt x="2004" y="2455"/>
                  </a:lnTo>
                  <a:lnTo>
                    <a:pt x="2004" y="2457"/>
                  </a:lnTo>
                  <a:lnTo>
                    <a:pt x="2004" y="2457"/>
                  </a:lnTo>
                  <a:lnTo>
                    <a:pt x="2007" y="2457"/>
                  </a:lnTo>
                  <a:lnTo>
                    <a:pt x="2007" y="2460"/>
                  </a:lnTo>
                  <a:lnTo>
                    <a:pt x="2007" y="2460"/>
                  </a:lnTo>
                  <a:lnTo>
                    <a:pt x="2007" y="2462"/>
                  </a:lnTo>
                  <a:lnTo>
                    <a:pt x="2007" y="2462"/>
                  </a:lnTo>
                  <a:lnTo>
                    <a:pt x="2007" y="2462"/>
                  </a:lnTo>
                  <a:lnTo>
                    <a:pt x="2004" y="2462"/>
                  </a:lnTo>
                  <a:lnTo>
                    <a:pt x="2004" y="2460"/>
                  </a:lnTo>
                  <a:lnTo>
                    <a:pt x="2004" y="2460"/>
                  </a:lnTo>
                  <a:lnTo>
                    <a:pt x="2004" y="2457"/>
                  </a:lnTo>
                  <a:lnTo>
                    <a:pt x="2004" y="2457"/>
                  </a:lnTo>
                  <a:lnTo>
                    <a:pt x="2004" y="2457"/>
                  </a:lnTo>
                  <a:lnTo>
                    <a:pt x="2004" y="2457"/>
                  </a:lnTo>
                  <a:lnTo>
                    <a:pt x="2004" y="2455"/>
                  </a:lnTo>
                  <a:lnTo>
                    <a:pt x="2002" y="2455"/>
                  </a:lnTo>
                  <a:lnTo>
                    <a:pt x="2002" y="2457"/>
                  </a:lnTo>
                  <a:lnTo>
                    <a:pt x="2002" y="2457"/>
                  </a:lnTo>
                  <a:lnTo>
                    <a:pt x="2002" y="2457"/>
                  </a:lnTo>
                  <a:lnTo>
                    <a:pt x="2004" y="2457"/>
                  </a:lnTo>
                  <a:lnTo>
                    <a:pt x="2004" y="2457"/>
                  </a:lnTo>
                  <a:lnTo>
                    <a:pt x="2004" y="2460"/>
                  </a:lnTo>
                  <a:lnTo>
                    <a:pt x="2004" y="2462"/>
                  </a:lnTo>
                  <a:lnTo>
                    <a:pt x="2004" y="2462"/>
                  </a:lnTo>
                  <a:lnTo>
                    <a:pt x="2004" y="2464"/>
                  </a:lnTo>
                  <a:lnTo>
                    <a:pt x="2004" y="2464"/>
                  </a:lnTo>
                  <a:lnTo>
                    <a:pt x="2004" y="2464"/>
                  </a:lnTo>
                  <a:lnTo>
                    <a:pt x="2009" y="2467"/>
                  </a:lnTo>
                  <a:lnTo>
                    <a:pt x="2011" y="2467"/>
                  </a:lnTo>
                  <a:lnTo>
                    <a:pt x="2014" y="2467"/>
                  </a:lnTo>
                  <a:lnTo>
                    <a:pt x="2019" y="2467"/>
                  </a:lnTo>
                  <a:lnTo>
                    <a:pt x="2023" y="2467"/>
                  </a:lnTo>
                  <a:lnTo>
                    <a:pt x="2028" y="2467"/>
                  </a:lnTo>
                  <a:lnTo>
                    <a:pt x="2030" y="2467"/>
                  </a:lnTo>
                  <a:lnTo>
                    <a:pt x="2033" y="2467"/>
                  </a:lnTo>
                  <a:lnTo>
                    <a:pt x="2038" y="2467"/>
                  </a:lnTo>
                  <a:lnTo>
                    <a:pt x="2040" y="2467"/>
                  </a:lnTo>
                  <a:lnTo>
                    <a:pt x="2042" y="2467"/>
                  </a:lnTo>
                  <a:lnTo>
                    <a:pt x="2047" y="2469"/>
                  </a:lnTo>
                  <a:lnTo>
                    <a:pt x="2049" y="2469"/>
                  </a:lnTo>
                  <a:lnTo>
                    <a:pt x="2052" y="2469"/>
                  </a:lnTo>
                  <a:lnTo>
                    <a:pt x="2056" y="2469"/>
                  </a:lnTo>
                  <a:lnTo>
                    <a:pt x="2059" y="2469"/>
                  </a:lnTo>
                  <a:lnTo>
                    <a:pt x="2061" y="2469"/>
                  </a:lnTo>
                  <a:lnTo>
                    <a:pt x="2066" y="2469"/>
                  </a:lnTo>
                  <a:lnTo>
                    <a:pt x="2068" y="2469"/>
                  </a:lnTo>
                  <a:lnTo>
                    <a:pt x="2071" y="2469"/>
                  </a:lnTo>
                  <a:lnTo>
                    <a:pt x="2075" y="2469"/>
                  </a:lnTo>
                  <a:lnTo>
                    <a:pt x="2078" y="2469"/>
                  </a:lnTo>
                  <a:lnTo>
                    <a:pt x="2080" y="2469"/>
                  </a:lnTo>
                  <a:lnTo>
                    <a:pt x="2085" y="2469"/>
                  </a:lnTo>
                  <a:lnTo>
                    <a:pt x="2087" y="2469"/>
                  </a:lnTo>
                  <a:lnTo>
                    <a:pt x="2090" y="2472"/>
                  </a:lnTo>
                  <a:lnTo>
                    <a:pt x="2094" y="2472"/>
                  </a:lnTo>
                  <a:lnTo>
                    <a:pt x="2097" y="2472"/>
                  </a:lnTo>
                  <a:lnTo>
                    <a:pt x="2099" y="2472"/>
                  </a:lnTo>
                  <a:lnTo>
                    <a:pt x="2104" y="2472"/>
                  </a:lnTo>
                  <a:lnTo>
                    <a:pt x="2106" y="2472"/>
                  </a:lnTo>
                  <a:lnTo>
                    <a:pt x="2109" y="2472"/>
                  </a:lnTo>
                  <a:lnTo>
                    <a:pt x="2109" y="2472"/>
                  </a:lnTo>
                  <a:lnTo>
                    <a:pt x="2106" y="2472"/>
                  </a:lnTo>
                  <a:lnTo>
                    <a:pt x="2106" y="2474"/>
                  </a:lnTo>
                  <a:lnTo>
                    <a:pt x="2106" y="2474"/>
                  </a:lnTo>
                  <a:lnTo>
                    <a:pt x="2106" y="2474"/>
                  </a:lnTo>
                  <a:lnTo>
                    <a:pt x="2104" y="2476"/>
                  </a:lnTo>
                  <a:lnTo>
                    <a:pt x="2104" y="2476"/>
                  </a:lnTo>
                  <a:lnTo>
                    <a:pt x="2104" y="2476"/>
                  </a:lnTo>
                  <a:lnTo>
                    <a:pt x="2104" y="2479"/>
                  </a:lnTo>
                  <a:lnTo>
                    <a:pt x="2104" y="2479"/>
                  </a:lnTo>
                  <a:lnTo>
                    <a:pt x="2104" y="2481"/>
                  </a:lnTo>
                  <a:lnTo>
                    <a:pt x="2101" y="2481"/>
                  </a:lnTo>
                  <a:lnTo>
                    <a:pt x="2101" y="2481"/>
                  </a:lnTo>
                  <a:lnTo>
                    <a:pt x="2101" y="2481"/>
                  </a:lnTo>
                  <a:lnTo>
                    <a:pt x="2104" y="2483"/>
                  </a:lnTo>
                  <a:lnTo>
                    <a:pt x="2120" y="2491"/>
                  </a:lnTo>
                  <a:lnTo>
                    <a:pt x="2137" y="2500"/>
                  </a:lnTo>
                  <a:lnTo>
                    <a:pt x="2153" y="2507"/>
                  </a:lnTo>
                  <a:lnTo>
                    <a:pt x="2170" y="2517"/>
                  </a:lnTo>
                  <a:lnTo>
                    <a:pt x="2187" y="2526"/>
                  </a:lnTo>
                  <a:lnTo>
                    <a:pt x="2203" y="2533"/>
                  </a:lnTo>
                  <a:lnTo>
                    <a:pt x="2220" y="2543"/>
                  </a:lnTo>
                  <a:lnTo>
                    <a:pt x="2239" y="2550"/>
                  </a:lnTo>
                  <a:lnTo>
                    <a:pt x="2241" y="2552"/>
                  </a:lnTo>
                  <a:lnTo>
                    <a:pt x="2241" y="2552"/>
                  </a:lnTo>
                  <a:lnTo>
                    <a:pt x="2243" y="2552"/>
                  </a:lnTo>
                  <a:lnTo>
                    <a:pt x="2246" y="2554"/>
                  </a:lnTo>
                  <a:lnTo>
                    <a:pt x="2248" y="2554"/>
                  </a:lnTo>
                  <a:lnTo>
                    <a:pt x="2250" y="2557"/>
                  </a:lnTo>
                  <a:lnTo>
                    <a:pt x="2253" y="2557"/>
                  </a:lnTo>
                  <a:lnTo>
                    <a:pt x="2255" y="2559"/>
                  </a:lnTo>
                  <a:lnTo>
                    <a:pt x="2255" y="2559"/>
                  </a:lnTo>
                  <a:lnTo>
                    <a:pt x="2258" y="2559"/>
                  </a:lnTo>
                  <a:lnTo>
                    <a:pt x="2260" y="2559"/>
                  </a:lnTo>
                  <a:lnTo>
                    <a:pt x="2262" y="2559"/>
                  </a:lnTo>
                  <a:lnTo>
                    <a:pt x="2265" y="2559"/>
                  </a:lnTo>
                  <a:lnTo>
                    <a:pt x="2267" y="2559"/>
                  </a:lnTo>
                  <a:lnTo>
                    <a:pt x="2269" y="2561"/>
                  </a:lnTo>
                  <a:lnTo>
                    <a:pt x="2269" y="2561"/>
                  </a:lnTo>
                  <a:lnTo>
                    <a:pt x="2272" y="2561"/>
                  </a:lnTo>
                  <a:lnTo>
                    <a:pt x="2274" y="2561"/>
                  </a:lnTo>
                  <a:lnTo>
                    <a:pt x="2277" y="2561"/>
                  </a:lnTo>
                  <a:lnTo>
                    <a:pt x="2279" y="2561"/>
                  </a:lnTo>
                  <a:lnTo>
                    <a:pt x="2279" y="2561"/>
                  </a:lnTo>
                  <a:lnTo>
                    <a:pt x="2281" y="2561"/>
                  </a:lnTo>
                  <a:lnTo>
                    <a:pt x="2284" y="2561"/>
                  </a:lnTo>
                  <a:lnTo>
                    <a:pt x="2286" y="2561"/>
                  </a:lnTo>
                  <a:lnTo>
                    <a:pt x="2286" y="2561"/>
                  </a:lnTo>
                  <a:lnTo>
                    <a:pt x="2288" y="2561"/>
                  </a:lnTo>
                  <a:lnTo>
                    <a:pt x="2291" y="2561"/>
                  </a:lnTo>
                  <a:lnTo>
                    <a:pt x="2293" y="2564"/>
                  </a:lnTo>
                  <a:lnTo>
                    <a:pt x="2295" y="2564"/>
                  </a:lnTo>
                  <a:lnTo>
                    <a:pt x="2298" y="2564"/>
                  </a:lnTo>
                  <a:lnTo>
                    <a:pt x="2300" y="2564"/>
                  </a:lnTo>
                  <a:lnTo>
                    <a:pt x="2303" y="2564"/>
                  </a:lnTo>
                  <a:lnTo>
                    <a:pt x="2303" y="2564"/>
                  </a:lnTo>
                  <a:lnTo>
                    <a:pt x="2305" y="2564"/>
                  </a:lnTo>
                  <a:lnTo>
                    <a:pt x="2307" y="2564"/>
                  </a:lnTo>
                  <a:lnTo>
                    <a:pt x="2310" y="2564"/>
                  </a:lnTo>
                  <a:lnTo>
                    <a:pt x="2312" y="2564"/>
                  </a:lnTo>
                  <a:lnTo>
                    <a:pt x="2312" y="2564"/>
                  </a:lnTo>
                  <a:lnTo>
                    <a:pt x="2314" y="2564"/>
                  </a:lnTo>
                  <a:lnTo>
                    <a:pt x="2317" y="2564"/>
                  </a:lnTo>
                  <a:lnTo>
                    <a:pt x="2319" y="2566"/>
                  </a:lnTo>
                  <a:lnTo>
                    <a:pt x="2319" y="2566"/>
                  </a:lnTo>
                  <a:lnTo>
                    <a:pt x="2321" y="2566"/>
                  </a:lnTo>
                  <a:lnTo>
                    <a:pt x="2324" y="2566"/>
                  </a:lnTo>
                  <a:lnTo>
                    <a:pt x="2326" y="2566"/>
                  </a:lnTo>
                  <a:lnTo>
                    <a:pt x="2329" y="2566"/>
                  </a:lnTo>
                  <a:lnTo>
                    <a:pt x="2329" y="2566"/>
                  </a:lnTo>
                  <a:lnTo>
                    <a:pt x="2331" y="2566"/>
                  </a:lnTo>
                  <a:lnTo>
                    <a:pt x="2333" y="2566"/>
                  </a:lnTo>
                  <a:lnTo>
                    <a:pt x="2336" y="2566"/>
                  </a:lnTo>
                  <a:lnTo>
                    <a:pt x="2336" y="2566"/>
                  </a:lnTo>
                  <a:lnTo>
                    <a:pt x="2338" y="2566"/>
                  </a:lnTo>
                  <a:lnTo>
                    <a:pt x="2340" y="2566"/>
                  </a:lnTo>
                  <a:lnTo>
                    <a:pt x="2343" y="2566"/>
                  </a:lnTo>
                  <a:lnTo>
                    <a:pt x="2343" y="2566"/>
                  </a:lnTo>
                  <a:lnTo>
                    <a:pt x="2345" y="2566"/>
                  </a:lnTo>
                  <a:lnTo>
                    <a:pt x="2345" y="2566"/>
                  </a:lnTo>
                  <a:lnTo>
                    <a:pt x="2348" y="2569"/>
                  </a:lnTo>
                  <a:lnTo>
                    <a:pt x="2348" y="2569"/>
                  </a:lnTo>
                  <a:lnTo>
                    <a:pt x="2350" y="2569"/>
                  </a:lnTo>
                  <a:lnTo>
                    <a:pt x="2352" y="2569"/>
                  </a:lnTo>
                  <a:lnTo>
                    <a:pt x="2352" y="2569"/>
                  </a:lnTo>
                  <a:lnTo>
                    <a:pt x="2355" y="2569"/>
                  </a:lnTo>
                  <a:lnTo>
                    <a:pt x="2357" y="2569"/>
                  </a:lnTo>
                  <a:lnTo>
                    <a:pt x="2359" y="2569"/>
                  </a:lnTo>
                  <a:lnTo>
                    <a:pt x="2362" y="2569"/>
                  </a:lnTo>
                  <a:lnTo>
                    <a:pt x="2362" y="2569"/>
                  </a:lnTo>
                  <a:lnTo>
                    <a:pt x="2364" y="2569"/>
                  </a:lnTo>
                  <a:lnTo>
                    <a:pt x="2366" y="2569"/>
                  </a:lnTo>
                  <a:lnTo>
                    <a:pt x="2369" y="2569"/>
                  </a:lnTo>
                  <a:lnTo>
                    <a:pt x="2371" y="2569"/>
                  </a:lnTo>
                  <a:lnTo>
                    <a:pt x="2371" y="2569"/>
                  </a:lnTo>
                  <a:lnTo>
                    <a:pt x="2374" y="2569"/>
                  </a:lnTo>
                  <a:lnTo>
                    <a:pt x="2376" y="2569"/>
                  </a:lnTo>
                  <a:lnTo>
                    <a:pt x="2378" y="2571"/>
                  </a:lnTo>
                  <a:lnTo>
                    <a:pt x="2378" y="2571"/>
                  </a:lnTo>
                  <a:lnTo>
                    <a:pt x="2378" y="2569"/>
                  </a:lnTo>
                  <a:lnTo>
                    <a:pt x="2378" y="2569"/>
                  </a:lnTo>
                  <a:lnTo>
                    <a:pt x="2378" y="2569"/>
                  </a:lnTo>
                  <a:lnTo>
                    <a:pt x="2378" y="2569"/>
                  </a:lnTo>
                  <a:lnTo>
                    <a:pt x="2378" y="2569"/>
                  </a:lnTo>
                  <a:lnTo>
                    <a:pt x="2378" y="2569"/>
                  </a:lnTo>
                  <a:lnTo>
                    <a:pt x="2378" y="2569"/>
                  </a:lnTo>
                  <a:lnTo>
                    <a:pt x="2381" y="2566"/>
                  </a:lnTo>
                  <a:lnTo>
                    <a:pt x="2381" y="2566"/>
                  </a:lnTo>
                  <a:lnTo>
                    <a:pt x="2381" y="2566"/>
                  </a:lnTo>
                  <a:lnTo>
                    <a:pt x="2381" y="2566"/>
                  </a:lnTo>
                  <a:lnTo>
                    <a:pt x="2381" y="2566"/>
                  </a:lnTo>
                  <a:lnTo>
                    <a:pt x="2381" y="2566"/>
                  </a:lnTo>
                  <a:lnTo>
                    <a:pt x="2381" y="2564"/>
                  </a:lnTo>
                  <a:lnTo>
                    <a:pt x="2381" y="2564"/>
                  </a:lnTo>
                  <a:lnTo>
                    <a:pt x="2381" y="2564"/>
                  </a:lnTo>
                  <a:lnTo>
                    <a:pt x="2381" y="2564"/>
                  </a:lnTo>
                  <a:lnTo>
                    <a:pt x="2381" y="2564"/>
                  </a:lnTo>
                  <a:lnTo>
                    <a:pt x="2381" y="2564"/>
                  </a:lnTo>
                  <a:lnTo>
                    <a:pt x="2381" y="2561"/>
                  </a:lnTo>
                  <a:lnTo>
                    <a:pt x="2381" y="2561"/>
                  </a:lnTo>
                  <a:lnTo>
                    <a:pt x="2381" y="2561"/>
                  </a:lnTo>
                  <a:lnTo>
                    <a:pt x="2381" y="2561"/>
                  </a:lnTo>
                  <a:lnTo>
                    <a:pt x="2381" y="2561"/>
                  </a:lnTo>
                  <a:lnTo>
                    <a:pt x="2381" y="2561"/>
                  </a:lnTo>
                  <a:lnTo>
                    <a:pt x="2381" y="2561"/>
                  </a:lnTo>
                  <a:lnTo>
                    <a:pt x="2381" y="2559"/>
                  </a:lnTo>
                  <a:lnTo>
                    <a:pt x="2381" y="2559"/>
                  </a:lnTo>
                  <a:lnTo>
                    <a:pt x="2381" y="2559"/>
                  </a:lnTo>
                  <a:lnTo>
                    <a:pt x="2381" y="2559"/>
                  </a:lnTo>
                  <a:lnTo>
                    <a:pt x="2381" y="2559"/>
                  </a:lnTo>
                  <a:lnTo>
                    <a:pt x="2381" y="2559"/>
                  </a:lnTo>
                  <a:lnTo>
                    <a:pt x="2381" y="2557"/>
                  </a:lnTo>
                  <a:lnTo>
                    <a:pt x="2381" y="2557"/>
                  </a:lnTo>
                  <a:lnTo>
                    <a:pt x="2381" y="2557"/>
                  </a:lnTo>
                  <a:lnTo>
                    <a:pt x="2381" y="2557"/>
                  </a:lnTo>
                  <a:lnTo>
                    <a:pt x="2381" y="2557"/>
                  </a:lnTo>
                  <a:lnTo>
                    <a:pt x="2381" y="2554"/>
                  </a:lnTo>
                  <a:lnTo>
                    <a:pt x="2381" y="2554"/>
                  </a:lnTo>
                  <a:lnTo>
                    <a:pt x="2381" y="2554"/>
                  </a:lnTo>
                  <a:lnTo>
                    <a:pt x="2381" y="2554"/>
                  </a:lnTo>
                  <a:lnTo>
                    <a:pt x="2381" y="2554"/>
                  </a:lnTo>
                  <a:lnTo>
                    <a:pt x="2381" y="2554"/>
                  </a:lnTo>
                  <a:lnTo>
                    <a:pt x="2381" y="2554"/>
                  </a:lnTo>
                  <a:lnTo>
                    <a:pt x="2381" y="2552"/>
                  </a:lnTo>
                  <a:lnTo>
                    <a:pt x="2381" y="2552"/>
                  </a:lnTo>
                  <a:lnTo>
                    <a:pt x="2381" y="2552"/>
                  </a:lnTo>
                  <a:lnTo>
                    <a:pt x="2381" y="2552"/>
                  </a:lnTo>
                  <a:lnTo>
                    <a:pt x="2381" y="2552"/>
                  </a:lnTo>
                  <a:lnTo>
                    <a:pt x="2381" y="2552"/>
                  </a:lnTo>
                  <a:lnTo>
                    <a:pt x="2381" y="2550"/>
                  </a:lnTo>
                  <a:lnTo>
                    <a:pt x="2381" y="2550"/>
                  </a:lnTo>
                  <a:lnTo>
                    <a:pt x="2381" y="2550"/>
                  </a:lnTo>
                  <a:lnTo>
                    <a:pt x="2381" y="2550"/>
                  </a:lnTo>
                  <a:lnTo>
                    <a:pt x="2381" y="2550"/>
                  </a:lnTo>
                  <a:lnTo>
                    <a:pt x="2381" y="2550"/>
                  </a:lnTo>
                  <a:lnTo>
                    <a:pt x="2381" y="2550"/>
                  </a:lnTo>
                  <a:lnTo>
                    <a:pt x="2381" y="2547"/>
                  </a:lnTo>
                  <a:lnTo>
                    <a:pt x="2381" y="2547"/>
                  </a:lnTo>
                  <a:lnTo>
                    <a:pt x="2381" y="2547"/>
                  </a:lnTo>
                  <a:lnTo>
                    <a:pt x="2381" y="2547"/>
                  </a:lnTo>
                  <a:lnTo>
                    <a:pt x="2383" y="2547"/>
                  </a:lnTo>
                  <a:lnTo>
                    <a:pt x="2383" y="2547"/>
                  </a:lnTo>
                  <a:lnTo>
                    <a:pt x="2385" y="2547"/>
                  </a:lnTo>
                  <a:lnTo>
                    <a:pt x="2385" y="2547"/>
                  </a:lnTo>
                  <a:lnTo>
                    <a:pt x="2385" y="2547"/>
                  </a:lnTo>
                  <a:lnTo>
                    <a:pt x="2388" y="2547"/>
                  </a:lnTo>
                  <a:lnTo>
                    <a:pt x="2388" y="2547"/>
                  </a:lnTo>
                  <a:lnTo>
                    <a:pt x="2390" y="2547"/>
                  </a:lnTo>
                  <a:lnTo>
                    <a:pt x="2390" y="2547"/>
                  </a:lnTo>
                  <a:lnTo>
                    <a:pt x="2392" y="2547"/>
                  </a:lnTo>
                  <a:lnTo>
                    <a:pt x="2392" y="2547"/>
                  </a:lnTo>
                  <a:lnTo>
                    <a:pt x="2395" y="2547"/>
                  </a:lnTo>
                  <a:lnTo>
                    <a:pt x="2395" y="2547"/>
                  </a:lnTo>
                  <a:lnTo>
                    <a:pt x="2397" y="2547"/>
                  </a:lnTo>
                  <a:lnTo>
                    <a:pt x="2397" y="2550"/>
                  </a:lnTo>
                  <a:lnTo>
                    <a:pt x="2400" y="2550"/>
                  </a:lnTo>
                  <a:lnTo>
                    <a:pt x="2400" y="2550"/>
                  </a:lnTo>
                  <a:lnTo>
                    <a:pt x="2402" y="2550"/>
                  </a:lnTo>
                  <a:lnTo>
                    <a:pt x="2402" y="2550"/>
                  </a:lnTo>
                  <a:lnTo>
                    <a:pt x="2404" y="2550"/>
                  </a:lnTo>
                  <a:lnTo>
                    <a:pt x="2404" y="2550"/>
                  </a:lnTo>
                  <a:lnTo>
                    <a:pt x="2404" y="2550"/>
                  </a:lnTo>
                  <a:lnTo>
                    <a:pt x="2407" y="2550"/>
                  </a:lnTo>
                  <a:lnTo>
                    <a:pt x="2407" y="2550"/>
                  </a:lnTo>
                  <a:lnTo>
                    <a:pt x="2409" y="2550"/>
                  </a:lnTo>
                  <a:lnTo>
                    <a:pt x="2409" y="2550"/>
                  </a:lnTo>
                  <a:lnTo>
                    <a:pt x="2411" y="2550"/>
                  </a:lnTo>
                  <a:lnTo>
                    <a:pt x="2411" y="2550"/>
                  </a:lnTo>
                  <a:lnTo>
                    <a:pt x="2414" y="2550"/>
                  </a:lnTo>
                  <a:lnTo>
                    <a:pt x="2414" y="2550"/>
                  </a:lnTo>
                  <a:lnTo>
                    <a:pt x="2416" y="2550"/>
                  </a:lnTo>
                  <a:lnTo>
                    <a:pt x="2416" y="2550"/>
                  </a:lnTo>
                  <a:lnTo>
                    <a:pt x="2418" y="2550"/>
                  </a:lnTo>
                  <a:lnTo>
                    <a:pt x="2418" y="2550"/>
                  </a:lnTo>
                  <a:lnTo>
                    <a:pt x="2421" y="2550"/>
                  </a:lnTo>
                  <a:lnTo>
                    <a:pt x="2421" y="2550"/>
                  </a:lnTo>
                  <a:lnTo>
                    <a:pt x="2423" y="2550"/>
                  </a:lnTo>
                  <a:lnTo>
                    <a:pt x="2423" y="2550"/>
                  </a:lnTo>
                  <a:lnTo>
                    <a:pt x="2423" y="2550"/>
                  </a:lnTo>
                  <a:lnTo>
                    <a:pt x="2426" y="2550"/>
                  </a:lnTo>
                  <a:lnTo>
                    <a:pt x="2426" y="2550"/>
                  </a:lnTo>
                  <a:lnTo>
                    <a:pt x="2428" y="2550"/>
                  </a:lnTo>
                  <a:lnTo>
                    <a:pt x="2428" y="2550"/>
                  </a:lnTo>
                  <a:lnTo>
                    <a:pt x="2430" y="2550"/>
                  </a:lnTo>
                  <a:lnTo>
                    <a:pt x="2430" y="2552"/>
                  </a:lnTo>
                  <a:lnTo>
                    <a:pt x="2433" y="2552"/>
                  </a:lnTo>
                  <a:lnTo>
                    <a:pt x="2433" y="2552"/>
                  </a:lnTo>
                  <a:lnTo>
                    <a:pt x="2435" y="2552"/>
                  </a:lnTo>
                  <a:lnTo>
                    <a:pt x="2435" y="2552"/>
                  </a:lnTo>
                  <a:lnTo>
                    <a:pt x="2437" y="2552"/>
                  </a:lnTo>
                  <a:lnTo>
                    <a:pt x="2437" y="2552"/>
                  </a:lnTo>
                  <a:lnTo>
                    <a:pt x="2440" y="2552"/>
                  </a:lnTo>
                  <a:lnTo>
                    <a:pt x="2440" y="2552"/>
                  </a:lnTo>
                  <a:lnTo>
                    <a:pt x="2442" y="2552"/>
                  </a:lnTo>
                  <a:lnTo>
                    <a:pt x="2442" y="2552"/>
                  </a:lnTo>
                  <a:lnTo>
                    <a:pt x="2442" y="2552"/>
                  </a:lnTo>
                  <a:lnTo>
                    <a:pt x="2445" y="2552"/>
                  </a:lnTo>
                  <a:lnTo>
                    <a:pt x="2445" y="2552"/>
                  </a:lnTo>
                  <a:lnTo>
                    <a:pt x="2447" y="2552"/>
                  </a:lnTo>
                  <a:lnTo>
                    <a:pt x="2447" y="2552"/>
                  </a:lnTo>
                  <a:lnTo>
                    <a:pt x="2449" y="2552"/>
                  </a:lnTo>
                  <a:lnTo>
                    <a:pt x="2449" y="2552"/>
                  </a:lnTo>
                  <a:lnTo>
                    <a:pt x="2452" y="2552"/>
                  </a:lnTo>
                  <a:lnTo>
                    <a:pt x="2452" y="2552"/>
                  </a:lnTo>
                  <a:lnTo>
                    <a:pt x="2454" y="2552"/>
                  </a:lnTo>
                  <a:lnTo>
                    <a:pt x="2454" y="2552"/>
                  </a:lnTo>
                  <a:lnTo>
                    <a:pt x="2454" y="2552"/>
                  </a:lnTo>
                  <a:lnTo>
                    <a:pt x="2454" y="2552"/>
                  </a:lnTo>
                  <a:lnTo>
                    <a:pt x="2456" y="2554"/>
                  </a:lnTo>
                  <a:lnTo>
                    <a:pt x="2459" y="2554"/>
                  </a:lnTo>
                  <a:lnTo>
                    <a:pt x="2459" y="2554"/>
                  </a:lnTo>
                  <a:lnTo>
                    <a:pt x="2461" y="2557"/>
                  </a:lnTo>
                  <a:lnTo>
                    <a:pt x="2461" y="2557"/>
                  </a:lnTo>
                  <a:lnTo>
                    <a:pt x="2463" y="2559"/>
                  </a:lnTo>
                  <a:lnTo>
                    <a:pt x="2463" y="2564"/>
                  </a:lnTo>
                  <a:lnTo>
                    <a:pt x="2463" y="2564"/>
                  </a:lnTo>
                  <a:lnTo>
                    <a:pt x="2466" y="2566"/>
                  </a:lnTo>
                  <a:lnTo>
                    <a:pt x="2466" y="2566"/>
                  </a:lnTo>
                  <a:lnTo>
                    <a:pt x="2466" y="2566"/>
                  </a:lnTo>
                  <a:lnTo>
                    <a:pt x="2466" y="2569"/>
                  </a:lnTo>
                  <a:lnTo>
                    <a:pt x="2466" y="2569"/>
                  </a:lnTo>
                  <a:lnTo>
                    <a:pt x="2466" y="2569"/>
                  </a:lnTo>
                  <a:lnTo>
                    <a:pt x="2468" y="2569"/>
                  </a:lnTo>
                  <a:lnTo>
                    <a:pt x="2468" y="2569"/>
                  </a:lnTo>
                  <a:lnTo>
                    <a:pt x="2468" y="2571"/>
                  </a:lnTo>
                  <a:lnTo>
                    <a:pt x="2471" y="2571"/>
                  </a:lnTo>
                  <a:lnTo>
                    <a:pt x="2473" y="2571"/>
                  </a:lnTo>
                  <a:lnTo>
                    <a:pt x="2473" y="2573"/>
                  </a:lnTo>
                  <a:lnTo>
                    <a:pt x="2475" y="2573"/>
                  </a:lnTo>
                  <a:lnTo>
                    <a:pt x="2475" y="2573"/>
                  </a:lnTo>
                  <a:lnTo>
                    <a:pt x="2478" y="2573"/>
                  </a:lnTo>
                  <a:lnTo>
                    <a:pt x="2478" y="2576"/>
                  </a:lnTo>
                  <a:lnTo>
                    <a:pt x="2478" y="2576"/>
                  </a:lnTo>
                  <a:lnTo>
                    <a:pt x="2478" y="2576"/>
                  </a:lnTo>
                  <a:lnTo>
                    <a:pt x="2478" y="2576"/>
                  </a:lnTo>
                  <a:lnTo>
                    <a:pt x="2480" y="2578"/>
                  </a:lnTo>
                  <a:lnTo>
                    <a:pt x="2480" y="2578"/>
                  </a:lnTo>
                  <a:lnTo>
                    <a:pt x="2480" y="2578"/>
                  </a:lnTo>
                  <a:lnTo>
                    <a:pt x="2480" y="2578"/>
                  </a:lnTo>
                  <a:lnTo>
                    <a:pt x="2480" y="2578"/>
                  </a:lnTo>
                  <a:lnTo>
                    <a:pt x="2485" y="2583"/>
                  </a:lnTo>
                  <a:lnTo>
                    <a:pt x="2485" y="2583"/>
                  </a:lnTo>
                  <a:lnTo>
                    <a:pt x="2485" y="2585"/>
                  </a:lnTo>
                  <a:lnTo>
                    <a:pt x="2487" y="2587"/>
                  </a:lnTo>
                  <a:lnTo>
                    <a:pt x="2489" y="2587"/>
                  </a:lnTo>
                  <a:lnTo>
                    <a:pt x="2489" y="2587"/>
                  </a:lnTo>
                  <a:lnTo>
                    <a:pt x="2489" y="2587"/>
                  </a:lnTo>
                  <a:lnTo>
                    <a:pt x="2492" y="2590"/>
                  </a:lnTo>
                  <a:lnTo>
                    <a:pt x="2492" y="2590"/>
                  </a:lnTo>
                  <a:lnTo>
                    <a:pt x="2492" y="2590"/>
                  </a:lnTo>
                  <a:lnTo>
                    <a:pt x="2492" y="2590"/>
                  </a:lnTo>
                  <a:lnTo>
                    <a:pt x="2494" y="2592"/>
                  </a:lnTo>
                  <a:lnTo>
                    <a:pt x="2494" y="2595"/>
                  </a:lnTo>
                  <a:lnTo>
                    <a:pt x="2494" y="2595"/>
                  </a:lnTo>
                  <a:lnTo>
                    <a:pt x="2497" y="2597"/>
                  </a:lnTo>
                  <a:lnTo>
                    <a:pt x="2499" y="2599"/>
                  </a:lnTo>
                  <a:lnTo>
                    <a:pt x="2501" y="2602"/>
                  </a:lnTo>
                  <a:lnTo>
                    <a:pt x="2501" y="2602"/>
                  </a:lnTo>
                  <a:lnTo>
                    <a:pt x="2504" y="2602"/>
                  </a:lnTo>
                  <a:lnTo>
                    <a:pt x="2506" y="2604"/>
                  </a:lnTo>
                  <a:lnTo>
                    <a:pt x="2506" y="2604"/>
                  </a:lnTo>
                  <a:lnTo>
                    <a:pt x="2506" y="2604"/>
                  </a:lnTo>
                  <a:lnTo>
                    <a:pt x="2506" y="2604"/>
                  </a:lnTo>
                  <a:lnTo>
                    <a:pt x="2506" y="2604"/>
                  </a:lnTo>
                  <a:lnTo>
                    <a:pt x="2506" y="2604"/>
                  </a:lnTo>
                  <a:lnTo>
                    <a:pt x="2506" y="2604"/>
                  </a:lnTo>
                  <a:lnTo>
                    <a:pt x="2506" y="2604"/>
                  </a:lnTo>
                  <a:lnTo>
                    <a:pt x="2508" y="2604"/>
                  </a:lnTo>
                  <a:lnTo>
                    <a:pt x="2508" y="2604"/>
                  </a:lnTo>
                  <a:lnTo>
                    <a:pt x="2508" y="2604"/>
                  </a:lnTo>
                  <a:lnTo>
                    <a:pt x="2508" y="2604"/>
                  </a:lnTo>
                  <a:lnTo>
                    <a:pt x="2508" y="2604"/>
                  </a:lnTo>
                  <a:lnTo>
                    <a:pt x="2508" y="2606"/>
                  </a:lnTo>
                  <a:lnTo>
                    <a:pt x="2508" y="2606"/>
                  </a:lnTo>
                  <a:lnTo>
                    <a:pt x="2511" y="2606"/>
                  </a:lnTo>
                  <a:lnTo>
                    <a:pt x="2511" y="2606"/>
                  </a:lnTo>
                  <a:lnTo>
                    <a:pt x="2511" y="2606"/>
                  </a:lnTo>
                  <a:lnTo>
                    <a:pt x="2511" y="2606"/>
                  </a:lnTo>
                  <a:lnTo>
                    <a:pt x="2511" y="2606"/>
                  </a:lnTo>
                  <a:lnTo>
                    <a:pt x="2511" y="2606"/>
                  </a:lnTo>
                  <a:lnTo>
                    <a:pt x="2511" y="2606"/>
                  </a:lnTo>
                  <a:lnTo>
                    <a:pt x="2513" y="2609"/>
                  </a:lnTo>
                  <a:lnTo>
                    <a:pt x="2513" y="2609"/>
                  </a:lnTo>
                  <a:lnTo>
                    <a:pt x="2516" y="2609"/>
                  </a:lnTo>
                  <a:lnTo>
                    <a:pt x="2516" y="2611"/>
                  </a:lnTo>
                  <a:lnTo>
                    <a:pt x="2516" y="2611"/>
                  </a:lnTo>
                  <a:lnTo>
                    <a:pt x="2518" y="2611"/>
                  </a:lnTo>
                  <a:lnTo>
                    <a:pt x="2518" y="2614"/>
                  </a:lnTo>
                  <a:lnTo>
                    <a:pt x="2518" y="2614"/>
                  </a:lnTo>
                  <a:lnTo>
                    <a:pt x="2518" y="2614"/>
                  </a:lnTo>
                  <a:lnTo>
                    <a:pt x="2518" y="2614"/>
                  </a:lnTo>
                  <a:lnTo>
                    <a:pt x="2518" y="2614"/>
                  </a:lnTo>
                  <a:lnTo>
                    <a:pt x="2520" y="2614"/>
                  </a:lnTo>
                  <a:lnTo>
                    <a:pt x="2520" y="2614"/>
                  </a:lnTo>
                  <a:lnTo>
                    <a:pt x="2520" y="2616"/>
                  </a:lnTo>
                  <a:lnTo>
                    <a:pt x="2520" y="2616"/>
                  </a:lnTo>
                  <a:lnTo>
                    <a:pt x="2523" y="2618"/>
                  </a:lnTo>
                  <a:lnTo>
                    <a:pt x="2523" y="2618"/>
                  </a:lnTo>
                  <a:lnTo>
                    <a:pt x="2523" y="2618"/>
                  </a:lnTo>
                  <a:lnTo>
                    <a:pt x="2523" y="2621"/>
                  </a:lnTo>
                  <a:lnTo>
                    <a:pt x="2523" y="2621"/>
                  </a:lnTo>
                  <a:lnTo>
                    <a:pt x="2523" y="2621"/>
                  </a:lnTo>
                  <a:lnTo>
                    <a:pt x="2523" y="2621"/>
                  </a:lnTo>
                  <a:lnTo>
                    <a:pt x="2523" y="2621"/>
                  </a:lnTo>
                  <a:lnTo>
                    <a:pt x="2523" y="2621"/>
                  </a:lnTo>
                  <a:lnTo>
                    <a:pt x="2523" y="2623"/>
                  </a:lnTo>
                  <a:lnTo>
                    <a:pt x="2523" y="2623"/>
                  </a:lnTo>
                  <a:lnTo>
                    <a:pt x="2523" y="2623"/>
                  </a:lnTo>
                  <a:lnTo>
                    <a:pt x="2523" y="2625"/>
                  </a:lnTo>
                  <a:lnTo>
                    <a:pt x="2523" y="2625"/>
                  </a:lnTo>
                  <a:lnTo>
                    <a:pt x="2523" y="2625"/>
                  </a:lnTo>
                  <a:lnTo>
                    <a:pt x="2523" y="2625"/>
                  </a:lnTo>
                  <a:lnTo>
                    <a:pt x="2523" y="2625"/>
                  </a:lnTo>
                  <a:lnTo>
                    <a:pt x="2525" y="2625"/>
                  </a:lnTo>
                  <a:lnTo>
                    <a:pt x="2525" y="2625"/>
                  </a:lnTo>
                  <a:lnTo>
                    <a:pt x="2525" y="2628"/>
                  </a:lnTo>
                  <a:lnTo>
                    <a:pt x="2525" y="2628"/>
                  </a:lnTo>
                  <a:lnTo>
                    <a:pt x="2525" y="2628"/>
                  </a:lnTo>
                  <a:lnTo>
                    <a:pt x="2525" y="2628"/>
                  </a:lnTo>
                  <a:lnTo>
                    <a:pt x="2525" y="2628"/>
                  </a:lnTo>
                  <a:lnTo>
                    <a:pt x="2525" y="2630"/>
                  </a:lnTo>
                  <a:lnTo>
                    <a:pt x="2527" y="2632"/>
                  </a:lnTo>
                  <a:lnTo>
                    <a:pt x="2527" y="2632"/>
                  </a:lnTo>
                  <a:lnTo>
                    <a:pt x="2527" y="2632"/>
                  </a:lnTo>
                  <a:lnTo>
                    <a:pt x="2527" y="2632"/>
                  </a:lnTo>
                  <a:lnTo>
                    <a:pt x="2527" y="2632"/>
                  </a:lnTo>
                  <a:lnTo>
                    <a:pt x="2530" y="2635"/>
                  </a:lnTo>
                  <a:lnTo>
                    <a:pt x="2530" y="2637"/>
                  </a:lnTo>
                  <a:lnTo>
                    <a:pt x="2530" y="2637"/>
                  </a:lnTo>
                  <a:lnTo>
                    <a:pt x="2530" y="2640"/>
                  </a:lnTo>
                  <a:lnTo>
                    <a:pt x="2530" y="2640"/>
                  </a:lnTo>
                  <a:lnTo>
                    <a:pt x="2530" y="2642"/>
                  </a:lnTo>
                  <a:lnTo>
                    <a:pt x="2530" y="2642"/>
                  </a:lnTo>
                  <a:lnTo>
                    <a:pt x="2530" y="2644"/>
                  </a:lnTo>
                  <a:lnTo>
                    <a:pt x="2530" y="2647"/>
                  </a:lnTo>
                  <a:lnTo>
                    <a:pt x="2530" y="2647"/>
                  </a:lnTo>
                  <a:lnTo>
                    <a:pt x="2530" y="2649"/>
                  </a:lnTo>
                  <a:lnTo>
                    <a:pt x="2530" y="2649"/>
                  </a:lnTo>
                  <a:lnTo>
                    <a:pt x="2530" y="2649"/>
                  </a:lnTo>
                  <a:lnTo>
                    <a:pt x="2530" y="2649"/>
                  </a:lnTo>
                  <a:lnTo>
                    <a:pt x="2530" y="2649"/>
                  </a:lnTo>
                  <a:lnTo>
                    <a:pt x="2530" y="2651"/>
                  </a:lnTo>
                  <a:lnTo>
                    <a:pt x="2532" y="2651"/>
                  </a:lnTo>
                  <a:lnTo>
                    <a:pt x="2532" y="2654"/>
                  </a:lnTo>
                  <a:lnTo>
                    <a:pt x="2532" y="2654"/>
                  </a:lnTo>
                  <a:lnTo>
                    <a:pt x="2532" y="2656"/>
                  </a:lnTo>
                  <a:lnTo>
                    <a:pt x="2534" y="2656"/>
                  </a:lnTo>
                  <a:lnTo>
                    <a:pt x="2534" y="2656"/>
                  </a:lnTo>
                  <a:lnTo>
                    <a:pt x="2534" y="2658"/>
                  </a:lnTo>
                  <a:lnTo>
                    <a:pt x="2534" y="2661"/>
                  </a:lnTo>
                  <a:lnTo>
                    <a:pt x="2534" y="2661"/>
                  </a:lnTo>
                  <a:lnTo>
                    <a:pt x="2534" y="2661"/>
                  </a:lnTo>
                  <a:lnTo>
                    <a:pt x="2534" y="2663"/>
                  </a:lnTo>
                  <a:lnTo>
                    <a:pt x="2534" y="2663"/>
                  </a:lnTo>
                  <a:lnTo>
                    <a:pt x="2537" y="2663"/>
                  </a:lnTo>
                  <a:lnTo>
                    <a:pt x="2537" y="2666"/>
                  </a:lnTo>
                  <a:lnTo>
                    <a:pt x="2539" y="2666"/>
                  </a:lnTo>
                  <a:lnTo>
                    <a:pt x="2539" y="2666"/>
                  </a:lnTo>
                  <a:lnTo>
                    <a:pt x="2539" y="2666"/>
                  </a:lnTo>
                  <a:lnTo>
                    <a:pt x="2539" y="2668"/>
                  </a:lnTo>
                  <a:lnTo>
                    <a:pt x="2539" y="2668"/>
                  </a:lnTo>
                  <a:lnTo>
                    <a:pt x="2539" y="2668"/>
                  </a:lnTo>
                  <a:lnTo>
                    <a:pt x="2544" y="2670"/>
                  </a:lnTo>
                  <a:lnTo>
                    <a:pt x="2544" y="2670"/>
                  </a:lnTo>
                  <a:lnTo>
                    <a:pt x="2544" y="2670"/>
                  </a:lnTo>
                  <a:lnTo>
                    <a:pt x="2546" y="2670"/>
                  </a:lnTo>
                  <a:lnTo>
                    <a:pt x="2546" y="2670"/>
                  </a:lnTo>
                  <a:lnTo>
                    <a:pt x="2546" y="2670"/>
                  </a:lnTo>
                  <a:lnTo>
                    <a:pt x="2549" y="2673"/>
                  </a:lnTo>
                  <a:lnTo>
                    <a:pt x="2549" y="2673"/>
                  </a:lnTo>
                  <a:lnTo>
                    <a:pt x="2549" y="2673"/>
                  </a:lnTo>
                  <a:lnTo>
                    <a:pt x="2549" y="2675"/>
                  </a:lnTo>
                  <a:lnTo>
                    <a:pt x="2551" y="2677"/>
                  </a:lnTo>
                  <a:lnTo>
                    <a:pt x="2551" y="2677"/>
                  </a:lnTo>
                  <a:lnTo>
                    <a:pt x="2553" y="2677"/>
                  </a:lnTo>
                  <a:lnTo>
                    <a:pt x="2556" y="2680"/>
                  </a:lnTo>
                  <a:lnTo>
                    <a:pt x="2558" y="2682"/>
                  </a:lnTo>
                  <a:lnTo>
                    <a:pt x="2560" y="2682"/>
                  </a:lnTo>
                  <a:lnTo>
                    <a:pt x="2565" y="2684"/>
                  </a:lnTo>
                  <a:lnTo>
                    <a:pt x="2568" y="2684"/>
                  </a:lnTo>
                  <a:lnTo>
                    <a:pt x="2568" y="2684"/>
                  </a:lnTo>
                  <a:lnTo>
                    <a:pt x="2568" y="2684"/>
                  </a:lnTo>
                  <a:lnTo>
                    <a:pt x="2568" y="2684"/>
                  </a:lnTo>
                  <a:lnTo>
                    <a:pt x="2568" y="2687"/>
                  </a:lnTo>
                  <a:lnTo>
                    <a:pt x="2568" y="2687"/>
                  </a:lnTo>
                  <a:lnTo>
                    <a:pt x="2568" y="2687"/>
                  </a:lnTo>
                  <a:lnTo>
                    <a:pt x="2570" y="2687"/>
                  </a:lnTo>
                  <a:lnTo>
                    <a:pt x="2570" y="2689"/>
                  </a:lnTo>
                  <a:lnTo>
                    <a:pt x="2572" y="2689"/>
                  </a:lnTo>
                  <a:lnTo>
                    <a:pt x="2577" y="2689"/>
                  </a:lnTo>
                  <a:lnTo>
                    <a:pt x="2577" y="2689"/>
                  </a:lnTo>
                  <a:lnTo>
                    <a:pt x="2577" y="2692"/>
                  </a:lnTo>
                  <a:lnTo>
                    <a:pt x="2577" y="2692"/>
                  </a:lnTo>
                  <a:lnTo>
                    <a:pt x="2579" y="2692"/>
                  </a:lnTo>
                  <a:lnTo>
                    <a:pt x="2579" y="2692"/>
                  </a:lnTo>
                  <a:lnTo>
                    <a:pt x="2579" y="2692"/>
                  </a:lnTo>
                  <a:lnTo>
                    <a:pt x="2582" y="2694"/>
                  </a:lnTo>
                  <a:lnTo>
                    <a:pt x="2582" y="2696"/>
                  </a:lnTo>
                  <a:lnTo>
                    <a:pt x="2584" y="2696"/>
                  </a:lnTo>
                  <a:lnTo>
                    <a:pt x="2584" y="2696"/>
                  </a:lnTo>
                  <a:lnTo>
                    <a:pt x="2584" y="2696"/>
                  </a:lnTo>
                  <a:lnTo>
                    <a:pt x="2587" y="2696"/>
                  </a:lnTo>
                  <a:lnTo>
                    <a:pt x="2587" y="2696"/>
                  </a:lnTo>
                  <a:lnTo>
                    <a:pt x="2587" y="2696"/>
                  </a:lnTo>
                  <a:lnTo>
                    <a:pt x="2587" y="2696"/>
                  </a:lnTo>
                  <a:lnTo>
                    <a:pt x="2587" y="2696"/>
                  </a:lnTo>
                  <a:lnTo>
                    <a:pt x="2587" y="2696"/>
                  </a:lnTo>
                  <a:lnTo>
                    <a:pt x="2589" y="2696"/>
                  </a:lnTo>
                  <a:lnTo>
                    <a:pt x="2589" y="2696"/>
                  </a:lnTo>
                  <a:lnTo>
                    <a:pt x="2589" y="2699"/>
                  </a:lnTo>
                  <a:lnTo>
                    <a:pt x="2589" y="2699"/>
                  </a:lnTo>
                  <a:lnTo>
                    <a:pt x="2591" y="2699"/>
                  </a:lnTo>
                  <a:lnTo>
                    <a:pt x="2594" y="2699"/>
                  </a:lnTo>
                  <a:lnTo>
                    <a:pt x="2596" y="2699"/>
                  </a:lnTo>
                  <a:lnTo>
                    <a:pt x="2596" y="2699"/>
                  </a:lnTo>
                  <a:lnTo>
                    <a:pt x="2596" y="2699"/>
                  </a:lnTo>
                  <a:lnTo>
                    <a:pt x="2598" y="2696"/>
                  </a:lnTo>
                  <a:lnTo>
                    <a:pt x="2598" y="2696"/>
                  </a:lnTo>
                  <a:lnTo>
                    <a:pt x="2598" y="2696"/>
                  </a:lnTo>
                  <a:lnTo>
                    <a:pt x="2598" y="2694"/>
                  </a:lnTo>
                  <a:lnTo>
                    <a:pt x="2598" y="2694"/>
                  </a:lnTo>
                  <a:lnTo>
                    <a:pt x="2598" y="2694"/>
                  </a:lnTo>
                  <a:lnTo>
                    <a:pt x="2601" y="2694"/>
                  </a:lnTo>
                  <a:lnTo>
                    <a:pt x="2601" y="2694"/>
                  </a:lnTo>
                  <a:lnTo>
                    <a:pt x="2601" y="2692"/>
                  </a:lnTo>
                  <a:lnTo>
                    <a:pt x="2603" y="2689"/>
                  </a:lnTo>
                  <a:lnTo>
                    <a:pt x="2603" y="2689"/>
                  </a:lnTo>
                  <a:lnTo>
                    <a:pt x="2605" y="2689"/>
                  </a:lnTo>
                  <a:lnTo>
                    <a:pt x="2605" y="2689"/>
                  </a:lnTo>
                  <a:lnTo>
                    <a:pt x="2608" y="2687"/>
                  </a:lnTo>
                  <a:lnTo>
                    <a:pt x="2608" y="2687"/>
                  </a:lnTo>
                  <a:lnTo>
                    <a:pt x="2608" y="2687"/>
                  </a:lnTo>
                  <a:lnTo>
                    <a:pt x="2608" y="2687"/>
                  </a:lnTo>
                  <a:lnTo>
                    <a:pt x="2608" y="2687"/>
                  </a:lnTo>
                  <a:lnTo>
                    <a:pt x="2608" y="2687"/>
                  </a:lnTo>
                  <a:lnTo>
                    <a:pt x="2608" y="2684"/>
                  </a:lnTo>
                  <a:lnTo>
                    <a:pt x="2608" y="2682"/>
                  </a:lnTo>
                  <a:lnTo>
                    <a:pt x="2608" y="2682"/>
                  </a:lnTo>
                  <a:lnTo>
                    <a:pt x="2608" y="2682"/>
                  </a:lnTo>
                  <a:lnTo>
                    <a:pt x="2608" y="2682"/>
                  </a:lnTo>
                  <a:lnTo>
                    <a:pt x="2608" y="2682"/>
                  </a:lnTo>
                  <a:lnTo>
                    <a:pt x="2608" y="2680"/>
                  </a:lnTo>
                  <a:lnTo>
                    <a:pt x="2608" y="2680"/>
                  </a:lnTo>
                  <a:lnTo>
                    <a:pt x="2610" y="2680"/>
                  </a:lnTo>
                  <a:lnTo>
                    <a:pt x="2610" y="2680"/>
                  </a:lnTo>
                  <a:lnTo>
                    <a:pt x="2610" y="2680"/>
                  </a:lnTo>
                  <a:lnTo>
                    <a:pt x="2610" y="2680"/>
                  </a:lnTo>
                  <a:lnTo>
                    <a:pt x="2610" y="2680"/>
                  </a:lnTo>
                  <a:lnTo>
                    <a:pt x="2610" y="2680"/>
                  </a:lnTo>
                  <a:lnTo>
                    <a:pt x="2610" y="2677"/>
                  </a:lnTo>
                  <a:lnTo>
                    <a:pt x="2610" y="2677"/>
                  </a:lnTo>
                  <a:lnTo>
                    <a:pt x="2610" y="2677"/>
                  </a:lnTo>
                  <a:lnTo>
                    <a:pt x="2610" y="2677"/>
                  </a:lnTo>
                  <a:lnTo>
                    <a:pt x="2610" y="2675"/>
                  </a:lnTo>
                  <a:lnTo>
                    <a:pt x="2610" y="2675"/>
                  </a:lnTo>
                  <a:lnTo>
                    <a:pt x="2613" y="2673"/>
                  </a:lnTo>
                  <a:lnTo>
                    <a:pt x="2613" y="2670"/>
                  </a:lnTo>
                  <a:lnTo>
                    <a:pt x="2613" y="2670"/>
                  </a:lnTo>
                  <a:lnTo>
                    <a:pt x="2613" y="2670"/>
                  </a:lnTo>
                  <a:lnTo>
                    <a:pt x="2613" y="2670"/>
                  </a:lnTo>
                  <a:lnTo>
                    <a:pt x="2613" y="2670"/>
                  </a:lnTo>
                  <a:lnTo>
                    <a:pt x="2613" y="2670"/>
                  </a:lnTo>
                  <a:lnTo>
                    <a:pt x="2613" y="2668"/>
                  </a:lnTo>
                  <a:lnTo>
                    <a:pt x="2613" y="2668"/>
                  </a:lnTo>
                  <a:lnTo>
                    <a:pt x="2615" y="2668"/>
                  </a:lnTo>
                  <a:lnTo>
                    <a:pt x="2615" y="2668"/>
                  </a:lnTo>
                  <a:lnTo>
                    <a:pt x="2615" y="2666"/>
                  </a:lnTo>
                  <a:lnTo>
                    <a:pt x="2615" y="2666"/>
                  </a:lnTo>
                  <a:lnTo>
                    <a:pt x="2615" y="2666"/>
                  </a:lnTo>
                  <a:lnTo>
                    <a:pt x="2617" y="2663"/>
                  </a:lnTo>
                  <a:lnTo>
                    <a:pt x="2617" y="2663"/>
                  </a:lnTo>
                  <a:lnTo>
                    <a:pt x="2617" y="2663"/>
                  </a:lnTo>
                  <a:lnTo>
                    <a:pt x="2617" y="2663"/>
                  </a:lnTo>
                  <a:lnTo>
                    <a:pt x="2617" y="2661"/>
                  </a:lnTo>
                  <a:lnTo>
                    <a:pt x="2617" y="2661"/>
                  </a:lnTo>
                  <a:lnTo>
                    <a:pt x="2620" y="2661"/>
                  </a:lnTo>
                  <a:lnTo>
                    <a:pt x="2620" y="2661"/>
                  </a:lnTo>
                  <a:lnTo>
                    <a:pt x="2622" y="2661"/>
                  </a:lnTo>
                  <a:lnTo>
                    <a:pt x="2622" y="2661"/>
                  </a:lnTo>
                  <a:lnTo>
                    <a:pt x="2622" y="2661"/>
                  </a:lnTo>
                  <a:lnTo>
                    <a:pt x="2622" y="2661"/>
                  </a:lnTo>
                  <a:lnTo>
                    <a:pt x="2622" y="2661"/>
                  </a:lnTo>
                  <a:lnTo>
                    <a:pt x="2622" y="2661"/>
                  </a:lnTo>
                  <a:lnTo>
                    <a:pt x="2622" y="2661"/>
                  </a:lnTo>
                  <a:lnTo>
                    <a:pt x="2624" y="2661"/>
                  </a:lnTo>
                  <a:lnTo>
                    <a:pt x="2624" y="2661"/>
                  </a:lnTo>
                  <a:lnTo>
                    <a:pt x="2624" y="2661"/>
                  </a:lnTo>
                  <a:lnTo>
                    <a:pt x="2624" y="2661"/>
                  </a:lnTo>
                  <a:lnTo>
                    <a:pt x="2629" y="2661"/>
                  </a:lnTo>
                  <a:lnTo>
                    <a:pt x="2629" y="2661"/>
                  </a:lnTo>
                  <a:lnTo>
                    <a:pt x="2631" y="2658"/>
                  </a:lnTo>
                  <a:lnTo>
                    <a:pt x="2631" y="2658"/>
                  </a:lnTo>
                  <a:lnTo>
                    <a:pt x="2631" y="2656"/>
                  </a:lnTo>
                  <a:lnTo>
                    <a:pt x="2631" y="2656"/>
                  </a:lnTo>
                  <a:lnTo>
                    <a:pt x="2631" y="2656"/>
                  </a:lnTo>
                  <a:lnTo>
                    <a:pt x="2631" y="2656"/>
                  </a:lnTo>
                  <a:lnTo>
                    <a:pt x="2631" y="2656"/>
                  </a:lnTo>
                  <a:lnTo>
                    <a:pt x="2631" y="2654"/>
                  </a:lnTo>
                  <a:lnTo>
                    <a:pt x="2634" y="2654"/>
                  </a:lnTo>
                  <a:lnTo>
                    <a:pt x="2634" y="2654"/>
                  </a:lnTo>
                  <a:lnTo>
                    <a:pt x="2634" y="2656"/>
                  </a:lnTo>
                  <a:lnTo>
                    <a:pt x="2634" y="2656"/>
                  </a:lnTo>
                  <a:lnTo>
                    <a:pt x="2636" y="2656"/>
                  </a:lnTo>
                  <a:lnTo>
                    <a:pt x="2636" y="2656"/>
                  </a:lnTo>
                  <a:lnTo>
                    <a:pt x="2636" y="2656"/>
                  </a:lnTo>
                  <a:lnTo>
                    <a:pt x="2639" y="2656"/>
                  </a:lnTo>
                  <a:lnTo>
                    <a:pt x="2641" y="2658"/>
                  </a:lnTo>
                  <a:lnTo>
                    <a:pt x="2641" y="2658"/>
                  </a:lnTo>
                  <a:lnTo>
                    <a:pt x="2643" y="2658"/>
                  </a:lnTo>
                  <a:lnTo>
                    <a:pt x="2646" y="2658"/>
                  </a:lnTo>
                  <a:lnTo>
                    <a:pt x="2648" y="2658"/>
                  </a:lnTo>
                  <a:lnTo>
                    <a:pt x="2648" y="2658"/>
                  </a:lnTo>
                  <a:lnTo>
                    <a:pt x="2648" y="2658"/>
                  </a:lnTo>
                  <a:lnTo>
                    <a:pt x="2650" y="2658"/>
                  </a:lnTo>
                  <a:lnTo>
                    <a:pt x="2650" y="2661"/>
                  </a:lnTo>
                  <a:lnTo>
                    <a:pt x="2650" y="2661"/>
                  </a:lnTo>
                  <a:lnTo>
                    <a:pt x="2650" y="2658"/>
                  </a:lnTo>
                  <a:lnTo>
                    <a:pt x="2650" y="2658"/>
                  </a:lnTo>
                  <a:lnTo>
                    <a:pt x="2653" y="2658"/>
                  </a:lnTo>
                  <a:lnTo>
                    <a:pt x="2653" y="2658"/>
                  </a:lnTo>
                  <a:lnTo>
                    <a:pt x="2653" y="2658"/>
                  </a:lnTo>
                  <a:lnTo>
                    <a:pt x="2653" y="2658"/>
                  </a:lnTo>
                  <a:lnTo>
                    <a:pt x="2655" y="2658"/>
                  </a:lnTo>
                  <a:lnTo>
                    <a:pt x="2655" y="2658"/>
                  </a:lnTo>
                  <a:lnTo>
                    <a:pt x="2655" y="2658"/>
                  </a:lnTo>
                  <a:lnTo>
                    <a:pt x="2655" y="2658"/>
                  </a:lnTo>
                  <a:lnTo>
                    <a:pt x="2655" y="2661"/>
                  </a:lnTo>
                  <a:lnTo>
                    <a:pt x="2662" y="2661"/>
                  </a:lnTo>
                  <a:lnTo>
                    <a:pt x="2665" y="2661"/>
                  </a:lnTo>
                  <a:lnTo>
                    <a:pt x="2667" y="2661"/>
                  </a:lnTo>
                  <a:lnTo>
                    <a:pt x="2667" y="2661"/>
                  </a:lnTo>
                  <a:lnTo>
                    <a:pt x="2667" y="2658"/>
                  </a:lnTo>
                  <a:lnTo>
                    <a:pt x="2667" y="2658"/>
                  </a:lnTo>
                  <a:lnTo>
                    <a:pt x="2667" y="2658"/>
                  </a:lnTo>
                  <a:lnTo>
                    <a:pt x="2667" y="2658"/>
                  </a:lnTo>
                  <a:lnTo>
                    <a:pt x="2667" y="2661"/>
                  </a:lnTo>
                  <a:lnTo>
                    <a:pt x="2667" y="2661"/>
                  </a:lnTo>
                  <a:lnTo>
                    <a:pt x="2667" y="2661"/>
                  </a:lnTo>
                  <a:lnTo>
                    <a:pt x="2667" y="2661"/>
                  </a:lnTo>
                  <a:lnTo>
                    <a:pt x="2669" y="2661"/>
                  </a:lnTo>
                  <a:lnTo>
                    <a:pt x="2669" y="2661"/>
                  </a:lnTo>
                  <a:lnTo>
                    <a:pt x="2669" y="2661"/>
                  </a:lnTo>
                  <a:lnTo>
                    <a:pt x="2669" y="2661"/>
                  </a:lnTo>
                  <a:lnTo>
                    <a:pt x="2672" y="2661"/>
                  </a:lnTo>
                  <a:lnTo>
                    <a:pt x="2672" y="2661"/>
                  </a:lnTo>
                  <a:lnTo>
                    <a:pt x="2672" y="2661"/>
                  </a:lnTo>
                  <a:lnTo>
                    <a:pt x="2672" y="2661"/>
                  </a:lnTo>
                  <a:lnTo>
                    <a:pt x="2672" y="2661"/>
                  </a:lnTo>
                  <a:lnTo>
                    <a:pt x="2674" y="2661"/>
                  </a:lnTo>
                  <a:lnTo>
                    <a:pt x="2674" y="2661"/>
                  </a:lnTo>
                  <a:lnTo>
                    <a:pt x="2674" y="2661"/>
                  </a:lnTo>
                  <a:lnTo>
                    <a:pt x="2674" y="2663"/>
                  </a:lnTo>
                  <a:lnTo>
                    <a:pt x="2674" y="2663"/>
                  </a:lnTo>
                  <a:lnTo>
                    <a:pt x="2674" y="2663"/>
                  </a:lnTo>
                  <a:lnTo>
                    <a:pt x="2674" y="2666"/>
                  </a:lnTo>
                  <a:lnTo>
                    <a:pt x="2674" y="2666"/>
                  </a:lnTo>
                  <a:lnTo>
                    <a:pt x="2676" y="2666"/>
                  </a:lnTo>
                  <a:lnTo>
                    <a:pt x="2676" y="2668"/>
                  </a:lnTo>
                  <a:lnTo>
                    <a:pt x="2676" y="2668"/>
                  </a:lnTo>
                  <a:lnTo>
                    <a:pt x="2676" y="2668"/>
                  </a:lnTo>
                  <a:lnTo>
                    <a:pt x="2679" y="2668"/>
                  </a:lnTo>
                  <a:lnTo>
                    <a:pt x="2679" y="2668"/>
                  </a:lnTo>
                  <a:lnTo>
                    <a:pt x="2676" y="2670"/>
                  </a:lnTo>
                  <a:lnTo>
                    <a:pt x="2676" y="2670"/>
                  </a:lnTo>
                  <a:lnTo>
                    <a:pt x="2679" y="2670"/>
                  </a:lnTo>
                  <a:lnTo>
                    <a:pt x="2679" y="2670"/>
                  </a:lnTo>
                  <a:lnTo>
                    <a:pt x="2679" y="2670"/>
                  </a:lnTo>
                  <a:lnTo>
                    <a:pt x="2681" y="2668"/>
                  </a:lnTo>
                  <a:lnTo>
                    <a:pt x="2681" y="2670"/>
                  </a:lnTo>
                  <a:lnTo>
                    <a:pt x="2681" y="2670"/>
                  </a:lnTo>
                  <a:lnTo>
                    <a:pt x="2681" y="2673"/>
                  </a:lnTo>
                  <a:lnTo>
                    <a:pt x="2681" y="2673"/>
                  </a:lnTo>
                  <a:lnTo>
                    <a:pt x="2681" y="2673"/>
                  </a:lnTo>
                  <a:lnTo>
                    <a:pt x="2681" y="2673"/>
                  </a:lnTo>
                  <a:lnTo>
                    <a:pt x="2684" y="2673"/>
                  </a:lnTo>
                  <a:lnTo>
                    <a:pt x="2684" y="2675"/>
                  </a:lnTo>
                  <a:lnTo>
                    <a:pt x="2684" y="2675"/>
                  </a:lnTo>
                  <a:lnTo>
                    <a:pt x="2686" y="2675"/>
                  </a:lnTo>
                  <a:lnTo>
                    <a:pt x="2688" y="2677"/>
                  </a:lnTo>
                  <a:lnTo>
                    <a:pt x="2688" y="2677"/>
                  </a:lnTo>
                  <a:lnTo>
                    <a:pt x="2691" y="2677"/>
                  </a:lnTo>
                  <a:lnTo>
                    <a:pt x="2691" y="2680"/>
                  </a:lnTo>
                  <a:lnTo>
                    <a:pt x="2691" y="2680"/>
                  </a:lnTo>
                  <a:lnTo>
                    <a:pt x="2691" y="2680"/>
                  </a:lnTo>
                  <a:lnTo>
                    <a:pt x="2691" y="2682"/>
                  </a:lnTo>
                  <a:lnTo>
                    <a:pt x="2691" y="2682"/>
                  </a:lnTo>
                  <a:lnTo>
                    <a:pt x="2691" y="2682"/>
                  </a:lnTo>
                  <a:lnTo>
                    <a:pt x="2695" y="2684"/>
                  </a:lnTo>
                  <a:lnTo>
                    <a:pt x="2695" y="2684"/>
                  </a:lnTo>
                  <a:lnTo>
                    <a:pt x="2698" y="2684"/>
                  </a:lnTo>
                  <a:lnTo>
                    <a:pt x="2698" y="2687"/>
                  </a:lnTo>
                  <a:lnTo>
                    <a:pt x="2700" y="2687"/>
                  </a:lnTo>
                  <a:lnTo>
                    <a:pt x="2700" y="2687"/>
                  </a:lnTo>
                  <a:lnTo>
                    <a:pt x="2700" y="2689"/>
                  </a:lnTo>
                  <a:lnTo>
                    <a:pt x="2702" y="2689"/>
                  </a:lnTo>
                  <a:lnTo>
                    <a:pt x="2700" y="2692"/>
                  </a:lnTo>
                  <a:lnTo>
                    <a:pt x="2702" y="2692"/>
                  </a:lnTo>
                  <a:lnTo>
                    <a:pt x="2705" y="2694"/>
                  </a:lnTo>
                  <a:lnTo>
                    <a:pt x="2705" y="2694"/>
                  </a:lnTo>
                  <a:lnTo>
                    <a:pt x="2705" y="2694"/>
                  </a:lnTo>
                  <a:lnTo>
                    <a:pt x="2705" y="2694"/>
                  </a:lnTo>
                  <a:lnTo>
                    <a:pt x="2705" y="2694"/>
                  </a:lnTo>
                  <a:lnTo>
                    <a:pt x="2705" y="2694"/>
                  </a:lnTo>
                  <a:lnTo>
                    <a:pt x="2705" y="2696"/>
                  </a:lnTo>
                  <a:lnTo>
                    <a:pt x="2707" y="2699"/>
                  </a:lnTo>
                  <a:lnTo>
                    <a:pt x="2707" y="2701"/>
                  </a:lnTo>
                  <a:lnTo>
                    <a:pt x="2707" y="2701"/>
                  </a:lnTo>
                  <a:lnTo>
                    <a:pt x="2707" y="2703"/>
                  </a:lnTo>
                  <a:lnTo>
                    <a:pt x="2707" y="2703"/>
                  </a:lnTo>
                  <a:lnTo>
                    <a:pt x="2707" y="2703"/>
                  </a:lnTo>
                  <a:lnTo>
                    <a:pt x="2707" y="2703"/>
                  </a:lnTo>
                  <a:lnTo>
                    <a:pt x="2707" y="2703"/>
                  </a:lnTo>
                  <a:lnTo>
                    <a:pt x="2707" y="2706"/>
                  </a:lnTo>
                  <a:lnTo>
                    <a:pt x="2707" y="2706"/>
                  </a:lnTo>
                  <a:lnTo>
                    <a:pt x="2710" y="2706"/>
                  </a:lnTo>
                  <a:lnTo>
                    <a:pt x="2710" y="2706"/>
                  </a:lnTo>
                  <a:lnTo>
                    <a:pt x="2710" y="2706"/>
                  </a:lnTo>
                  <a:lnTo>
                    <a:pt x="2710" y="2708"/>
                  </a:lnTo>
                  <a:lnTo>
                    <a:pt x="2710" y="2708"/>
                  </a:lnTo>
                  <a:lnTo>
                    <a:pt x="2710" y="2708"/>
                  </a:lnTo>
                  <a:lnTo>
                    <a:pt x="2710" y="2708"/>
                  </a:lnTo>
                  <a:lnTo>
                    <a:pt x="2710" y="2708"/>
                  </a:lnTo>
                  <a:lnTo>
                    <a:pt x="2710" y="2708"/>
                  </a:lnTo>
                  <a:lnTo>
                    <a:pt x="2712" y="2708"/>
                  </a:lnTo>
                  <a:lnTo>
                    <a:pt x="2712" y="2708"/>
                  </a:lnTo>
                  <a:lnTo>
                    <a:pt x="2712" y="2708"/>
                  </a:lnTo>
                  <a:lnTo>
                    <a:pt x="2712" y="2710"/>
                  </a:lnTo>
                  <a:lnTo>
                    <a:pt x="2712" y="2710"/>
                  </a:lnTo>
                  <a:lnTo>
                    <a:pt x="2712" y="2710"/>
                  </a:lnTo>
                  <a:lnTo>
                    <a:pt x="2714" y="2715"/>
                  </a:lnTo>
                  <a:lnTo>
                    <a:pt x="2714" y="2718"/>
                  </a:lnTo>
                  <a:lnTo>
                    <a:pt x="2714" y="2718"/>
                  </a:lnTo>
                  <a:lnTo>
                    <a:pt x="2714" y="2720"/>
                  </a:lnTo>
                  <a:lnTo>
                    <a:pt x="2717" y="2720"/>
                  </a:lnTo>
                  <a:lnTo>
                    <a:pt x="2717" y="2720"/>
                  </a:lnTo>
                  <a:lnTo>
                    <a:pt x="2717" y="2720"/>
                  </a:lnTo>
                  <a:lnTo>
                    <a:pt x="2717" y="2722"/>
                  </a:lnTo>
                  <a:lnTo>
                    <a:pt x="2717" y="2722"/>
                  </a:lnTo>
                  <a:lnTo>
                    <a:pt x="2717" y="2722"/>
                  </a:lnTo>
                  <a:lnTo>
                    <a:pt x="2719" y="2725"/>
                  </a:lnTo>
                  <a:lnTo>
                    <a:pt x="2719" y="2725"/>
                  </a:lnTo>
                  <a:lnTo>
                    <a:pt x="2721" y="2725"/>
                  </a:lnTo>
                  <a:lnTo>
                    <a:pt x="2719" y="2727"/>
                  </a:lnTo>
                  <a:lnTo>
                    <a:pt x="2719" y="2727"/>
                  </a:lnTo>
                  <a:lnTo>
                    <a:pt x="2719" y="2727"/>
                  </a:lnTo>
                  <a:lnTo>
                    <a:pt x="2719" y="2727"/>
                  </a:lnTo>
                  <a:lnTo>
                    <a:pt x="2719" y="2727"/>
                  </a:lnTo>
                  <a:lnTo>
                    <a:pt x="2721" y="2727"/>
                  </a:lnTo>
                  <a:lnTo>
                    <a:pt x="2721" y="2729"/>
                  </a:lnTo>
                  <a:lnTo>
                    <a:pt x="2721" y="2732"/>
                  </a:lnTo>
                  <a:lnTo>
                    <a:pt x="2721" y="2734"/>
                  </a:lnTo>
                  <a:lnTo>
                    <a:pt x="2724" y="2734"/>
                  </a:lnTo>
                  <a:lnTo>
                    <a:pt x="2724" y="2737"/>
                  </a:lnTo>
                  <a:lnTo>
                    <a:pt x="2721" y="2737"/>
                  </a:lnTo>
                  <a:lnTo>
                    <a:pt x="2724" y="2737"/>
                  </a:lnTo>
                  <a:lnTo>
                    <a:pt x="2724" y="2739"/>
                  </a:lnTo>
                  <a:lnTo>
                    <a:pt x="2724" y="2739"/>
                  </a:lnTo>
                  <a:lnTo>
                    <a:pt x="2726" y="2739"/>
                  </a:lnTo>
                  <a:lnTo>
                    <a:pt x="2726" y="2739"/>
                  </a:lnTo>
                  <a:lnTo>
                    <a:pt x="2726" y="2739"/>
                  </a:lnTo>
                  <a:lnTo>
                    <a:pt x="2726" y="2741"/>
                  </a:lnTo>
                  <a:lnTo>
                    <a:pt x="2726" y="2741"/>
                  </a:lnTo>
                  <a:lnTo>
                    <a:pt x="2726" y="2741"/>
                  </a:lnTo>
                  <a:lnTo>
                    <a:pt x="2728" y="2741"/>
                  </a:lnTo>
                  <a:lnTo>
                    <a:pt x="2731" y="2744"/>
                  </a:lnTo>
                  <a:lnTo>
                    <a:pt x="2733" y="2744"/>
                  </a:lnTo>
                  <a:lnTo>
                    <a:pt x="2733" y="2746"/>
                  </a:lnTo>
                  <a:lnTo>
                    <a:pt x="2733" y="2746"/>
                  </a:lnTo>
                  <a:lnTo>
                    <a:pt x="2733" y="2746"/>
                  </a:lnTo>
                  <a:lnTo>
                    <a:pt x="2733" y="2748"/>
                  </a:lnTo>
                  <a:lnTo>
                    <a:pt x="2736" y="2748"/>
                  </a:lnTo>
                  <a:lnTo>
                    <a:pt x="2736" y="2748"/>
                  </a:lnTo>
                  <a:lnTo>
                    <a:pt x="2736" y="2748"/>
                  </a:lnTo>
                  <a:lnTo>
                    <a:pt x="2736" y="2748"/>
                  </a:lnTo>
                  <a:lnTo>
                    <a:pt x="2736" y="2748"/>
                  </a:lnTo>
                  <a:lnTo>
                    <a:pt x="2736" y="2751"/>
                  </a:lnTo>
                  <a:lnTo>
                    <a:pt x="2736" y="2751"/>
                  </a:lnTo>
                  <a:lnTo>
                    <a:pt x="2736" y="2751"/>
                  </a:lnTo>
                  <a:lnTo>
                    <a:pt x="2736" y="2751"/>
                  </a:lnTo>
                  <a:lnTo>
                    <a:pt x="2738" y="2753"/>
                  </a:lnTo>
                  <a:lnTo>
                    <a:pt x="2738" y="2753"/>
                  </a:lnTo>
                  <a:lnTo>
                    <a:pt x="2738" y="2753"/>
                  </a:lnTo>
                  <a:lnTo>
                    <a:pt x="2738" y="2753"/>
                  </a:lnTo>
                  <a:lnTo>
                    <a:pt x="2738" y="2753"/>
                  </a:lnTo>
                  <a:lnTo>
                    <a:pt x="2738" y="2755"/>
                  </a:lnTo>
                  <a:lnTo>
                    <a:pt x="2740" y="2755"/>
                  </a:lnTo>
                  <a:lnTo>
                    <a:pt x="2740" y="2755"/>
                  </a:lnTo>
                  <a:lnTo>
                    <a:pt x="2740" y="2755"/>
                  </a:lnTo>
                  <a:lnTo>
                    <a:pt x="2740" y="2758"/>
                  </a:lnTo>
                  <a:lnTo>
                    <a:pt x="2740" y="2758"/>
                  </a:lnTo>
                  <a:lnTo>
                    <a:pt x="2740" y="2758"/>
                  </a:lnTo>
                  <a:lnTo>
                    <a:pt x="2740" y="2758"/>
                  </a:lnTo>
                  <a:lnTo>
                    <a:pt x="2740" y="2758"/>
                  </a:lnTo>
                  <a:lnTo>
                    <a:pt x="2740" y="2760"/>
                  </a:lnTo>
                  <a:lnTo>
                    <a:pt x="2740" y="2760"/>
                  </a:lnTo>
                  <a:lnTo>
                    <a:pt x="2740" y="2760"/>
                  </a:lnTo>
                  <a:lnTo>
                    <a:pt x="2740" y="2760"/>
                  </a:lnTo>
                  <a:lnTo>
                    <a:pt x="2743" y="2760"/>
                  </a:lnTo>
                  <a:lnTo>
                    <a:pt x="2743" y="2763"/>
                  </a:lnTo>
                  <a:lnTo>
                    <a:pt x="2743" y="2763"/>
                  </a:lnTo>
                  <a:lnTo>
                    <a:pt x="2743" y="2763"/>
                  </a:lnTo>
                  <a:lnTo>
                    <a:pt x="2745" y="2763"/>
                  </a:lnTo>
                  <a:lnTo>
                    <a:pt x="2745" y="2763"/>
                  </a:lnTo>
                  <a:lnTo>
                    <a:pt x="2745" y="2763"/>
                  </a:lnTo>
                  <a:lnTo>
                    <a:pt x="2745" y="2765"/>
                  </a:lnTo>
                  <a:lnTo>
                    <a:pt x="2745" y="2765"/>
                  </a:lnTo>
                  <a:lnTo>
                    <a:pt x="2745" y="2765"/>
                  </a:lnTo>
                  <a:lnTo>
                    <a:pt x="2747" y="2765"/>
                  </a:lnTo>
                  <a:lnTo>
                    <a:pt x="2747" y="2765"/>
                  </a:lnTo>
                  <a:lnTo>
                    <a:pt x="2747" y="2765"/>
                  </a:lnTo>
                  <a:lnTo>
                    <a:pt x="2747" y="2767"/>
                  </a:lnTo>
                  <a:lnTo>
                    <a:pt x="2747" y="2767"/>
                  </a:lnTo>
                  <a:lnTo>
                    <a:pt x="2747" y="2767"/>
                  </a:lnTo>
                  <a:lnTo>
                    <a:pt x="2747" y="2767"/>
                  </a:lnTo>
                  <a:lnTo>
                    <a:pt x="2747" y="2767"/>
                  </a:lnTo>
                  <a:lnTo>
                    <a:pt x="2750" y="2770"/>
                  </a:lnTo>
                  <a:lnTo>
                    <a:pt x="2750" y="2770"/>
                  </a:lnTo>
                  <a:lnTo>
                    <a:pt x="2750" y="2770"/>
                  </a:lnTo>
                  <a:lnTo>
                    <a:pt x="2752" y="2770"/>
                  </a:lnTo>
                  <a:lnTo>
                    <a:pt x="2752" y="2770"/>
                  </a:lnTo>
                  <a:lnTo>
                    <a:pt x="2752" y="2770"/>
                  </a:lnTo>
                  <a:lnTo>
                    <a:pt x="2752" y="2770"/>
                  </a:lnTo>
                  <a:lnTo>
                    <a:pt x="2752" y="2770"/>
                  </a:lnTo>
                  <a:lnTo>
                    <a:pt x="2755" y="2770"/>
                  </a:lnTo>
                  <a:lnTo>
                    <a:pt x="2755" y="2770"/>
                  </a:lnTo>
                  <a:lnTo>
                    <a:pt x="2755" y="2770"/>
                  </a:lnTo>
                  <a:lnTo>
                    <a:pt x="2755" y="2772"/>
                  </a:lnTo>
                  <a:lnTo>
                    <a:pt x="2757" y="2772"/>
                  </a:lnTo>
                  <a:lnTo>
                    <a:pt x="2757" y="2772"/>
                  </a:lnTo>
                  <a:lnTo>
                    <a:pt x="2757" y="2772"/>
                  </a:lnTo>
                  <a:lnTo>
                    <a:pt x="2757" y="2774"/>
                  </a:lnTo>
                  <a:lnTo>
                    <a:pt x="2757" y="2777"/>
                  </a:lnTo>
                  <a:lnTo>
                    <a:pt x="2757" y="2777"/>
                  </a:lnTo>
                  <a:lnTo>
                    <a:pt x="2757" y="2777"/>
                  </a:lnTo>
                  <a:lnTo>
                    <a:pt x="2759" y="2777"/>
                  </a:lnTo>
                  <a:lnTo>
                    <a:pt x="2759" y="2777"/>
                  </a:lnTo>
                  <a:lnTo>
                    <a:pt x="2759" y="2777"/>
                  </a:lnTo>
                  <a:lnTo>
                    <a:pt x="2759" y="2779"/>
                  </a:lnTo>
                  <a:lnTo>
                    <a:pt x="2759" y="2779"/>
                  </a:lnTo>
                  <a:lnTo>
                    <a:pt x="2759" y="2779"/>
                  </a:lnTo>
                  <a:lnTo>
                    <a:pt x="2759" y="2781"/>
                  </a:lnTo>
                  <a:lnTo>
                    <a:pt x="2759" y="2781"/>
                  </a:lnTo>
                  <a:lnTo>
                    <a:pt x="2759" y="2784"/>
                  </a:lnTo>
                  <a:lnTo>
                    <a:pt x="2759" y="2784"/>
                  </a:lnTo>
                  <a:lnTo>
                    <a:pt x="2759" y="2784"/>
                  </a:lnTo>
                  <a:lnTo>
                    <a:pt x="2757" y="2784"/>
                  </a:lnTo>
                  <a:lnTo>
                    <a:pt x="2757" y="2786"/>
                  </a:lnTo>
                  <a:lnTo>
                    <a:pt x="2757" y="2786"/>
                  </a:lnTo>
                  <a:lnTo>
                    <a:pt x="2759" y="2786"/>
                  </a:lnTo>
                  <a:lnTo>
                    <a:pt x="2759" y="2786"/>
                  </a:lnTo>
                  <a:lnTo>
                    <a:pt x="2759" y="2786"/>
                  </a:lnTo>
                  <a:lnTo>
                    <a:pt x="2759" y="2786"/>
                  </a:lnTo>
                  <a:lnTo>
                    <a:pt x="2759" y="2789"/>
                  </a:lnTo>
                  <a:lnTo>
                    <a:pt x="2759" y="2789"/>
                  </a:lnTo>
                  <a:lnTo>
                    <a:pt x="2759" y="2789"/>
                  </a:lnTo>
                  <a:lnTo>
                    <a:pt x="2759" y="2789"/>
                  </a:lnTo>
                  <a:lnTo>
                    <a:pt x="2762" y="2789"/>
                  </a:lnTo>
                  <a:lnTo>
                    <a:pt x="2762" y="2791"/>
                  </a:lnTo>
                  <a:lnTo>
                    <a:pt x="2762" y="2791"/>
                  </a:lnTo>
                  <a:lnTo>
                    <a:pt x="2762" y="2793"/>
                  </a:lnTo>
                  <a:lnTo>
                    <a:pt x="2759" y="2796"/>
                  </a:lnTo>
                  <a:lnTo>
                    <a:pt x="2759" y="2796"/>
                  </a:lnTo>
                  <a:lnTo>
                    <a:pt x="2759" y="2796"/>
                  </a:lnTo>
                  <a:lnTo>
                    <a:pt x="2759" y="2796"/>
                  </a:lnTo>
                  <a:lnTo>
                    <a:pt x="2762" y="2796"/>
                  </a:lnTo>
                  <a:lnTo>
                    <a:pt x="2762" y="2798"/>
                  </a:lnTo>
                  <a:lnTo>
                    <a:pt x="2762" y="2798"/>
                  </a:lnTo>
                  <a:lnTo>
                    <a:pt x="2759" y="2798"/>
                  </a:lnTo>
                  <a:lnTo>
                    <a:pt x="2762" y="2800"/>
                  </a:lnTo>
                  <a:lnTo>
                    <a:pt x="2762" y="2800"/>
                  </a:lnTo>
                  <a:lnTo>
                    <a:pt x="2762" y="2800"/>
                  </a:lnTo>
                  <a:lnTo>
                    <a:pt x="2762" y="2800"/>
                  </a:lnTo>
                  <a:lnTo>
                    <a:pt x="2762" y="2800"/>
                  </a:lnTo>
                  <a:lnTo>
                    <a:pt x="2762" y="2800"/>
                  </a:lnTo>
                  <a:lnTo>
                    <a:pt x="2762" y="2803"/>
                  </a:lnTo>
                  <a:lnTo>
                    <a:pt x="2764" y="2803"/>
                  </a:lnTo>
                  <a:lnTo>
                    <a:pt x="2764" y="2803"/>
                  </a:lnTo>
                  <a:lnTo>
                    <a:pt x="2764" y="2803"/>
                  </a:lnTo>
                  <a:lnTo>
                    <a:pt x="2764" y="2805"/>
                  </a:lnTo>
                  <a:lnTo>
                    <a:pt x="2766" y="2805"/>
                  </a:lnTo>
                  <a:lnTo>
                    <a:pt x="2766" y="2807"/>
                  </a:lnTo>
                  <a:lnTo>
                    <a:pt x="2766" y="2807"/>
                  </a:lnTo>
                  <a:lnTo>
                    <a:pt x="2769" y="2810"/>
                  </a:lnTo>
                  <a:lnTo>
                    <a:pt x="2769" y="2810"/>
                  </a:lnTo>
                  <a:lnTo>
                    <a:pt x="2769" y="2810"/>
                  </a:lnTo>
                  <a:lnTo>
                    <a:pt x="2771" y="2812"/>
                  </a:lnTo>
                  <a:lnTo>
                    <a:pt x="2771" y="2815"/>
                  </a:lnTo>
                  <a:lnTo>
                    <a:pt x="2773" y="2822"/>
                  </a:lnTo>
                  <a:lnTo>
                    <a:pt x="2773" y="2822"/>
                  </a:lnTo>
                  <a:lnTo>
                    <a:pt x="2773" y="2824"/>
                  </a:lnTo>
                  <a:lnTo>
                    <a:pt x="2773" y="2824"/>
                  </a:lnTo>
                  <a:lnTo>
                    <a:pt x="2773" y="2826"/>
                  </a:lnTo>
                  <a:lnTo>
                    <a:pt x="2776" y="2826"/>
                  </a:lnTo>
                  <a:lnTo>
                    <a:pt x="2776" y="2826"/>
                  </a:lnTo>
                  <a:lnTo>
                    <a:pt x="2776" y="2829"/>
                  </a:lnTo>
                  <a:lnTo>
                    <a:pt x="2776" y="2829"/>
                  </a:lnTo>
                  <a:lnTo>
                    <a:pt x="2776" y="2829"/>
                  </a:lnTo>
                  <a:lnTo>
                    <a:pt x="2776" y="2829"/>
                  </a:lnTo>
                  <a:lnTo>
                    <a:pt x="2776" y="2831"/>
                  </a:lnTo>
                  <a:lnTo>
                    <a:pt x="2776" y="2831"/>
                  </a:lnTo>
                  <a:lnTo>
                    <a:pt x="2776" y="2831"/>
                  </a:lnTo>
                  <a:lnTo>
                    <a:pt x="2778" y="2831"/>
                  </a:lnTo>
                  <a:lnTo>
                    <a:pt x="2778" y="2831"/>
                  </a:lnTo>
                  <a:lnTo>
                    <a:pt x="2781" y="2831"/>
                  </a:lnTo>
                  <a:lnTo>
                    <a:pt x="2781" y="2831"/>
                  </a:lnTo>
                  <a:lnTo>
                    <a:pt x="2781" y="2834"/>
                  </a:lnTo>
                  <a:lnTo>
                    <a:pt x="2781" y="2834"/>
                  </a:lnTo>
                  <a:lnTo>
                    <a:pt x="2781" y="2834"/>
                  </a:lnTo>
                  <a:lnTo>
                    <a:pt x="2781" y="2831"/>
                  </a:lnTo>
                  <a:lnTo>
                    <a:pt x="2783" y="2831"/>
                  </a:lnTo>
                  <a:lnTo>
                    <a:pt x="2783" y="2834"/>
                  </a:lnTo>
                  <a:lnTo>
                    <a:pt x="2783" y="2834"/>
                  </a:lnTo>
                  <a:lnTo>
                    <a:pt x="2783" y="2834"/>
                  </a:lnTo>
                  <a:lnTo>
                    <a:pt x="2785" y="2834"/>
                  </a:lnTo>
                  <a:lnTo>
                    <a:pt x="2788" y="2834"/>
                  </a:lnTo>
                  <a:lnTo>
                    <a:pt x="2788" y="2834"/>
                  </a:lnTo>
                  <a:lnTo>
                    <a:pt x="2788" y="2834"/>
                  </a:lnTo>
                  <a:lnTo>
                    <a:pt x="2788" y="2834"/>
                  </a:lnTo>
                  <a:lnTo>
                    <a:pt x="2788" y="2834"/>
                  </a:lnTo>
                  <a:lnTo>
                    <a:pt x="2790" y="2834"/>
                  </a:lnTo>
                  <a:lnTo>
                    <a:pt x="2790" y="2834"/>
                  </a:lnTo>
                  <a:lnTo>
                    <a:pt x="2790" y="2834"/>
                  </a:lnTo>
                  <a:lnTo>
                    <a:pt x="2790" y="2834"/>
                  </a:lnTo>
                  <a:lnTo>
                    <a:pt x="2790" y="2834"/>
                  </a:lnTo>
                  <a:lnTo>
                    <a:pt x="2790" y="2834"/>
                  </a:lnTo>
                  <a:lnTo>
                    <a:pt x="2792" y="2836"/>
                  </a:lnTo>
                  <a:lnTo>
                    <a:pt x="2792" y="2836"/>
                  </a:lnTo>
                  <a:lnTo>
                    <a:pt x="2792" y="2836"/>
                  </a:lnTo>
                  <a:lnTo>
                    <a:pt x="2792" y="2836"/>
                  </a:lnTo>
                  <a:lnTo>
                    <a:pt x="2795" y="2836"/>
                  </a:lnTo>
                  <a:lnTo>
                    <a:pt x="2795" y="2838"/>
                  </a:lnTo>
                  <a:lnTo>
                    <a:pt x="2795" y="2838"/>
                  </a:lnTo>
                  <a:lnTo>
                    <a:pt x="2795" y="2838"/>
                  </a:lnTo>
                  <a:lnTo>
                    <a:pt x="2795" y="2838"/>
                  </a:lnTo>
                  <a:lnTo>
                    <a:pt x="2795" y="2838"/>
                  </a:lnTo>
                  <a:lnTo>
                    <a:pt x="2795" y="2838"/>
                  </a:lnTo>
                  <a:lnTo>
                    <a:pt x="2797" y="2841"/>
                  </a:lnTo>
                  <a:lnTo>
                    <a:pt x="2797" y="2841"/>
                  </a:lnTo>
                  <a:lnTo>
                    <a:pt x="2797" y="2841"/>
                  </a:lnTo>
                  <a:lnTo>
                    <a:pt x="2799" y="2838"/>
                  </a:lnTo>
                  <a:lnTo>
                    <a:pt x="2802" y="2841"/>
                  </a:lnTo>
                  <a:lnTo>
                    <a:pt x="2802" y="2841"/>
                  </a:lnTo>
                  <a:lnTo>
                    <a:pt x="2804" y="2841"/>
                  </a:lnTo>
                  <a:lnTo>
                    <a:pt x="2804" y="2841"/>
                  </a:lnTo>
                  <a:lnTo>
                    <a:pt x="2807" y="2841"/>
                  </a:lnTo>
                  <a:lnTo>
                    <a:pt x="2807" y="2841"/>
                  </a:lnTo>
                  <a:lnTo>
                    <a:pt x="2809" y="2843"/>
                  </a:lnTo>
                  <a:lnTo>
                    <a:pt x="2809" y="2843"/>
                  </a:lnTo>
                  <a:lnTo>
                    <a:pt x="2809" y="2843"/>
                  </a:lnTo>
                  <a:lnTo>
                    <a:pt x="2809" y="2843"/>
                  </a:lnTo>
                  <a:lnTo>
                    <a:pt x="2809" y="2843"/>
                  </a:lnTo>
                  <a:lnTo>
                    <a:pt x="2811" y="2843"/>
                  </a:lnTo>
                  <a:lnTo>
                    <a:pt x="2811" y="2845"/>
                  </a:lnTo>
                  <a:lnTo>
                    <a:pt x="2814" y="2845"/>
                  </a:lnTo>
                  <a:lnTo>
                    <a:pt x="2814" y="2845"/>
                  </a:lnTo>
                  <a:lnTo>
                    <a:pt x="2816" y="2848"/>
                  </a:lnTo>
                  <a:lnTo>
                    <a:pt x="2818" y="2848"/>
                  </a:lnTo>
                  <a:lnTo>
                    <a:pt x="2821" y="2848"/>
                  </a:lnTo>
                  <a:lnTo>
                    <a:pt x="2823" y="2848"/>
                  </a:lnTo>
                  <a:lnTo>
                    <a:pt x="2823" y="2848"/>
                  </a:lnTo>
                  <a:lnTo>
                    <a:pt x="2823" y="2850"/>
                  </a:lnTo>
                  <a:lnTo>
                    <a:pt x="2823" y="2850"/>
                  </a:lnTo>
                  <a:lnTo>
                    <a:pt x="2826" y="2850"/>
                  </a:lnTo>
                  <a:lnTo>
                    <a:pt x="2826" y="2848"/>
                  </a:lnTo>
                  <a:lnTo>
                    <a:pt x="2828" y="2848"/>
                  </a:lnTo>
                  <a:lnTo>
                    <a:pt x="2830" y="2848"/>
                  </a:lnTo>
                  <a:lnTo>
                    <a:pt x="2833" y="2848"/>
                  </a:lnTo>
                  <a:lnTo>
                    <a:pt x="2835" y="2848"/>
                  </a:lnTo>
                  <a:lnTo>
                    <a:pt x="2837" y="2848"/>
                  </a:lnTo>
                  <a:lnTo>
                    <a:pt x="2837" y="2850"/>
                  </a:lnTo>
                  <a:lnTo>
                    <a:pt x="2837" y="2850"/>
                  </a:lnTo>
                  <a:lnTo>
                    <a:pt x="2842" y="2850"/>
                  </a:lnTo>
                  <a:lnTo>
                    <a:pt x="2842" y="2850"/>
                  </a:lnTo>
                  <a:lnTo>
                    <a:pt x="2844" y="2850"/>
                  </a:lnTo>
                  <a:lnTo>
                    <a:pt x="2844" y="2850"/>
                  </a:lnTo>
                  <a:lnTo>
                    <a:pt x="2844" y="2852"/>
                  </a:lnTo>
                  <a:lnTo>
                    <a:pt x="2844" y="2852"/>
                  </a:lnTo>
                  <a:lnTo>
                    <a:pt x="2844" y="2852"/>
                  </a:lnTo>
                  <a:lnTo>
                    <a:pt x="2847" y="2855"/>
                  </a:lnTo>
                  <a:lnTo>
                    <a:pt x="2849" y="2855"/>
                  </a:lnTo>
                  <a:lnTo>
                    <a:pt x="2849" y="2857"/>
                  </a:lnTo>
                  <a:lnTo>
                    <a:pt x="2852" y="2857"/>
                  </a:lnTo>
                  <a:lnTo>
                    <a:pt x="2852" y="2857"/>
                  </a:lnTo>
                  <a:lnTo>
                    <a:pt x="2852" y="2857"/>
                  </a:lnTo>
                  <a:lnTo>
                    <a:pt x="2852" y="2857"/>
                  </a:lnTo>
                  <a:lnTo>
                    <a:pt x="2854" y="2857"/>
                  </a:lnTo>
                  <a:lnTo>
                    <a:pt x="2854" y="2860"/>
                  </a:lnTo>
                  <a:lnTo>
                    <a:pt x="2854" y="2860"/>
                  </a:lnTo>
                  <a:lnTo>
                    <a:pt x="2854" y="2860"/>
                  </a:lnTo>
                  <a:lnTo>
                    <a:pt x="2854" y="2857"/>
                  </a:lnTo>
                  <a:lnTo>
                    <a:pt x="2854" y="2857"/>
                  </a:lnTo>
                  <a:lnTo>
                    <a:pt x="2854" y="2857"/>
                  </a:lnTo>
                  <a:lnTo>
                    <a:pt x="2856" y="2857"/>
                  </a:lnTo>
                  <a:lnTo>
                    <a:pt x="2856" y="2860"/>
                  </a:lnTo>
                  <a:lnTo>
                    <a:pt x="2856" y="2860"/>
                  </a:lnTo>
                  <a:lnTo>
                    <a:pt x="2856" y="2860"/>
                  </a:lnTo>
                  <a:lnTo>
                    <a:pt x="2856" y="2860"/>
                  </a:lnTo>
                  <a:lnTo>
                    <a:pt x="2856" y="2857"/>
                  </a:lnTo>
                  <a:lnTo>
                    <a:pt x="2856" y="2857"/>
                  </a:lnTo>
                  <a:lnTo>
                    <a:pt x="2856" y="2855"/>
                  </a:lnTo>
                  <a:lnTo>
                    <a:pt x="2856" y="2855"/>
                  </a:lnTo>
                  <a:lnTo>
                    <a:pt x="2859" y="2855"/>
                  </a:lnTo>
                  <a:lnTo>
                    <a:pt x="2859" y="2855"/>
                  </a:lnTo>
                  <a:lnTo>
                    <a:pt x="2859" y="2855"/>
                  </a:lnTo>
                  <a:lnTo>
                    <a:pt x="2861" y="2855"/>
                  </a:lnTo>
                  <a:lnTo>
                    <a:pt x="2861" y="2852"/>
                  </a:lnTo>
                  <a:lnTo>
                    <a:pt x="2861" y="2852"/>
                  </a:lnTo>
                  <a:lnTo>
                    <a:pt x="2863" y="2852"/>
                  </a:lnTo>
                  <a:lnTo>
                    <a:pt x="2866" y="2852"/>
                  </a:lnTo>
                  <a:lnTo>
                    <a:pt x="2866" y="2852"/>
                  </a:lnTo>
                  <a:lnTo>
                    <a:pt x="2866" y="2850"/>
                  </a:lnTo>
                  <a:lnTo>
                    <a:pt x="2866" y="2848"/>
                  </a:lnTo>
                  <a:lnTo>
                    <a:pt x="2866" y="2848"/>
                  </a:lnTo>
                  <a:lnTo>
                    <a:pt x="2866" y="2848"/>
                  </a:lnTo>
                  <a:lnTo>
                    <a:pt x="2866" y="2848"/>
                  </a:lnTo>
                  <a:lnTo>
                    <a:pt x="2863" y="2848"/>
                  </a:lnTo>
                  <a:lnTo>
                    <a:pt x="2863" y="2850"/>
                  </a:lnTo>
                  <a:lnTo>
                    <a:pt x="2863" y="2850"/>
                  </a:lnTo>
                  <a:lnTo>
                    <a:pt x="2863" y="2850"/>
                  </a:lnTo>
                  <a:lnTo>
                    <a:pt x="2863" y="2850"/>
                  </a:lnTo>
                  <a:lnTo>
                    <a:pt x="2863" y="2850"/>
                  </a:lnTo>
                  <a:lnTo>
                    <a:pt x="2861" y="2852"/>
                  </a:lnTo>
                  <a:lnTo>
                    <a:pt x="2861" y="2852"/>
                  </a:lnTo>
                  <a:lnTo>
                    <a:pt x="2861" y="2852"/>
                  </a:lnTo>
                  <a:lnTo>
                    <a:pt x="2861" y="2852"/>
                  </a:lnTo>
                  <a:lnTo>
                    <a:pt x="2861" y="2852"/>
                  </a:lnTo>
                  <a:lnTo>
                    <a:pt x="2861" y="2850"/>
                  </a:lnTo>
                  <a:lnTo>
                    <a:pt x="2861" y="2850"/>
                  </a:lnTo>
                  <a:lnTo>
                    <a:pt x="2861" y="2850"/>
                  </a:lnTo>
                  <a:lnTo>
                    <a:pt x="2861" y="2848"/>
                  </a:lnTo>
                  <a:lnTo>
                    <a:pt x="2861" y="2848"/>
                  </a:lnTo>
                  <a:lnTo>
                    <a:pt x="2861" y="2848"/>
                  </a:lnTo>
                  <a:lnTo>
                    <a:pt x="2863" y="2848"/>
                  </a:lnTo>
                  <a:lnTo>
                    <a:pt x="2863" y="2848"/>
                  </a:lnTo>
                  <a:lnTo>
                    <a:pt x="2863" y="2845"/>
                  </a:lnTo>
                  <a:lnTo>
                    <a:pt x="2863" y="2845"/>
                  </a:lnTo>
                  <a:lnTo>
                    <a:pt x="2861" y="2845"/>
                  </a:lnTo>
                  <a:lnTo>
                    <a:pt x="2861" y="2845"/>
                  </a:lnTo>
                  <a:lnTo>
                    <a:pt x="2861" y="2845"/>
                  </a:lnTo>
                  <a:lnTo>
                    <a:pt x="2859" y="2845"/>
                  </a:lnTo>
                  <a:lnTo>
                    <a:pt x="2859" y="2845"/>
                  </a:lnTo>
                  <a:lnTo>
                    <a:pt x="2859" y="2845"/>
                  </a:lnTo>
                  <a:lnTo>
                    <a:pt x="2859" y="2845"/>
                  </a:lnTo>
                  <a:lnTo>
                    <a:pt x="2859" y="2843"/>
                  </a:lnTo>
                  <a:lnTo>
                    <a:pt x="2859" y="2843"/>
                  </a:lnTo>
                  <a:lnTo>
                    <a:pt x="2859" y="2841"/>
                  </a:lnTo>
                  <a:lnTo>
                    <a:pt x="2859" y="2841"/>
                  </a:lnTo>
                  <a:lnTo>
                    <a:pt x="2856" y="2838"/>
                  </a:lnTo>
                  <a:lnTo>
                    <a:pt x="2856" y="2838"/>
                  </a:lnTo>
                  <a:lnTo>
                    <a:pt x="2859" y="2838"/>
                  </a:lnTo>
                  <a:lnTo>
                    <a:pt x="2859" y="2838"/>
                  </a:lnTo>
                  <a:lnTo>
                    <a:pt x="2859" y="2838"/>
                  </a:lnTo>
                  <a:lnTo>
                    <a:pt x="2859" y="2838"/>
                  </a:lnTo>
                  <a:lnTo>
                    <a:pt x="2856" y="2836"/>
                  </a:lnTo>
                  <a:lnTo>
                    <a:pt x="2856" y="2836"/>
                  </a:lnTo>
                  <a:lnTo>
                    <a:pt x="2856" y="2836"/>
                  </a:lnTo>
                  <a:lnTo>
                    <a:pt x="2856" y="2838"/>
                  </a:lnTo>
                  <a:lnTo>
                    <a:pt x="2856" y="2836"/>
                  </a:lnTo>
                  <a:lnTo>
                    <a:pt x="2856" y="2836"/>
                  </a:lnTo>
                  <a:lnTo>
                    <a:pt x="2856" y="2834"/>
                  </a:lnTo>
                  <a:lnTo>
                    <a:pt x="2856" y="2834"/>
                  </a:lnTo>
                  <a:lnTo>
                    <a:pt x="2856" y="2834"/>
                  </a:lnTo>
                  <a:lnTo>
                    <a:pt x="2856" y="2834"/>
                  </a:lnTo>
                  <a:lnTo>
                    <a:pt x="2856" y="2834"/>
                  </a:lnTo>
                  <a:lnTo>
                    <a:pt x="2856" y="2834"/>
                  </a:lnTo>
                  <a:lnTo>
                    <a:pt x="2856" y="2834"/>
                  </a:lnTo>
                  <a:lnTo>
                    <a:pt x="2856" y="2834"/>
                  </a:lnTo>
                  <a:lnTo>
                    <a:pt x="2856" y="2834"/>
                  </a:lnTo>
                  <a:lnTo>
                    <a:pt x="2854" y="2834"/>
                  </a:lnTo>
                  <a:lnTo>
                    <a:pt x="2854" y="2834"/>
                  </a:lnTo>
                  <a:lnTo>
                    <a:pt x="2856" y="2834"/>
                  </a:lnTo>
                  <a:lnTo>
                    <a:pt x="2856" y="2831"/>
                  </a:lnTo>
                  <a:lnTo>
                    <a:pt x="2854" y="2831"/>
                  </a:lnTo>
                  <a:lnTo>
                    <a:pt x="2854" y="2831"/>
                  </a:lnTo>
                  <a:lnTo>
                    <a:pt x="2854" y="2831"/>
                  </a:lnTo>
                  <a:lnTo>
                    <a:pt x="2854" y="2831"/>
                  </a:lnTo>
                  <a:lnTo>
                    <a:pt x="2854" y="2831"/>
                  </a:lnTo>
                  <a:lnTo>
                    <a:pt x="2854" y="2831"/>
                  </a:lnTo>
                  <a:lnTo>
                    <a:pt x="2852" y="2829"/>
                  </a:lnTo>
                  <a:lnTo>
                    <a:pt x="2852" y="2829"/>
                  </a:lnTo>
                  <a:lnTo>
                    <a:pt x="2852" y="2829"/>
                  </a:lnTo>
                  <a:lnTo>
                    <a:pt x="2852" y="2829"/>
                  </a:lnTo>
                  <a:lnTo>
                    <a:pt x="2852" y="2829"/>
                  </a:lnTo>
                  <a:lnTo>
                    <a:pt x="2852" y="2826"/>
                  </a:lnTo>
                  <a:lnTo>
                    <a:pt x="2852" y="2826"/>
                  </a:lnTo>
                  <a:lnTo>
                    <a:pt x="2852" y="2826"/>
                  </a:lnTo>
                  <a:lnTo>
                    <a:pt x="2852" y="2826"/>
                  </a:lnTo>
                  <a:lnTo>
                    <a:pt x="2852" y="2826"/>
                  </a:lnTo>
                  <a:lnTo>
                    <a:pt x="2852" y="2824"/>
                  </a:lnTo>
                  <a:lnTo>
                    <a:pt x="2852" y="2824"/>
                  </a:lnTo>
                  <a:lnTo>
                    <a:pt x="2854" y="2826"/>
                  </a:lnTo>
                  <a:lnTo>
                    <a:pt x="2854" y="2826"/>
                  </a:lnTo>
                  <a:lnTo>
                    <a:pt x="2852" y="2824"/>
                  </a:lnTo>
                  <a:lnTo>
                    <a:pt x="2852" y="2822"/>
                  </a:lnTo>
                  <a:lnTo>
                    <a:pt x="2852" y="2817"/>
                  </a:lnTo>
                  <a:lnTo>
                    <a:pt x="2849" y="2815"/>
                  </a:lnTo>
                  <a:lnTo>
                    <a:pt x="2849" y="2812"/>
                  </a:lnTo>
                  <a:lnTo>
                    <a:pt x="2849" y="2812"/>
                  </a:lnTo>
                  <a:lnTo>
                    <a:pt x="2849" y="2810"/>
                  </a:lnTo>
                  <a:lnTo>
                    <a:pt x="2849" y="2810"/>
                  </a:lnTo>
                  <a:lnTo>
                    <a:pt x="2847" y="2810"/>
                  </a:lnTo>
                  <a:lnTo>
                    <a:pt x="2847" y="2810"/>
                  </a:lnTo>
                  <a:lnTo>
                    <a:pt x="2847" y="2810"/>
                  </a:lnTo>
                  <a:lnTo>
                    <a:pt x="2847" y="2810"/>
                  </a:lnTo>
                  <a:lnTo>
                    <a:pt x="2847" y="2807"/>
                  </a:lnTo>
                  <a:lnTo>
                    <a:pt x="2847" y="2807"/>
                  </a:lnTo>
                  <a:lnTo>
                    <a:pt x="2847" y="2805"/>
                  </a:lnTo>
                  <a:lnTo>
                    <a:pt x="2847" y="2805"/>
                  </a:lnTo>
                  <a:lnTo>
                    <a:pt x="2847" y="2805"/>
                  </a:lnTo>
                  <a:lnTo>
                    <a:pt x="2849" y="2807"/>
                  </a:lnTo>
                  <a:lnTo>
                    <a:pt x="2849" y="2807"/>
                  </a:lnTo>
                  <a:lnTo>
                    <a:pt x="2849" y="2805"/>
                  </a:lnTo>
                  <a:lnTo>
                    <a:pt x="2847" y="2805"/>
                  </a:lnTo>
                  <a:lnTo>
                    <a:pt x="2847" y="2805"/>
                  </a:lnTo>
                  <a:lnTo>
                    <a:pt x="2847" y="2805"/>
                  </a:lnTo>
                  <a:lnTo>
                    <a:pt x="2847" y="2803"/>
                  </a:lnTo>
                  <a:lnTo>
                    <a:pt x="2847" y="2800"/>
                  </a:lnTo>
                  <a:lnTo>
                    <a:pt x="2847" y="2800"/>
                  </a:lnTo>
                  <a:lnTo>
                    <a:pt x="2847" y="2800"/>
                  </a:lnTo>
                  <a:lnTo>
                    <a:pt x="2849" y="2800"/>
                  </a:lnTo>
                  <a:lnTo>
                    <a:pt x="2849" y="2800"/>
                  </a:lnTo>
                  <a:lnTo>
                    <a:pt x="2849" y="2798"/>
                  </a:lnTo>
                  <a:lnTo>
                    <a:pt x="2849" y="2798"/>
                  </a:lnTo>
                  <a:lnTo>
                    <a:pt x="2849" y="2798"/>
                  </a:lnTo>
                  <a:lnTo>
                    <a:pt x="2849" y="2796"/>
                  </a:lnTo>
                  <a:lnTo>
                    <a:pt x="2849" y="2796"/>
                  </a:lnTo>
                  <a:lnTo>
                    <a:pt x="2849" y="2796"/>
                  </a:lnTo>
                  <a:lnTo>
                    <a:pt x="2849" y="2796"/>
                  </a:lnTo>
                  <a:lnTo>
                    <a:pt x="2849" y="2796"/>
                  </a:lnTo>
                  <a:lnTo>
                    <a:pt x="2852" y="2796"/>
                  </a:lnTo>
                  <a:lnTo>
                    <a:pt x="2852" y="2793"/>
                  </a:lnTo>
                  <a:lnTo>
                    <a:pt x="2852" y="2793"/>
                  </a:lnTo>
                  <a:lnTo>
                    <a:pt x="2852" y="2793"/>
                  </a:lnTo>
                  <a:lnTo>
                    <a:pt x="2849" y="2791"/>
                  </a:lnTo>
                  <a:lnTo>
                    <a:pt x="2852" y="2791"/>
                  </a:lnTo>
                  <a:lnTo>
                    <a:pt x="2852" y="2791"/>
                  </a:lnTo>
                  <a:lnTo>
                    <a:pt x="2852" y="2791"/>
                  </a:lnTo>
                  <a:lnTo>
                    <a:pt x="2852" y="2789"/>
                  </a:lnTo>
                  <a:lnTo>
                    <a:pt x="2852" y="2789"/>
                  </a:lnTo>
                  <a:lnTo>
                    <a:pt x="2852" y="2789"/>
                  </a:lnTo>
                  <a:lnTo>
                    <a:pt x="2852" y="2789"/>
                  </a:lnTo>
                  <a:lnTo>
                    <a:pt x="2852" y="2786"/>
                  </a:lnTo>
                  <a:lnTo>
                    <a:pt x="2852" y="2786"/>
                  </a:lnTo>
                  <a:lnTo>
                    <a:pt x="2849" y="2789"/>
                  </a:lnTo>
                  <a:lnTo>
                    <a:pt x="2849" y="2789"/>
                  </a:lnTo>
                  <a:lnTo>
                    <a:pt x="2847" y="2789"/>
                  </a:lnTo>
                  <a:lnTo>
                    <a:pt x="2847" y="2789"/>
                  </a:lnTo>
                  <a:lnTo>
                    <a:pt x="2844" y="2789"/>
                  </a:lnTo>
                  <a:lnTo>
                    <a:pt x="2842" y="2789"/>
                  </a:lnTo>
                  <a:lnTo>
                    <a:pt x="2842" y="2786"/>
                  </a:lnTo>
                  <a:lnTo>
                    <a:pt x="2842" y="2786"/>
                  </a:lnTo>
                  <a:lnTo>
                    <a:pt x="2840" y="2786"/>
                  </a:lnTo>
                  <a:lnTo>
                    <a:pt x="2840" y="2786"/>
                  </a:lnTo>
                  <a:lnTo>
                    <a:pt x="2837" y="2786"/>
                  </a:lnTo>
                  <a:lnTo>
                    <a:pt x="2835" y="2786"/>
                  </a:lnTo>
                  <a:lnTo>
                    <a:pt x="2837" y="2786"/>
                  </a:lnTo>
                  <a:lnTo>
                    <a:pt x="2837" y="2786"/>
                  </a:lnTo>
                  <a:lnTo>
                    <a:pt x="2840" y="2786"/>
                  </a:lnTo>
                  <a:lnTo>
                    <a:pt x="2840" y="2786"/>
                  </a:lnTo>
                  <a:lnTo>
                    <a:pt x="2840" y="2786"/>
                  </a:lnTo>
                  <a:lnTo>
                    <a:pt x="2840" y="2784"/>
                  </a:lnTo>
                  <a:lnTo>
                    <a:pt x="2840" y="2784"/>
                  </a:lnTo>
                  <a:lnTo>
                    <a:pt x="2840" y="2784"/>
                  </a:lnTo>
                  <a:lnTo>
                    <a:pt x="2840" y="2784"/>
                  </a:lnTo>
                  <a:lnTo>
                    <a:pt x="2840" y="2784"/>
                  </a:lnTo>
                  <a:lnTo>
                    <a:pt x="2840" y="2784"/>
                  </a:lnTo>
                  <a:lnTo>
                    <a:pt x="2840" y="2784"/>
                  </a:lnTo>
                  <a:lnTo>
                    <a:pt x="2840" y="2781"/>
                  </a:lnTo>
                  <a:lnTo>
                    <a:pt x="2837" y="2781"/>
                  </a:lnTo>
                  <a:lnTo>
                    <a:pt x="2837" y="2781"/>
                  </a:lnTo>
                  <a:lnTo>
                    <a:pt x="2837" y="2779"/>
                  </a:lnTo>
                  <a:lnTo>
                    <a:pt x="2835" y="2779"/>
                  </a:lnTo>
                  <a:lnTo>
                    <a:pt x="2835" y="2777"/>
                  </a:lnTo>
                  <a:lnTo>
                    <a:pt x="2837" y="2779"/>
                  </a:lnTo>
                  <a:lnTo>
                    <a:pt x="2837" y="2779"/>
                  </a:lnTo>
                  <a:lnTo>
                    <a:pt x="2842" y="2784"/>
                  </a:lnTo>
                  <a:lnTo>
                    <a:pt x="2842" y="2784"/>
                  </a:lnTo>
                  <a:lnTo>
                    <a:pt x="2842" y="2786"/>
                  </a:lnTo>
                  <a:lnTo>
                    <a:pt x="2842" y="2786"/>
                  </a:lnTo>
                  <a:lnTo>
                    <a:pt x="2842" y="2786"/>
                  </a:lnTo>
                  <a:lnTo>
                    <a:pt x="2844" y="2786"/>
                  </a:lnTo>
                  <a:lnTo>
                    <a:pt x="2844" y="2786"/>
                  </a:lnTo>
                  <a:lnTo>
                    <a:pt x="2844" y="2784"/>
                  </a:lnTo>
                  <a:lnTo>
                    <a:pt x="2844" y="2784"/>
                  </a:lnTo>
                  <a:lnTo>
                    <a:pt x="2844" y="2784"/>
                  </a:lnTo>
                  <a:lnTo>
                    <a:pt x="2844" y="2784"/>
                  </a:lnTo>
                  <a:lnTo>
                    <a:pt x="2844" y="2784"/>
                  </a:lnTo>
                  <a:lnTo>
                    <a:pt x="2847" y="2784"/>
                  </a:lnTo>
                  <a:lnTo>
                    <a:pt x="2847" y="2784"/>
                  </a:lnTo>
                  <a:lnTo>
                    <a:pt x="2847" y="2784"/>
                  </a:lnTo>
                  <a:lnTo>
                    <a:pt x="2847" y="2781"/>
                  </a:lnTo>
                  <a:lnTo>
                    <a:pt x="2847" y="2781"/>
                  </a:lnTo>
                  <a:lnTo>
                    <a:pt x="2847" y="2781"/>
                  </a:lnTo>
                  <a:lnTo>
                    <a:pt x="2849" y="2781"/>
                  </a:lnTo>
                  <a:lnTo>
                    <a:pt x="2849" y="2781"/>
                  </a:lnTo>
                  <a:lnTo>
                    <a:pt x="2849" y="2781"/>
                  </a:lnTo>
                  <a:lnTo>
                    <a:pt x="2849" y="2784"/>
                  </a:lnTo>
                  <a:lnTo>
                    <a:pt x="2849" y="2784"/>
                  </a:lnTo>
                  <a:lnTo>
                    <a:pt x="2849" y="2784"/>
                  </a:lnTo>
                  <a:lnTo>
                    <a:pt x="2849" y="2784"/>
                  </a:lnTo>
                  <a:lnTo>
                    <a:pt x="2849" y="2784"/>
                  </a:lnTo>
                  <a:lnTo>
                    <a:pt x="2849" y="2784"/>
                  </a:lnTo>
                  <a:lnTo>
                    <a:pt x="2849" y="2784"/>
                  </a:lnTo>
                  <a:lnTo>
                    <a:pt x="2849" y="2784"/>
                  </a:lnTo>
                  <a:lnTo>
                    <a:pt x="2849" y="2784"/>
                  </a:lnTo>
                  <a:lnTo>
                    <a:pt x="2849" y="2784"/>
                  </a:lnTo>
                  <a:lnTo>
                    <a:pt x="2847" y="2784"/>
                  </a:lnTo>
                  <a:lnTo>
                    <a:pt x="2849" y="2784"/>
                  </a:lnTo>
                  <a:lnTo>
                    <a:pt x="2849" y="2784"/>
                  </a:lnTo>
                  <a:lnTo>
                    <a:pt x="2849" y="2784"/>
                  </a:lnTo>
                  <a:lnTo>
                    <a:pt x="2849" y="2784"/>
                  </a:lnTo>
                  <a:lnTo>
                    <a:pt x="2849" y="2786"/>
                  </a:lnTo>
                  <a:lnTo>
                    <a:pt x="2847" y="2786"/>
                  </a:lnTo>
                  <a:lnTo>
                    <a:pt x="2847" y="2786"/>
                  </a:lnTo>
                  <a:lnTo>
                    <a:pt x="2847" y="2786"/>
                  </a:lnTo>
                  <a:lnTo>
                    <a:pt x="2849" y="2786"/>
                  </a:lnTo>
                  <a:lnTo>
                    <a:pt x="2852" y="2784"/>
                  </a:lnTo>
                  <a:lnTo>
                    <a:pt x="2852" y="2784"/>
                  </a:lnTo>
                  <a:lnTo>
                    <a:pt x="2852" y="2781"/>
                  </a:lnTo>
                  <a:lnTo>
                    <a:pt x="2854" y="2777"/>
                  </a:lnTo>
                  <a:lnTo>
                    <a:pt x="2854" y="2777"/>
                  </a:lnTo>
                  <a:lnTo>
                    <a:pt x="2854" y="2777"/>
                  </a:lnTo>
                  <a:lnTo>
                    <a:pt x="2854" y="2774"/>
                  </a:lnTo>
                  <a:lnTo>
                    <a:pt x="2856" y="2772"/>
                  </a:lnTo>
                  <a:lnTo>
                    <a:pt x="2856" y="2770"/>
                  </a:lnTo>
                  <a:lnTo>
                    <a:pt x="2856" y="2770"/>
                  </a:lnTo>
                  <a:lnTo>
                    <a:pt x="2856" y="2770"/>
                  </a:lnTo>
                  <a:lnTo>
                    <a:pt x="2856" y="2767"/>
                  </a:lnTo>
                  <a:lnTo>
                    <a:pt x="2859" y="2767"/>
                  </a:lnTo>
                  <a:lnTo>
                    <a:pt x="2859" y="2767"/>
                  </a:lnTo>
                  <a:lnTo>
                    <a:pt x="2859" y="2765"/>
                  </a:lnTo>
                  <a:lnTo>
                    <a:pt x="2859" y="2765"/>
                  </a:lnTo>
                  <a:lnTo>
                    <a:pt x="2859" y="2765"/>
                  </a:lnTo>
                  <a:lnTo>
                    <a:pt x="2854" y="2763"/>
                  </a:lnTo>
                  <a:lnTo>
                    <a:pt x="2854" y="2763"/>
                  </a:lnTo>
                  <a:lnTo>
                    <a:pt x="2852" y="2760"/>
                  </a:lnTo>
                  <a:lnTo>
                    <a:pt x="2852" y="2760"/>
                  </a:lnTo>
                  <a:lnTo>
                    <a:pt x="2854" y="2758"/>
                  </a:lnTo>
                  <a:lnTo>
                    <a:pt x="2852" y="2758"/>
                  </a:lnTo>
                  <a:lnTo>
                    <a:pt x="2852" y="2758"/>
                  </a:lnTo>
                  <a:lnTo>
                    <a:pt x="2852" y="2758"/>
                  </a:lnTo>
                  <a:lnTo>
                    <a:pt x="2852" y="2758"/>
                  </a:lnTo>
                  <a:lnTo>
                    <a:pt x="2852" y="2758"/>
                  </a:lnTo>
                  <a:lnTo>
                    <a:pt x="2849" y="2758"/>
                  </a:lnTo>
                  <a:lnTo>
                    <a:pt x="2849" y="2758"/>
                  </a:lnTo>
                  <a:lnTo>
                    <a:pt x="2847" y="2758"/>
                  </a:lnTo>
                  <a:lnTo>
                    <a:pt x="2847" y="2755"/>
                  </a:lnTo>
                  <a:lnTo>
                    <a:pt x="2847" y="2755"/>
                  </a:lnTo>
                  <a:lnTo>
                    <a:pt x="2847" y="2755"/>
                  </a:lnTo>
                  <a:lnTo>
                    <a:pt x="2847" y="2755"/>
                  </a:lnTo>
                  <a:lnTo>
                    <a:pt x="2849" y="2755"/>
                  </a:lnTo>
                  <a:lnTo>
                    <a:pt x="2849" y="2758"/>
                  </a:lnTo>
                  <a:lnTo>
                    <a:pt x="2849" y="2758"/>
                  </a:lnTo>
                  <a:lnTo>
                    <a:pt x="2849" y="2758"/>
                  </a:lnTo>
                  <a:lnTo>
                    <a:pt x="2849" y="2758"/>
                  </a:lnTo>
                  <a:lnTo>
                    <a:pt x="2849" y="2758"/>
                  </a:lnTo>
                  <a:lnTo>
                    <a:pt x="2849" y="2758"/>
                  </a:lnTo>
                  <a:lnTo>
                    <a:pt x="2849" y="2755"/>
                  </a:lnTo>
                  <a:lnTo>
                    <a:pt x="2849" y="2755"/>
                  </a:lnTo>
                  <a:lnTo>
                    <a:pt x="2852" y="2755"/>
                  </a:lnTo>
                  <a:lnTo>
                    <a:pt x="2854" y="2755"/>
                  </a:lnTo>
                  <a:lnTo>
                    <a:pt x="2854" y="2755"/>
                  </a:lnTo>
                  <a:lnTo>
                    <a:pt x="2854" y="2755"/>
                  </a:lnTo>
                  <a:lnTo>
                    <a:pt x="2854" y="2755"/>
                  </a:lnTo>
                  <a:lnTo>
                    <a:pt x="2854" y="2758"/>
                  </a:lnTo>
                  <a:lnTo>
                    <a:pt x="2854" y="2758"/>
                  </a:lnTo>
                  <a:lnTo>
                    <a:pt x="2856" y="2758"/>
                  </a:lnTo>
                  <a:lnTo>
                    <a:pt x="2856" y="2755"/>
                  </a:lnTo>
                  <a:lnTo>
                    <a:pt x="2859" y="2755"/>
                  </a:lnTo>
                  <a:lnTo>
                    <a:pt x="2859" y="2755"/>
                  </a:lnTo>
                  <a:lnTo>
                    <a:pt x="2859" y="2758"/>
                  </a:lnTo>
                  <a:lnTo>
                    <a:pt x="2861" y="2758"/>
                  </a:lnTo>
                  <a:lnTo>
                    <a:pt x="2861" y="2758"/>
                  </a:lnTo>
                  <a:lnTo>
                    <a:pt x="2859" y="2758"/>
                  </a:lnTo>
                  <a:lnTo>
                    <a:pt x="2859" y="2758"/>
                  </a:lnTo>
                  <a:lnTo>
                    <a:pt x="2861" y="2758"/>
                  </a:lnTo>
                  <a:lnTo>
                    <a:pt x="2861" y="2758"/>
                  </a:lnTo>
                  <a:lnTo>
                    <a:pt x="2866" y="2753"/>
                  </a:lnTo>
                  <a:lnTo>
                    <a:pt x="2866" y="2751"/>
                  </a:lnTo>
                  <a:lnTo>
                    <a:pt x="2866" y="2751"/>
                  </a:lnTo>
                  <a:lnTo>
                    <a:pt x="2868" y="2751"/>
                  </a:lnTo>
                  <a:lnTo>
                    <a:pt x="2868" y="2751"/>
                  </a:lnTo>
                  <a:lnTo>
                    <a:pt x="2868" y="2751"/>
                  </a:lnTo>
                  <a:lnTo>
                    <a:pt x="2868" y="2748"/>
                  </a:lnTo>
                  <a:lnTo>
                    <a:pt x="2868" y="2748"/>
                  </a:lnTo>
                  <a:lnTo>
                    <a:pt x="2868" y="2748"/>
                  </a:lnTo>
                  <a:lnTo>
                    <a:pt x="2868" y="2748"/>
                  </a:lnTo>
                  <a:lnTo>
                    <a:pt x="2868" y="2746"/>
                  </a:lnTo>
                  <a:lnTo>
                    <a:pt x="2868" y="2746"/>
                  </a:lnTo>
                  <a:lnTo>
                    <a:pt x="2868" y="2744"/>
                  </a:lnTo>
                  <a:lnTo>
                    <a:pt x="2868" y="2744"/>
                  </a:lnTo>
                  <a:lnTo>
                    <a:pt x="2868" y="2744"/>
                  </a:lnTo>
                  <a:lnTo>
                    <a:pt x="2868" y="2744"/>
                  </a:lnTo>
                  <a:lnTo>
                    <a:pt x="2868" y="2744"/>
                  </a:lnTo>
                  <a:lnTo>
                    <a:pt x="2868" y="2744"/>
                  </a:lnTo>
                  <a:lnTo>
                    <a:pt x="2868" y="2744"/>
                  </a:lnTo>
                  <a:lnTo>
                    <a:pt x="2868" y="2744"/>
                  </a:lnTo>
                  <a:lnTo>
                    <a:pt x="2868" y="2746"/>
                  </a:lnTo>
                  <a:lnTo>
                    <a:pt x="2866" y="2746"/>
                  </a:lnTo>
                  <a:lnTo>
                    <a:pt x="2866" y="2746"/>
                  </a:lnTo>
                  <a:lnTo>
                    <a:pt x="2866" y="2748"/>
                  </a:lnTo>
                  <a:lnTo>
                    <a:pt x="2863" y="2748"/>
                  </a:lnTo>
                  <a:lnTo>
                    <a:pt x="2863" y="2748"/>
                  </a:lnTo>
                  <a:lnTo>
                    <a:pt x="2863" y="2748"/>
                  </a:lnTo>
                  <a:lnTo>
                    <a:pt x="2863" y="2748"/>
                  </a:lnTo>
                  <a:lnTo>
                    <a:pt x="2863" y="2748"/>
                  </a:lnTo>
                  <a:lnTo>
                    <a:pt x="2863" y="2748"/>
                  </a:lnTo>
                  <a:lnTo>
                    <a:pt x="2863" y="2748"/>
                  </a:lnTo>
                  <a:lnTo>
                    <a:pt x="2863" y="2748"/>
                  </a:lnTo>
                  <a:lnTo>
                    <a:pt x="2863" y="2746"/>
                  </a:lnTo>
                  <a:lnTo>
                    <a:pt x="2861" y="2746"/>
                  </a:lnTo>
                  <a:lnTo>
                    <a:pt x="2861" y="2746"/>
                  </a:lnTo>
                  <a:lnTo>
                    <a:pt x="2861" y="2746"/>
                  </a:lnTo>
                  <a:lnTo>
                    <a:pt x="2861" y="2746"/>
                  </a:lnTo>
                  <a:lnTo>
                    <a:pt x="2863" y="2744"/>
                  </a:lnTo>
                  <a:lnTo>
                    <a:pt x="2861" y="2744"/>
                  </a:lnTo>
                  <a:lnTo>
                    <a:pt x="2861" y="2741"/>
                  </a:lnTo>
                  <a:lnTo>
                    <a:pt x="2861" y="2741"/>
                  </a:lnTo>
                  <a:lnTo>
                    <a:pt x="2863" y="2741"/>
                  </a:lnTo>
                  <a:lnTo>
                    <a:pt x="2863" y="2741"/>
                  </a:lnTo>
                  <a:lnTo>
                    <a:pt x="2863" y="2741"/>
                  </a:lnTo>
                  <a:lnTo>
                    <a:pt x="2863" y="2741"/>
                  </a:lnTo>
                  <a:lnTo>
                    <a:pt x="2863" y="2741"/>
                  </a:lnTo>
                  <a:lnTo>
                    <a:pt x="2866" y="2741"/>
                  </a:lnTo>
                  <a:lnTo>
                    <a:pt x="2866" y="2741"/>
                  </a:lnTo>
                  <a:lnTo>
                    <a:pt x="2868" y="2739"/>
                  </a:lnTo>
                  <a:lnTo>
                    <a:pt x="2868" y="2739"/>
                  </a:lnTo>
                  <a:lnTo>
                    <a:pt x="2868" y="2739"/>
                  </a:lnTo>
                  <a:lnTo>
                    <a:pt x="2870" y="2739"/>
                  </a:lnTo>
                  <a:lnTo>
                    <a:pt x="2868" y="2741"/>
                  </a:lnTo>
                  <a:lnTo>
                    <a:pt x="2870" y="2741"/>
                  </a:lnTo>
                  <a:lnTo>
                    <a:pt x="2870" y="2741"/>
                  </a:lnTo>
                  <a:lnTo>
                    <a:pt x="2868" y="2741"/>
                  </a:lnTo>
                  <a:lnTo>
                    <a:pt x="2868" y="2741"/>
                  </a:lnTo>
                  <a:lnTo>
                    <a:pt x="2868" y="2744"/>
                  </a:lnTo>
                  <a:lnTo>
                    <a:pt x="2870" y="2744"/>
                  </a:lnTo>
                  <a:lnTo>
                    <a:pt x="2870" y="2744"/>
                  </a:lnTo>
                  <a:lnTo>
                    <a:pt x="2870" y="2741"/>
                  </a:lnTo>
                  <a:lnTo>
                    <a:pt x="2873" y="2741"/>
                  </a:lnTo>
                  <a:lnTo>
                    <a:pt x="2873" y="2739"/>
                  </a:lnTo>
                  <a:lnTo>
                    <a:pt x="2873" y="2739"/>
                  </a:lnTo>
                  <a:lnTo>
                    <a:pt x="2870" y="2739"/>
                  </a:lnTo>
                  <a:lnTo>
                    <a:pt x="2873" y="2737"/>
                  </a:lnTo>
                  <a:lnTo>
                    <a:pt x="2873" y="2737"/>
                  </a:lnTo>
                  <a:lnTo>
                    <a:pt x="2873" y="2737"/>
                  </a:lnTo>
                  <a:lnTo>
                    <a:pt x="2873" y="2737"/>
                  </a:lnTo>
                  <a:lnTo>
                    <a:pt x="2873" y="2737"/>
                  </a:lnTo>
                  <a:lnTo>
                    <a:pt x="2873" y="2739"/>
                  </a:lnTo>
                  <a:lnTo>
                    <a:pt x="2873" y="2739"/>
                  </a:lnTo>
                  <a:lnTo>
                    <a:pt x="2873" y="2741"/>
                  </a:lnTo>
                  <a:lnTo>
                    <a:pt x="2873" y="2741"/>
                  </a:lnTo>
                  <a:lnTo>
                    <a:pt x="2873" y="2744"/>
                  </a:lnTo>
                  <a:lnTo>
                    <a:pt x="2873" y="2744"/>
                  </a:lnTo>
                  <a:lnTo>
                    <a:pt x="2875" y="2741"/>
                  </a:lnTo>
                  <a:lnTo>
                    <a:pt x="2875" y="2741"/>
                  </a:lnTo>
                  <a:lnTo>
                    <a:pt x="2878" y="2739"/>
                  </a:lnTo>
                  <a:lnTo>
                    <a:pt x="2878" y="2739"/>
                  </a:lnTo>
                  <a:lnTo>
                    <a:pt x="2880" y="2737"/>
                  </a:lnTo>
                  <a:lnTo>
                    <a:pt x="2880" y="2737"/>
                  </a:lnTo>
                  <a:lnTo>
                    <a:pt x="2878" y="2734"/>
                  </a:lnTo>
                  <a:lnTo>
                    <a:pt x="2878" y="2734"/>
                  </a:lnTo>
                  <a:lnTo>
                    <a:pt x="2880" y="2734"/>
                  </a:lnTo>
                  <a:lnTo>
                    <a:pt x="2880" y="2732"/>
                  </a:lnTo>
                  <a:lnTo>
                    <a:pt x="2878" y="2732"/>
                  </a:lnTo>
                  <a:lnTo>
                    <a:pt x="2878" y="2729"/>
                  </a:lnTo>
                  <a:lnTo>
                    <a:pt x="2875" y="2729"/>
                  </a:lnTo>
                  <a:lnTo>
                    <a:pt x="2878" y="2727"/>
                  </a:lnTo>
                  <a:lnTo>
                    <a:pt x="2878" y="2727"/>
                  </a:lnTo>
                  <a:lnTo>
                    <a:pt x="2878" y="2729"/>
                  </a:lnTo>
                  <a:lnTo>
                    <a:pt x="2880" y="2729"/>
                  </a:lnTo>
                  <a:lnTo>
                    <a:pt x="2880" y="2729"/>
                  </a:lnTo>
                  <a:lnTo>
                    <a:pt x="2880" y="2727"/>
                  </a:lnTo>
                  <a:lnTo>
                    <a:pt x="2880" y="2727"/>
                  </a:lnTo>
                  <a:lnTo>
                    <a:pt x="2878" y="2727"/>
                  </a:lnTo>
                  <a:lnTo>
                    <a:pt x="2878" y="2727"/>
                  </a:lnTo>
                  <a:lnTo>
                    <a:pt x="2878" y="2727"/>
                  </a:lnTo>
                  <a:lnTo>
                    <a:pt x="2878" y="2725"/>
                  </a:lnTo>
                  <a:lnTo>
                    <a:pt x="2878" y="2725"/>
                  </a:lnTo>
                  <a:lnTo>
                    <a:pt x="2878" y="2725"/>
                  </a:lnTo>
                  <a:lnTo>
                    <a:pt x="2880" y="2725"/>
                  </a:lnTo>
                  <a:lnTo>
                    <a:pt x="2880" y="2727"/>
                  </a:lnTo>
                  <a:lnTo>
                    <a:pt x="2880" y="2727"/>
                  </a:lnTo>
                  <a:lnTo>
                    <a:pt x="2880" y="2727"/>
                  </a:lnTo>
                  <a:lnTo>
                    <a:pt x="2880" y="2727"/>
                  </a:lnTo>
                  <a:lnTo>
                    <a:pt x="2880" y="2727"/>
                  </a:lnTo>
                  <a:lnTo>
                    <a:pt x="2880" y="2727"/>
                  </a:lnTo>
                  <a:lnTo>
                    <a:pt x="2880" y="2729"/>
                  </a:lnTo>
                  <a:lnTo>
                    <a:pt x="2882" y="2729"/>
                  </a:lnTo>
                  <a:lnTo>
                    <a:pt x="2882" y="2729"/>
                  </a:lnTo>
                  <a:lnTo>
                    <a:pt x="2882" y="2729"/>
                  </a:lnTo>
                  <a:lnTo>
                    <a:pt x="2882" y="2729"/>
                  </a:lnTo>
                  <a:lnTo>
                    <a:pt x="2882" y="2732"/>
                  </a:lnTo>
                  <a:lnTo>
                    <a:pt x="2882" y="2732"/>
                  </a:lnTo>
                  <a:lnTo>
                    <a:pt x="2882" y="2732"/>
                  </a:lnTo>
                  <a:lnTo>
                    <a:pt x="2885" y="2732"/>
                  </a:lnTo>
                  <a:lnTo>
                    <a:pt x="2885" y="2732"/>
                  </a:lnTo>
                  <a:lnTo>
                    <a:pt x="2889" y="2729"/>
                  </a:lnTo>
                  <a:lnTo>
                    <a:pt x="2889" y="2729"/>
                  </a:lnTo>
                  <a:lnTo>
                    <a:pt x="2892" y="2729"/>
                  </a:lnTo>
                  <a:lnTo>
                    <a:pt x="2892" y="2729"/>
                  </a:lnTo>
                  <a:lnTo>
                    <a:pt x="2897" y="2727"/>
                  </a:lnTo>
                  <a:lnTo>
                    <a:pt x="2897" y="2725"/>
                  </a:lnTo>
                  <a:lnTo>
                    <a:pt x="2894" y="2725"/>
                  </a:lnTo>
                  <a:lnTo>
                    <a:pt x="2892" y="2725"/>
                  </a:lnTo>
                  <a:lnTo>
                    <a:pt x="2892" y="2725"/>
                  </a:lnTo>
                  <a:lnTo>
                    <a:pt x="2892" y="2725"/>
                  </a:lnTo>
                  <a:lnTo>
                    <a:pt x="2889" y="2725"/>
                  </a:lnTo>
                  <a:lnTo>
                    <a:pt x="2889" y="2725"/>
                  </a:lnTo>
                  <a:lnTo>
                    <a:pt x="2889" y="2725"/>
                  </a:lnTo>
                  <a:lnTo>
                    <a:pt x="2889" y="2725"/>
                  </a:lnTo>
                  <a:lnTo>
                    <a:pt x="2892" y="2722"/>
                  </a:lnTo>
                  <a:lnTo>
                    <a:pt x="2892" y="2722"/>
                  </a:lnTo>
                  <a:lnTo>
                    <a:pt x="2892" y="2722"/>
                  </a:lnTo>
                  <a:lnTo>
                    <a:pt x="2892" y="2722"/>
                  </a:lnTo>
                  <a:lnTo>
                    <a:pt x="2892" y="2720"/>
                  </a:lnTo>
                  <a:lnTo>
                    <a:pt x="2889" y="2720"/>
                  </a:lnTo>
                  <a:lnTo>
                    <a:pt x="2889" y="2720"/>
                  </a:lnTo>
                  <a:lnTo>
                    <a:pt x="2887" y="2720"/>
                  </a:lnTo>
                  <a:lnTo>
                    <a:pt x="2887" y="2720"/>
                  </a:lnTo>
                  <a:lnTo>
                    <a:pt x="2887" y="2720"/>
                  </a:lnTo>
                  <a:lnTo>
                    <a:pt x="2887" y="2720"/>
                  </a:lnTo>
                  <a:lnTo>
                    <a:pt x="2887" y="2720"/>
                  </a:lnTo>
                  <a:lnTo>
                    <a:pt x="2887" y="2718"/>
                  </a:lnTo>
                  <a:lnTo>
                    <a:pt x="2887" y="2718"/>
                  </a:lnTo>
                  <a:lnTo>
                    <a:pt x="2887" y="2718"/>
                  </a:lnTo>
                  <a:lnTo>
                    <a:pt x="2887" y="2718"/>
                  </a:lnTo>
                  <a:lnTo>
                    <a:pt x="2885" y="2715"/>
                  </a:lnTo>
                  <a:lnTo>
                    <a:pt x="2885" y="2715"/>
                  </a:lnTo>
                  <a:lnTo>
                    <a:pt x="2885" y="2713"/>
                  </a:lnTo>
                  <a:lnTo>
                    <a:pt x="2885" y="2713"/>
                  </a:lnTo>
                  <a:lnTo>
                    <a:pt x="2885" y="2713"/>
                  </a:lnTo>
                  <a:lnTo>
                    <a:pt x="2885" y="2713"/>
                  </a:lnTo>
                  <a:lnTo>
                    <a:pt x="2885" y="2713"/>
                  </a:lnTo>
                  <a:lnTo>
                    <a:pt x="2887" y="2713"/>
                  </a:lnTo>
                  <a:lnTo>
                    <a:pt x="2887" y="2713"/>
                  </a:lnTo>
                  <a:lnTo>
                    <a:pt x="2887" y="2713"/>
                  </a:lnTo>
                  <a:lnTo>
                    <a:pt x="2887" y="2713"/>
                  </a:lnTo>
                  <a:lnTo>
                    <a:pt x="2887" y="2713"/>
                  </a:lnTo>
                  <a:lnTo>
                    <a:pt x="2889" y="2713"/>
                  </a:lnTo>
                  <a:lnTo>
                    <a:pt x="2889" y="2715"/>
                  </a:lnTo>
                  <a:lnTo>
                    <a:pt x="2889" y="2715"/>
                  </a:lnTo>
                  <a:lnTo>
                    <a:pt x="2889" y="2715"/>
                  </a:lnTo>
                  <a:lnTo>
                    <a:pt x="2889" y="2715"/>
                  </a:lnTo>
                  <a:lnTo>
                    <a:pt x="2889" y="2715"/>
                  </a:lnTo>
                  <a:lnTo>
                    <a:pt x="2889" y="2715"/>
                  </a:lnTo>
                  <a:lnTo>
                    <a:pt x="2889" y="2715"/>
                  </a:lnTo>
                  <a:lnTo>
                    <a:pt x="2889" y="2715"/>
                  </a:lnTo>
                  <a:lnTo>
                    <a:pt x="2889" y="2715"/>
                  </a:lnTo>
                  <a:lnTo>
                    <a:pt x="2889" y="2718"/>
                  </a:lnTo>
                  <a:lnTo>
                    <a:pt x="2892" y="2715"/>
                  </a:lnTo>
                  <a:lnTo>
                    <a:pt x="2892" y="2715"/>
                  </a:lnTo>
                  <a:lnTo>
                    <a:pt x="2892" y="2718"/>
                  </a:lnTo>
                  <a:lnTo>
                    <a:pt x="2892" y="2718"/>
                  </a:lnTo>
                  <a:lnTo>
                    <a:pt x="2894" y="2718"/>
                  </a:lnTo>
                  <a:lnTo>
                    <a:pt x="2894" y="2718"/>
                  </a:lnTo>
                  <a:lnTo>
                    <a:pt x="2894" y="2718"/>
                  </a:lnTo>
                  <a:lnTo>
                    <a:pt x="2894" y="2720"/>
                  </a:lnTo>
                  <a:lnTo>
                    <a:pt x="2892" y="2720"/>
                  </a:lnTo>
                  <a:lnTo>
                    <a:pt x="2892" y="2720"/>
                  </a:lnTo>
                  <a:lnTo>
                    <a:pt x="2894" y="2720"/>
                  </a:lnTo>
                  <a:lnTo>
                    <a:pt x="2894" y="2718"/>
                  </a:lnTo>
                  <a:lnTo>
                    <a:pt x="2897" y="2718"/>
                  </a:lnTo>
                  <a:lnTo>
                    <a:pt x="2897" y="2718"/>
                  </a:lnTo>
                  <a:lnTo>
                    <a:pt x="2894" y="2715"/>
                  </a:lnTo>
                  <a:lnTo>
                    <a:pt x="2894" y="2715"/>
                  </a:lnTo>
                  <a:lnTo>
                    <a:pt x="2894" y="2715"/>
                  </a:lnTo>
                  <a:lnTo>
                    <a:pt x="2894" y="2715"/>
                  </a:lnTo>
                  <a:lnTo>
                    <a:pt x="2894" y="2715"/>
                  </a:lnTo>
                  <a:lnTo>
                    <a:pt x="2894" y="2713"/>
                  </a:lnTo>
                  <a:lnTo>
                    <a:pt x="2894" y="2713"/>
                  </a:lnTo>
                  <a:lnTo>
                    <a:pt x="2897" y="2713"/>
                  </a:lnTo>
                  <a:lnTo>
                    <a:pt x="2897" y="2713"/>
                  </a:lnTo>
                  <a:lnTo>
                    <a:pt x="2897" y="2713"/>
                  </a:lnTo>
                  <a:lnTo>
                    <a:pt x="2897" y="2713"/>
                  </a:lnTo>
                  <a:lnTo>
                    <a:pt x="2894" y="2713"/>
                  </a:lnTo>
                  <a:lnTo>
                    <a:pt x="2894" y="2713"/>
                  </a:lnTo>
                  <a:lnTo>
                    <a:pt x="2894" y="2713"/>
                  </a:lnTo>
                  <a:lnTo>
                    <a:pt x="2894" y="2713"/>
                  </a:lnTo>
                  <a:lnTo>
                    <a:pt x="2894" y="2713"/>
                  </a:lnTo>
                  <a:lnTo>
                    <a:pt x="2894" y="2710"/>
                  </a:lnTo>
                  <a:lnTo>
                    <a:pt x="2894" y="2710"/>
                  </a:lnTo>
                  <a:lnTo>
                    <a:pt x="2894" y="2710"/>
                  </a:lnTo>
                  <a:lnTo>
                    <a:pt x="2894" y="2710"/>
                  </a:lnTo>
                  <a:lnTo>
                    <a:pt x="2894" y="2713"/>
                  </a:lnTo>
                  <a:lnTo>
                    <a:pt x="2894" y="2710"/>
                  </a:lnTo>
                  <a:lnTo>
                    <a:pt x="2897" y="2710"/>
                  </a:lnTo>
                  <a:lnTo>
                    <a:pt x="2897" y="2710"/>
                  </a:lnTo>
                  <a:lnTo>
                    <a:pt x="2897" y="2713"/>
                  </a:lnTo>
                  <a:lnTo>
                    <a:pt x="2897" y="2713"/>
                  </a:lnTo>
                  <a:lnTo>
                    <a:pt x="2897" y="2713"/>
                  </a:lnTo>
                  <a:lnTo>
                    <a:pt x="2897" y="2713"/>
                  </a:lnTo>
                  <a:lnTo>
                    <a:pt x="2897" y="2715"/>
                  </a:lnTo>
                  <a:lnTo>
                    <a:pt x="2899" y="2715"/>
                  </a:lnTo>
                  <a:lnTo>
                    <a:pt x="2899" y="2715"/>
                  </a:lnTo>
                  <a:lnTo>
                    <a:pt x="2899" y="2715"/>
                  </a:lnTo>
                  <a:lnTo>
                    <a:pt x="2899" y="2718"/>
                  </a:lnTo>
                  <a:lnTo>
                    <a:pt x="2899" y="2715"/>
                  </a:lnTo>
                  <a:lnTo>
                    <a:pt x="2899" y="2715"/>
                  </a:lnTo>
                  <a:lnTo>
                    <a:pt x="2901" y="2715"/>
                  </a:lnTo>
                  <a:lnTo>
                    <a:pt x="2901" y="2713"/>
                  </a:lnTo>
                  <a:lnTo>
                    <a:pt x="2901" y="2715"/>
                  </a:lnTo>
                  <a:lnTo>
                    <a:pt x="2904" y="2713"/>
                  </a:lnTo>
                  <a:lnTo>
                    <a:pt x="2904" y="2713"/>
                  </a:lnTo>
                  <a:lnTo>
                    <a:pt x="2904" y="2713"/>
                  </a:lnTo>
                  <a:lnTo>
                    <a:pt x="2906" y="2713"/>
                  </a:lnTo>
                  <a:lnTo>
                    <a:pt x="2906" y="2713"/>
                  </a:lnTo>
                  <a:lnTo>
                    <a:pt x="2906" y="2713"/>
                  </a:lnTo>
                  <a:lnTo>
                    <a:pt x="2904" y="2715"/>
                  </a:lnTo>
                  <a:lnTo>
                    <a:pt x="2904" y="2715"/>
                  </a:lnTo>
                  <a:lnTo>
                    <a:pt x="2904" y="2718"/>
                  </a:lnTo>
                  <a:lnTo>
                    <a:pt x="2906" y="2718"/>
                  </a:lnTo>
                  <a:lnTo>
                    <a:pt x="2906" y="2718"/>
                  </a:lnTo>
                  <a:lnTo>
                    <a:pt x="2906" y="2715"/>
                  </a:lnTo>
                  <a:lnTo>
                    <a:pt x="2906" y="2715"/>
                  </a:lnTo>
                  <a:lnTo>
                    <a:pt x="2908" y="2715"/>
                  </a:lnTo>
                  <a:lnTo>
                    <a:pt x="2908" y="2718"/>
                  </a:lnTo>
                  <a:lnTo>
                    <a:pt x="2908" y="2718"/>
                  </a:lnTo>
                  <a:lnTo>
                    <a:pt x="2906" y="2718"/>
                  </a:lnTo>
                  <a:lnTo>
                    <a:pt x="2904" y="2718"/>
                  </a:lnTo>
                  <a:lnTo>
                    <a:pt x="2904" y="2718"/>
                  </a:lnTo>
                  <a:lnTo>
                    <a:pt x="2904" y="2718"/>
                  </a:lnTo>
                  <a:lnTo>
                    <a:pt x="2904" y="2718"/>
                  </a:lnTo>
                  <a:lnTo>
                    <a:pt x="2906" y="2718"/>
                  </a:lnTo>
                  <a:lnTo>
                    <a:pt x="2908" y="2718"/>
                  </a:lnTo>
                  <a:lnTo>
                    <a:pt x="2911" y="2718"/>
                  </a:lnTo>
                  <a:lnTo>
                    <a:pt x="2911" y="2715"/>
                  </a:lnTo>
                  <a:lnTo>
                    <a:pt x="2913" y="2715"/>
                  </a:lnTo>
                  <a:lnTo>
                    <a:pt x="2913" y="2715"/>
                  </a:lnTo>
                  <a:lnTo>
                    <a:pt x="2913" y="2715"/>
                  </a:lnTo>
                  <a:lnTo>
                    <a:pt x="2915" y="2715"/>
                  </a:lnTo>
                  <a:lnTo>
                    <a:pt x="2915" y="2718"/>
                  </a:lnTo>
                  <a:lnTo>
                    <a:pt x="2913" y="2718"/>
                  </a:lnTo>
                  <a:lnTo>
                    <a:pt x="2913" y="2718"/>
                  </a:lnTo>
                  <a:lnTo>
                    <a:pt x="2906" y="2722"/>
                  </a:lnTo>
                  <a:lnTo>
                    <a:pt x="2906" y="2722"/>
                  </a:lnTo>
                  <a:lnTo>
                    <a:pt x="2904" y="2725"/>
                  </a:lnTo>
                  <a:lnTo>
                    <a:pt x="2906" y="2722"/>
                  </a:lnTo>
                  <a:lnTo>
                    <a:pt x="2908" y="2722"/>
                  </a:lnTo>
                  <a:lnTo>
                    <a:pt x="2911" y="2720"/>
                  </a:lnTo>
                  <a:lnTo>
                    <a:pt x="2913" y="2718"/>
                  </a:lnTo>
                  <a:lnTo>
                    <a:pt x="2918" y="2718"/>
                  </a:lnTo>
                  <a:lnTo>
                    <a:pt x="2920" y="2715"/>
                  </a:lnTo>
                  <a:lnTo>
                    <a:pt x="2925" y="2710"/>
                  </a:lnTo>
                  <a:lnTo>
                    <a:pt x="2925" y="2710"/>
                  </a:lnTo>
                  <a:lnTo>
                    <a:pt x="2923" y="2713"/>
                  </a:lnTo>
                  <a:lnTo>
                    <a:pt x="2918" y="2715"/>
                  </a:lnTo>
                  <a:lnTo>
                    <a:pt x="2918" y="2715"/>
                  </a:lnTo>
                  <a:lnTo>
                    <a:pt x="2915" y="2715"/>
                  </a:lnTo>
                  <a:lnTo>
                    <a:pt x="2915" y="2715"/>
                  </a:lnTo>
                  <a:lnTo>
                    <a:pt x="2915" y="2715"/>
                  </a:lnTo>
                  <a:lnTo>
                    <a:pt x="2915" y="2715"/>
                  </a:lnTo>
                  <a:lnTo>
                    <a:pt x="2915" y="2715"/>
                  </a:lnTo>
                  <a:lnTo>
                    <a:pt x="2915" y="2715"/>
                  </a:lnTo>
                  <a:lnTo>
                    <a:pt x="2915" y="2715"/>
                  </a:lnTo>
                  <a:lnTo>
                    <a:pt x="2915" y="2715"/>
                  </a:lnTo>
                  <a:lnTo>
                    <a:pt x="2915" y="2713"/>
                  </a:lnTo>
                  <a:lnTo>
                    <a:pt x="2915" y="2713"/>
                  </a:lnTo>
                  <a:lnTo>
                    <a:pt x="2923" y="2710"/>
                  </a:lnTo>
                  <a:lnTo>
                    <a:pt x="2923" y="2710"/>
                  </a:lnTo>
                  <a:lnTo>
                    <a:pt x="2925" y="2710"/>
                  </a:lnTo>
                  <a:lnTo>
                    <a:pt x="2927" y="2710"/>
                  </a:lnTo>
                  <a:lnTo>
                    <a:pt x="2930" y="2710"/>
                  </a:lnTo>
                  <a:lnTo>
                    <a:pt x="2932" y="2708"/>
                  </a:lnTo>
                  <a:lnTo>
                    <a:pt x="2937" y="2706"/>
                  </a:lnTo>
                  <a:lnTo>
                    <a:pt x="2939" y="2703"/>
                  </a:lnTo>
                  <a:lnTo>
                    <a:pt x="2939" y="2703"/>
                  </a:lnTo>
                  <a:lnTo>
                    <a:pt x="2941" y="2703"/>
                  </a:lnTo>
                  <a:lnTo>
                    <a:pt x="2941" y="2701"/>
                  </a:lnTo>
                  <a:lnTo>
                    <a:pt x="2944" y="2701"/>
                  </a:lnTo>
                  <a:lnTo>
                    <a:pt x="2946" y="2696"/>
                  </a:lnTo>
                  <a:lnTo>
                    <a:pt x="2946" y="2696"/>
                  </a:lnTo>
                  <a:lnTo>
                    <a:pt x="2951" y="2694"/>
                  </a:lnTo>
                  <a:lnTo>
                    <a:pt x="2951" y="2694"/>
                  </a:lnTo>
                  <a:lnTo>
                    <a:pt x="2951" y="2692"/>
                  </a:lnTo>
                  <a:lnTo>
                    <a:pt x="2951" y="2692"/>
                  </a:lnTo>
                  <a:lnTo>
                    <a:pt x="2951" y="2689"/>
                  </a:lnTo>
                  <a:lnTo>
                    <a:pt x="2951" y="2689"/>
                  </a:lnTo>
                  <a:lnTo>
                    <a:pt x="2951" y="2687"/>
                  </a:lnTo>
                  <a:lnTo>
                    <a:pt x="2949" y="2687"/>
                  </a:lnTo>
                  <a:lnTo>
                    <a:pt x="2949" y="2684"/>
                  </a:lnTo>
                  <a:lnTo>
                    <a:pt x="2951" y="2687"/>
                  </a:lnTo>
                  <a:lnTo>
                    <a:pt x="2951" y="2687"/>
                  </a:lnTo>
                  <a:lnTo>
                    <a:pt x="2951" y="2687"/>
                  </a:lnTo>
                  <a:lnTo>
                    <a:pt x="2951" y="2687"/>
                  </a:lnTo>
                  <a:lnTo>
                    <a:pt x="2953" y="2687"/>
                  </a:lnTo>
                  <a:lnTo>
                    <a:pt x="2953" y="2684"/>
                  </a:lnTo>
                  <a:lnTo>
                    <a:pt x="2956" y="2682"/>
                  </a:lnTo>
                  <a:lnTo>
                    <a:pt x="2956" y="2682"/>
                  </a:lnTo>
                  <a:lnTo>
                    <a:pt x="2956" y="2682"/>
                  </a:lnTo>
                  <a:lnTo>
                    <a:pt x="2956" y="2682"/>
                  </a:lnTo>
                  <a:lnTo>
                    <a:pt x="2958" y="2682"/>
                  </a:lnTo>
                  <a:lnTo>
                    <a:pt x="2958" y="2682"/>
                  </a:lnTo>
                  <a:lnTo>
                    <a:pt x="2958" y="2682"/>
                  </a:lnTo>
                  <a:lnTo>
                    <a:pt x="2958" y="2680"/>
                  </a:lnTo>
                  <a:lnTo>
                    <a:pt x="2958" y="2680"/>
                  </a:lnTo>
                  <a:lnTo>
                    <a:pt x="2958" y="2680"/>
                  </a:lnTo>
                  <a:lnTo>
                    <a:pt x="2958" y="2680"/>
                  </a:lnTo>
                  <a:lnTo>
                    <a:pt x="2960" y="2680"/>
                  </a:lnTo>
                  <a:lnTo>
                    <a:pt x="2960" y="2680"/>
                  </a:lnTo>
                  <a:lnTo>
                    <a:pt x="2960" y="2680"/>
                  </a:lnTo>
                  <a:lnTo>
                    <a:pt x="2960" y="2677"/>
                  </a:lnTo>
                  <a:lnTo>
                    <a:pt x="2960" y="2677"/>
                  </a:lnTo>
                  <a:lnTo>
                    <a:pt x="2963" y="2677"/>
                  </a:lnTo>
                  <a:lnTo>
                    <a:pt x="2963" y="2677"/>
                  </a:lnTo>
                  <a:lnTo>
                    <a:pt x="2963" y="2677"/>
                  </a:lnTo>
                  <a:lnTo>
                    <a:pt x="2965" y="2677"/>
                  </a:lnTo>
                  <a:lnTo>
                    <a:pt x="2965" y="2677"/>
                  </a:lnTo>
                  <a:lnTo>
                    <a:pt x="2965" y="2677"/>
                  </a:lnTo>
                  <a:lnTo>
                    <a:pt x="2965" y="2677"/>
                  </a:lnTo>
                  <a:lnTo>
                    <a:pt x="2963" y="2675"/>
                  </a:lnTo>
                  <a:lnTo>
                    <a:pt x="2963" y="2675"/>
                  </a:lnTo>
                  <a:lnTo>
                    <a:pt x="2960" y="2675"/>
                  </a:lnTo>
                  <a:lnTo>
                    <a:pt x="2960" y="2673"/>
                  </a:lnTo>
                  <a:lnTo>
                    <a:pt x="2960" y="2673"/>
                  </a:lnTo>
                  <a:lnTo>
                    <a:pt x="2960" y="2673"/>
                  </a:lnTo>
                  <a:lnTo>
                    <a:pt x="2960" y="2673"/>
                  </a:lnTo>
                  <a:lnTo>
                    <a:pt x="2960" y="2673"/>
                  </a:lnTo>
                  <a:lnTo>
                    <a:pt x="2960" y="2673"/>
                  </a:lnTo>
                  <a:lnTo>
                    <a:pt x="2960" y="2673"/>
                  </a:lnTo>
                  <a:lnTo>
                    <a:pt x="2960" y="2675"/>
                  </a:lnTo>
                  <a:lnTo>
                    <a:pt x="2960" y="2675"/>
                  </a:lnTo>
                  <a:lnTo>
                    <a:pt x="2958" y="2675"/>
                  </a:lnTo>
                  <a:lnTo>
                    <a:pt x="2958" y="2673"/>
                  </a:lnTo>
                  <a:lnTo>
                    <a:pt x="2958" y="2673"/>
                  </a:lnTo>
                  <a:lnTo>
                    <a:pt x="2958" y="2673"/>
                  </a:lnTo>
                  <a:lnTo>
                    <a:pt x="2958" y="2673"/>
                  </a:lnTo>
                  <a:lnTo>
                    <a:pt x="2958" y="2673"/>
                  </a:lnTo>
                  <a:lnTo>
                    <a:pt x="2958" y="2670"/>
                  </a:lnTo>
                  <a:lnTo>
                    <a:pt x="2960" y="2673"/>
                  </a:lnTo>
                  <a:lnTo>
                    <a:pt x="2960" y="2670"/>
                  </a:lnTo>
                  <a:lnTo>
                    <a:pt x="2960" y="2670"/>
                  </a:lnTo>
                  <a:lnTo>
                    <a:pt x="2958" y="2670"/>
                  </a:lnTo>
                  <a:lnTo>
                    <a:pt x="2956" y="2668"/>
                  </a:lnTo>
                  <a:lnTo>
                    <a:pt x="2956" y="2668"/>
                  </a:lnTo>
                  <a:lnTo>
                    <a:pt x="2956" y="2666"/>
                  </a:lnTo>
                  <a:lnTo>
                    <a:pt x="2956" y="2666"/>
                  </a:lnTo>
                  <a:lnTo>
                    <a:pt x="2956" y="2666"/>
                  </a:lnTo>
                  <a:lnTo>
                    <a:pt x="2956" y="2663"/>
                  </a:lnTo>
                  <a:lnTo>
                    <a:pt x="2956" y="2663"/>
                  </a:lnTo>
                  <a:lnTo>
                    <a:pt x="2956" y="2663"/>
                  </a:lnTo>
                  <a:lnTo>
                    <a:pt x="2956" y="2661"/>
                  </a:lnTo>
                  <a:lnTo>
                    <a:pt x="2956" y="2661"/>
                  </a:lnTo>
                  <a:lnTo>
                    <a:pt x="2956" y="2661"/>
                  </a:lnTo>
                  <a:lnTo>
                    <a:pt x="2956" y="2661"/>
                  </a:lnTo>
                  <a:lnTo>
                    <a:pt x="2956" y="2661"/>
                  </a:lnTo>
                  <a:lnTo>
                    <a:pt x="2953" y="2661"/>
                  </a:lnTo>
                  <a:lnTo>
                    <a:pt x="2953" y="2661"/>
                  </a:lnTo>
                  <a:lnTo>
                    <a:pt x="2953" y="2661"/>
                  </a:lnTo>
                  <a:lnTo>
                    <a:pt x="2953" y="2658"/>
                  </a:lnTo>
                  <a:lnTo>
                    <a:pt x="2953" y="2658"/>
                  </a:lnTo>
                  <a:lnTo>
                    <a:pt x="2956" y="2658"/>
                  </a:lnTo>
                  <a:lnTo>
                    <a:pt x="2956" y="2658"/>
                  </a:lnTo>
                  <a:lnTo>
                    <a:pt x="2956" y="2658"/>
                  </a:lnTo>
                  <a:lnTo>
                    <a:pt x="2958" y="2661"/>
                  </a:lnTo>
                  <a:lnTo>
                    <a:pt x="2958" y="2661"/>
                  </a:lnTo>
                  <a:lnTo>
                    <a:pt x="2958" y="2661"/>
                  </a:lnTo>
                  <a:lnTo>
                    <a:pt x="2958" y="2661"/>
                  </a:lnTo>
                  <a:lnTo>
                    <a:pt x="2960" y="2663"/>
                  </a:lnTo>
                  <a:lnTo>
                    <a:pt x="2960" y="2663"/>
                  </a:lnTo>
                  <a:lnTo>
                    <a:pt x="2960" y="2661"/>
                  </a:lnTo>
                  <a:lnTo>
                    <a:pt x="2963" y="2661"/>
                  </a:lnTo>
                  <a:lnTo>
                    <a:pt x="2963" y="2658"/>
                  </a:lnTo>
                  <a:lnTo>
                    <a:pt x="2963" y="2658"/>
                  </a:lnTo>
                  <a:lnTo>
                    <a:pt x="2963" y="2656"/>
                  </a:lnTo>
                  <a:lnTo>
                    <a:pt x="2965" y="2656"/>
                  </a:lnTo>
                  <a:lnTo>
                    <a:pt x="2965" y="2656"/>
                  </a:lnTo>
                  <a:lnTo>
                    <a:pt x="2965" y="2656"/>
                  </a:lnTo>
                  <a:lnTo>
                    <a:pt x="2965" y="2656"/>
                  </a:lnTo>
                  <a:lnTo>
                    <a:pt x="2968" y="2656"/>
                  </a:lnTo>
                  <a:lnTo>
                    <a:pt x="2968" y="2656"/>
                  </a:lnTo>
                  <a:lnTo>
                    <a:pt x="2968" y="2656"/>
                  </a:lnTo>
                  <a:lnTo>
                    <a:pt x="2968" y="2656"/>
                  </a:lnTo>
                  <a:lnTo>
                    <a:pt x="2970" y="2656"/>
                  </a:lnTo>
                  <a:lnTo>
                    <a:pt x="2970" y="2658"/>
                  </a:lnTo>
                  <a:lnTo>
                    <a:pt x="2970" y="2658"/>
                  </a:lnTo>
                  <a:lnTo>
                    <a:pt x="2970" y="2661"/>
                  </a:lnTo>
                  <a:lnTo>
                    <a:pt x="2970" y="2663"/>
                  </a:lnTo>
                  <a:lnTo>
                    <a:pt x="2968" y="2663"/>
                  </a:lnTo>
                  <a:lnTo>
                    <a:pt x="2968" y="2666"/>
                  </a:lnTo>
                  <a:lnTo>
                    <a:pt x="2968" y="2668"/>
                  </a:lnTo>
                  <a:lnTo>
                    <a:pt x="2968" y="2668"/>
                  </a:lnTo>
                  <a:lnTo>
                    <a:pt x="2965" y="2668"/>
                  </a:lnTo>
                  <a:lnTo>
                    <a:pt x="2965" y="2668"/>
                  </a:lnTo>
                  <a:lnTo>
                    <a:pt x="2965" y="2668"/>
                  </a:lnTo>
                  <a:lnTo>
                    <a:pt x="2965" y="2668"/>
                  </a:lnTo>
                  <a:lnTo>
                    <a:pt x="2968" y="2668"/>
                  </a:lnTo>
                  <a:lnTo>
                    <a:pt x="2968" y="2668"/>
                  </a:lnTo>
                  <a:lnTo>
                    <a:pt x="2970" y="2668"/>
                  </a:lnTo>
                  <a:lnTo>
                    <a:pt x="2975" y="2668"/>
                  </a:lnTo>
                  <a:lnTo>
                    <a:pt x="2975" y="2666"/>
                  </a:lnTo>
                  <a:lnTo>
                    <a:pt x="2977" y="2666"/>
                  </a:lnTo>
                  <a:lnTo>
                    <a:pt x="2977" y="2666"/>
                  </a:lnTo>
                  <a:lnTo>
                    <a:pt x="2977" y="2668"/>
                  </a:lnTo>
                  <a:lnTo>
                    <a:pt x="2979" y="2666"/>
                  </a:lnTo>
                  <a:lnTo>
                    <a:pt x="2979" y="2666"/>
                  </a:lnTo>
                  <a:lnTo>
                    <a:pt x="2979" y="2668"/>
                  </a:lnTo>
                  <a:lnTo>
                    <a:pt x="2979" y="2668"/>
                  </a:lnTo>
                  <a:lnTo>
                    <a:pt x="2977" y="2668"/>
                  </a:lnTo>
                  <a:lnTo>
                    <a:pt x="2977" y="2668"/>
                  </a:lnTo>
                  <a:lnTo>
                    <a:pt x="2975" y="2668"/>
                  </a:lnTo>
                  <a:lnTo>
                    <a:pt x="2975" y="2668"/>
                  </a:lnTo>
                  <a:lnTo>
                    <a:pt x="2975" y="2668"/>
                  </a:lnTo>
                  <a:lnTo>
                    <a:pt x="2972" y="2670"/>
                  </a:lnTo>
                  <a:lnTo>
                    <a:pt x="2972" y="2670"/>
                  </a:lnTo>
                  <a:lnTo>
                    <a:pt x="2972" y="2670"/>
                  </a:lnTo>
                  <a:lnTo>
                    <a:pt x="2972" y="2670"/>
                  </a:lnTo>
                  <a:lnTo>
                    <a:pt x="2970" y="2670"/>
                  </a:lnTo>
                  <a:lnTo>
                    <a:pt x="2970" y="2673"/>
                  </a:lnTo>
                  <a:lnTo>
                    <a:pt x="2965" y="2675"/>
                  </a:lnTo>
                  <a:lnTo>
                    <a:pt x="2965" y="2675"/>
                  </a:lnTo>
                  <a:lnTo>
                    <a:pt x="2965" y="2677"/>
                  </a:lnTo>
                  <a:lnTo>
                    <a:pt x="2968" y="2677"/>
                  </a:lnTo>
                  <a:lnTo>
                    <a:pt x="2968" y="2677"/>
                  </a:lnTo>
                  <a:lnTo>
                    <a:pt x="2970" y="2673"/>
                  </a:lnTo>
                  <a:lnTo>
                    <a:pt x="2972" y="2673"/>
                  </a:lnTo>
                  <a:lnTo>
                    <a:pt x="2986" y="2666"/>
                  </a:lnTo>
                  <a:lnTo>
                    <a:pt x="2991" y="2663"/>
                  </a:lnTo>
                  <a:lnTo>
                    <a:pt x="2994" y="2661"/>
                  </a:lnTo>
                  <a:lnTo>
                    <a:pt x="2996" y="2661"/>
                  </a:lnTo>
                  <a:lnTo>
                    <a:pt x="2998" y="2658"/>
                  </a:lnTo>
                  <a:lnTo>
                    <a:pt x="2998" y="2658"/>
                  </a:lnTo>
                  <a:lnTo>
                    <a:pt x="3003" y="2658"/>
                  </a:lnTo>
                  <a:lnTo>
                    <a:pt x="3005" y="2658"/>
                  </a:lnTo>
                  <a:lnTo>
                    <a:pt x="3005" y="2658"/>
                  </a:lnTo>
                  <a:lnTo>
                    <a:pt x="3005" y="2658"/>
                  </a:lnTo>
                  <a:lnTo>
                    <a:pt x="3005" y="2656"/>
                  </a:lnTo>
                  <a:lnTo>
                    <a:pt x="3003" y="2654"/>
                  </a:lnTo>
                  <a:lnTo>
                    <a:pt x="3003" y="2654"/>
                  </a:lnTo>
                  <a:lnTo>
                    <a:pt x="3003" y="2649"/>
                  </a:lnTo>
                  <a:lnTo>
                    <a:pt x="3005" y="2644"/>
                  </a:lnTo>
                  <a:lnTo>
                    <a:pt x="3005" y="2644"/>
                  </a:lnTo>
                  <a:lnTo>
                    <a:pt x="3005" y="2644"/>
                  </a:lnTo>
                  <a:lnTo>
                    <a:pt x="3005" y="2644"/>
                  </a:lnTo>
                  <a:lnTo>
                    <a:pt x="3008" y="2644"/>
                  </a:lnTo>
                  <a:lnTo>
                    <a:pt x="3008" y="2644"/>
                  </a:lnTo>
                  <a:lnTo>
                    <a:pt x="3010" y="2644"/>
                  </a:lnTo>
                  <a:lnTo>
                    <a:pt x="3010" y="2644"/>
                  </a:lnTo>
                  <a:lnTo>
                    <a:pt x="3010" y="2647"/>
                  </a:lnTo>
                  <a:lnTo>
                    <a:pt x="3010" y="2649"/>
                  </a:lnTo>
                  <a:lnTo>
                    <a:pt x="3008" y="2651"/>
                  </a:lnTo>
                  <a:lnTo>
                    <a:pt x="3005" y="2651"/>
                  </a:lnTo>
                  <a:lnTo>
                    <a:pt x="3005" y="2651"/>
                  </a:lnTo>
                  <a:lnTo>
                    <a:pt x="3005" y="2654"/>
                  </a:lnTo>
                  <a:lnTo>
                    <a:pt x="3005" y="2656"/>
                  </a:lnTo>
                  <a:lnTo>
                    <a:pt x="3005" y="2656"/>
                  </a:lnTo>
                  <a:lnTo>
                    <a:pt x="3008" y="2658"/>
                  </a:lnTo>
                  <a:lnTo>
                    <a:pt x="3008" y="2658"/>
                  </a:lnTo>
                  <a:lnTo>
                    <a:pt x="3010" y="2656"/>
                  </a:lnTo>
                  <a:lnTo>
                    <a:pt x="3010" y="2656"/>
                  </a:lnTo>
                  <a:lnTo>
                    <a:pt x="3010" y="2656"/>
                  </a:lnTo>
                  <a:lnTo>
                    <a:pt x="3012" y="2656"/>
                  </a:lnTo>
                  <a:lnTo>
                    <a:pt x="3015" y="2654"/>
                  </a:lnTo>
                  <a:lnTo>
                    <a:pt x="3020" y="2654"/>
                  </a:lnTo>
                  <a:lnTo>
                    <a:pt x="3022" y="2654"/>
                  </a:lnTo>
                  <a:lnTo>
                    <a:pt x="3024" y="2654"/>
                  </a:lnTo>
                  <a:lnTo>
                    <a:pt x="3024" y="2654"/>
                  </a:lnTo>
                  <a:lnTo>
                    <a:pt x="3027" y="2654"/>
                  </a:lnTo>
                  <a:lnTo>
                    <a:pt x="3029" y="2654"/>
                  </a:lnTo>
                  <a:lnTo>
                    <a:pt x="3029" y="2654"/>
                  </a:lnTo>
                  <a:lnTo>
                    <a:pt x="3031" y="2651"/>
                  </a:lnTo>
                  <a:lnTo>
                    <a:pt x="3034" y="2651"/>
                  </a:lnTo>
                  <a:lnTo>
                    <a:pt x="3038" y="2654"/>
                  </a:lnTo>
                  <a:lnTo>
                    <a:pt x="3043" y="2654"/>
                  </a:lnTo>
                  <a:lnTo>
                    <a:pt x="3048" y="2656"/>
                  </a:lnTo>
                  <a:lnTo>
                    <a:pt x="3050" y="2656"/>
                  </a:lnTo>
                  <a:lnTo>
                    <a:pt x="3053" y="2658"/>
                  </a:lnTo>
                  <a:lnTo>
                    <a:pt x="3057" y="2658"/>
                  </a:lnTo>
                  <a:lnTo>
                    <a:pt x="3065" y="2661"/>
                  </a:lnTo>
                  <a:lnTo>
                    <a:pt x="3067" y="2661"/>
                  </a:lnTo>
                  <a:lnTo>
                    <a:pt x="3067" y="2661"/>
                  </a:lnTo>
                  <a:lnTo>
                    <a:pt x="3067" y="2661"/>
                  </a:lnTo>
                  <a:lnTo>
                    <a:pt x="3074" y="2661"/>
                  </a:lnTo>
                  <a:lnTo>
                    <a:pt x="3076" y="2661"/>
                  </a:lnTo>
                  <a:lnTo>
                    <a:pt x="3079" y="2661"/>
                  </a:lnTo>
                  <a:lnTo>
                    <a:pt x="3081" y="2658"/>
                  </a:lnTo>
                  <a:lnTo>
                    <a:pt x="3083" y="2658"/>
                  </a:lnTo>
                  <a:lnTo>
                    <a:pt x="3083" y="2658"/>
                  </a:lnTo>
                  <a:lnTo>
                    <a:pt x="3086" y="2658"/>
                  </a:lnTo>
                  <a:lnTo>
                    <a:pt x="3086" y="2658"/>
                  </a:lnTo>
                  <a:lnTo>
                    <a:pt x="3086" y="2658"/>
                  </a:lnTo>
                  <a:lnTo>
                    <a:pt x="3086" y="2656"/>
                  </a:lnTo>
                  <a:lnTo>
                    <a:pt x="3086" y="2656"/>
                  </a:lnTo>
                  <a:lnTo>
                    <a:pt x="3088" y="2656"/>
                  </a:lnTo>
                  <a:lnTo>
                    <a:pt x="3086" y="2656"/>
                  </a:lnTo>
                  <a:lnTo>
                    <a:pt x="3086" y="2656"/>
                  </a:lnTo>
                  <a:lnTo>
                    <a:pt x="3083" y="2656"/>
                  </a:lnTo>
                  <a:lnTo>
                    <a:pt x="3083" y="2656"/>
                  </a:lnTo>
                  <a:lnTo>
                    <a:pt x="3083" y="2656"/>
                  </a:lnTo>
                  <a:lnTo>
                    <a:pt x="3083" y="2656"/>
                  </a:lnTo>
                  <a:lnTo>
                    <a:pt x="3081" y="2654"/>
                  </a:lnTo>
                  <a:lnTo>
                    <a:pt x="3083" y="2654"/>
                  </a:lnTo>
                  <a:lnTo>
                    <a:pt x="3083" y="2651"/>
                  </a:lnTo>
                  <a:lnTo>
                    <a:pt x="3083" y="2651"/>
                  </a:lnTo>
                  <a:lnTo>
                    <a:pt x="3083" y="2651"/>
                  </a:lnTo>
                  <a:lnTo>
                    <a:pt x="3083" y="2651"/>
                  </a:lnTo>
                  <a:lnTo>
                    <a:pt x="3081" y="2654"/>
                  </a:lnTo>
                  <a:lnTo>
                    <a:pt x="3081" y="2654"/>
                  </a:lnTo>
                  <a:lnTo>
                    <a:pt x="3081" y="2654"/>
                  </a:lnTo>
                  <a:lnTo>
                    <a:pt x="3081" y="2654"/>
                  </a:lnTo>
                  <a:lnTo>
                    <a:pt x="3079" y="2651"/>
                  </a:lnTo>
                  <a:lnTo>
                    <a:pt x="3079" y="2651"/>
                  </a:lnTo>
                  <a:lnTo>
                    <a:pt x="3079" y="2649"/>
                  </a:lnTo>
                  <a:lnTo>
                    <a:pt x="3079" y="2651"/>
                  </a:lnTo>
                  <a:lnTo>
                    <a:pt x="3081" y="2651"/>
                  </a:lnTo>
                  <a:lnTo>
                    <a:pt x="3081" y="2651"/>
                  </a:lnTo>
                  <a:lnTo>
                    <a:pt x="3081" y="2649"/>
                  </a:lnTo>
                  <a:lnTo>
                    <a:pt x="3081" y="2649"/>
                  </a:lnTo>
                  <a:lnTo>
                    <a:pt x="3081" y="2649"/>
                  </a:lnTo>
                  <a:lnTo>
                    <a:pt x="3081" y="2651"/>
                  </a:lnTo>
                  <a:lnTo>
                    <a:pt x="3081" y="2651"/>
                  </a:lnTo>
                  <a:lnTo>
                    <a:pt x="3081" y="2651"/>
                  </a:lnTo>
                  <a:lnTo>
                    <a:pt x="3081" y="2651"/>
                  </a:lnTo>
                  <a:lnTo>
                    <a:pt x="3083" y="2651"/>
                  </a:lnTo>
                  <a:lnTo>
                    <a:pt x="3083" y="2649"/>
                  </a:lnTo>
                  <a:lnTo>
                    <a:pt x="3083" y="2649"/>
                  </a:lnTo>
                  <a:lnTo>
                    <a:pt x="3088" y="2647"/>
                  </a:lnTo>
                  <a:lnTo>
                    <a:pt x="3088" y="2647"/>
                  </a:lnTo>
                  <a:lnTo>
                    <a:pt x="3088" y="2647"/>
                  </a:lnTo>
                  <a:lnTo>
                    <a:pt x="3088" y="2647"/>
                  </a:lnTo>
                  <a:lnTo>
                    <a:pt x="3088" y="2647"/>
                  </a:lnTo>
                  <a:lnTo>
                    <a:pt x="3088" y="2647"/>
                  </a:lnTo>
                  <a:lnTo>
                    <a:pt x="3091" y="2647"/>
                  </a:lnTo>
                  <a:lnTo>
                    <a:pt x="3091" y="2647"/>
                  </a:lnTo>
                  <a:lnTo>
                    <a:pt x="3091" y="2647"/>
                  </a:lnTo>
                  <a:lnTo>
                    <a:pt x="3091" y="2644"/>
                  </a:lnTo>
                  <a:lnTo>
                    <a:pt x="3093" y="2644"/>
                  </a:lnTo>
                  <a:lnTo>
                    <a:pt x="3095" y="2647"/>
                  </a:lnTo>
                  <a:lnTo>
                    <a:pt x="3095" y="2647"/>
                  </a:lnTo>
                  <a:lnTo>
                    <a:pt x="3095" y="2647"/>
                  </a:lnTo>
                  <a:lnTo>
                    <a:pt x="3095" y="2647"/>
                  </a:lnTo>
                  <a:lnTo>
                    <a:pt x="3095" y="2649"/>
                  </a:lnTo>
                  <a:lnTo>
                    <a:pt x="3095" y="2647"/>
                  </a:lnTo>
                  <a:lnTo>
                    <a:pt x="3095" y="2647"/>
                  </a:lnTo>
                  <a:lnTo>
                    <a:pt x="3093" y="2647"/>
                  </a:lnTo>
                  <a:lnTo>
                    <a:pt x="3093" y="2647"/>
                  </a:lnTo>
                  <a:lnTo>
                    <a:pt x="3093" y="2649"/>
                  </a:lnTo>
                  <a:lnTo>
                    <a:pt x="3093" y="2649"/>
                  </a:lnTo>
                  <a:lnTo>
                    <a:pt x="3093" y="2649"/>
                  </a:lnTo>
                  <a:lnTo>
                    <a:pt x="3093" y="2649"/>
                  </a:lnTo>
                  <a:lnTo>
                    <a:pt x="3093" y="2651"/>
                  </a:lnTo>
                  <a:lnTo>
                    <a:pt x="3093" y="2651"/>
                  </a:lnTo>
                  <a:lnTo>
                    <a:pt x="3095" y="2651"/>
                  </a:lnTo>
                  <a:lnTo>
                    <a:pt x="3098" y="2649"/>
                  </a:lnTo>
                  <a:lnTo>
                    <a:pt x="3098" y="2649"/>
                  </a:lnTo>
                  <a:lnTo>
                    <a:pt x="3102" y="2649"/>
                  </a:lnTo>
                  <a:lnTo>
                    <a:pt x="3102" y="2649"/>
                  </a:lnTo>
                  <a:lnTo>
                    <a:pt x="3105" y="2649"/>
                  </a:lnTo>
                  <a:lnTo>
                    <a:pt x="3105" y="2649"/>
                  </a:lnTo>
                  <a:lnTo>
                    <a:pt x="3105" y="2651"/>
                  </a:lnTo>
                  <a:lnTo>
                    <a:pt x="3105" y="2654"/>
                  </a:lnTo>
                  <a:lnTo>
                    <a:pt x="3105" y="2654"/>
                  </a:lnTo>
                  <a:lnTo>
                    <a:pt x="3105" y="2654"/>
                  </a:lnTo>
                  <a:lnTo>
                    <a:pt x="3105" y="2654"/>
                  </a:lnTo>
                  <a:lnTo>
                    <a:pt x="3105" y="2654"/>
                  </a:lnTo>
                  <a:lnTo>
                    <a:pt x="3107" y="2654"/>
                  </a:lnTo>
                  <a:lnTo>
                    <a:pt x="3107" y="2654"/>
                  </a:lnTo>
                  <a:lnTo>
                    <a:pt x="3107" y="2654"/>
                  </a:lnTo>
                  <a:lnTo>
                    <a:pt x="3107" y="2654"/>
                  </a:lnTo>
                  <a:lnTo>
                    <a:pt x="3107" y="2656"/>
                  </a:lnTo>
                  <a:lnTo>
                    <a:pt x="3107" y="2656"/>
                  </a:lnTo>
                  <a:lnTo>
                    <a:pt x="3109" y="2656"/>
                  </a:lnTo>
                  <a:lnTo>
                    <a:pt x="3109" y="2658"/>
                  </a:lnTo>
                  <a:lnTo>
                    <a:pt x="3109" y="2658"/>
                  </a:lnTo>
                  <a:lnTo>
                    <a:pt x="3107" y="2658"/>
                  </a:lnTo>
                  <a:lnTo>
                    <a:pt x="3109" y="2658"/>
                  </a:lnTo>
                  <a:lnTo>
                    <a:pt x="3112" y="2658"/>
                  </a:lnTo>
                  <a:lnTo>
                    <a:pt x="3112" y="2658"/>
                  </a:lnTo>
                  <a:lnTo>
                    <a:pt x="3114" y="2658"/>
                  </a:lnTo>
                  <a:lnTo>
                    <a:pt x="3114" y="2658"/>
                  </a:lnTo>
                  <a:lnTo>
                    <a:pt x="3114" y="2658"/>
                  </a:lnTo>
                  <a:lnTo>
                    <a:pt x="3114" y="2658"/>
                  </a:lnTo>
                  <a:lnTo>
                    <a:pt x="3114" y="2658"/>
                  </a:lnTo>
                  <a:lnTo>
                    <a:pt x="3114" y="2661"/>
                  </a:lnTo>
                  <a:lnTo>
                    <a:pt x="3114" y="2661"/>
                  </a:lnTo>
                  <a:lnTo>
                    <a:pt x="3117" y="2661"/>
                  </a:lnTo>
                  <a:lnTo>
                    <a:pt x="3117" y="2661"/>
                  </a:lnTo>
                  <a:lnTo>
                    <a:pt x="3119" y="2661"/>
                  </a:lnTo>
                  <a:lnTo>
                    <a:pt x="3119" y="2661"/>
                  </a:lnTo>
                  <a:lnTo>
                    <a:pt x="3119" y="2661"/>
                  </a:lnTo>
                  <a:lnTo>
                    <a:pt x="3121" y="2658"/>
                  </a:lnTo>
                  <a:lnTo>
                    <a:pt x="3121" y="2658"/>
                  </a:lnTo>
                  <a:lnTo>
                    <a:pt x="3121" y="2658"/>
                  </a:lnTo>
                  <a:lnTo>
                    <a:pt x="3119" y="2658"/>
                  </a:lnTo>
                  <a:lnTo>
                    <a:pt x="3119" y="2658"/>
                  </a:lnTo>
                  <a:lnTo>
                    <a:pt x="3119" y="2658"/>
                  </a:lnTo>
                  <a:lnTo>
                    <a:pt x="3121" y="2656"/>
                  </a:lnTo>
                  <a:lnTo>
                    <a:pt x="3121" y="2656"/>
                  </a:lnTo>
                  <a:lnTo>
                    <a:pt x="3121" y="2654"/>
                  </a:lnTo>
                  <a:lnTo>
                    <a:pt x="3121" y="2654"/>
                  </a:lnTo>
                  <a:lnTo>
                    <a:pt x="3121" y="2654"/>
                  </a:lnTo>
                  <a:lnTo>
                    <a:pt x="3124" y="2656"/>
                  </a:lnTo>
                  <a:lnTo>
                    <a:pt x="3124" y="2656"/>
                  </a:lnTo>
                  <a:lnTo>
                    <a:pt x="3124" y="2656"/>
                  </a:lnTo>
                  <a:lnTo>
                    <a:pt x="3121" y="2656"/>
                  </a:lnTo>
                  <a:lnTo>
                    <a:pt x="3121" y="2658"/>
                  </a:lnTo>
                  <a:lnTo>
                    <a:pt x="3121" y="2658"/>
                  </a:lnTo>
                  <a:lnTo>
                    <a:pt x="3121" y="2658"/>
                  </a:lnTo>
                  <a:lnTo>
                    <a:pt x="3121" y="2661"/>
                  </a:lnTo>
                  <a:lnTo>
                    <a:pt x="3121" y="2661"/>
                  </a:lnTo>
                  <a:lnTo>
                    <a:pt x="3121" y="2663"/>
                  </a:lnTo>
                  <a:lnTo>
                    <a:pt x="3121" y="2663"/>
                  </a:lnTo>
                  <a:lnTo>
                    <a:pt x="3124" y="2663"/>
                  </a:lnTo>
                  <a:lnTo>
                    <a:pt x="3124" y="2663"/>
                  </a:lnTo>
                  <a:lnTo>
                    <a:pt x="3124" y="2663"/>
                  </a:lnTo>
                  <a:lnTo>
                    <a:pt x="3124" y="2666"/>
                  </a:lnTo>
                  <a:lnTo>
                    <a:pt x="3124" y="2666"/>
                  </a:lnTo>
                  <a:lnTo>
                    <a:pt x="3124" y="2666"/>
                  </a:lnTo>
                  <a:lnTo>
                    <a:pt x="3126" y="2666"/>
                  </a:lnTo>
                  <a:lnTo>
                    <a:pt x="3128" y="2668"/>
                  </a:lnTo>
                  <a:lnTo>
                    <a:pt x="3128" y="2668"/>
                  </a:lnTo>
                  <a:lnTo>
                    <a:pt x="3128" y="2670"/>
                  </a:lnTo>
                  <a:lnTo>
                    <a:pt x="3128" y="2670"/>
                  </a:lnTo>
                  <a:lnTo>
                    <a:pt x="3128" y="2670"/>
                  </a:lnTo>
                  <a:lnTo>
                    <a:pt x="3128" y="2670"/>
                  </a:lnTo>
                  <a:lnTo>
                    <a:pt x="3128" y="2670"/>
                  </a:lnTo>
                  <a:lnTo>
                    <a:pt x="3128" y="2673"/>
                  </a:lnTo>
                  <a:lnTo>
                    <a:pt x="3128" y="2673"/>
                  </a:lnTo>
                  <a:lnTo>
                    <a:pt x="3126" y="2673"/>
                  </a:lnTo>
                  <a:lnTo>
                    <a:pt x="3126" y="2673"/>
                  </a:lnTo>
                  <a:lnTo>
                    <a:pt x="3126" y="2670"/>
                  </a:lnTo>
                  <a:lnTo>
                    <a:pt x="3126" y="2670"/>
                  </a:lnTo>
                  <a:lnTo>
                    <a:pt x="3126" y="2670"/>
                  </a:lnTo>
                  <a:lnTo>
                    <a:pt x="3126" y="2670"/>
                  </a:lnTo>
                  <a:lnTo>
                    <a:pt x="3126" y="2670"/>
                  </a:lnTo>
                  <a:lnTo>
                    <a:pt x="3126" y="2668"/>
                  </a:lnTo>
                  <a:lnTo>
                    <a:pt x="3126" y="2668"/>
                  </a:lnTo>
                  <a:lnTo>
                    <a:pt x="3124" y="2668"/>
                  </a:lnTo>
                  <a:lnTo>
                    <a:pt x="3124" y="2668"/>
                  </a:lnTo>
                  <a:lnTo>
                    <a:pt x="3124" y="2666"/>
                  </a:lnTo>
                  <a:lnTo>
                    <a:pt x="3121" y="2666"/>
                  </a:lnTo>
                  <a:lnTo>
                    <a:pt x="3121" y="2668"/>
                  </a:lnTo>
                  <a:lnTo>
                    <a:pt x="3121" y="2668"/>
                  </a:lnTo>
                  <a:lnTo>
                    <a:pt x="3121" y="2668"/>
                  </a:lnTo>
                  <a:lnTo>
                    <a:pt x="3121" y="2670"/>
                  </a:lnTo>
                  <a:lnTo>
                    <a:pt x="3119" y="2670"/>
                  </a:lnTo>
                  <a:lnTo>
                    <a:pt x="3119" y="2670"/>
                  </a:lnTo>
                  <a:lnTo>
                    <a:pt x="3119" y="2668"/>
                  </a:lnTo>
                  <a:lnTo>
                    <a:pt x="3119" y="2670"/>
                  </a:lnTo>
                  <a:lnTo>
                    <a:pt x="3121" y="2673"/>
                  </a:lnTo>
                  <a:lnTo>
                    <a:pt x="3124" y="2673"/>
                  </a:lnTo>
                  <a:lnTo>
                    <a:pt x="3128" y="2673"/>
                  </a:lnTo>
                  <a:lnTo>
                    <a:pt x="3128" y="2675"/>
                  </a:lnTo>
                  <a:lnTo>
                    <a:pt x="3131" y="2675"/>
                  </a:lnTo>
                  <a:lnTo>
                    <a:pt x="3131" y="2675"/>
                  </a:lnTo>
                  <a:lnTo>
                    <a:pt x="3131" y="2675"/>
                  </a:lnTo>
                  <a:lnTo>
                    <a:pt x="3131" y="2675"/>
                  </a:lnTo>
                  <a:lnTo>
                    <a:pt x="3133" y="2675"/>
                  </a:lnTo>
                  <a:lnTo>
                    <a:pt x="3133" y="2673"/>
                  </a:lnTo>
                  <a:lnTo>
                    <a:pt x="3133" y="2673"/>
                  </a:lnTo>
                  <a:lnTo>
                    <a:pt x="3133" y="2673"/>
                  </a:lnTo>
                  <a:lnTo>
                    <a:pt x="3133" y="2673"/>
                  </a:lnTo>
                  <a:lnTo>
                    <a:pt x="3136" y="2675"/>
                  </a:lnTo>
                  <a:lnTo>
                    <a:pt x="3133" y="2675"/>
                  </a:lnTo>
                  <a:lnTo>
                    <a:pt x="3133" y="2675"/>
                  </a:lnTo>
                  <a:lnTo>
                    <a:pt x="3133" y="2675"/>
                  </a:lnTo>
                  <a:lnTo>
                    <a:pt x="3133" y="2675"/>
                  </a:lnTo>
                  <a:lnTo>
                    <a:pt x="3136" y="2675"/>
                  </a:lnTo>
                  <a:lnTo>
                    <a:pt x="3136" y="2675"/>
                  </a:lnTo>
                  <a:lnTo>
                    <a:pt x="3138" y="2675"/>
                  </a:lnTo>
                  <a:lnTo>
                    <a:pt x="3140" y="2677"/>
                  </a:lnTo>
                  <a:lnTo>
                    <a:pt x="3140" y="2677"/>
                  </a:lnTo>
                  <a:lnTo>
                    <a:pt x="3140" y="2677"/>
                  </a:lnTo>
                  <a:lnTo>
                    <a:pt x="3140" y="2677"/>
                  </a:lnTo>
                  <a:lnTo>
                    <a:pt x="3140" y="2677"/>
                  </a:lnTo>
                  <a:lnTo>
                    <a:pt x="3140" y="2675"/>
                  </a:lnTo>
                  <a:lnTo>
                    <a:pt x="3140" y="2675"/>
                  </a:lnTo>
                  <a:lnTo>
                    <a:pt x="3140" y="2675"/>
                  </a:lnTo>
                  <a:lnTo>
                    <a:pt x="3143" y="2675"/>
                  </a:lnTo>
                  <a:lnTo>
                    <a:pt x="3143" y="2675"/>
                  </a:lnTo>
                  <a:lnTo>
                    <a:pt x="3143" y="2675"/>
                  </a:lnTo>
                  <a:lnTo>
                    <a:pt x="3145" y="2675"/>
                  </a:lnTo>
                  <a:lnTo>
                    <a:pt x="3145" y="2675"/>
                  </a:lnTo>
                  <a:lnTo>
                    <a:pt x="3145" y="2677"/>
                  </a:lnTo>
                  <a:lnTo>
                    <a:pt x="3143" y="2677"/>
                  </a:lnTo>
                  <a:lnTo>
                    <a:pt x="3143" y="2677"/>
                  </a:lnTo>
                  <a:lnTo>
                    <a:pt x="3143" y="2677"/>
                  </a:lnTo>
                  <a:lnTo>
                    <a:pt x="3145" y="2677"/>
                  </a:lnTo>
                  <a:lnTo>
                    <a:pt x="3145" y="2677"/>
                  </a:lnTo>
                  <a:lnTo>
                    <a:pt x="3145" y="2677"/>
                  </a:lnTo>
                  <a:lnTo>
                    <a:pt x="3147" y="2677"/>
                  </a:lnTo>
                  <a:lnTo>
                    <a:pt x="3147" y="2677"/>
                  </a:lnTo>
                  <a:lnTo>
                    <a:pt x="3147" y="2677"/>
                  </a:lnTo>
                  <a:lnTo>
                    <a:pt x="3147" y="2677"/>
                  </a:lnTo>
                  <a:lnTo>
                    <a:pt x="3147" y="2677"/>
                  </a:lnTo>
                  <a:lnTo>
                    <a:pt x="3147" y="2677"/>
                  </a:lnTo>
                  <a:lnTo>
                    <a:pt x="3150" y="2677"/>
                  </a:lnTo>
                  <a:lnTo>
                    <a:pt x="3150" y="2675"/>
                  </a:lnTo>
                  <a:lnTo>
                    <a:pt x="3147" y="2675"/>
                  </a:lnTo>
                  <a:lnTo>
                    <a:pt x="3147" y="2675"/>
                  </a:lnTo>
                  <a:lnTo>
                    <a:pt x="3150" y="2675"/>
                  </a:lnTo>
                  <a:lnTo>
                    <a:pt x="3150" y="2675"/>
                  </a:lnTo>
                  <a:lnTo>
                    <a:pt x="3150" y="2675"/>
                  </a:lnTo>
                  <a:lnTo>
                    <a:pt x="3150" y="2675"/>
                  </a:lnTo>
                  <a:lnTo>
                    <a:pt x="3150" y="2675"/>
                  </a:lnTo>
                  <a:lnTo>
                    <a:pt x="3150" y="2673"/>
                  </a:lnTo>
                  <a:lnTo>
                    <a:pt x="3150" y="2673"/>
                  </a:lnTo>
                  <a:lnTo>
                    <a:pt x="3150" y="2673"/>
                  </a:lnTo>
                  <a:lnTo>
                    <a:pt x="3150" y="2673"/>
                  </a:lnTo>
                  <a:lnTo>
                    <a:pt x="3150" y="2670"/>
                  </a:lnTo>
                  <a:lnTo>
                    <a:pt x="3150" y="2670"/>
                  </a:lnTo>
                  <a:lnTo>
                    <a:pt x="3152" y="2670"/>
                  </a:lnTo>
                  <a:lnTo>
                    <a:pt x="3152" y="2673"/>
                  </a:lnTo>
                  <a:lnTo>
                    <a:pt x="3152" y="2673"/>
                  </a:lnTo>
                  <a:lnTo>
                    <a:pt x="3152" y="2670"/>
                  </a:lnTo>
                  <a:lnTo>
                    <a:pt x="3152" y="2670"/>
                  </a:lnTo>
                  <a:lnTo>
                    <a:pt x="3152" y="2670"/>
                  </a:lnTo>
                  <a:lnTo>
                    <a:pt x="3152" y="2670"/>
                  </a:lnTo>
                  <a:lnTo>
                    <a:pt x="3152" y="2668"/>
                  </a:lnTo>
                  <a:lnTo>
                    <a:pt x="3152" y="2668"/>
                  </a:lnTo>
                  <a:lnTo>
                    <a:pt x="3152" y="2668"/>
                  </a:lnTo>
                  <a:lnTo>
                    <a:pt x="3152" y="2668"/>
                  </a:lnTo>
                  <a:lnTo>
                    <a:pt x="3152" y="2668"/>
                  </a:lnTo>
                  <a:lnTo>
                    <a:pt x="3152" y="2668"/>
                  </a:lnTo>
                  <a:lnTo>
                    <a:pt x="3152" y="2668"/>
                  </a:lnTo>
                  <a:lnTo>
                    <a:pt x="3152" y="2668"/>
                  </a:lnTo>
                  <a:lnTo>
                    <a:pt x="3152" y="2668"/>
                  </a:lnTo>
                  <a:lnTo>
                    <a:pt x="3152" y="2668"/>
                  </a:lnTo>
                  <a:lnTo>
                    <a:pt x="3152" y="2668"/>
                  </a:lnTo>
                  <a:lnTo>
                    <a:pt x="3152" y="2668"/>
                  </a:lnTo>
                  <a:lnTo>
                    <a:pt x="3152" y="2668"/>
                  </a:lnTo>
                  <a:lnTo>
                    <a:pt x="3152" y="2668"/>
                  </a:lnTo>
                  <a:lnTo>
                    <a:pt x="3154" y="2668"/>
                  </a:lnTo>
                  <a:lnTo>
                    <a:pt x="3154" y="2668"/>
                  </a:lnTo>
                  <a:lnTo>
                    <a:pt x="3154" y="2668"/>
                  </a:lnTo>
                  <a:lnTo>
                    <a:pt x="3157" y="2668"/>
                  </a:lnTo>
                  <a:lnTo>
                    <a:pt x="3157" y="2668"/>
                  </a:lnTo>
                  <a:lnTo>
                    <a:pt x="3157" y="2666"/>
                  </a:lnTo>
                  <a:lnTo>
                    <a:pt x="3157" y="2666"/>
                  </a:lnTo>
                  <a:lnTo>
                    <a:pt x="3157" y="2666"/>
                  </a:lnTo>
                  <a:lnTo>
                    <a:pt x="3157" y="2666"/>
                  </a:lnTo>
                  <a:lnTo>
                    <a:pt x="3159" y="2666"/>
                  </a:lnTo>
                  <a:lnTo>
                    <a:pt x="3159" y="2666"/>
                  </a:lnTo>
                  <a:lnTo>
                    <a:pt x="3159" y="2666"/>
                  </a:lnTo>
                  <a:lnTo>
                    <a:pt x="3159" y="2666"/>
                  </a:lnTo>
                  <a:lnTo>
                    <a:pt x="3159" y="2666"/>
                  </a:lnTo>
                  <a:lnTo>
                    <a:pt x="3159" y="2668"/>
                  </a:lnTo>
                  <a:lnTo>
                    <a:pt x="3162" y="2670"/>
                  </a:lnTo>
                  <a:lnTo>
                    <a:pt x="3162" y="2668"/>
                  </a:lnTo>
                  <a:lnTo>
                    <a:pt x="3162" y="2668"/>
                  </a:lnTo>
                  <a:lnTo>
                    <a:pt x="3162" y="2668"/>
                  </a:lnTo>
                  <a:lnTo>
                    <a:pt x="3162" y="2668"/>
                  </a:lnTo>
                  <a:lnTo>
                    <a:pt x="3162" y="2666"/>
                  </a:lnTo>
                  <a:lnTo>
                    <a:pt x="3162" y="2666"/>
                  </a:lnTo>
                  <a:lnTo>
                    <a:pt x="3162" y="2666"/>
                  </a:lnTo>
                  <a:lnTo>
                    <a:pt x="3164" y="2668"/>
                  </a:lnTo>
                  <a:lnTo>
                    <a:pt x="3164" y="2668"/>
                  </a:lnTo>
                  <a:lnTo>
                    <a:pt x="3166" y="2670"/>
                  </a:lnTo>
                  <a:lnTo>
                    <a:pt x="3166" y="2670"/>
                  </a:lnTo>
                  <a:lnTo>
                    <a:pt x="3166" y="2670"/>
                  </a:lnTo>
                  <a:lnTo>
                    <a:pt x="3166" y="2668"/>
                  </a:lnTo>
                  <a:lnTo>
                    <a:pt x="3166" y="2668"/>
                  </a:lnTo>
                  <a:lnTo>
                    <a:pt x="3166" y="2668"/>
                  </a:lnTo>
                  <a:lnTo>
                    <a:pt x="3166" y="2668"/>
                  </a:lnTo>
                  <a:lnTo>
                    <a:pt x="3166" y="2670"/>
                  </a:lnTo>
                  <a:lnTo>
                    <a:pt x="3166" y="2670"/>
                  </a:lnTo>
                  <a:lnTo>
                    <a:pt x="3166" y="2670"/>
                  </a:lnTo>
                  <a:lnTo>
                    <a:pt x="3166" y="2670"/>
                  </a:lnTo>
                  <a:lnTo>
                    <a:pt x="3166" y="2673"/>
                  </a:lnTo>
                  <a:lnTo>
                    <a:pt x="3166" y="2673"/>
                  </a:lnTo>
                  <a:lnTo>
                    <a:pt x="3166" y="2673"/>
                  </a:lnTo>
                  <a:lnTo>
                    <a:pt x="3166" y="2673"/>
                  </a:lnTo>
                  <a:lnTo>
                    <a:pt x="3166" y="2673"/>
                  </a:lnTo>
                  <a:lnTo>
                    <a:pt x="3169" y="2675"/>
                  </a:lnTo>
                  <a:lnTo>
                    <a:pt x="3169" y="2675"/>
                  </a:lnTo>
                  <a:lnTo>
                    <a:pt x="3169" y="2675"/>
                  </a:lnTo>
                  <a:lnTo>
                    <a:pt x="3169" y="2677"/>
                  </a:lnTo>
                  <a:lnTo>
                    <a:pt x="3169" y="2677"/>
                  </a:lnTo>
                  <a:lnTo>
                    <a:pt x="3169" y="2677"/>
                  </a:lnTo>
                  <a:lnTo>
                    <a:pt x="3169" y="2677"/>
                  </a:lnTo>
                  <a:lnTo>
                    <a:pt x="3171" y="2677"/>
                  </a:lnTo>
                  <a:lnTo>
                    <a:pt x="3171" y="2675"/>
                  </a:lnTo>
                  <a:lnTo>
                    <a:pt x="3173" y="2675"/>
                  </a:lnTo>
                  <a:lnTo>
                    <a:pt x="3173" y="2675"/>
                  </a:lnTo>
                  <a:lnTo>
                    <a:pt x="3173" y="2673"/>
                  </a:lnTo>
                  <a:lnTo>
                    <a:pt x="3173" y="2673"/>
                  </a:lnTo>
                  <a:lnTo>
                    <a:pt x="3176" y="2673"/>
                  </a:lnTo>
                  <a:lnTo>
                    <a:pt x="3176" y="2670"/>
                  </a:lnTo>
                  <a:lnTo>
                    <a:pt x="3176" y="2670"/>
                  </a:lnTo>
                  <a:lnTo>
                    <a:pt x="3173" y="2670"/>
                  </a:lnTo>
                  <a:lnTo>
                    <a:pt x="3173" y="2668"/>
                  </a:lnTo>
                  <a:lnTo>
                    <a:pt x="3173" y="2668"/>
                  </a:lnTo>
                  <a:lnTo>
                    <a:pt x="3176" y="2666"/>
                  </a:lnTo>
                  <a:lnTo>
                    <a:pt x="3173" y="2666"/>
                  </a:lnTo>
                  <a:lnTo>
                    <a:pt x="3176" y="2666"/>
                  </a:lnTo>
                  <a:lnTo>
                    <a:pt x="3176" y="2666"/>
                  </a:lnTo>
                  <a:lnTo>
                    <a:pt x="3176" y="2666"/>
                  </a:lnTo>
                  <a:lnTo>
                    <a:pt x="3178" y="2666"/>
                  </a:lnTo>
                  <a:lnTo>
                    <a:pt x="3176" y="2666"/>
                  </a:lnTo>
                  <a:lnTo>
                    <a:pt x="3176" y="2666"/>
                  </a:lnTo>
                  <a:lnTo>
                    <a:pt x="3176" y="2666"/>
                  </a:lnTo>
                  <a:lnTo>
                    <a:pt x="3176" y="2663"/>
                  </a:lnTo>
                  <a:lnTo>
                    <a:pt x="3176" y="2663"/>
                  </a:lnTo>
                  <a:lnTo>
                    <a:pt x="3176" y="2663"/>
                  </a:lnTo>
                  <a:lnTo>
                    <a:pt x="3176" y="2663"/>
                  </a:lnTo>
                  <a:lnTo>
                    <a:pt x="3176" y="2663"/>
                  </a:lnTo>
                  <a:lnTo>
                    <a:pt x="3176" y="2663"/>
                  </a:lnTo>
                  <a:lnTo>
                    <a:pt x="3176" y="2663"/>
                  </a:lnTo>
                  <a:lnTo>
                    <a:pt x="3176" y="2661"/>
                  </a:lnTo>
                  <a:lnTo>
                    <a:pt x="3176" y="2661"/>
                  </a:lnTo>
                  <a:lnTo>
                    <a:pt x="3176" y="2661"/>
                  </a:lnTo>
                  <a:lnTo>
                    <a:pt x="3176" y="2661"/>
                  </a:lnTo>
                  <a:lnTo>
                    <a:pt x="3176" y="2661"/>
                  </a:lnTo>
                  <a:lnTo>
                    <a:pt x="3176" y="2661"/>
                  </a:lnTo>
                  <a:lnTo>
                    <a:pt x="3176" y="2658"/>
                  </a:lnTo>
                  <a:lnTo>
                    <a:pt x="3176" y="2658"/>
                  </a:lnTo>
                  <a:lnTo>
                    <a:pt x="3176" y="2658"/>
                  </a:lnTo>
                  <a:lnTo>
                    <a:pt x="3173" y="2658"/>
                  </a:lnTo>
                  <a:lnTo>
                    <a:pt x="3173" y="2658"/>
                  </a:lnTo>
                  <a:lnTo>
                    <a:pt x="3171" y="2658"/>
                  </a:lnTo>
                  <a:lnTo>
                    <a:pt x="3171" y="2658"/>
                  </a:lnTo>
                  <a:lnTo>
                    <a:pt x="3171" y="2656"/>
                  </a:lnTo>
                  <a:lnTo>
                    <a:pt x="3169" y="2656"/>
                  </a:lnTo>
                  <a:lnTo>
                    <a:pt x="3169" y="2656"/>
                  </a:lnTo>
                  <a:lnTo>
                    <a:pt x="3169" y="2656"/>
                  </a:lnTo>
                  <a:lnTo>
                    <a:pt x="3169" y="2656"/>
                  </a:lnTo>
                  <a:lnTo>
                    <a:pt x="3169" y="2656"/>
                  </a:lnTo>
                  <a:lnTo>
                    <a:pt x="3166" y="2656"/>
                  </a:lnTo>
                  <a:lnTo>
                    <a:pt x="3169" y="2656"/>
                  </a:lnTo>
                  <a:lnTo>
                    <a:pt x="3169" y="2656"/>
                  </a:lnTo>
                  <a:lnTo>
                    <a:pt x="3169" y="2654"/>
                  </a:lnTo>
                  <a:lnTo>
                    <a:pt x="3169" y="2654"/>
                  </a:lnTo>
                  <a:lnTo>
                    <a:pt x="3169" y="2654"/>
                  </a:lnTo>
                  <a:lnTo>
                    <a:pt x="3166" y="2654"/>
                  </a:lnTo>
                  <a:lnTo>
                    <a:pt x="3169" y="2654"/>
                  </a:lnTo>
                  <a:lnTo>
                    <a:pt x="3169" y="2654"/>
                  </a:lnTo>
                  <a:lnTo>
                    <a:pt x="3169" y="2651"/>
                  </a:lnTo>
                  <a:lnTo>
                    <a:pt x="3169" y="2654"/>
                  </a:lnTo>
                  <a:lnTo>
                    <a:pt x="3171" y="2654"/>
                  </a:lnTo>
                  <a:lnTo>
                    <a:pt x="3171" y="2654"/>
                  </a:lnTo>
                  <a:lnTo>
                    <a:pt x="3171" y="2654"/>
                  </a:lnTo>
                  <a:lnTo>
                    <a:pt x="3171" y="2654"/>
                  </a:lnTo>
                  <a:lnTo>
                    <a:pt x="3171" y="2654"/>
                  </a:lnTo>
                  <a:lnTo>
                    <a:pt x="3171" y="2654"/>
                  </a:lnTo>
                  <a:lnTo>
                    <a:pt x="3173" y="2654"/>
                  </a:lnTo>
                  <a:lnTo>
                    <a:pt x="3173" y="2654"/>
                  </a:lnTo>
                  <a:lnTo>
                    <a:pt x="3178" y="2656"/>
                  </a:lnTo>
                  <a:lnTo>
                    <a:pt x="3180" y="2656"/>
                  </a:lnTo>
                  <a:lnTo>
                    <a:pt x="3180" y="2656"/>
                  </a:lnTo>
                  <a:lnTo>
                    <a:pt x="3183" y="2658"/>
                  </a:lnTo>
                  <a:lnTo>
                    <a:pt x="3183" y="2658"/>
                  </a:lnTo>
                  <a:lnTo>
                    <a:pt x="3183" y="2656"/>
                  </a:lnTo>
                  <a:lnTo>
                    <a:pt x="3183" y="2656"/>
                  </a:lnTo>
                  <a:lnTo>
                    <a:pt x="3183" y="2656"/>
                  </a:lnTo>
                  <a:lnTo>
                    <a:pt x="3183" y="2656"/>
                  </a:lnTo>
                  <a:lnTo>
                    <a:pt x="3185" y="2656"/>
                  </a:lnTo>
                  <a:lnTo>
                    <a:pt x="3185" y="2656"/>
                  </a:lnTo>
                  <a:lnTo>
                    <a:pt x="3185" y="2656"/>
                  </a:lnTo>
                  <a:lnTo>
                    <a:pt x="3185" y="2656"/>
                  </a:lnTo>
                  <a:lnTo>
                    <a:pt x="3185" y="2656"/>
                  </a:lnTo>
                  <a:lnTo>
                    <a:pt x="3185" y="2658"/>
                  </a:lnTo>
                  <a:lnTo>
                    <a:pt x="3185" y="2658"/>
                  </a:lnTo>
                  <a:lnTo>
                    <a:pt x="3185" y="2658"/>
                  </a:lnTo>
                  <a:lnTo>
                    <a:pt x="3185" y="2658"/>
                  </a:lnTo>
                  <a:lnTo>
                    <a:pt x="3185" y="2658"/>
                  </a:lnTo>
                  <a:lnTo>
                    <a:pt x="3185" y="2658"/>
                  </a:lnTo>
                  <a:lnTo>
                    <a:pt x="3185" y="2658"/>
                  </a:lnTo>
                  <a:lnTo>
                    <a:pt x="3185" y="2658"/>
                  </a:lnTo>
                  <a:lnTo>
                    <a:pt x="3185" y="2658"/>
                  </a:lnTo>
                  <a:lnTo>
                    <a:pt x="3185" y="2658"/>
                  </a:lnTo>
                  <a:lnTo>
                    <a:pt x="3188" y="2658"/>
                  </a:lnTo>
                  <a:lnTo>
                    <a:pt x="3188" y="2658"/>
                  </a:lnTo>
                  <a:lnTo>
                    <a:pt x="3188" y="2658"/>
                  </a:lnTo>
                  <a:lnTo>
                    <a:pt x="3188" y="2658"/>
                  </a:lnTo>
                  <a:lnTo>
                    <a:pt x="3188" y="2661"/>
                  </a:lnTo>
                  <a:lnTo>
                    <a:pt x="3188" y="2661"/>
                  </a:lnTo>
                  <a:lnTo>
                    <a:pt x="3188" y="2661"/>
                  </a:lnTo>
                  <a:lnTo>
                    <a:pt x="3188" y="2661"/>
                  </a:lnTo>
                  <a:lnTo>
                    <a:pt x="3188" y="2661"/>
                  </a:lnTo>
                  <a:lnTo>
                    <a:pt x="3188" y="2661"/>
                  </a:lnTo>
                  <a:lnTo>
                    <a:pt x="3188" y="2661"/>
                  </a:lnTo>
                  <a:lnTo>
                    <a:pt x="3188" y="2661"/>
                  </a:lnTo>
                  <a:lnTo>
                    <a:pt x="3188" y="2661"/>
                  </a:lnTo>
                  <a:lnTo>
                    <a:pt x="3188" y="2661"/>
                  </a:lnTo>
                  <a:lnTo>
                    <a:pt x="3188" y="2661"/>
                  </a:lnTo>
                  <a:lnTo>
                    <a:pt x="3188" y="2663"/>
                  </a:lnTo>
                  <a:lnTo>
                    <a:pt x="3188" y="2663"/>
                  </a:lnTo>
                  <a:lnTo>
                    <a:pt x="3188" y="2663"/>
                  </a:lnTo>
                  <a:lnTo>
                    <a:pt x="3185" y="2663"/>
                  </a:lnTo>
                  <a:lnTo>
                    <a:pt x="3188" y="2663"/>
                  </a:lnTo>
                  <a:lnTo>
                    <a:pt x="3190" y="2663"/>
                  </a:lnTo>
                  <a:lnTo>
                    <a:pt x="3192" y="2666"/>
                  </a:lnTo>
                  <a:lnTo>
                    <a:pt x="3192" y="2666"/>
                  </a:lnTo>
                  <a:lnTo>
                    <a:pt x="3192" y="2663"/>
                  </a:lnTo>
                  <a:lnTo>
                    <a:pt x="3195" y="2666"/>
                  </a:lnTo>
                  <a:lnTo>
                    <a:pt x="3195" y="2666"/>
                  </a:lnTo>
                  <a:lnTo>
                    <a:pt x="3195" y="2666"/>
                  </a:lnTo>
                  <a:lnTo>
                    <a:pt x="3195" y="2666"/>
                  </a:lnTo>
                  <a:lnTo>
                    <a:pt x="3197" y="2666"/>
                  </a:lnTo>
                  <a:lnTo>
                    <a:pt x="3197" y="2666"/>
                  </a:lnTo>
                  <a:lnTo>
                    <a:pt x="3199" y="2668"/>
                  </a:lnTo>
                  <a:lnTo>
                    <a:pt x="3199" y="2666"/>
                  </a:lnTo>
                  <a:lnTo>
                    <a:pt x="3199" y="2666"/>
                  </a:lnTo>
                  <a:lnTo>
                    <a:pt x="3202" y="2666"/>
                  </a:lnTo>
                  <a:lnTo>
                    <a:pt x="3202" y="2666"/>
                  </a:lnTo>
                  <a:lnTo>
                    <a:pt x="3202" y="2666"/>
                  </a:lnTo>
                  <a:lnTo>
                    <a:pt x="3202" y="2666"/>
                  </a:lnTo>
                  <a:lnTo>
                    <a:pt x="3204" y="2670"/>
                  </a:lnTo>
                  <a:lnTo>
                    <a:pt x="3204" y="2670"/>
                  </a:lnTo>
                  <a:lnTo>
                    <a:pt x="3204" y="2670"/>
                  </a:lnTo>
                  <a:lnTo>
                    <a:pt x="3204" y="2673"/>
                  </a:lnTo>
                  <a:lnTo>
                    <a:pt x="3204" y="2673"/>
                  </a:lnTo>
                  <a:lnTo>
                    <a:pt x="3207" y="2673"/>
                  </a:lnTo>
                  <a:lnTo>
                    <a:pt x="3207" y="2673"/>
                  </a:lnTo>
                  <a:lnTo>
                    <a:pt x="3207" y="2673"/>
                  </a:lnTo>
                  <a:lnTo>
                    <a:pt x="3209" y="2673"/>
                  </a:lnTo>
                  <a:lnTo>
                    <a:pt x="3209" y="2673"/>
                  </a:lnTo>
                  <a:lnTo>
                    <a:pt x="3209" y="2670"/>
                  </a:lnTo>
                  <a:lnTo>
                    <a:pt x="3209" y="2670"/>
                  </a:lnTo>
                  <a:lnTo>
                    <a:pt x="3209" y="2670"/>
                  </a:lnTo>
                  <a:lnTo>
                    <a:pt x="3209" y="2668"/>
                  </a:lnTo>
                  <a:lnTo>
                    <a:pt x="3209" y="2668"/>
                  </a:lnTo>
                  <a:lnTo>
                    <a:pt x="3209" y="2668"/>
                  </a:lnTo>
                  <a:lnTo>
                    <a:pt x="3209" y="2670"/>
                  </a:lnTo>
                  <a:lnTo>
                    <a:pt x="3209" y="2670"/>
                  </a:lnTo>
                  <a:lnTo>
                    <a:pt x="3209" y="2670"/>
                  </a:lnTo>
                  <a:lnTo>
                    <a:pt x="3209" y="2670"/>
                  </a:lnTo>
                  <a:lnTo>
                    <a:pt x="3209" y="2670"/>
                  </a:lnTo>
                  <a:lnTo>
                    <a:pt x="3209" y="2670"/>
                  </a:lnTo>
                  <a:lnTo>
                    <a:pt x="3209" y="2670"/>
                  </a:lnTo>
                  <a:lnTo>
                    <a:pt x="3209" y="2670"/>
                  </a:lnTo>
                  <a:lnTo>
                    <a:pt x="3211" y="2670"/>
                  </a:lnTo>
                  <a:lnTo>
                    <a:pt x="3211" y="2670"/>
                  </a:lnTo>
                  <a:lnTo>
                    <a:pt x="3209" y="2673"/>
                  </a:lnTo>
                  <a:lnTo>
                    <a:pt x="3209" y="2673"/>
                  </a:lnTo>
                  <a:lnTo>
                    <a:pt x="3209" y="2675"/>
                  </a:lnTo>
                  <a:lnTo>
                    <a:pt x="3209" y="2675"/>
                  </a:lnTo>
                  <a:lnTo>
                    <a:pt x="3209" y="2675"/>
                  </a:lnTo>
                  <a:lnTo>
                    <a:pt x="3207" y="2675"/>
                  </a:lnTo>
                  <a:lnTo>
                    <a:pt x="3207" y="2675"/>
                  </a:lnTo>
                  <a:lnTo>
                    <a:pt x="3207" y="2675"/>
                  </a:lnTo>
                  <a:lnTo>
                    <a:pt x="3207" y="2677"/>
                  </a:lnTo>
                  <a:lnTo>
                    <a:pt x="3207" y="2677"/>
                  </a:lnTo>
                  <a:lnTo>
                    <a:pt x="3207" y="2677"/>
                  </a:lnTo>
                  <a:lnTo>
                    <a:pt x="3207" y="2680"/>
                  </a:lnTo>
                  <a:lnTo>
                    <a:pt x="3207" y="2680"/>
                  </a:lnTo>
                  <a:lnTo>
                    <a:pt x="3207" y="2680"/>
                  </a:lnTo>
                  <a:lnTo>
                    <a:pt x="3207" y="2680"/>
                  </a:lnTo>
                  <a:lnTo>
                    <a:pt x="3207" y="2682"/>
                  </a:lnTo>
                  <a:lnTo>
                    <a:pt x="3207" y="2682"/>
                  </a:lnTo>
                  <a:lnTo>
                    <a:pt x="3207" y="2680"/>
                  </a:lnTo>
                  <a:lnTo>
                    <a:pt x="3209" y="2677"/>
                  </a:lnTo>
                  <a:lnTo>
                    <a:pt x="3209" y="2677"/>
                  </a:lnTo>
                  <a:lnTo>
                    <a:pt x="3209" y="2675"/>
                  </a:lnTo>
                  <a:lnTo>
                    <a:pt x="3209" y="2675"/>
                  </a:lnTo>
                  <a:lnTo>
                    <a:pt x="3211" y="2675"/>
                  </a:lnTo>
                  <a:lnTo>
                    <a:pt x="3211" y="2675"/>
                  </a:lnTo>
                  <a:lnTo>
                    <a:pt x="3211" y="2675"/>
                  </a:lnTo>
                  <a:lnTo>
                    <a:pt x="3211" y="2675"/>
                  </a:lnTo>
                  <a:lnTo>
                    <a:pt x="3211" y="2673"/>
                  </a:lnTo>
                  <a:lnTo>
                    <a:pt x="3211" y="2673"/>
                  </a:lnTo>
                  <a:lnTo>
                    <a:pt x="3211" y="2673"/>
                  </a:lnTo>
                  <a:lnTo>
                    <a:pt x="3211" y="2673"/>
                  </a:lnTo>
                  <a:lnTo>
                    <a:pt x="3211" y="2673"/>
                  </a:lnTo>
                  <a:lnTo>
                    <a:pt x="3214" y="2673"/>
                  </a:lnTo>
                  <a:lnTo>
                    <a:pt x="3214" y="2673"/>
                  </a:lnTo>
                  <a:lnTo>
                    <a:pt x="3214" y="2675"/>
                  </a:lnTo>
                  <a:lnTo>
                    <a:pt x="3214" y="2675"/>
                  </a:lnTo>
                  <a:lnTo>
                    <a:pt x="3216" y="2675"/>
                  </a:lnTo>
                  <a:lnTo>
                    <a:pt x="3216" y="2677"/>
                  </a:lnTo>
                  <a:lnTo>
                    <a:pt x="3216" y="2677"/>
                  </a:lnTo>
                  <a:lnTo>
                    <a:pt x="3218" y="2677"/>
                  </a:lnTo>
                  <a:lnTo>
                    <a:pt x="3216" y="2675"/>
                  </a:lnTo>
                  <a:lnTo>
                    <a:pt x="3216" y="2675"/>
                  </a:lnTo>
                  <a:lnTo>
                    <a:pt x="3218" y="2673"/>
                  </a:lnTo>
                  <a:lnTo>
                    <a:pt x="3218" y="2673"/>
                  </a:lnTo>
                  <a:lnTo>
                    <a:pt x="3218" y="2673"/>
                  </a:lnTo>
                  <a:lnTo>
                    <a:pt x="3218" y="2673"/>
                  </a:lnTo>
                  <a:lnTo>
                    <a:pt x="3218" y="2673"/>
                  </a:lnTo>
                  <a:lnTo>
                    <a:pt x="3218" y="2673"/>
                  </a:lnTo>
                  <a:lnTo>
                    <a:pt x="3218" y="2673"/>
                  </a:lnTo>
                  <a:lnTo>
                    <a:pt x="3218" y="2673"/>
                  </a:lnTo>
                  <a:lnTo>
                    <a:pt x="3218" y="2670"/>
                  </a:lnTo>
                  <a:lnTo>
                    <a:pt x="3218" y="2670"/>
                  </a:lnTo>
                  <a:lnTo>
                    <a:pt x="3218" y="2670"/>
                  </a:lnTo>
                  <a:lnTo>
                    <a:pt x="3221" y="2670"/>
                  </a:lnTo>
                  <a:lnTo>
                    <a:pt x="3221" y="2673"/>
                  </a:lnTo>
                  <a:lnTo>
                    <a:pt x="3221" y="2673"/>
                  </a:lnTo>
                  <a:lnTo>
                    <a:pt x="3221" y="2673"/>
                  </a:lnTo>
                  <a:lnTo>
                    <a:pt x="3221" y="2670"/>
                  </a:lnTo>
                  <a:lnTo>
                    <a:pt x="3218" y="2670"/>
                  </a:lnTo>
                  <a:lnTo>
                    <a:pt x="3218" y="2670"/>
                  </a:lnTo>
                  <a:lnTo>
                    <a:pt x="3218" y="2668"/>
                  </a:lnTo>
                  <a:lnTo>
                    <a:pt x="3218" y="2668"/>
                  </a:lnTo>
                  <a:lnTo>
                    <a:pt x="3218" y="2668"/>
                  </a:lnTo>
                  <a:lnTo>
                    <a:pt x="3221" y="2668"/>
                  </a:lnTo>
                  <a:lnTo>
                    <a:pt x="3221" y="2668"/>
                  </a:lnTo>
                  <a:lnTo>
                    <a:pt x="3221" y="2668"/>
                  </a:lnTo>
                  <a:lnTo>
                    <a:pt x="3221" y="2668"/>
                  </a:lnTo>
                  <a:lnTo>
                    <a:pt x="3221" y="2668"/>
                  </a:lnTo>
                  <a:lnTo>
                    <a:pt x="3221" y="2668"/>
                  </a:lnTo>
                  <a:lnTo>
                    <a:pt x="3221" y="2668"/>
                  </a:lnTo>
                  <a:lnTo>
                    <a:pt x="3223" y="2668"/>
                  </a:lnTo>
                  <a:lnTo>
                    <a:pt x="3221" y="2668"/>
                  </a:lnTo>
                  <a:lnTo>
                    <a:pt x="3221" y="2668"/>
                  </a:lnTo>
                  <a:lnTo>
                    <a:pt x="3221" y="2668"/>
                  </a:lnTo>
                  <a:lnTo>
                    <a:pt x="3221" y="2666"/>
                  </a:lnTo>
                  <a:lnTo>
                    <a:pt x="3223" y="2666"/>
                  </a:lnTo>
                  <a:lnTo>
                    <a:pt x="3221" y="2666"/>
                  </a:lnTo>
                  <a:lnTo>
                    <a:pt x="3221" y="2666"/>
                  </a:lnTo>
                  <a:lnTo>
                    <a:pt x="3221" y="2666"/>
                  </a:lnTo>
                  <a:lnTo>
                    <a:pt x="3218" y="2666"/>
                  </a:lnTo>
                  <a:lnTo>
                    <a:pt x="3221" y="2666"/>
                  </a:lnTo>
                  <a:lnTo>
                    <a:pt x="3221" y="2666"/>
                  </a:lnTo>
                  <a:lnTo>
                    <a:pt x="3218" y="2666"/>
                  </a:lnTo>
                  <a:lnTo>
                    <a:pt x="3218" y="2666"/>
                  </a:lnTo>
                  <a:lnTo>
                    <a:pt x="3218" y="2666"/>
                  </a:lnTo>
                  <a:lnTo>
                    <a:pt x="3218" y="2666"/>
                  </a:lnTo>
                  <a:lnTo>
                    <a:pt x="3216" y="2666"/>
                  </a:lnTo>
                  <a:lnTo>
                    <a:pt x="3216" y="2666"/>
                  </a:lnTo>
                  <a:lnTo>
                    <a:pt x="3216" y="2666"/>
                  </a:lnTo>
                  <a:lnTo>
                    <a:pt x="3216" y="2666"/>
                  </a:lnTo>
                  <a:lnTo>
                    <a:pt x="3216" y="2663"/>
                  </a:lnTo>
                  <a:lnTo>
                    <a:pt x="3216" y="2663"/>
                  </a:lnTo>
                  <a:lnTo>
                    <a:pt x="3216" y="2663"/>
                  </a:lnTo>
                  <a:lnTo>
                    <a:pt x="3216" y="2663"/>
                  </a:lnTo>
                  <a:lnTo>
                    <a:pt x="3216" y="2663"/>
                  </a:lnTo>
                  <a:lnTo>
                    <a:pt x="3216" y="2663"/>
                  </a:lnTo>
                  <a:lnTo>
                    <a:pt x="3216" y="2663"/>
                  </a:lnTo>
                  <a:lnTo>
                    <a:pt x="3216" y="2663"/>
                  </a:lnTo>
                  <a:lnTo>
                    <a:pt x="3216" y="2661"/>
                  </a:lnTo>
                  <a:lnTo>
                    <a:pt x="3214" y="2661"/>
                  </a:lnTo>
                  <a:lnTo>
                    <a:pt x="3214" y="2661"/>
                  </a:lnTo>
                  <a:lnTo>
                    <a:pt x="3214" y="2661"/>
                  </a:lnTo>
                  <a:lnTo>
                    <a:pt x="3214" y="2661"/>
                  </a:lnTo>
                  <a:lnTo>
                    <a:pt x="3214" y="2661"/>
                  </a:lnTo>
                  <a:lnTo>
                    <a:pt x="3214" y="2661"/>
                  </a:lnTo>
                  <a:lnTo>
                    <a:pt x="3214" y="2661"/>
                  </a:lnTo>
                  <a:lnTo>
                    <a:pt x="3214" y="2661"/>
                  </a:lnTo>
                  <a:lnTo>
                    <a:pt x="3214" y="2661"/>
                  </a:lnTo>
                  <a:lnTo>
                    <a:pt x="3214" y="2661"/>
                  </a:lnTo>
                  <a:lnTo>
                    <a:pt x="3214" y="2658"/>
                  </a:lnTo>
                  <a:lnTo>
                    <a:pt x="3214" y="2658"/>
                  </a:lnTo>
                  <a:lnTo>
                    <a:pt x="3214" y="2658"/>
                  </a:lnTo>
                  <a:lnTo>
                    <a:pt x="3211" y="2661"/>
                  </a:lnTo>
                  <a:lnTo>
                    <a:pt x="3211" y="2661"/>
                  </a:lnTo>
                  <a:lnTo>
                    <a:pt x="3211" y="2661"/>
                  </a:lnTo>
                  <a:lnTo>
                    <a:pt x="3211" y="2661"/>
                  </a:lnTo>
                  <a:lnTo>
                    <a:pt x="3211" y="2661"/>
                  </a:lnTo>
                  <a:lnTo>
                    <a:pt x="3209" y="2661"/>
                  </a:lnTo>
                  <a:lnTo>
                    <a:pt x="3209" y="2661"/>
                  </a:lnTo>
                  <a:lnTo>
                    <a:pt x="3209" y="2661"/>
                  </a:lnTo>
                  <a:lnTo>
                    <a:pt x="3209" y="2661"/>
                  </a:lnTo>
                  <a:lnTo>
                    <a:pt x="3209" y="2661"/>
                  </a:lnTo>
                  <a:lnTo>
                    <a:pt x="3207" y="2661"/>
                  </a:lnTo>
                  <a:lnTo>
                    <a:pt x="3207" y="2661"/>
                  </a:lnTo>
                  <a:lnTo>
                    <a:pt x="3207" y="2661"/>
                  </a:lnTo>
                  <a:lnTo>
                    <a:pt x="3207" y="2661"/>
                  </a:lnTo>
                  <a:lnTo>
                    <a:pt x="3204" y="2661"/>
                  </a:lnTo>
                  <a:lnTo>
                    <a:pt x="3204" y="2661"/>
                  </a:lnTo>
                  <a:lnTo>
                    <a:pt x="3204" y="2661"/>
                  </a:lnTo>
                  <a:lnTo>
                    <a:pt x="3204" y="2658"/>
                  </a:lnTo>
                  <a:lnTo>
                    <a:pt x="3204" y="2658"/>
                  </a:lnTo>
                  <a:lnTo>
                    <a:pt x="3207" y="2658"/>
                  </a:lnTo>
                  <a:lnTo>
                    <a:pt x="3207" y="2658"/>
                  </a:lnTo>
                  <a:lnTo>
                    <a:pt x="3207" y="2658"/>
                  </a:lnTo>
                  <a:lnTo>
                    <a:pt x="3207" y="2658"/>
                  </a:lnTo>
                  <a:lnTo>
                    <a:pt x="3207" y="2658"/>
                  </a:lnTo>
                  <a:lnTo>
                    <a:pt x="3207" y="2658"/>
                  </a:lnTo>
                  <a:lnTo>
                    <a:pt x="3207" y="2658"/>
                  </a:lnTo>
                  <a:lnTo>
                    <a:pt x="3204" y="2658"/>
                  </a:lnTo>
                  <a:lnTo>
                    <a:pt x="3204" y="2658"/>
                  </a:lnTo>
                  <a:lnTo>
                    <a:pt x="3204" y="2658"/>
                  </a:lnTo>
                  <a:lnTo>
                    <a:pt x="3204" y="2658"/>
                  </a:lnTo>
                  <a:lnTo>
                    <a:pt x="3204" y="2658"/>
                  </a:lnTo>
                  <a:lnTo>
                    <a:pt x="3204" y="2658"/>
                  </a:lnTo>
                  <a:lnTo>
                    <a:pt x="3204" y="2658"/>
                  </a:lnTo>
                  <a:lnTo>
                    <a:pt x="3202" y="2658"/>
                  </a:lnTo>
                  <a:lnTo>
                    <a:pt x="3202" y="2658"/>
                  </a:lnTo>
                  <a:lnTo>
                    <a:pt x="3199" y="2658"/>
                  </a:lnTo>
                  <a:lnTo>
                    <a:pt x="3197" y="2658"/>
                  </a:lnTo>
                  <a:lnTo>
                    <a:pt x="3197" y="2658"/>
                  </a:lnTo>
                  <a:lnTo>
                    <a:pt x="3197" y="2658"/>
                  </a:lnTo>
                  <a:lnTo>
                    <a:pt x="3197" y="2658"/>
                  </a:lnTo>
                  <a:lnTo>
                    <a:pt x="3197" y="2658"/>
                  </a:lnTo>
                  <a:lnTo>
                    <a:pt x="3199" y="2658"/>
                  </a:lnTo>
                  <a:lnTo>
                    <a:pt x="3199" y="2656"/>
                  </a:lnTo>
                  <a:lnTo>
                    <a:pt x="3197" y="2656"/>
                  </a:lnTo>
                  <a:lnTo>
                    <a:pt x="3197" y="2656"/>
                  </a:lnTo>
                  <a:lnTo>
                    <a:pt x="3197" y="2656"/>
                  </a:lnTo>
                  <a:lnTo>
                    <a:pt x="3197" y="2656"/>
                  </a:lnTo>
                  <a:lnTo>
                    <a:pt x="3197" y="2656"/>
                  </a:lnTo>
                  <a:lnTo>
                    <a:pt x="3197" y="2656"/>
                  </a:lnTo>
                  <a:lnTo>
                    <a:pt x="3195" y="2654"/>
                  </a:lnTo>
                  <a:lnTo>
                    <a:pt x="3195" y="2654"/>
                  </a:lnTo>
                  <a:lnTo>
                    <a:pt x="3195" y="2654"/>
                  </a:lnTo>
                  <a:lnTo>
                    <a:pt x="3195" y="2654"/>
                  </a:lnTo>
                  <a:lnTo>
                    <a:pt x="3195" y="2654"/>
                  </a:lnTo>
                  <a:lnTo>
                    <a:pt x="3195" y="2654"/>
                  </a:lnTo>
                  <a:lnTo>
                    <a:pt x="3195" y="2654"/>
                  </a:lnTo>
                  <a:lnTo>
                    <a:pt x="3192" y="2654"/>
                  </a:lnTo>
                  <a:lnTo>
                    <a:pt x="3192" y="2654"/>
                  </a:lnTo>
                  <a:lnTo>
                    <a:pt x="3190" y="2654"/>
                  </a:lnTo>
                  <a:lnTo>
                    <a:pt x="3190" y="2651"/>
                  </a:lnTo>
                  <a:lnTo>
                    <a:pt x="3190" y="2651"/>
                  </a:lnTo>
                  <a:lnTo>
                    <a:pt x="3190" y="2651"/>
                  </a:lnTo>
                  <a:lnTo>
                    <a:pt x="3188" y="2649"/>
                  </a:lnTo>
                  <a:lnTo>
                    <a:pt x="3188" y="2649"/>
                  </a:lnTo>
                  <a:lnTo>
                    <a:pt x="3188" y="2649"/>
                  </a:lnTo>
                  <a:lnTo>
                    <a:pt x="3190" y="2649"/>
                  </a:lnTo>
                  <a:lnTo>
                    <a:pt x="3188" y="2649"/>
                  </a:lnTo>
                  <a:lnTo>
                    <a:pt x="3188" y="2649"/>
                  </a:lnTo>
                  <a:lnTo>
                    <a:pt x="3188" y="2647"/>
                  </a:lnTo>
                  <a:lnTo>
                    <a:pt x="3188" y="2647"/>
                  </a:lnTo>
                  <a:lnTo>
                    <a:pt x="3192" y="2649"/>
                  </a:lnTo>
                  <a:lnTo>
                    <a:pt x="3192" y="2647"/>
                  </a:lnTo>
                  <a:lnTo>
                    <a:pt x="3192" y="2647"/>
                  </a:lnTo>
                  <a:lnTo>
                    <a:pt x="3192" y="2647"/>
                  </a:lnTo>
                  <a:lnTo>
                    <a:pt x="3192" y="2647"/>
                  </a:lnTo>
                  <a:lnTo>
                    <a:pt x="3192" y="2647"/>
                  </a:lnTo>
                  <a:lnTo>
                    <a:pt x="3190" y="2647"/>
                  </a:lnTo>
                  <a:lnTo>
                    <a:pt x="3190" y="2644"/>
                  </a:lnTo>
                  <a:lnTo>
                    <a:pt x="3192" y="2644"/>
                  </a:lnTo>
                  <a:lnTo>
                    <a:pt x="3190" y="2644"/>
                  </a:lnTo>
                  <a:lnTo>
                    <a:pt x="3190" y="2644"/>
                  </a:lnTo>
                  <a:lnTo>
                    <a:pt x="3190" y="2644"/>
                  </a:lnTo>
                  <a:lnTo>
                    <a:pt x="3190" y="2644"/>
                  </a:lnTo>
                  <a:lnTo>
                    <a:pt x="3192" y="2644"/>
                  </a:lnTo>
                  <a:lnTo>
                    <a:pt x="3195" y="2644"/>
                  </a:lnTo>
                  <a:lnTo>
                    <a:pt x="3195" y="2644"/>
                  </a:lnTo>
                  <a:lnTo>
                    <a:pt x="3197" y="2647"/>
                  </a:lnTo>
                  <a:lnTo>
                    <a:pt x="3197" y="2647"/>
                  </a:lnTo>
                  <a:lnTo>
                    <a:pt x="3197" y="2647"/>
                  </a:lnTo>
                  <a:lnTo>
                    <a:pt x="3197" y="2647"/>
                  </a:lnTo>
                  <a:lnTo>
                    <a:pt x="3199" y="2647"/>
                  </a:lnTo>
                  <a:lnTo>
                    <a:pt x="3199" y="2647"/>
                  </a:lnTo>
                  <a:lnTo>
                    <a:pt x="3197" y="2644"/>
                  </a:lnTo>
                  <a:lnTo>
                    <a:pt x="3197" y="2644"/>
                  </a:lnTo>
                  <a:lnTo>
                    <a:pt x="3197" y="2644"/>
                  </a:lnTo>
                  <a:lnTo>
                    <a:pt x="3197" y="2644"/>
                  </a:lnTo>
                  <a:lnTo>
                    <a:pt x="3197" y="2644"/>
                  </a:lnTo>
                  <a:lnTo>
                    <a:pt x="3197" y="2644"/>
                  </a:lnTo>
                  <a:lnTo>
                    <a:pt x="3197" y="2644"/>
                  </a:lnTo>
                  <a:lnTo>
                    <a:pt x="3197" y="2644"/>
                  </a:lnTo>
                  <a:lnTo>
                    <a:pt x="3195" y="2644"/>
                  </a:lnTo>
                  <a:lnTo>
                    <a:pt x="3195" y="2644"/>
                  </a:lnTo>
                  <a:lnTo>
                    <a:pt x="3195" y="2644"/>
                  </a:lnTo>
                  <a:lnTo>
                    <a:pt x="3192" y="2642"/>
                  </a:lnTo>
                  <a:lnTo>
                    <a:pt x="3192" y="2642"/>
                  </a:lnTo>
                  <a:lnTo>
                    <a:pt x="3195" y="2642"/>
                  </a:lnTo>
                  <a:lnTo>
                    <a:pt x="3195" y="2642"/>
                  </a:lnTo>
                  <a:lnTo>
                    <a:pt x="3195" y="2642"/>
                  </a:lnTo>
                  <a:lnTo>
                    <a:pt x="3195" y="2642"/>
                  </a:lnTo>
                  <a:lnTo>
                    <a:pt x="3197" y="2642"/>
                  </a:lnTo>
                  <a:lnTo>
                    <a:pt x="3197" y="2640"/>
                  </a:lnTo>
                  <a:lnTo>
                    <a:pt x="3197" y="2640"/>
                  </a:lnTo>
                  <a:lnTo>
                    <a:pt x="3197" y="2640"/>
                  </a:lnTo>
                  <a:lnTo>
                    <a:pt x="3197" y="2637"/>
                  </a:lnTo>
                  <a:lnTo>
                    <a:pt x="3199" y="2637"/>
                  </a:lnTo>
                  <a:lnTo>
                    <a:pt x="3197" y="2637"/>
                  </a:lnTo>
                  <a:lnTo>
                    <a:pt x="3199" y="2637"/>
                  </a:lnTo>
                  <a:lnTo>
                    <a:pt x="3199" y="2637"/>
                  </a:lnTo>
                  <a:lnTo>
                    <a:pt x="3199" y="2637"/>
                  </a:lnTo>
                  <a:lnTo>
                    <a:pt x="3199" y="2637"/>
                  </a:lnTo>
                  <a:lnTo>
                    <a:pt x="3199" y="2637"/>
                  </a:lnTo>
                  <a:lnTo>
                    <a:pt x="3202" y="2640"/>
                  </a:lnTo>
                  <a:lnTo>
                    <a:pt x="3202" y="2640"/>
                  </a:lnTo>
                  <a:lnTo>
                    <a:pt x="3202" y="2640"/>
                  </a:lnTo>
                  <a:lnTo>
                    <a:pt x="3202" y="2640"/>
                  </a:lnTo>
                  <a:lnTo>
                    <a:pt x="3202" y="2640"/>
                  </a:lnTo>
                  <a:lnTo>
                    <a:pt x="3202" y="2640"/>
                  </a:lnTo>
                  <a:lnTo>
                    <a:pt x="3202" y="2640"/>
                  </a:lnTo>
                  <a:lnTo>
                    <a:pt x="3202" y="2637"/>
                  </a:lnTo>
                  <a:lnTo>
                    <a:pt x="3202" y="2637"/>
                  </a:lnTo>
                  <a:lnTo>
                    <a:pt x="3204" y="2637"/>
                  </a:lnTo>
                  <a:lnTo>
                    <a:pt x="3204" y="2637"/>
                  </a:lnTo>
                  <a:lnTo>
                    <a:pt x="3204" y="2637"/>
                  </a:lnTo>
                  <a:lnTo>
                    <a:pt x="3204" y="2637"/>
                  </a:lnTo>
                  <a:lnTo>
                    <a:pt x="3202" y="2637"/>
                  </a:lnTo>
                  <a:lnTo>
                    <a:pt x="3202" y="2637"/>
                  </a:lnTo>
                  <a:lnTo>
                    <a:pt x="3202" y="2635"/>
                  </a:lnTo>
                  <a:lnTo>
                    <a:pt x="3202" y="2635"/>
                  </a:lnTo>
                  <a:lnTo>
                    <a:pt x="3204" y="2635"/>
                  </a:lnTo>
                  <a:lnTo>
                    <a:pt x="3204" y="2635"/>
                  </a:lnTo>
                  <a:lnTo>
                    <a:pt x="3204" y="2635"/>
                  </a:lnTo>
                  <a:lnTo>
                    <a:pt x="3204" y="2635"/>
                  </a:lnTo>
                  <a:lnTo>
                    <a:pt x="3204" y="2635"/>
                  </a:lnTo>
                  <a:lnTo>
                    <a:pt x="3204" y="2635"/>
                  </a:lnTo>
                  <a:lnTo>
                    <a:pt x="3204" y="2635"/>
                  </a:lnTo>
                  <a:lnTo>
                    <a:pt x="3204" y="2635"/>
                  </a:lnTo>
                  <a:lnTo>
                    <a:pt x="3204" y="2632"/>
                  </a:lnTo>
                  <a:lnTo>
                    <a:pt x="3202" y="2632"/>
                  </a:lnTo>
                  <a:lnTo>
                    <a:pt x="3202" y="2632"/>
                  </a:lnTo>
                  <a:lnTo>
                    <a:pt x="3202" y="2635"/>
                  </a:lnTo>
                  <a:lnTo>
                    <a:pt x="3202" y="2635"/>
                  </a:lnTo>
                  <a:lnTo>
                    <a:pt x="3202" y="2632"/>
                  </a:lnTo>
                  <a:lnTo>
                    <a:pt x="3202" y="2632"/>
                  </a:lnTo>
                  <a:lnTo>
                    <a:pt x="3202" y="2632"/>
                  </a:lnTo>
                  <a:lnTo>
                    <a:pt x="3202" y="2632"/>
                  </a:lnTo>
                  <a:lnTo>
                    <a:pt x="3202" y="2632"/>
                  </a:lnTo>
                  <a:lnTo>
                    <a:pt x="3202" y="2632"/>
                  </a:lnTo>
                  <a:lnTo>
                    <a:pt x="3202" y="2632"/>
                  </a:lnTo>
                  <a:lnTo>
                    <a:pt x="3202" y="2632"/>
                  </a:lnTo>
                  <a:lnTo>
                    <a:pt x="3202" y="2632"/>
                  </a:lnTo>
                  <a:lnTo>
                    <a:pt x="3202" y="2632"/>
                  </a:lnTo>
                  <a:lnTo>
                    <a:pt x="3199" y="2632"/>
                  </a:lnTo>
                  <a:lnTo>
                    <a:pt x="3202" y="2632"/>
                  </a:lnTo>
                  <a:lnTo>
                    <a:pt x="3199" y="2632"/>
                  </a:lnTo>
                  <a:lnTo>
                    <a:pt x="3199" y="2632"/>
                  </a:lnTo>
                  <a:lnTo>
                    <a:pt x="3199" y="2632"/>
                  </a:lnTo>
                  <a:lnTo>
                    <a:pt x="3202" y="2630"/>
                  </a:lnTo>
                  <a:lnTo>
                    <a:pt x="3202" y="2632"/>
                  </a:lnTo>
                  <a:lnTo>
                    <a:pt x="3202" y="2630"/>
                  </a:lnTo>
                  <a:lnTo>
                    <a:pt x="3202" y="2630"/>
                  </a:lnTo>
                  <a:lnTo>
                    <a:pt x="3202" y="2630"/>
                  </a:lnTo>
                  <a:lnTo>
                    <a:pt x="3202" y="2630"/>
                  </a:lnTo>
                  <a:lnTo>
                    <a:pt x="3199" y="2630"/>
                  </a:lnTo>
                  <a:lnTo>
                    <a:pt x="3199" y="2630"/>
                  </a:lnTo>
                  <a:lnTo>
                    <a:pt x="3199" y="2630"/>
                  </a:lnTo>
                  <a:lnTo>
                    <a:pt x="3199" y="2630"/>
                  </a:lnTo>
                  <a:lnTo>
                    <a:pt x="3199" y="2630"/>
                  </a:lnTo>
                  <a:lnTo>
                    <a:pt x="3199" y="2628"/>
                  </a:lnTo>
                  <a:lnTo>
                    <a:pt x="3199" y="2628"/>
                  </a:lnTo>
                  <a:lnTo>
                    <a:pt x="3199" y="2628"/>
                  </a:lnTo>
                  <a:lnTo>
                    <a:pt x="3199" y="2628"/>
                  </a:lnTo>
                  <a:lnTo>
                    <a:pt x="3199" y="2628"/>
                  </a:lnTo>
                  <a:lnTo>
                    <a:pt x="3199" y="2625"/>
                  </a:lnTo>
                  <a:lnTo>
                    <a:pt x="3202" y="2625"/>
                  </a:lnTo>
                  <a:lnTo>
                    <a:pt x="3202" y="2625"/>
                  </a:lnTo>
                  <a:lnTo>
                    <a:pt x="3202" y="2625"/>
                  </a:lnTo>
                  <a:lnTo>
                    <a:pt x="3202" y="2625"/>
                  </a:lnTo>
                  <a:lnTo>
                    <a:pt x="3202" y="2625"/>
                  </a:lnTo>
                  <a:lnTo>
                    <a:pt x="3202" y="2625"/>
                  </a:lnTo>
                  <a:lnTo>
                    <a:pt x="3202" y="2625"/>
                  </a:lnTo>
                  <a:lnTo>
                    <a:pt x="3199" y="2625"/>
                  </a:lnTo>
                  <a:lnTo>
                    <a:pt x="3199" y="2625"/>
                  </a:lnTo>
                  <a:lnTo>
                    <a:pt x="3199" y="2625"/>
                  </a:lnTo>
                  <a:lnTo>
                    <a:pt x="3199" y="2625"/>
                  </a:lnTo>
                  <a:lnTo>
                    <a:pt x="3199" y="2625"/>
                  </a:lnTo>
                  <a:lnTo>
                    <a:pt x="3199" y="2625"/>
                  </a:lnTo>
                  <a:lnTo>
                    <a:pt x="3199" y="2625"/>
                  </a:lnTo>
                  <a:lnTo>
                    <a:pt x="3199" y="2625"/>
                  </a:lnTo>
                  <a:lnTo>
                    <a:pt x="3199" y="2625"/>
                  </a:lnTo>
                  <a:lnTo>
                    <a:pt x="3199" y="2625"/>
                  </a:lnTo>
                  <a:lnTo>
                    <a:pt x="3199" y="2625"/>
                  </a:lnTo>
                  <a:lnTo>
                    <a:pt x="3197" y="2625"/>
                  </a:lnTo>
                  <a:lnTo>
                    <a:pt x="3197" y="2625"/>
                  </a:lnTo>
                  <a:lnTo>
                    <a:pt x="3197" y="2625"/>
                  </a:lnTo>
                  <a:lnTo>
                    <a:pt x="3197" y="2625"/>
                  </a:lnTo>
                  <a:lnTo>
                    <a:pt x="3197" y="2625"/>
                  </a:lnTo>
                  <a:lnTo>
                    <a:pt x="3197" y="2625"/>
                  </a:lnTo>
                  <a:lnTo>
                    <a:pt x="3197" y="2625"/>
                  </a:lnTo>
                  <a:lnTo>
                    <a:pt x="3197" y="2625"/>
                  </a:lnTo>
                  <a:lnTo>
                    <a:pt x="3197" y="2625"/>
                  </a:lnTo>
                  <a:lnTo>
                    <a:pt x="3197" y="2625"/>
                  </a:lnTo>
                  <a:lnTo>
                    <a:pt x="3197" y="2628"/>
                  </a:lnTo>
                  <a:lnTo>
                    <a:pt x="3195" y="2628"/>
                  </a:lnTo>
                  <a:lnTo>
                    <a:pt x="3195" y="2628"/>
                  </a:lnTo>
                  <a:lnTo>
                    <a:pt x="3195" y="2628"/>
                  </a:lnTo>
                  <a:lnTo>
                    <a:pt x="3195" y="2628"/>
                  </a:lnTo>
                  <a:lnTo>
                    <a:pt x="3195" y="2628"/>
                  </a:lnTo>
                  <a:lnTo>
                    <a:pt x="3192" y="2630"/>
                  </a:lnTo>
                  <a:lnTo>
                    <a:pt x="3195" y="2630"/>
                  </a:lnTo>
                  <a:lnTo>
                    <a:pt x="3192" y="2632"/>
                  </a:lnTo>
                  <a:lnTo>
                    <a:pt x="3192" y="2632"/>
                  </a:lnTo>
                  <a:lnTo>
                    <a:pt x="3192" y="2635"/>
                  </a:lnTo>
                  <a:lnTo>
                    <a:pt x="3192" y="2635"/>
                  </a:lnTo>
                  <a:lnTo>
                    <a:pt x="3190" y="2635"/>
                  </a:lnTo>
                  <a:lnTo>
                    <a:pt x="3190" y="2635"/>
                  </a:lnTo>
                  <a:lnTo>
                    <a:pt x="3190" y="2635"/>
                  </a:lnTo>
                  <a:lnTo>
                    <a:pt x="3188" y="2635"/>
                  </a:lnTo>
                  <a:lnTo>
                    <a:pt x="3188" y="2632"/>
                  </a:lnTo>
                  <a:lnTo>
                    <a:pt x="3188" y="2632"/>
                  </a:lnTo>
                  <a:lnTo>
                    <a:pt x="3188" y="2632"/>
                  </a:lnTo>
                  <a:lnTo>
                    <a:pt x="3188" y="2632"/>
                  </a:lnTo>
                  <a:lnTo>
                    <a:pt x="3188" y="2630"/>
                  </a:lnTo>
                  <a:lnTo>
                    <a:pt x="3185" y="2632"/>
                  </a:lnTo>
                  <a:lnTo>
                    <a:pt x="3185" y="2632"/>
                  </a:lnTo>
                  <a:lnTo>
                    <a:pt x="3183" y="2632"/>
                  </a:lnTo>
                  <a:lnTo>
                    <a:pt x="3183" y="2632"/>
                  </a:lnTo>
                  <a:lnTo>
                    <a:pt x="3183" y="2632"/>
                  </a:lnTo>
                  <a:lnTo>
                    <a:pt x="3183" y="2630"/>
                  </a:lnTo>
                  <a:lnTo>
                    <a:pt x="3180" y="2630"/>
                  </a:lnTo>
                  <a:lnTo>
                    <a:pt x="3180" y="2630"/>
                  </a:lnTo>
                  <a:lnTo>
                    <a:pt x="3180" y="2628"/>
                  </a:lnTo>
                  <a:lnTo>
                    <a:pt x="3183" y="2628"/>
                  </a:lnTo>
                  <a:lnTo>
                    <a:pt x="3183" y="2628"/>
                  </a:lnTo>
                  <a:lnTo>
                    <a:pt x="3185" y="2628"/>
                  </a:lnTo>
                  <a:lnTo>
                    <a:pt x="3185" y="2628"/>
                  </a:lnTo>
                  <a:lnTo>
                    <a:pt x="3185" y="2628"/>
                  </a:lnTo>
                  <a:lnTo>
                    <a:pt x="3188" y="2628"/>
                  </a:lnTo>
                  <a:lnTo>
                    <a:pt x="3188" y="2628"/>
                  </a:lnTo>
                  <a:lnTo>
                    <a:pt x="3188" y="2628"/>
                  </a:lnTo>
                  <a:lnTo>
                    <a:pt x="3188" y="2625"/>
                  </a:lnTo>
                  <a:lnTo>
                    <a:pt x="3188" y="2625"/>
                  </a:lnTo>
                  <a:lnTo>
                    <a:pt x="3188" y="2625"/>
                  </a:lnTo>
                  <a:lnTo>
                    <a:pt x="3188" y="2623"/>
                  </a:lnTo>
                  <a:lnTo>
                    <a:pt x="3188" y="2623"/>
                  </a:lnTo>
                  <a:lnTo>
                    <a:pt x="3190" y="2623"/>
                  </a:lnTo>
                  <a:lnTo>
                    <a:pt x="3190" y="2623"/>
                  </a:lnTo>
                  <a:lnTo>
                    <a:pt x="3190" y="2621"/>
                  </a:lnTo>
                  <a:lnTo>
                    <a:pt x="3188" y="2621"/>
                  </a:lnTo>
                  <a:lnTo>
                    <a:pt x="3188" y="2621"/>
                  </a:lnTo>
                  <a:lnTo>
                    <a:pt x="3188" y="2621"/>
                  </a:lnTo>
                  <a:lnTo>
                    <a:pt x="3188" y="2621"/>
                  </a:lnTo>
                  <a:lnTo>
                    <a:pt x="3188" y="2621"/>
                  </a:lnTo>
                  <a:lnTo>
                    <a:pt x="3188" y="2621"/>
                  </a:lnTo>
                  <a:lnTo>
                    <a:pt x="3188" y="2621"/>
                  </a:lnTo>
                  <a:lnTo>
                    <a:pt x="3188" y="2621"/>
                  </a:lnTo>
                  <a:lnTo>
                    <a:pt x="3188" y="2621"/>
                  </a:lnTo>
                  <a:lnTo>
                    <a:pt x="3188" y="2621"/>
                  </a:lnTo>
                  <a:lnTo>
                    <a:pt x="3188" y="2621"/>
                  </a:lnTo>
                  <a:lnTo>
                    <a:pt x="3188" y="2623"/>
                  </a:lnTo>
                  <a:lnTo>
                    <a:pt x="3188" y="2623"/>
                  </a:lnTo>
                  <a:lnTo>
                    <a:pt x="3188" y="2623"/>
                  </a:lnTo>
                  <a:lnTo>
                    <a:pt x="3188" y="2623"/>
                  </a:lnTo>
                  <a:lnTo>
                    <a:pt x="3185" y="2623"/>
                  </a:lnTo>
                  <a:lnTo>
                    <a:pt x="3185" y="2623"/>
                  </a:lnTo>
                  <a:lnTo>
                    <a:pt x="3185" y="2623"/>
                  </a:lnTo>
                  <a:lnTo>
                    <a:pt x="3185" y="2625"/>
                  </a:lnTo>
                  <a:lnTo>
                    <a:pt x="3185" y="2623"/>
                  </a:lnTo>
                  <a:lnTo>
                    <a:pt x="3185" y="2623"/>
                  </a:lnTo>
                  <a:lnTo>
                    <a:pt x="3185" y="2623"/>
                  </a:lnTo>
                  <a:lnTo>
                    <a:pt x="3185" y="2623"/>
                  </a:lnTo>
                  <a:lnTo>
                    <a:pt x="3185" y="2623"/>
                  </a:lnTo>
                  <a:lnTo>
                    <a:pt x="3185" y="2621"/>
                  </a:lnTo>
                  <a:lnTo>
                    <a:pt x="3185" y="2621"/>
                  </a:lnTo>
                  <a:lnTo>
                    <a:pt x="3185" y="2621"/>
                  </a:lnTo>
                  <a:lnTo>
                    <a:pt x="3185" y="2621"/>
                  </a:lnTo>
                  <a:lnTo>
                    <a:pt x="3185" y="2621"/>
                  </a:lnTo>
                  <a:lnTo>
                    <a:pt x="3185" y="2623"/>
                  </a:lnTo>
                  <a:lnTo>
                    <a:pt x="3185" y="2623"/>
                  </a:lnTo>
                  <a:lnTo>
                    <a:pt x="3183" y="2623"/>
                  </a:lnTo>
                  <a:lnTo>
                    <a:pt x="3183" y="2625"/>
                  </a:lnTo>
                  <a:lnTo>
                    <a:pt x="3183" y="2625"/>
                  </a:lnTo>
                  <a:lnTo>
                    <a:pt x="3183" y="2625"/>
                  </a:lnTo>
                  <a:lnTo>
                    <a:pt x="3183" y="2625"/>
                  </a:lnTo>
                  <a:lnTo>
                    <a:pt x="3180" y="2623"/>
                  </a:lnTo>
                  <a:lnTo>
                    <a:pt x="3180" y="2623"/>
                  </a:lnTo>
                  <a:lnTo>
                    <a:pt x="3180" y="2623"/>
                  </a:lnTo>
                  <a:lnTo>
                    <a:pt x="3180" y="2623"/>
                  </a:lnTo>
                  <a:lnTo>
                    <a:pt x="3180" y="2623"/>
                  </a:lnTo>
                  <a:lnTo>
                    <a:pt x="3178" y="2623"/>
                  </a:lnTo>
                  <a:lnTo>
                    <a:pt x="3178" y="2623"/>
                  </a:lnTo>
                  <a:lnTo>
                    <a:pt x="3178" y="2625"/>
                  </a:lnTo>
                  <a:lnTo>
                    <a:pt x="3173" y="2628"/>
                  </a:lnTo>
                  <a:lnTo>
                    <a:pt x="3173" y="2628"/>
                  </a:lnTo>
                  <a:lnTo>
                    <a:pt x="3173" y="2628"/>
                  </a:lnTo>
                  <a:lnTo>
                    <a:pt x="3169" y="2630"/>
                  </a:lnTo>
                  <a:lnTo>
                    <a:pt x="3169" y="2630"/>
                  </a:lnTo>
                  <a:lnTo>
                    <a:pt x="3166" y="2630"/>
                  </a:lnTo>
                  <a:lnTo>
                    <a:pt x="3164" y="2630"/>
                  </a:lnTo>
                  <a:lnTo>
                    <a:pt x="3162" y="2628"/>
                  </a:lnTo>
                  <a:lnTo>
                    <a:pt x="3159" y="2628"/>
                  </a:lnTo>
                  <a:lnTo>
                    <a:pt x="3157" y="2628"/>
                  </a:lnTo>
                  <a:lnTo>
                    <a:pt x="3157" y="2628"/>
                  </a:lnTo>
                  <a:lnTo>
                    <a:pt x="3154" y="2625"/>
                  </a:lnTo>
                  <a:lnTo>
                    <a:pt x="3154" y="2623"/>
                  </a:lnTo>
                  <a:lnTo>
                    <a:pt x="3157" y="2621"/>
                  </a:lnTo>
                  <a:lnTo>
                    <a:pt x="3159" y="2618"/>
                  </a:lnTo>
                  <a:lnTo>
                    <a:pt x="3159" y="2616"/>
                  </a:lnTo>
                  <a:lnTo>
                    <a:pt x="3162" y="2614"/>
                  </a:lnTo>
                  <a:lnTo>
                    <a:pt x="3162" y="2614"/>
                  </a:lnTo>
                  <a:lnTo>
                    <a:pt x="3164" y="2611"/>
                  </a:lnTo>
                  <a:lnTo>
                    <a:pt x="3164" y="2611"/>
                  </a:lnTo>
                  <a:lnTo>
                    <a:pt x="3166" y="2611"/>
                  </a:lnTo>
                  <a:lnTo>
                    <a:pt x="3169" y="2611"/>
                  </a:lnTo>
                  <a:lnTo>
                    <a:pt x="3171" y="2614"/>
                  </a:lnTo>
                  <a:lnTo>
                    <a:pt x="3173" y="2614"/>
                  </a:lnTo>
                  <a:lnTo>
                    <a:pt x="3173" y="2614"/>
                  </a:lnTo>
                  <a:lnTo>
                    <a:pt x="3173" y="2614"/>
                  </a:lnTo>
                  <a:lnTo>
                    <a:pt x="3173" y="2616"/>
                  </a:lnTo>
                  <a:lnTo>
                    <a:pt x="3176" y="2616"/>
                  </a:lnTo>
                  <a:lnTo>
                    <a:pt x="3176" y="2618"/>
                  </a:lnTo>
                  <a:lnTo>
                    <a:pt x="3178" y="2616"/>
                  </a:lnTo>
                  <a:lnTo>
                    <a:pt x="3178" y="2616"/>
                  </a:lnTo>
                  <a:lnTo>
                    <a:pt x="3178" y="2616"/>
                  </a:lnTo>
                  <a:lnTo>
                    <a:pt x="3180" y="2616"/>
                  </a:lnTo>
                  <a:lnTo>
                    <a:pt x="3180" y="2618"/>
                  </a:lnTo>
                  <a:lnTo>
                    <a:pt x="3183" y="2618"/>
                  </a:lnTo>
                  <a:lnTo>
                    <a:pt x="3183" y="2618"/>
                  </a:lnTo>
                  <a:lnTo>
                    <a:pt x="3185" y="2618"/>
                  </a:lnTo>
                  <a:lnTo>
                    <a:pt x="3185" y="2618"/>
                  </a:lnTo>
                  <a:lnTo>
                    <a:pt x="3185" y="2618"/>
                  </a:lnTo>
                  <a:lnTo>
                    <a:pt x="3185" y="2618"/>
                  </a:lnTo>
                  <a:lnTo>
                    <a:pt x="3185" y="2618"/>
                  </a:lnTo>
                  <a:lnTo>
                    <a:pt x="3185" y="2621"/>
                  </a:lnTo>
                  <a:lnTo>
                    <a:pt x="3185" y="2621"/>
                  </a:lnTo>
                  <a:lnTo>
                    <a:pt x="3185" y="2621"/>
                  </a:lnTo>
                  <a:lnTo>
                    <a:pt x="3188" y="2621"/>
                  </a:lnTo>
                  <a:lnTo>
                    <a:pt x="3188" y="2621"/>
                  </a:lnTo>
                  <a:lnTo>
                    <a:pt x="3188" y="2621"/>
                  </a:lnTo>
                  <a:lnTo>
                    <a:pt x="3190" y="2621"/>
                  </a:lnTo>
                  <a:lnTo>
                    <a:pt x="3190" y="2621"/>
                  </a:lnTo>
                  <a:lnTo>
                    <a:pt x="3190" y="2621"/>
                  </a:lnTo>
                  <a:lnTo>
                    <a:pt x="3192" y="2618"/>
                  </a:lnTo>
                  <a:lnTo>
                    <a:pt x="3192" y="2621"/>
                  </a:lnTo>
                  <a:lnTo>
                    <a:pt x="3192" y="2621"/>
                  </a:lnTo>
                  <a:lnTo>
                    <a:pt x="3190" y="2621"/>
                  </a:lnTo>
                  <a:lnTo>
                    <a:pt x="3190" y="2621"/>
                  </a:lnTo>
                  <a:lnTo>
                    <a:pt x="3192" y="2621"/>
                  </a:lnTo>
                  <a:lnTo>
                    <a:pt x="3192" y="2621"/>
                  </a:lnTo>
                  <a:lnTo>
                    <a:pt x="3195" y="2618"/>
                  </a:lnTo>
                  <a:lnTo>
                    <a:pt x="3195" y="2618"/>
                  </a:lnTo>
                  <a:lnTo>
                    <a:pt x="3195" y="2618"/>
                  </a:lnTo>
                  <a:lnTo>
                    <a:pt x="3195" y="2618"/>
                  </a:lnTo>
                  <a:lnTo>
                    <a:pt x="3195" y="2618"/>
                  </a:lnTo>
                  <a:lnTo>
                    <a:pt x="3197" y="2618"/>
                  </a:lnTo>
                  <a:lnTo>
                    <a:pt x="3197" y="2618"/>
                  </a:lnTo>
                  <a:lnTo>
                    <a:pt x="3197" y="2618"/>
                  </a:lnTo>
                  <a:lnTo>
                    <a:pt x="3197" y="2618"/>
                  </a:lnTo>
                  <a:lnTo>
                    <a:pt x="3197" y="2618"/>
                  </a:lnTo>
                  <a:lnTo>
                    <a:pt x="3197" y="2618"/>
                  </a:lnTo>
                  <a:lnTo>
                    <a:pt x="3197" y="2618"/>
                  </a:lnTo>
                  <a:lnTo>
                    <a:pt x="3197" y="2618"/>
                  </a:lnTo>
                  <a:lnTo>
                    <a:pt x="3197" y="2618"/>
                  </a:lnTo>
                  <a:lnTo>
                    <a:pt x="3197" y="2618"/>
                  </a:lnTo>
                  <a:lnTo>
                    <a:pt x="3197" y="2618"/>
                  </a:lnTo>
                  <a:lnTo>
                    <a:pt x="3199" y="2616"/>
                  </a:lnTo>
                  <a:lnTo>
                    <a:pt x="3199" y="2616"/>
                  </a:lnTo>
                  <a:lnTo>
                    <a:pt x="3199" y="2616"/>
                  </a:lnTo>
                  <a:lnTo>
                    <a:pt x="3202" y="2614"/>
                  </a:lnTo>
                  <a:lnTo>
                    <a:pt x="3202" y="2611"/>
                  </a:lnTo>
                  <a:lnTo>
                    <a:pt x="3202" y="2611"/>
                  </a:lnTo>
                  <a:lnTo>
                    <a:pt x="3202" y="2611"/>
                  </a:lnTo>
                  <a:lnTo>
                    <a:pt x="3202" y="2611"/>
                  </a:lnTo>
                  <a:lnTo>
                    <a:pt x="3202" y="2611"/>
                  </a:lnTo>
                  <a:lnTo>
                    <a:pt x="3202" y="2611"/>
                  </a:lnTo>
                  <a:lnTo>
                    <a:pt x="3202" y="2609"/>
                  </a:lnTo>
                  <a:lnTo>
                    <a:pt x="3202" y="2609"/>
                  </a:lnTo>
                  <a:lnTo>
                    <a:pt x="3202" y="2609"/>
                  </a:lnTo>
                  <a:lnTo>
                    <a:pt x="3202" y="2609"/>
                  </a:lnTo>
                  <a:lnTo>
                    <a:pt x="3204" y="2609"/>
                  </a:lnTo>
                  <a:lnTo>
                    <a:pt x="3204" y="2609"/>
                  </a:lnTo>
                  <a:lnTo>
                    <a:pt x="3207" y="2609"/>
                  </a:lnTo>
                  <a:lnTo>
                    <a:pt x="3204" y="2611"/>
                  </a:lnTo>
                  <a:lnTo>
                    <a:pt x="3204" y="2611"/>
                  </a:lnTo>
                  <a:lnTo>
                    <a:pt x="3204" y="2611"/>
                  </a:lnTo>
                  <a:lnTo>
                    <a:pt x="3207" y="2611"/>
                  </a:lnTo>
                  <a:lnTo>
                    <a:pt x="3207" y="2611"/>
                  </a:lnTo>
                  <a:lnTo>
                    <a:pt x="3209" y="2611"/>
                  </a:lnTo>
                  <a:lnTo>
                    <a:pt x="3211" y="2609"/>
                  </a:lnTo>
                  <a:lnTo>
                    <a:pt x="3214" y="2609"/>
                  </a:lnTo>
                  <a:lnTo>
                    <a:pt x="3216" y="2606"/>
                  </a:lnTo>
                  <a:lnTo>
                    <a:pt x="3216" y="2606"/>
                  </a:lnTo>
                  <a:lnTo>
                    <a:pt x="3216" y="2606"/>
                  </a:lnTo>
                  <a:lnTo>
                    <a:pt x="3218" y="2606"/>
                  </a:lnTo>
                  <a:lnTo>
                    <a:pt x="3221" y="2606"/>
                  </a:lnTo>
                  <a:lnTo>
                    <a:pt x="3221" y="2606"/>
                  </a:lnTo>
                  <a:lnTo>
                    <a:pt x="3223" y="2604"/>
                  </a:lnTo>
                  <a:lnTo>
                    <a:pt x="3216" y="2604"/>
                  </a:lnTo>
                  <a:lnTo>
                    <a:pt x="3216" y="2604"/>
                  </a:lnTo>
                  <a:lnTo>
                    <a:pt x="3218" y="2604"/>
                  </a:lnTo>
                  <a:lnTo>
                    <a:pt x="3218" y="2604"/>
                  </a:lnTo>
                  <a:lnTo>
                    <a:pt x="3218" y="2604"/>
                  </a:lnTo>
                  <a:lnTo>
                    <a:pt x="3223" y="2604"/>
                  </a:lnTo>
                  <a:lnTo>
                    <a:pt x="3228" y="2606"/>
                  </a:lnTo>
                  <a:lnTo>
                    <a:pt x="3230" y="2606"/>
                  </a:lnTo>
                  <a:lnTo>
                    <a:pt x="3230" y="2606"/>
                  </a:lnTo>
                  <a:lnTo>
                    <a:pt x="3233" y="2606"/>
                  </a:lnTo>
                  <a:lnTo>
                    <a:pt x="3235" y="2604"/>
                  </a:lnTo>
                  <a:lnTo>
                    <a:pt x="3235" y="2604"/>
                  </a:lnTo>
                  <a:lnTo>
                    <a:pt x="3235" y="2604"/>
                  </a:lnTo>
                  <a:lnTo>
                    <a:pt x="3235" y="2606"/>
                  </a:lnTo>
                  <a:lnTo>
                    <a:pt x="3235" y="2606"/>
                  </a:lnTo>
                  <a:lnTo>
                    <a:pt x="3235" y="2606"/>
                  </a:lnTo>
                  <a:lnTo>
                    <a:pt x="3237" y="2606"/>
                  </a:lnTo>
                  <a:lnTo>
                    <a:pt x="3237" y="2606"/>
                  </a:lnTo>
                  <a:lnTo>
                    <a:pt x="3237" y="2606"/>
                  </a:lnTo>
                  <a:lnTo>
                    <a:pt x="3240" y="2606"/>
                  </a:lnTo>
                  <a:lnTo>
                    <a:pt x="3240" y="2606"/>
                  </a:lnTo>
                  <a:lnTo>
                    <a:pt x="3240" y="2606"/>
                  </a:lnTo>
                  <a:lnTo>
                    <a:pt x="3242" y="2606"/>
                  </a:lnTo>
                  <a:lnTo>
                    <a:pt x="3242" y="2606"/>
                  </a:lnTo>
                  <a:lnTo>
                    <a:pt x="3242" y="2606"/>
                  </a:lnTo>
                  <a:lnTo>
                    <a:pt x="3242" y="2606"/>
                  </a:lnTo>
                  <a:lnTo>
                    <a:pt x="3242" y="2606"/>
                  </a:lnTo>
                  <a:lnTo>
                    <a:pt x="3242" y="2604"/>
                  </a:lnTo>
                  <a:lnTo>
                    <a:pt x="3242" y="2604"/>
                  </a:lnTo>
                  <a:lnTo>
                    <a:pt x="3242" y="2604"/>
                  </a:lnTo>
                  <a:lnTo>
                    <a:pt x="3244" y="2604"/>
                  </a:lnTo>
                  <a:lnTo>
                    <a:pt x="3244" y="2604"/>
                  </a:lnTo>
                  <a:lnTo>
                    <a:pt x="3244" y="2604"/>
                  </a:lnTo>
                  <a:lnTo>
                    <a:pt x="3247" y="2604"/>
                  </a:lnTo>
                  <a:lnTo>
                    <a:pt x="3247" y="2604"/>
                  </a:lnTo>
                  <a:lnTo>
                    <a:pt x="3247" y="2604"/>
                  </a:lnTo>
                  <a:lnTo>
                    <a:pt x="3247" y="2604"/>
                  </a:lnTo>
                  <a:lnTo>
                    <a:pt x="3247" y="2604"/>
                  </a:lnTo>
                  <a:lnTo>
                    <a:pt x="3247" y="2604"/>
                  </a:lnTo>
                  <a:lnTo>
                    <a:pt x="3247" y="2604"/>
                  </a:lnTo>
                  <a:lnTo>
                    <a:pt x="3251" y="2604"/>
                  </a:lnTo>
                  <a:lnTo>
                    <a:pt x="3251" y="2604"/>
                  </a:lnTo>
                  <a:lnTo>
                    <a:pt x="3251" y="2604"/>
                  </a:lnTo>
                  <a:lnTo>
                    <a:pt x="3251" y="2606"/>
                  </a:lnTo>
                  <a:lnTo>
                    <a:pt x="3251" y="2606"/>
                  </a:lnTo>
                  <a:lnTo>
                    <a:pt x="3254" y="2606"/>
                  </a:lnTo>
                  <a:lnTo>
                    <a:pt x="3254" y="2606"/>
                  </a:lnTo>
                  <a:lnTo>
                    <a:pt x="3254" y="2606"/>
                  </a:lnTo>
                  <a:lnTo>
                    <a:pt x="3254" y="2606"/>
                  </a:lnTo>
                  <a:lnTo>
                    <a:pt x="3254" y="2606"/>
                  </a:lnTo>
                  <a:lnTo>
                    <a:pt x="3254" y="2606"/>
                  </a:lnTo>
                  <a:lnTo>
                    <a:pt x="3254" y="2606"/>
                  </a:lnTo>
                  <a:lnTo>
                    <a:pt x="3254" y="2604"/>
                  </a:lnTo>
                  <a:lnTo>
                    <a:pt x="3254" y="2602"/>
                  </a:lnTo>
                  <a:lnTo>
                    <a:pt x="3254" y="2599"/>
                  </a:lnTo>
                  <a:lnTo>
                    <a:pt x="3254" y="2599"/>
                  </a:lnTo>
                  <a:lnTo>
                    <a:pt x="3254" y="2597"/>
                  </a:lnTo>
                  <a:lnTo>
                    <a:pt x="3254" y="2597"/>
                  </a:lnTo>
                  <a:lnTo>
                    <a:pt x="3254" y="2595"/>
                  </a:lnTo>
                  <a:lnTo>
                    <a:pt x="3256" y="2595"/>
                  </a:lnTo>
                  <a:lnTo>
                    <a:pt x="3256" y="2595"/>
                  </a:lnTo>
                  <a:lnTo>
                    <a:pt x="3256" y="2595"/>
                  </a:lnTo>
                  <a:lnTo>
                    <a:pt x="3256" y="2592"/>
                  </a:lnTo>
                  <a:lnTo>
                    <a:pt x="3256" y="2592"/>
                  </a:lnTo>
                  <a:lnTo>
                    <a:pt x="3256" y="2592"/>
                  </a:lnTo>
                  <a:lnTo>
                    <a:pt x="3256" y="2592"/>
                  </a:lnTo>
                  <a:lnTo>
                    <a:pt x="3256" y="2590"/>
                  </a:lnTo>
                  <a:lnTo>
                    <a:pt x="3256" y="2590"/>
                  </a:lnTo>
                  <a:lnTo>
                    <a:pt x="3256" y="2590"/>
                  </a:lnTo>
                  <a:lnTo>
                    <a:pt x="3256" y="2587"/>
                  </a:lnTo>
                  <a:lnTo>
                    <a:pt x="3256" y="2587"/>
                  </a:lnTo>
                  <a:lnTo>
                    <a:pt x="3256" y="2587"/>
                  </a:lnTo>
                  <a:lnTo>
                    <a:pt x="3256" y="2587"/>
                  </a:lnTo>
                  <a:lnTo>
                    <a:pt x="3256" y="2585"/>
                  </a:lnTo>
                  <a:lnTo>
                    <a:pt x="3256" y="2585"/>
                  </a:lnTo>
                  <a:lnTo>
                    <a:pt x="3256" y="2585"/>
                  </a:lnTo>
                  <a:lnTo>
                    <a:pt x="3256" y="2585"/>
                  </a:lnTo>
                  <a:lnTo>
                    <a:pt x="3259" y="2585"/>
                  </a:lnTo>
                  <a:lnTo>
                    <a:pt x="3259" y="2585"/>
                  </a:lnTo>
                  <a:lnTo>
                    <a:pt x="3259" y="2587"/>
                  </a:lnTo>
                  <a:lnTo>
                    <a:pt x="3259" y="2587"/>
                  </a:lnTo>
                  <a:lnTo>
                    <a:pt x="3259" y="2587"/>
                  </a:lnTo>
                  <a:lnTo>
                    <a:pt x="3259" y="2587"/>
                  </a:lnTo>
                  <a:lnTo>
                    <a:pt x="3259" y="2587"/>
                  </a:lnTo>
                  <a:lnTo>
                    <a:pt x="3261" y="2587"/>
                  </a:lnTo>
                  <a:lnTo>
                    <a:pt x="3261" y="2587"/>
                  </a:lnTo>
                  <a:lnTo>
                    <a:pt x="3263" y="2592"/>
                  </a:lnTo>
                  <a:lnTo>
                    <a:pt x="3263" y="2592"/>
                  </a:lnTo>
                  <a:lnTo>
                    <a:pt x="3263" y="2595"/>
                  </a:lnTo>
                  <a:lnTo>
                    <a:pt x="3263" y="2595"/>
                  </a:lnTo>
                  <a:lnTo>
                    <a:pt x="3263" y="2595"/>
                  </a:lnTo>
                  <a:lnTo>
                    <a:pt x="3261" y="2597"/>
                  </a:lnTo>
                  <a:lnTo>
                    <a:pt x="3261" y="2597"/>
                  </a:lnTo>
                  <a:lnTo>
                    <a:pt x="3263" y="2597"/>
                  </a:lnTo>
                  <a:lnTo>
                    <a:pt x="3263" y="2597"/>
                  </a:lnTo>
                  <a:lnTo>
                    <a:pt x="3263" y="2599"/>
                  </a:lnTo>
                  <a:lnTo>
                    <a:pt x="3263" y="2599"/>
                  </a:lnTo>
                  <a:lnTo>
                    <a:pt x="3263" y="2599"/>
                  </a:lnTo>
                  <a:lnTo>
                    <a:pt x="3263" y="2599"/>
                  </a:lnTo>
                  <a:lnTo>
                    <a:pt x="3263" y="2599"/>
                  </a:lnTo>
                  <a:lnTo>
                    <a:pt x="3263" y="2602"/>
                  </a:lnTo>
                  <a:lnTo>
                    <a:pt x="3263" y="2602"/>
                  </a:lnTo>
                  <a:lnTo>
                    <a:pt x="3266" y="2602"/>
                  </a:lnTo>
                  <a:lnTo>
                    <a:pt x="3266" y="2602"/>
                  </a:lnTo>
                  <a:lnTo>
                    <a:pt x="3266" y="2602"/>
                  </a:lnTo>
                  <a:lnTo>
                    <a:pt x="3266" y="2602"/>
                  </a:lnTo>
                  <a:lnTo>
                    <a:pt x="3266" y="2602"/>
                  </a:lnTo>
                  <a:lnTo>
                    <a:pt x="3266" y="2602"/>
                  </a:lnTo>
                  <a:lnTo>
                    <a:pt x="3268" y="2599"/>
                  </a:lnTo>
                  <a:lnTo>
                    <a:pt x="3268" y="2599"/>
                  </a:lnTo>
                  <a:lnTo>
                    <a:pt x="3268" y="2599"/>
                  </a:lnTo>
                  <a:lnTo>
                    <a:pt x="3268" y="2599"/>
                  </a:lnTo>
                  <a:lnTo>
                    <a:pt x="3268" y="2602"/>
                  </a:lnTo>
                  <a:lnTo>
                    <a:pt x="3268" y="2602"/>
                  </a:lnTo>
                  <a:lnTo>
                    <a:pt x="3268" y="2602"/>
                  </a:lnTo>
                  <a:lnTo>
                    <a:pt x="3268" y="2604"/>
                  </a:lnTo>
                  <a:lnTo>
                    <a:pt x="3270" y="2604"/>
                  </a:lnTo>
                  <a:lnTo>
                    <a:pt x="3270" y="2606"/>
                  </a:lnTo>
                  <a:lnTo>
                    <a:pt x="3270" y="2606"/>
                  </a:lnTo>
                  <a:lnTo>
                    <a:pt x="3268" y="2609"/>
                  </a:lnTo>
                  <a:lnTo>
                    <a:pt x="3266" y="2609"/>
                  </a:lnTo>
                  <a:lnTo>
                    <a:pt x="3263" y="2609"/>
                  </a:lnTo>
                  <a:lnTo>
                    <a:pt x="3263" y="2609"/>
                  </a:lnTo>
                  <a:lnTo>
                    <a:pt x="3263" y="2609"/>
                  </a:lnTo>
                  <a:lnTo>
                    <a:pt x="3263" y="2609"/>
                  </a:lnTo>
                  <a:lnTo>
                    <a:pt x="3263" y="2609"/>
                  </a:lnTo>
                  <a:lnTo>
                    <a:pt x="3261" y="2609"/>
                  </a:lnTo>
                  <a:lnTo>
                    <a:pt x="3261" y="2609"/>
                  </a:lnTo>
                  <a:lnTo>
                    <a:pt x="3259" y="2611"/>
                  </a:lnTo>
                  <a:lnTo>
                    <a:pt x="3261" y="2611"/>
                  </a:lnTo>
                  <a:lnTo>
                    <a:pt x="3266" y="2609"/>
                  </a:lnTo>
                  <a:lnTo>
                    <a:pt x="3270" y="2609"/>
                  </a:lnTo>
                  <a:lnTo>
                    <a:pt x="3275" y="2606"/>
                  </a:lnTo>
                  <a:lnTo>
                    <a:pt x="3278" y="2606"/>
                  </a:lnTo>
                  <a:lnTo>
                    <a:pt x="3280" y="2604"/>
                  </a:lnTo>
                  <a:lnTo>
                    <a:pt x="3280" y="2604"/>
                  </a:lnTo>
                  <a:lnTo>
                    <a:pt x="3278" y="2604"/>
                  </a:lnTo>
                  <a:lnTo>
                    <a:pt x="3278" y="2604"/>
                  </a:lnTo>
                  <a:lnTo>
                    <a:pt x="3278" y="2604"/>
                  </a:lnTo>
                  <a:lnTo>
                    <a:pt x="3278" y="2604"/>
                  </a:lnTo>
                  <a:lnTo>
                    <a:pt x="3278" y="2604"/>
                  </a:lnTo>
                  <a:lnTo>
                    <a:pt x="3278" y="2602"/>
                  </a:lnTo>
                  <a:lnTo>
                    <a:pt x="3278" y="2602"/>
                  </a:lnTo>
                  <a:lnTo>
                    <a:pt x="3278" y="2602"/>
                  </a:lnTo>
                  <a:lnTo>
                    <a:pt x="3278" y="2602"/>
                  </a:lnTo>
                  <a:lnTo>
                    <a:pt x="3278" y="2602"/>
                  </a:lnTo>
                  <a:lnTo>
                    <a:pt x="3278" y="2604"/>
                  </a:lnTo>
                  <a:lnTo>
                    <a:pt x="3278" y="2604"/>
                  </a:lnTo>
                  <a:lnTo>
                    <a:pt x="3280" y="2604"/>
                  </a:lnTo>
                  <a:lnTo>
                    <a:pt x="3280" y="2604"/>
                  </a:lnTo>
                  <a:lnTo>
                    <a:pt x="3280" y="2604"/>
                  </a:lnTo>
                  <a:lnTo>
                    <a:pt x="3280" y="2602"/>
                  </a:lnTo>
                  <a:lnTo>
                    <a:pt x="3282" y="2602"/>
                  </a:lnTo>
                  <a:lnTo>
                    <a:pt x="3282" y="2602"/>
                  </a:lnTo>
                  <a:lnTo>
                    <a:pt x="3282" y="2602"/>
                  </a:lnTo>
                  <a:lnTo>
                    <a:pt x="3285" y="2599"/>
                  </a:lnTo>
                  <a:lnTo>
                    <a:pt x="3285" y="2599"/>
                  </a:lnTo>
                  <a:lnTo>
                    <a:pt x="3285" y="2599"/>
                  </a:lnTo>
                  <a:lnTo>
                    <a:pt x="3285" y="2597"/>
                  </a:lnTo>
                  <a:lnTo>
                    <a:pt x="3285" y="2597"/>
                  </a:lnTo>
                  <a:lnTo>
                    <a:pt x="3287" y="2597"/>
                  </a:lnTo>
                  <a:lnTo>
                    <a:pt x="3285" y="2597"/>
                  </a:lnTo>
                  <a:lnTo>
                    <a:pt x="3285" y="2595"/>
                  </a:lnTo>
                  <a:lnTo>
                    <a:pt x="3285" y="2595"/>
                  </a:lnTo>
                  <a:lnTo>
                    <a:pt x="3285" y="2595"/>
                  </a:lnTo>
                  <a:lnTo>
                    <a:pt x="3285" y="2595"/>
                  </a:lnTo>
                  <a:lnTo>
                    <a:pt x="3285" y="2595"/>
                  </a:lnTo>
                  <a:lnTo>
                    <a:pt x="3285" y="2595"/>
                  </a:lnTo>
                  <a:lnTo>
                    <a:pt x="3287" y="2595"/>
                  </a:lnTo>
                  <a:lnTo>
                    <a:pt x="3287" y="2595"/>
                  </a:lnTo>
                  <a:lnTo>
                    <a:pt x="3287" y="2595"/>
                  </a:lnTo>
                  <a:lnTo>
                    <a:pt x="3287" y="2595"/>
                  </a:lnTo>
                  <a:lnTo>
                    <a:pt x="3287" y="2597"/>
                  </a:lnTo>
                  <a:lnTo>
                    <a:pt x="3289" y="2597"/>
                  </a:lnTo>
                  <a:lnTo>
                    <a:pt x="3287" y="2597"/>
                  </a:lnTo>
                  <a:lnTo>
                    <a:pt x="3287" y="2597"/>
                  </a:lnTo>
                  <a:lnTo>
                    <a:pt x="3287" y="2599"/>
                  </a:lnTo>
                  <a:lnTo>
                    <a:pt x="3285" y="2599"/>
                  </a:lnTo>
                  <a:lnTo>
                    <a:pt x="3285" y="2599"/>
                  </a:lnTo>
                  <a:lnTo>
                    <a:pt x="3285" y="2602"/>
                  </a:lnTo>
                  <a:lnTo>
                    <a:pt x="3285" y="2602"/>
                  </a:lnTo>
                  <a:lnTo>
                    <a:pt x="3285" y="2602"/>
                  </a:lnTo>
                  <a:lnTo>
                    <a:pt x="3285" y="2602"/>
                  </a:lnTo>
                  <a:lnTo>
                    <a:pt x="3285" y="2602"/>
                  </a:lnTo>
                  <a:lnTo>
                    <a:pt x="3282" y="2602"/>
                  </a:lnTo>
                  <a:lnTo>
                    <a:pt x="3282" y="2602"/>
                  </a:lnTo>
                  <a:lnTo>
                    <a:pt x="3285" y="2604"/>
                  </a:lnTo>
                  <a:lnTo>
                    <a:pt x="3285" y="2604"/>
                  </a:lnTo>
                  <a:lnTo>
                    <a:pt x="3282" y="2604"/>
                  </a:lnTo>
                  <a:lnTo>
                    <a:pt x="3282" y="2604"/>
                  </a:lnTo>
                  <a:lnTo>
                    <a:pt x="3282" y="2604"/>
                  </a:lnTo>
                  <a:lnTo>
                    <a:pt x="3282" y="2604"/>
                  </a:lnTo>
                  <a:lnTo>
                    <a:pt x="3282" y="2604"/>
                  </a:lnTo>
                  <a:lnTo>
                    <a:pt x="3280" y="2604"/>
                  </a:lnTo>
                  <a:lnTo>
                    <a:pt x="3280" y="2606"/>
                  </a:lnTo>
                  <a:lnTo>
                    <a:pt x="3282" y="2604"/>
                  </a:lnTo>
                  <a:lnTo>
                    <a:pt x="3282" y="2604"/>
                  </a:lnTo>
                  <a:lnTo>
                    <a:pt x="3282" y="2604"/>
                  </a:lnTo>
                  <a:lnTo>
                    <a:pt x="3285" y="2604"/>
                  </a:lnTo>
                  <a:lnTo>
                    <a:pt x="3289" y="2602"/>
                  </a:lnTo>
                  <a:lnTo>
                    <a:pt x="3289" y="2602"/>
                  </a:lnTo>
                  <a:lnTo>
                    <a:pt x="3289" y="2602"/>
                  </a:lnTo>
                  <a:lnTo>
                    <a:pt x="3292" y="2602"/>
                  </a:lnTo>
                  <a:lnTo>
                    <a:pt x="3292" y="2599"/>
                  </a:lnTo>
                  <a:lnTo>
                    <a:pt x="3292" y="2599"/>
                  </a:lnTo>
                  <a:lnTo>
                    <a:pt x="3292" y="2599"/>
                  </a:lnTo>
                  <a:lnTo>
                    <a:pt x="3292" y="2599"/>
                  </a:lnTo>
                  <a:lnTo>
                    <a:pt x="3292" y="2597"/>
                  </a:lnTo>
                  <a:lnTo>
                    <a:pt x="3292" y="2597"/>
                  </a:lnTo>
                  <a:lnTo>
                    <a:pt x="3294" y="2597"/>
                  </a:lnTo>
                  <a:lnTo>
                    <a:pt x="3294" y="2597"/>
                  </a:lnTo>
                  <a:lnTo>
                    <a:pt x="3294" y="2595"/>
                  </a:lnTo>
                  <a:lnTo>
                    <a:pt x="3294" y="2595"/>
                  </a:lnTo>
                  <a:lnTo>
                    <a:pt x="3294" y="2595"/>
                  </a:lnTo>
                  <a:lnTo>
                    <a:pt x="3294" y="2595"/>
                  </a:lnTo>
                  <a:lnTo>
                    <a:pt x="3296" y="2595"/>
                  </a:lnTo>
                  <a:lnTo>
                    <a:pt x="3296" y="2595"/>
                  </a:lnTo>
                  <a:lnTo>
                    <a:pt x="3296" y="2592"/>
                  </a:lnTo>
                  <a:lnTo>
                    <a:pt x="3296" y="2592"/>
                  </a:lnTo>
                  <a:lnTo>
                    <a:pt x="3294" y="2590"/>
                  </a:lnTo>
                  <a:lnTo>
                    <a:pt x="3294" y="2590"/>
                  </a:lnTo>
                  <a:lnTo>
                    <a:pt x="3294" y="2590"/>
                  </a:lnTo>
                  <a:lnTo>
                    <a:pt x="3294" y="2587"/>
                  </a:lnTo>
                  <a:lnTo>
                    <a:pt x="3294" y="2587"/>
                  </a:lnTo>
                  <a:lnTo>
                    <a:pt x="3296" y="2587"/>
                  </a:lnTo>
                  <a:lnTo>
                    <a:pt x="3296" y="2590"/>
                  </a:lnTo>
                  <a:lnTo>
                    <a:pt x="3296" y="2590"/>
                  </a:lnTo>
                  <a:lnTo>
                    <a:pt x="3296" y="2590"/>
                  </a:lnTo>
                  <a:lnTo>
                    <a:pt x="3296" y="2590"/>
                  </a:lnTo>
                  <a:lnTo>
                    <a:pt x="3296" y="2590"/>
                  </a:lnTo>
                  <a:lnTo>
                    <a:pt x="3296" y="2590"/>
                  </a:lnTo>
                  <a:lnTo>
                    <a:pt x="3299" y="2590"/>
                  </a:lnTo>
                  <a:lnTo>
                    <a:pt x="3299" y="2590"/>
                  </a:lnTo>
                  <a:lnTo>
                    <a:pt x="3299" y="2592"/>
                  </a:lnTo>
                  <a:lnTo>
                    <a:pt x="3299" y="2592"/>
                  </a:lnTo>
                  <a:lnTo>
                    <a:pt x="3299" y="2592"/>
                  </a:lnTo>
                  <a:lnTo>
                    <a:pt x="3299" y="2595"/>
                  </a:lnTo>
                  <a:lnTo>
                    <a:pt x="3299" y="2595"/>
                  </a:lnTo>
                  <a:lnTo>
                    <a:pt x="3299" y="2595"/>
                  </a:lnTo>
                  <a:lnTo>
                    <a:pt x="3301" y="2595"/>
                  </a:lnTo>
                  <a:lnTo>
                    <a:pt x="3301" y="2592"/>
                  </a:lnTo>
                  <a:lnTo>
                    <a:pt x="3301" y="2590"/>
                  </a:lnTo>
                  <a:lnTo>
                    <a:pt x="3301" y="2587"/>
                  </a:lnTo>
                  <a:lnTo>
                    <a:pt x="3301" y="2587"/>
                  </a:lnTo>
                  <a:lnTo>
                    <a:pt x="3301" y="2587"/>
                  </a:lnTo>
                  <a:lnTo>
                    <a:pt x="3301" y="2587"/>
                  </a:lnTo>
                  <a:lnTo>
                    <a:pt x="3301" y="2587"/>
                  </a:lnTo>
                  <a:lnTo>
                    <a:pt x="3304" y="2587"/>
                  </a:lnTo>
                  <a:lnTo>
                    <a:pt x="3304" y="2587"/>
                  </a:lnTo>
                  <a:lnTo>
                    <a:pt x="3304" y="2587"/>
                  </a:lnTo>
                  <a:lnTo>
                    <a:pt x="3304" y="2587"/>
                  </a:lnTo>
                  <a:lnTo>
                    <a:pt x="3304" y="2587"/>
                  </a:lnTo>
                  <a:lnTo>
                    <a:pt x="3304" y="2587"/>
                  </a:lnTo>
                  <a:lnTo>
                    <a:pt x="3304" y="2590"/>
                  </a:lnTo>
                  <a:lnTo>
                    <a:pt x="3301" y="2590"/>
                  </a:lnTo>
                  <a:lnTo>
                    <a:pt x="3301" y="2590"/>
                  </a:lnTo>
                  <a:lnTo>
                    <a:pt x="3301" y="2592"/>
                  </a:lnTo>
                  <a:lnTo>
                    <a:pt x="3304" y="2592"/>
                  </a:lnTo>
                  <a:lnTo>
                    <a:pt x="3304" y="2592"/>
                  </a:lnTo>
                  <a:lnTo>
                    <a:pt x="3304" y="2592"/>
                  </a:lnTo>
                  <a:lnTo>
                    <a:pt x="3304" y="2592"/>
                  </a:lnTo>
                  <a:lnTo>
                    <a:pt x="3304" y="2592"/>
                  </a:lnTo>
                  <a:lnTo>
                    <a:pt x="3304" y="2592"/>
                  </a:lnTo>
                  <a:lnTo>
                    <a:pt x="3306" y="2592"/>
                  </a:lnTo>
                  <a:lnTo>
                    <a:pt x="3306" y="2592"/>
                  </a:lnTo>
                  <a:lnTo>
                    <a:pt x="3308" y="2592"/>
                  </a:lnTo>
                  <a:lnTo>
                    <a:pt x="3308" y="2595"/>
                  </a:lnTo>
                  <a:lnTo>
                    <a:pt x="3308" y="2595"/>
                  </a:lnTo>
                  <a:lnTo>
                    <a:pt x="3308" y="2595"/>
                  </a:lnTo>
                  <a:lnTo>
                    <a:pt x="3306" y="2595"/>
                  </a:lnTo>
                  <a:lnTo>
                    <a:pt x="3306" y="2595"/>
                  </a:lnTo>
                  <a:lnTo>
                    <a:pt x="3304" y="2597"/>
                  </a:lnTo>
                  <a:lnTo>
                    <a:pt x="3301" y="2597"/>
                  </a:lnTo>
                  <a:lnTo>
                    <a:pt x="3299" y="2597"/>
                  </a:lnTo>
                  <a:lnTo>
                    <a:pt x="3296" y="2597"/>
                  </a:lnTo>
                  <a:lnTo>
                    <a:pt x="3296" y="2599"/>
                  </a:lnTo>
                  <a:lnTo>
                    <a:pt x="3296" y="2599"/>
                  </a:lnTo>
                  <a:lnTo>
                    <a:pt x="3296" y="2599"/>
                  </a:lnTo>
                  <a:lnTo>
                    <a:pt x="3294" y="2599"/>
                  </a:lnTo>
                  <a:lnTo>
                    <a:pt x="3296" y="2599"/>
                  </a:lnTo>
                  <a:lnTo>
                    <a:pt x="3301" y="2597"/>
                  </a:lnTo>
                  <a:lnTo>
                    <a:pt x="3308" y="2595"/>
                  </a:lnTo>
                  <a:lnTo>
                    <a:pt x="3311" y="2595"/>
                  </a:lnTo>
                  <a:lnTo>
                    <a:pt x="3311" y="2595"/>
                  </a:lnTo>
                  <a:lnTo>
                    <a:pt x="3313" y="2595"/>
                  </a:lnTo>
                  <a:lnTo>
                    <a:pt x="3313" y="2595"/>
                  </a:lnTo>
                  <a:lnTo>
                    <a:pt x="3318" y="2595"/>
                  </a:lnTo>
                  <a:lnTo>
                    <a:pt x="3320" y="2595"/>
                  </a:lnTo>
                  <a:lnTo>
                    <a:pt x="3320" y="2592"/>
                  </a:lnTo>
                  <a:lnTo>
                    <a:pt x="3320" y="2592"/>
                  </a:lnTo>
                  <a:lnTo>
                    <a:pt x="3320" y="2592"/>
                  </a:lnTo>
                  <a:lnTo>
                    <a:pt x="3322" y="2592"/>
                  </a:lnTo>
                  <a:lnTo>
                    <a:pt x="3322" y="2592"/>
                  </a:lnTo>
                  <a:lnTo>
                    <a:pt x="3322" y="2592"/>
                  </a:lnTo>
                  <a:lnTo>
                    <a:pt x="3322" y="2590"/>
                  </a:lnTo>
                  <a:lnTo>
                    <a:pt x="3325" y="2590"/>
                  </a:lnTo>
                  <a:lnTo>
                    <a:pt x="3325" y="2590"/>
                  </a:lnTo>
                  <a:lnTo>
                    <a:pt x="3325" y="2590"/>
                  </a:lnTo>
                  <a:lnTo>
                    <a:pt x="3325" y="2590"/>
                  </a:lnTo>
                  <a:lnTo>
                    <a:pt x="3325" y="2590"/>
                  </a:lnTo>
                  <a:lnTo>
                    <a:pt x="3325" y="2587"/>
                  </a:lnTo>
                  <a:lnTo>
                    <a:pt x="3325" y="2587"/>
                  </a:lnTo>
                  <a:lnTo>
                    <a:pt x="3325" y="2587"/>
                  </a:lnTo>
                  <a:lnTo>
                    <a:pt x="3325" y="2590"/>
                  </a:lnTo>
                  <a:lnTo>
                    <a:pt x="3327" y="2590"/>
                  </a:lnTo>
                  <a:lnTo>
                    <a:pt x="3327" y="2587"/>
                  </a:lnTo>
                  <a:lnTo>
                    <a:pt x="3327" y="2587"/>
                  </a:lnTo>
                  <a:lnTo>
                    <a:pt x="3327" y="2587"/>
                  </a:lnTo>
                  <a:lnTo>
                    <a:pt x="3327" y="2587"/>
                  </a:lnTo>
                  <a:lnTo>
                    <a:pt x="3327" y="2590"/>
                  </a:lnTo>
                  <a:lnTo>
                    <a:pt x="3327" y="2590"/>
                  </a:lnTo>
                  <a:lnTo>
                    <a:pt x="3327" y="2590"/>
                  </a:lnTo>
                  <a:lnTo>
                    <a:pt x="3330" y="2590"/>
                  </a:lnTo>
                  <a:lnTo>
                    <a:pt x="3330" y="2590"/>
                  </a:lnTo>
                  <a:lnTo>
                    <a:pt x="3330" y="2590"/>
                  </a:lnTo>
                  <a:lnTo>
                    <a:pt x="3330" y="2590"/>
                  </a:lnTo>
                  <a:lnTo>
                    <a:pt x="3332" y="2590"/>
                  </a:lnTo>
                  <a:lnTo>
                    <a:pt x="3332" y="2587"/>
                  </a:lnTo>
                  <a:lnTo>
                    <a:pt x="3334" y="2587"/>
                  </a:lnTo>
                  <a:lnTo>
                    <a:pt x="3337" y="2587"/>
                  </a:lnTo>
                  <a:lnTo>
                    <a:pt x="3337" y="2587"/>
                  </a:lnTo>
                  <a:lnTo>
                    <a:pt x="3337" y="2587"/>
                  </a:lnTo>
                  <a:lnTo>
                    <a:pt x="3339" y="2587"/>
                  </a:lnTo>
                  <a:lnTo>
                    <a:pt x="3339" y="2590"/>
                  </a:lnTo>
                  <a:lnTo>
                    <a:pt x="3339" y="2587"/>
                  </a:lnTo>
                  <a:lnTo>
                    <a:pt x="3341" y="2587"/>
                  </a:lnTo>
                  <a:lnTo>
                    <a:pt x="3341" y="2587"/>
                  </a:lnTo>
                  <a:lnTo>
                    <a:pt x="3339" y="2590"/>
                  </a:lnTo>
                  <a:lnTo>
                    <a:pt x="3339" y="2590"/>
                  </a:lnTo>
                  <a:lnTo>
                    <a:pt x="3341" y="2590"/>
                  </a:lnTo>
                  <a:lnTo>
                    <a:pt x="3341" y="2592"/>
                  </a:lnTo>
                  <a:lnTo>
                    <a:pt x="3341" y="2592"/>
                  </a:lnTo>
                  <a:lnTo>
                    <a:pt x="3341" y="2592"/>
                  </a:lnTo>
                  <a:lnTo>
                    <a:pt x="3341" y="2592"/>
                  </a:lnTo>
                  <a:lnTo>
                    <a:pt x="3341" y="2592"/>
                  </a:lnTo>
                  <a:lnTo>
                    <a:pt x="3341" y="2592"/>
                  </a:lnTo>
                  <a:lnTo>
                    <a:pt x="3341" y="2592"/>
                  </a:lnTo>
                  <a:lnTo>
                    <a:pt x="3339" y="2592"/>
                  </a:lnTo>
                  <a:lnTo>
                    <a:pt x="3337" y="2592"/>
                  </a:lnTo>
                  <a:lnTo>
                    <a:pt x="3337" y="2590"/>
                  </a:lnTo>
                  <a:lnTo>
                    <a:pt x="3337" y="2590"/>
                  </a:lnTo>
                  <a:lnTo>
                    <a:pt x="3334" y="2592"/>
                  </a:lnTo>
                  <a:lnTo>
                    <a:pt x="3334" y="2592"/>
                  </a:lnTo>
                  <a:lnTo>
                    <a:pt x="3337" y="2592"/>
                  </a:lnTo>
                  <a:lnTo>
                    <a:pt x="3337" y="2592"/>
                  </a:lnTo>
                  <a:lnTo>
                    <a:pt x="3337" y="2592"/>
                  </a:lnTo>
                  <a:lnTo>
                    <a:pt x="3337" y="2592"/>
                  </a:lnTo>
                  <a:lnTo>
                    <a:pt x="3337" y="2592"/>
                  </a:lnTo>
                  <a:lnTo>
                    <a:pt x="3337" y="2592"/>
                  </a:lnTo>
                  <a:lnTo>
                    <a:pt x="3334" y="2592"/>
                  </a:lnTo>
                  <a:lnTo>
                    <a:pt x="3334" y="2592"/>
                  </a:lnTo>
                  <a:lnTo>
                    <a:pt x="3334" y="2592"/>
                  </a:lnTo>
                  <a:lnTo>
                    <a:pt x="3334" y="2592"/>
                  </a:lnTo>
                  <a:lnTo>
                    <a:pt x="3334" y="2592"/>
                  </a:lnTo>
                  <a:lnTo>
                    <a:pt x="3332" y="2592"/>
                  </a:lnTo>
                  <a:lnTo>
                    <a:pt x="3332" y="2592"/>
                  </a:lnTo>
                  <a:lnTo>
                    <a:pt x="3332" y="2592"/>
                  </a:lnTo>
                  <a:lnTo>
                    <a:pt x="3332" y="2592"/>
                  </a:lnTo>
                  <a:lnTo>
                    <a:pt x="3332" y="2592"/>
                  </a:lnTo>
                  <a:lnTo>
                    <a:pt x="3332" y="2592"/>
                  </a:lnTo>
                  <a:lnTo>
                    <a:pt x="3330" y="2592"/>
                  </a:lnTo>
                  <a:lnTo>
                    <a:pt x="3325" y="2592"/>
                  </a:lnTo>
                  <a:lnTo>
                    <a:pt x="3325" y="2592"/>
                  </a:lnTo>
                  <a:lnTo>
                    <a:pt x="3325" y="2592"/>
                  </a:lnTo>
                  <a:lnTo>
                    <a:pt x="3325" y="2595"/>
                  </a:lnTo>
                  <a:lnTo>
                    <a:pt x="3325" y="2595"/>
                  </a:lnTo>
                  <a:lnTo>
                    <a:pt x="3325" y="2595"/>
                  </a:lnTo>
                  <a:lnTo>
                    <a:pt x="3332" y="2595"/>
                  </a:lnTo>
                  <a:lnTo>
                    <a:pt x="3339" y="2595"/>
                  </a:lnTo>
                  <a:lnTo>
                    <a:pt x="3344" y="2597"/>
                  </a:lnTo>
                  <a:lnTo>
                    <a:pt x="3351" y="2599"/>
                  </a:lnTo>
                  <a:lnTo>
                    <a:pt x="3353" y="2599"/>
                  </a:lnTo>
                  <a:lnTo>
                    <a:pt x="3360" y="2602"/>
                  </a:lnTo>
                  <a:lnTo>
                    <a:pt x="3360" y="2604"/>
                  </a:lnTo>
                  <a:lnTo>
                    <a:pt x="3360" y="2602"/>
                  </a:lnTo>
                  <a:lnTo>
                    <a:pt x="3360" y="2602"/>
                  </a:lnTo>
                  <a:lnTo>
                    <a:pt x="3360" y="2602"/>
                  </a:lnTo>
                  <a:lnTo>
                    <a:pt x="3360" y="2602"/>
                  </a:lnTo>
                  <a:lnTo>
                    <a:pt x="3360" y="2602"/>
                  </a:lnTo>
                  <a:lnTo>
                    <a:pt x="3360" y="2602"/>
                  </a:lnTo>
                  <a:lnTo>
                    <a:pt x="3360" y="2602"/>
                  </a:lnTo>
                  <a:lnTo>
                    <a:pt x="3358" y="2599"/>
                  </a:lnTo>
                  <a:lnTo>
                    <a:pt x="3360" y="2599"/>
                  </a:lnTo>
                  <a:lnTo>
                    <a:pt x="3358" y="2599"/>
                  </a:lnTo>
                  <a:lnTo>
                    <a:pt x="3358" y="2599"/>
                  </a:lnTo>
                  <a:lnTo>
                    <a:pt x="3358" y="2597"/>
                  </a:lnTo>
                  <a:lnTo>
                    <a:pt x="3358" y="2597"/>
                  </a:lnTo>
                  <a:lnTo>
                    <a:pt x="3356" y="2597"/>
                  </a:lnTo>
                  <a:lnTo>
                    <a:pt x="3356" y="2599"/>
                  </a:lnTo>
                  <a:lnTo>
                    <a:pt x="3356" y="2599"/>
                  </a:lnTo>
                  <a:lnTo>
                    <a:pt x="3356" y="2597"/>
                  </a:lnTo>
                  <a:lnTo>
                    <a:pt x="3353" y="2597"/>
                  </a:lnTo>
                  <a:lnTo>
                    <a:pt x="3356" y="2597"/>
                  </a:lnTo>
                  <a:lnTo>
                    <a:pt x="3356" y="2597"/>
                  </a:lnTo>
                  <a:lnTo>
                    <a:pt x="3356" y="2595"/>
                  </a:lnTo>
                  <a:lnTo>
                    <a:pt x="3358" y="2595"/>
                  </a:lnTo>
                  <a:lnTo>
                    <a:pt x="3358" y="2595"/>
                  </a:lnTo>
                  <a:lnTo>
                    <a:pt x="3358" y="2595"/>
                  </a:lnTo>
                  <a:lnTo>
                    <a:pt x="3358" y="2595"/>
                  </a:lnTo>
                  <a:lnTo>
                    <a:pt x="3360" y="2595"/>
                  </a:lnTo>
                  <a:lnTo>
                    <a:pt x="3360" y="2597"/>
                  </a:lnTo>
                  <a:lnTo>
                    <a:pt x="3360" y="2597"/>
                  </a:lnTo>
                  <a:lnTo>
                    <a:pt x="3360" y="2597"/>
                  </a:lnTo>
                  <a:lnTo>
                    <a:pt x="3360" y="2597"/>
                  </a:lnTo>
                  <a:lnTo>
                    <a:pt x="3360" y="2597"/>
                  </a:lnTo>
                  <a:lnTo>
                    <a:pt x="3360" y="2597"/>
                  </a:lnTo>
                  <a:lnTo>
                    <a:pt x="3363" y="2595"/>
                  </a:lnTo>
                  <a:lnTo>
                    <a:pt x="3363" y="2595"/>
                  </a:lnTo>
                  <a:lnTo>
                    <a:pt x="3363" y="2595"/>
                  </a:lnTo>
                  <a:lnTo>
                    <a:pt x="3363" y="2595"/>
                  </a:lnTo>
                  <a:lnTo>
                    <a:pt x="3365" y="2595"/>
                  </a:lnTo>
                  <a:lnTo>
                    <a:pt x="3365" y="2592"/>
                  </a:lnTo>
                  <a:lnTo>
                    <a:pt x="3365" y="2592"/>
                  </a:lnTo>
                  <a:lnTo>
                    <a:pt x="3365" y="2592"/>
                  </a:lnTo>
                  <a:lnTo>
                    <a:pt x="3365" y="2592"/>
                  </a:lnTo>
                  <a:lnTo>
                    <a:pt x="3367" y="2595"/>
                  </a:lnTo>
                  <a:lnTo>
                    <a:pt x="3365" y="2595"/>
                  </a:lnTo>
                  <a:lnTo>
                    <a:pt x="3365" y="2597"/>
                  </a:lnTo>
                  <a:lnTo>
                    <a:pt x="3363" y="2597"/>
                  </a:lnTo>
                  <a:lnTo>
                    <a:pt x="3363" y="2597"/>
                  </a:lnTo>
                  <a:lnTo>
                    <a:pt x="3360" y="2599"/>
                  </a:lnTo>
                  <a:lnTo>
                    <a:pt x="3360" y="2599"/>
                  </a:lnTo>
                  <a:lnTo>
                    <a:pt x="3360" y="2599"/>
                  </a:lnTo>
                  <a:lnTo>
                    <a:pt x="3360" y="2602"/>
                  </a:lnTo>
                  <a:lnTo>
                    <a:pt x="3360" y="2602"/>
                  </a:lnTo>
                  <a:lnTo>
                    <a:pt x="3363" y="2602"/>
                  </a:lnTo>
                  <a:lnTo>
                    <a:pt x="3363" y="2602"/>
                  </a:lnTo>
                  <a:lnTo>
                    <a:pt x="3365" y="2602"/>
                  </a:lnTo>
                  <a:lnTo>
                    <a:pt x="3365" y="2602"/>
                  </a:lnTo>
                  <a:lnTo>
                    <a:pt x="3365" y="2602"/>
                  </a:lnTo>
                  <a:lnTo>
                    <a:pt x="3367" y="2602"/>
                  </a:lnTo>
                  <a:lnTo>
                    <a:pt x="3367" y="2604"/>
                  </a:lnTo>
                  <a:lnTo>
                    <a:pt x="3367" y="2602"/>
                  </a:lnTo>
                  <a:lnTo>
                    <a:pt x="3367" y="2602"/>
                  </a:lnTo>
                  <a:lnTo>
                    <a:pt x="3367" y="2602"/>
                  </a:lnTo>
                  <a:lnTo>
                    <a:pt x="3367" y="2602"/>
                  </a:lnTo>
                  <a:lnTo>
                    <a:pt x="3367" y="2602"/>
                  </a:lnTo>
                  <a:lnTo>
                    <a:pt x="3370" y="2602"/>
                  </a:lnTo>
                  <a:lnTo>
                    <a:pt x="3370" y="2602"/>
                  </a:lnTo>
                  <a:lnTo>
                    <a:pt x="3370" y="2602"/>
                  </a:lnTo>
                  <a:lnTo>
                    <a:pt x="3370" y="2602"/>
                  </a:lnTo>
                  <a:lnTo>
                    <a:pt x="3370" y="2602"/>
                  </a:lnTo>
                  <a:lnTo>
                    <a:pt x="3370" y="2604"/>
                  </a:lnTo>
                  <a:lnTo>
                    <a:pt x="3370" y="2604"/>
                  </a:lnTo>
                  <a:lnTo>
                    <a:pt x="3372" y="2604"/>
                  </a:lnTo>
                  <a:lnTo>
                    <a:pt x="3372" y="2604"/>
                  </a:lnTo>
                  <a:lnTo>
                    <a:pt x="3372" y="2606"/>
                  </a:lnTo>
                  <a:lnTo>
                    <a:pt x="3372" y="2606"/>
                  </a:lnTo>
                  <a:lnTo>
                    <a:pt x="3372" y="2606"/>
                  </a:lnTo>
                  <a:lnTo>
                    <a:pt x="3372" y="2606"/>
                  </a:lnTo>
                  <a:lnTo>
                    <a:pt x="3375" y="2604"/>
                  </a:lnTo>
                  <a:lnTo>
                    <a:pt x="3375" y="2604"/>
                  </a:lnTo>
                  <a:lnTo>
                    <a:pt x="3375" y="2604"/>
                  </a:lnTo>
                  <a:lnTo>
                    <a:pt x="3375" y="2604"/>
                  </a:lnTo>
                  <a:lnTo>
                    <a:pt x="3375" y="2604"/>
                  </a:lnTo>
                  <a:lnTo>
                    <a:pt x="3375" y="2604"/>
                  </a:lnTo>
                  <a:lnTo>
                    <a:pt x="3375" y="2604"/>
                  </a:lnTo>
                  <a:lnTo>
                    <a:pt x="3375" y="2604"/>
                  </a:lnTo>
                  <a:lnTo>
                    <a:pt x="3375" y="2606"/>
                  </a:lnTo>
                  <a:lnTo>
                    <a:pt x="3375" y="2606"/>
                  </a:lnTo>
                  <a:lnTo>
                    <a:pt x="3375" y="2606"/>
                  </a:lnTo>
                  <a:lnTo>
                    <a:pt x="3375" y="2606"/>
                  </a:lnTo>
                  <a:lnTo>
                    <a:pt x="3375" y="2606"/>
                  </a:lnTo>
                  <a:lnTo>
                    <a:pt x="3372" y="2606"/>
                  </a:lnTo>
                  <a:lnTo>
                    <a:pt x="3370" y="2606"/>
                  </a:lnTo>
                  <a:lnTo>
                    <a:pt x="3370" y="2604"/>
                  </a:lnTo>
                  <a:lnTo>
                    <a:pt x="3370" y="2604"/>
                  </a:lnTo>
                  <a:lnTo>
                    <a:pt x="3365" y="2604"/>
                  </a:lnTo>
                  <a:lnTo>
                    <a:pt x="3365" y="2602"/>
                  </a:lnTo>
                  <a:lnTo>
                    <a:pt x="3363" y="2602"/>
                  </a:lnTo>
                  <a:lnTo>
                    <a:pt x="3363" y="2602"/>
                  </a:lnTo>
                  <a:lnTo>
                    <a:pt x="3363" y="2604"/>
                  </a:lnTo>
                  <a:lnTo>
                    <a:pt x="3365" y="2604"/>
                  </a:lnTo>
                  <a:lnTo>
                    <a:pt x="3365" y="2606"/>
                  </a:lnTo>
                  <a:lnTo>
                    <a:pt x="3372" y="2609"/>
                  </a:lnTo>
                  <a:lnTo>
                    <a:pt x="3372" y="2609"/>
                  </a:lnTo>
                  <a:lnTo>
                    <a:pt x="3370" y="2609"/>
                  </a:lnTo>
                  <a:lnTo>
                    <a:pt x="3370" y="2609"/>
                  </a:lnTo>
                  <a:lnTo>
                    <a:pt x="3367" y="2606"/>
                  </a:lnTo>
                  <a:lnTo>
                    <a:pt x="3367" y="2606"/>
                  </a:lnTo>
                  <a:lnTo>
                    <a:pt x="3367" y="2609"/>
                  </a:lnTo>
                  <a:lnTo>
                    <a:pt x="3367" y="2609"/>
                  </a:lnTo>
                  <a:lnTo>
                    <a:pt x="3370" y="2609"/>
                  </a:lnTo>
                  <a:lnTo>
                    <a:pt x="3370" y="2609"/>
                  </a:lnTo>
                  <a:lnTo>
                    <a:pt x="3370" y="2609"/>
                  </a:lnTo>
                  <a:lnTo>
                    <a:pt x="3377" y="2611"/>
                  </a:lnTo>
                  <a:lnTo>
                    <a:pt x="3377" y="2611"/>
                  </a:lnTo>
                  <a:lnTo>
                    <a:pt x="3377" y="2614"/>
                  </a:lnTo>
                  <a:lnTo>
                    <a:pt x="3379" y="2614"/>
                  </a:lnTo>
                  <a:lnTo>
                    <a:pt x="3379" y="2614"/>
                  </a:lnTo>
                  <a:lnTo>
                    <a:pt x="3379" y="2616"/>
                  </a:lnTo>
                  <a:lnTo>
                    <a:pt x="3382" y="2616"/>
                  </a:lnTo>
                  <a:lnTo>
                    <a:pt x="3382" y="2618"/>
                  </a:lnTo>
                  <a:lnTo>
                    <a:pt x="3382" y="2621"/>
                  </a:lnTo>
                  <a:lnTo>
                    <a:pt x="3382" y="2621"/>
                  </a:lnTo>
                  <a:lnTo>
                    <a:pt x="3382" y="2621"/>
                  </a:lnTo>
                  <a:lnTo>
                    <a:pt x="3382" y="2623"/>
                  </a:lnTo>
                  <a:lnTo>
                    <a:pt x="3382" y="2623"/>
                  </a:lnTo>
                  <a:lnTo>
                    <a:pt x="3382" y="2623"/>
                  </a:lnTo>
                  <a:lnTo>
                    <a:pt x="3379" y="2623"/>
                  </a:lnTo>
                  <a:lnTo>
                    <a:pt x="3379" y="2623"/>
                  </a:lnTo>
                  <a:lnTo>
                    <a:pt x="3379" y="2621"/>
                  </a:lnTo>
                  <a:lnTo>
                    <a:pt x="3377" y="2621"/>
                  </a:lnTo>
                  <a:lnTo>
                    <a:pt x="3377" y="2618"/>
                  </a:lnTo>
                  <a:lnTo>
                    <a:pt x="3377" y="2618"/>
                  </a:lnTo>
                  <a:lnTo>
                    <a:pt x="3377" y="2614"/>
                  </a:lnTo>
                  <a:lnTo>
                    <a:pt x="3377" y="2614"/>
                  </a:lnTo>
                  <a:lnTo>
                    <a:pt x="3377" y="2616"/>
                  </a:lnTo>
                  <a:lnTo>
                    <a:pt x="3377" y="2618"/>
                  </a:lnTo>
                  <a:lnTo>
                    <a:pt x="3377" y="2623"/>
                  </a:lnTo>
                  <a:lnTo>
                    <a:pt x="3379" y="2623"/>
                  </a:lnTo>
                  <a:lnTo>
                    <a:pt x="3379" y="2623"/>
                  </a:lnTo>
                  <a:lnTo>
                    <a:pt x="3379" y="2623"/>
                  </a:lnTo>
                  <a:lnTo>
                    <a:pt x="3382" y="2623"/>
                  </a:lnTo>
                  <a:lnTo>
                    <a:pt x="3382" y="2623"/>
                  </a:lnTo>
                  <a:lnTo>
                    <a:pt x="3384" y="2623"/>
                  </a:lnTo>
                  <a:lnTo>
                    <a:pt x="3384" y="2623"/>
                  </a:lnTo>
                  <a:lnTo>
                    <a:pt x="3389" y="2621"/>
                  </a:lnTo>
                  <a:lnTo>
                    <a:pt x="3391" y="2621"/>
                  </a:lnTo>
                  <a:lnTo>
                    <a:pt x="3396" y="2621"/>
                  </a:lnTo>
                  <a:lnTo>
                    <a:pt x="3396" y="2618"/>
                  </a:lnTo>
                  <a:lnTo>
                    <a:pt x="3396" y="2618"/>
                  </a:lnTo>
                  <a:lnTo>
                    <a:pt x="3398" y="2618"/>
                  </a:lnTo>
                  <a:lnTo>
                    <a:pt x="3398" y="2616"/>
                  </a:lnTo>
                  <a:lnTo>
                    <a:pt x="3398" y="2616"/>
                  </a:lnTo>
                  <a:lnTo>
                    <a:pt x="3398" y="2616"/>
                  </a:lnTo>
                  <a:lnTo>
                    <a:pt x="3398" y="2616"/>
                  </a:lnTo>
                  <a:lnTo>
                    <a:pt x="3401" y="2614"/>
                  </a:lnTo>
                  <a:lnTo>
                    <a:pt x="3401" y="2616"/>
                  </a:lnTo>
                  <a:lnTo>
                    <a:pt x="3401" y="2616"/>
                  </a:lnTo>
                  <a:lnTo>
                    <a:pt x="3401" y="2618"/>
                  </a:lnTo>
                  <a:lnTo>
                    <a:pt x="3401" y="2618"/>
                  </a:lnTo>
                  <a:lnTo>
                    <a:pt x="3401" y="2618"/>
                  </a:lnTo>
                  <a:lnTo>
                    <a:pt x="3401" y="2618"/>
                  </a:lnTo>
                  <a:lnTo>
                    <a:pt x="3401" y="2616"/>
                  </a:lnTo>
                  <a:lnTo>
                    <a:pt x="3403" y="2616"/>
                  </a:lnTo>
                  <a:lnTo>
                    <a:pt x="3403" y="2616"/>
                  </a:lnTo>
                  <a:lnTo>
                    <a:pt x="3403" y="2616"/>
                  </a:lnTo>
                  <a:lnTo>
                    <a:pt x="3405" y="2616"/>
                  </a:lnTo>
                  <a:lnTo>
                    <a:pt x="3405" y="2616"/>
                  </a:lnTo>
                  <a:lnTo>
                    <a:pt x="3405" y="2614"/>
                  </a:lnTo>
                  <a:lnTo>
                    <a:pt x="3408" y="2611"/>
                  </a:lnTo>
                  <a:lnTo>
                    <a:pt x="3410" y="2611"/>
                  </a:lnTo>
                  <a:lnTo>
                    <a:pt x="3410" y="2609"/>
                  </a:lnTo>
                  <a:lnTo>
                    <a:pt x="3412" y="2609"/>
                  </a:lnTo>
                  <a:lnTo>
                    <a:pt x="3415" y="2606"/>
                  </a:lnTo>
                  <a:lnTo>
                    <a:pt x="3415" y="2606"/>
                  </a:lnTo>
                  <a:lnTo>
                    <a:pt x="3417" y="2606"/>
                  </a:lnTo>
                  <a:lnTo>
                    <a:pt x="3417" y="2606"/>
                  </a:lnTo>
                  <a:lnTo>
                    <a:pt x="3417" y="2606"/>
                  </a:lnTo>
                  <a:lnTo>
                    <a:pt x="3419" y="2606"/>
                  </a:lnTo>
                  <a:lnTo>
                    <a:pt x="3422" y="2606"/>
                  </a:lnTo>
                  <a:lnTo>
                    <a:pt x="3422" y="2606"/>
                  </a:lnTo>
                  <a:lnTo>
                    <a:pt x="3422" y="2606"/>
                  </a:lnTo>
                  <a:lnTo>
                    <a:pt x="3422" y="2606"/>
                  </a:lnTo>
                  <a:lnTo>
                    <a:pt x="3422" y="2606"/>
                  </a:lnTo>
                  <a:lnTo>
                    <a:pt x="3422" y="2604"/>
                  </a:lnTo>
                  <a:lnTo>
                    <a:pt x="3422" y="2604"/>
                  </a:lnTo>
                  <a:lnTo>
                    <a:pt x="3419" y="2604"/>
                  </a:lnTo>
                  <a:lnTo>
                    <a:pt x="3417" y="2604"/>
                  </a:lnTo>
                  <a:lnTo>
                    <a:pt x="3417" y="2604"/>
                  </a:lnTo>
                  <a:lnTo>
                    <a:pt x="3417" y="2604"/>
                  </a:lnTo>
                  <a:lnTo>
                    <a:pt x="3417" y="2602"/>
                  </a:lnTo>
                  <a:lnTo>
                    <a:pt x="3417" y="2602"/>
                  </a:lnTo>
                  <a:lnTo>
                    <a:pt x="3417" y="2602"/>
                  </a:lnTo>
                  <a:lnTo>
                    <a:pt x="3417" y="2602"/>
                  </a:lnTo>
                  <a:lnTo>
                    <a:pt x="3419" y="2602"/>
                  </a:lnTo>
                  <a:lnTo>
                    <a:pt x="3419" y="2602"/>
                  </a:lnTo>
                  <a:lnTo>
                    <a:pt x="3422" y="2604"/>
                  </a:lnTo>
                  <a:lnTo>
                    <a:pt x="3422" y="2604"/>
                  </a:lnTo>
                  <a:lnTo>
                    <a:pt x="3422" y="2602"/>
                  </a:lnTo>
                  <a:lnTo>
                    <a:pt x="3422" y="2602"/>
                  </a:lnTo>
                  <a:lnTo>
                    <a:pt x="3419" y="2602"/>
                  </a:lnTo>
                  <a:lnTo>
                    <a:pt x="3419" y="2602"/>
                  </a:lnTo>
                  <a:lnTo>
                    <a:pt x="3419" y="2602"/>
                  </a:lnTo>
                  <a:lnTo>
                    <a:pt x="3419" y="2602"/>
                  </a:lnTo>
                  <a:lnTo>
                    <a:pt x="3419" y="2602"/>
                  </a:lnTo>
                  <a:lnTo>
                    <a:pt x="3419" y="2602"/>
                  </a:lnTo>
                  <a:lnTo>
                    <a:pt x="3419" y="2602"/>
                  </a:lnTo>
                  <a:lnTo>
                    <a:pt x="3419" y="2602"/>
                  </a:lnTo>
                  <a:lnTo>
                    <a:pt x="3419" y="2602"/>
                  </a:lnTo>
                  <a:lnTo>
                    <a:pt x="3419" y="2602"/>
                  </a:lnTo>
                  <a:lnTo>
                    <a:pt x="3419" y="2599"/>
                  </a:lnTo>
                  <a:lnTo>
                    <a:pt x="3419" y="2599"/>
                  </a:lnTo>
                  <a:lnTo>
                    <a:pt x="3419" y="2599"/>
                  </a:lnTo>
                  <a:lnTo>
                    <a:pt x="3419" y="2599"/>
                  </a:lnTo>
                  <a:lnTo>
                    <a:pt x="3419" y="2599"/>
                  </a:lnTo>
                  <a:lnTo>
                    <a:pt x="3419" y="2599"/>
                  </a:lnTo>
                  <a:lnTo>
                    <a:pt x="3422" y="2597"/>
                  </a:lnTo>
                  <a:lnTo>
                    <a:pt x="3422" y="2597"/>
                  </a:lnTo>
                  <a:lnTo>
                    <a:pt x="3424" y="2597"/>
                  </a:lnTo>
                  <a:lnTo>
                    <a:pt x="3424" y="2597"/>
                  </a:lnTo>
                  <a:lnTo>
                    <a:pt x="3424" y="2597"/>
                  </a:lnTo>
                  <a:lnTo>
                    <a:pt x="3424" y="2597"/>
                  </a:lnTo>
                  <a:lnTo>
                    <a:pt x="3424" y="2597"/>
                  </a:lnTo>
                  <a:lnTo>
                    <a:pt x="3424" y="2597"/>
                  </a:lnTo>
                  <a:lnTo>
                    <a:pt x="3424" y="2597"/>
                  </a:lnTo>
                  <a:lnTo>
                    <a:pt x="3424" y="2597"/>
                  </a:lnTo>
                  <a:lnTo>
                    <a:pt x="3424" y="2597"/>
                  </a:lnTo>
                  <a:lnTo>
                    <a:pt x="3427" y="2597"/>
                  </a:lnTo>
                  <a:lnTo>
                    <a:pt x="3427" y="2597"/>
                  </a:lnTo>
                  <a:lnTo>
                    <a:pt x="3427" y="2595"/>
                  </a:lnTo>
                  <a:lnTo>
                    <a:pt x="3427" y="2595"/>
                  </a:lnTo>
                  <a:lnTo>
                    <a:pt x="3427" y="2595"/>
                  </a:lnTo>
                  <a:lnTo>
                    <a:pt x="3427" y="2595"/>
                  </a:lnTo>
                  <a:lnTo>
                    <a:pt x="3427" y="2595"/>
                  </a:lnTo>
                  <a:lnTo>
                    <a:pt x="3427" y="2595"/>
                  </a:lnTo>
                  <a:lnTo>
                    <a:pt x="3427" y="2597"/>
                  </a:lnTo>
                  <a:lnTo>
                    <a:pt x="3429" y="2597"/>
                  </a:lnTo>
                  <a:lnTo>
                    <a:pt x="3429" y="2597"/>
                  </a:lnTo>
                  <a:lnTo>
                    <a:pt x="3429" y="2597"/>
                  </a:lnTo>
                  <a:lnTo>
                    <a:pt x="3429" y="2597"/>
                  </a:lnTo>
                  <a:lnTo>
                    <a:pt x="3434" y="2595"/>
                  </a:lnTo>
                  <a:lnTo>
                    <a:pt x="3434" y="2595"/>
                  </a:lnTo>
                  <a:lnTo>
                    <a:pt x="3434" y="2595"/>
                  </a:lnTo>
                  <a:lnTo>
                    <a:pt x="3438" y="2597"/>
                  </a:lnTo>
                  <a:lnTo>
                    <a:pt x="3443" y="2599"/>
                  </a:lnTo>
                  <a:lnTo>
                    <a:pt x="3446" y="2599"/>
                  </a:lnTo>
                  <a:lnTo>
                    <a:pt x="3446" y="2599"/>
                  </a:lnTo>
                  <a:lnTo>
                    <a:pt x="3448" y="2599"/>
                  </a:lnTo>
                  <a:lnTo>
                    <a:pt x="3448" y="2599"/>
                  </a:lnTo>
                  <a:lnTo>
                    <a:pt x="3448" y="2599"/>
                  </a:lnTo>
                  <a:lnTo>
                    <a:pt x="3448" y="2599"/>
                  </a:lnTo>
                  <a:lnTo>
                    <a:pt x="3450" y="2602"/>
                  </a:lnTo>
                  <a:lnTo>
                    <a:pt x="3453" y="2602"/>
                  </a:lnTo>
                  <a:lnTo>
                    <a:pt x="3453" y="2602"/>
                  </a:lnTo>
                  <a:lnTo>
                    <a:pt x="3455" y="2604"/>
                  </a:lnTo>
                  <a:lnTo>
                    <a:pt x="3455" y="2604"/>
                  </a:lnTo>
                  <a:lnTo>
                    <a:pt x="3455" y="2604"/>
                  </a:lnTo>
                  <a:lnTo>
                    <a:pt x="3455" y="2604"/>
                  </a:lnTo>
                  <a:lnTo>
                    <a:pt x="3455" y="2606"/>
                  </a:lnTo>
                  <a:lnTo>
                    <a:pt x="3455" y="2606"/>
                  </a:lnTo>
                  <a:lnTo>
                    <a:pt x="3457" y="2606"/>
                  </a:lnTo>
                  <a:lnTo>
                    <a:pt x="3457" y="2606"/>
                  </a:lnTo>
                  <a:lnTo>
                    <a:pt x="3457" y="2609"/>
                  </a:lnTo>
                  <a:lnTo>
                    <a:pt x="3457" y="2609"/>
                  </a:lnTo>
                  <a:lnTo>
                    <a:pt x="3457" y="2611"/>
                  </a:lnTo>
                  <a:lnTo>
                    <a:pt x="3460" y="2611"/>
                  </a:lnTo>
                  <a:lnTo>
                    <a:pt x="3460" y="2611"/>
                  </a:lnTo>
                  <a:lnTo>
                    <a:pt x="3462" y="2611"/>
                  </a:lnTo>
                  <a:lnTo>
                    <a:pt x="3462" y="2611"/>
                  </a:lnTo>
                  <a:lnTo>
                    <a:pt x="3462" y="2611"/>
                  </a:lnTo>
                  <a:lnTo>
                    <a:pt x="3462" y="2611"/>
                  </a:lnTo>
                  <a:lnTo>
                    <a:pt x="3464" y="2611"/>
                  </a:lnTo>
                  <a:lnTo>
                    <a:pt x="3464" y="2611"/>
                  </a:lnTo>
                  <a:lnTo>
                    <a:pt x="3464" y="2614"/>
                  </a:lnTo>
                  <a:lnTo>
                    <a:pt x="3467" y="2614"/>
                  </a:lnTo>
                  <a:lnTo>
                    <a:pt x="3467" y="2616"/>
                  </a:lnTo>
                  <a:lnTo>
                    <a:pt x="3467" y="2616"/>
                  </a:lnTo>
                  <a:lnTo>
                    <a:pt x="3464" y="2616"/>
                  </a:lnTo>
                  <a:lnTo>
                    <a:pt x="3467" y="2616"/>
                  </a:lnTo>
                  <a:lnTo>
                    <a:pt x="3467" y="2618"/>
                  </a:lnTo>
                  <a:lnTo>
                    <a:pt x="3467" y="2618"/>
                  </a:lnTo>
                  <a:lnTo>
                    <a:pt x="3467" y="2618"/>
                  </a:lnTo>
                  <a:lnTo>
                    <a:pt x="3467" y="2621"/>
                  </a:lnTo>
                  <a:lnTo>
                    <a:pt x="3467" y="2621"/>
                  </a:lnTo>
                  <a:lnTo>
                    <a:pt x="3469" y="2621"/>
                  </a:lnTo>
                  <a:lnTo>
                    <a:pt x="3472" y="2623"/>
                  </a:lnTo>
                  <a:lnTo>
                    <a:pt x="3472" y="2623"/>
                  </a:lnTo>
                  <a:lnTo>
                    <a:pt x="3474" y="2623"/>
                  </a:lnTo>
                  <a:lnTo>
                    <a:pt x="3474" y="2623"/>
                  </a:lnTo>
                  <a:lnTo>
                    <a:pt x="3476" y="2623"/>
                  </a:lnTo>
                  <a:lnTo>
                    <a:pt x="3476" y="2625"/>
                  </a:lnTo>
                  <a:lnTo>
                    <a:pt x="3479" y="2628"/>
                  </a:lnTo>
                  <a:lnTo>
                    <a:pt x="3479" y="2628"/>
                  </a:lnTo>
                  <a:lnTo>
                    <a:pt x="3479" y="2628"/>
                  </a:lnTo>
                  <a:lnTo>
                    <a:pt x="3479" y="2628"/>
                  </a:lnTo>
                  <a:lnTo>
                    <a:pt x="3479" y="2628"/>
                  </a:lnTo>
                  <a:lnTo>
                    <a:pt x="3479" y="2630"/>
                  </a:lnTo>
                  <a:lnTo>
                    <a:pt x="3479" y="2630"/>
                  </a:lnTo>
                  <a:lnTo>
                    <a:pt x="3481" y="2630"/>
                  </a:lnTo>
                  <a:lnTo>
                    <a:pt x="3481" y="2630"/>
                  </a:lnTo>
                  <a:lnTo>
                    <a:pt x="3481" y="2630"/>
                  </a:lnTo>
                  <a:lnTo>
                    <a:pt x="3483" y="2630"/>
                  </a:lnTo>
                  <a:lnTo>
                    <a:pt x="3483" y="2630"/>
                  </a:lnTo>
                  <a:lnTo>
                    <a:pt x="3483" y="2632"/>
                  </a:lnTo>
                  <a:lnTo>
                    <a:pt x="3483" y="2632"/>
                  </a:lnTo>
                  <a:lnTo>
                    <a:pt x="3483" y="2632"/>
                  </a:lnTo>
                  <a:lnTo>
                    <a:pt x="3483" y="2632"/>
                  </a:lnTo>
                  <a:lnTo>
                    <a:pt x="3483" y="2632"/>
                  </a:lnTo>
                  <a:lnTo>
                    <a:pt x="3483" y="2632"/>
                  </a:lnTo>
                  <a:lnTo>
                    <a:pt x="3483" y="2632"/>
                  </a:lnTo>
                  <a:lnTo>
                    <a:pt x="3486" y="2635"/>
                  </a:lnTo>
                  <a:lnTo>
                    <a:pt x="3486" y="2635"/>
                  </a:lnTo>
                  <a:lnTo>
                    <a:pt x="3486" y="2635"/>
                  </a:lnTo>
                  <a:lnTo>
                    <a:pt x="3486" y="2635"/>
                  </a:lnTo>
                  <a:lnTo>
                    <a:pt x="3488" y="2632"/>
                  </a:lnTo>
                  <a:lnTo>
                    <a:pt x="3488" y="2632"/>
                  </a:lnTo>
                  <a:lnTo>
                    <a:pt x="3488" y="2632"/>
                  </a:lnTo>
                  <a:lnTo>
                    <a:pt x="3490" y="2632"/>
                  </a:lnTo>
                  <a:lnTo>
                    <a:pt x="3490" y="2632"/>
                  </a:lnTo>
                  <a:lnTo>
                    <a:pt x="3490" y="2632"/>
                  </a:lnTo>
                  <a:lnTo>
                    <a:pt x="3493" y="2632"/>
                  </a:lnTo>
                  <a:lnTo>
                    <a:pt x="3493" y="2632"/>
                  </a:lnTo>
                  <a:lnTo>
                    <a:pt x="3493" y="2632"/>
                  </a:lnTo>
                  <a:lnTo>
                    <a:pt x="3493" y="2632"/>
                  </a:lnTo>
                  <a:lnTo>
                    <a:pt x="3495" y="2632"/>
                  </a:lnTo>
                  <a:lnTo>
                    <a:pt x="3495" y="2632"/>
                  </a:lnTo>
                  <a:lnTo>
                    <a:pt x="3495" y="2632"/>
                  </a:lnTo>
                  <a:lnTo>
                    <a:pt x="3495" y="2635"/>
                  </a:lnTo>
                  <a:lnTo>
                    <a:pt x="3495" y="2635"/>
                  </a:lnTo>
                  <a:lnTo>
                    <a:pt x="3495" y="2635"/>
                  </a:lnTo>
                  <a:lnTo>
                    <a:pt x="3498" y="2635"/>
                  </a:lnTo>
                  <a:lnTo>
                    <a:pt x="3495" y="2635"/>
                  </a:lnTo>
                  <a:lnTo>
                    <a:pt x="3498" y="2637"/>
                  </a:lnTo>
                  <a:lnTo>
                    <a:pt x="3498" y="2637"/>
                  </a:lnTo>
                  <a:lnTo>
                    <a:pt x="3498" y="2637"/>
                  </a:lnTo>
                  <a:lnTo>
                    <a:pt x="3498" y="2640"/>
                  </a:lnTo>
                  <a:lnTo>
                    <a:pt x="3498" y="2640"/>
                  </a:lnTo>
                  <a:lnTo>
                    <a:pt x="3498" y="2640"/>
                  </a:lnTo>
                  <a:lnTo>
                    <a:pt x="3500" y="2642"/>
                  </a:lnTo>
                  <a:lnTo>
                    <a:pt x="3500" y="2642"/>
                  </a:lnTo>
                  <a:lnTo>
                    <a:pt x="3500" y="2642"/>
                  </a:lnTo>
                  <a:lnTo>
                    <a:pt x="3500" y="2642"/>
                  </a:lnTo>
                  <a:lnTo>
                    <a:pt x="3500" y="2642"/>
                  </a:lnTo>
                  <a:lnTo>
                    <a:pt x="3502" y="2644"/>
                  </a:lnTo>
                  <a:lnTo>
                    <a:pt x="3502" y="2644"/>
                  </a:lnTo>
                  <a:lnTo>
                    <a:pt x="3502" y="2644"/>
                  </a:lnTo>
                  <a:lnTo>
                    <a:pt x="3505" y="2644"/>
                  </a:lnTo>
                  <a:lnTo>
                    <a:pt x="3505" y="2644"/>
                  </a:lnTo>
                  <a:lnTo>
                    <a:pt x="3505" y="2647"/>
                  </a:lnTo>
                  <a:lnTo>
                    <a:pt x="3505" y="2647"/>
                  </a:lnTo>
                  <a:lnTo>
                    <a:pt x="3505" y="2649"/>
                  </a:lnTo>
                  <a:lnTo>
                    <a:pt x="3505" y="2649"/>
                  </a:lnTo>
                  <a:lnTo>
                    <a:pt x="3505" y="2651"/>
                  </a:lnTo>
                  <a:lnTo>
                    <a:pt x="3505" y="2649"/>
                  </a:lnTo>
                  <a:lnTo>
                    <a:pt x="3505" y="2649"/>
                  </a:lnTo>
                  <a:lnTo>
                    <a:pt x="3502" y="2651"/>
                  </a:lnTo>
                  <a:lnTo>
                    <a:pt x="3502" y="2651"/>
                  </a:lnTo>
                  <a:lnTo>
                    <a:pt x="3505" y="2651"/>
                  </a:lnTo>
                  <a:lnTo>
                    <a:pt x="3505" y="2651"/>
                  </a:lnTo>
                  <a:lnTo>
                    <a:pt x="3505" y="2651"/>
                  </a:lnTo>
                  <a:lnTo>
                    <a:pt x="3505" y="2651"/>
                  </a:lnTo>
                  <a:lnTo>
                    <a:pt x="3505" y="2651"/>
                  </a:lnTo>
                  <a:lnTo>
                    <a:pt x="3505" y="2654"/>
                  </a:lnTo>
                  <a:lnTo>
                    <a:pt x="3507" y="2654"/>
                  </a:lnTo>
                  <a:lnTo>
                    <a:pt x="3507" y="2656"/>
                  </a:lnTo>
                  <a:lnTo>
                    <a:pt x="3507" y="2656"/>
                  </a:lnTo>
                  <a:lnTo>
                    <a:pt x="3507" y="2656"/>
                  </a:lnTo>
                  <a:lnTo>
                    <a:pt x="3507" y="2656"/>
                  </a:lnTo>
                  <a:lnTo>
                    <a:pt x="3507" y="2656"/>
                  </a:lnTo>
                  <a:lnTo>
                    <a:pt x="3507" y="2656"/>
                  </a:lnTo>
                  <a:lnTo>
                    <a:pt x="3507" y="2658"/>
                  </a:lnTo>
                  <a:lnTo>
                    <a:pt x="3507" y="2658"/>
                  </a:lnTo>
                  <a:lnTo>
                    <a:pt x="3507" y="2658"/>
                  </a:lnTo>
                  <a:lnTo>
                    <a:pt x="3507" y="2663"/>
                  </a:lnTo>
                  <a:lnTo>
                    <a:pt x="3507" y="2666"/>
                  </a:lnTo>
                  <a:lnTo>
                    <a:pt x="3507" y="2666"/>
                  </a:lnTo>
                  <a:lnTo>
                    <a:pt x="3507" y="2668"/>
                  </a:lnTo>
                  <a:lnTo>
                    <a:pt x="3507" y="2670"/>
                  </a:lnTo>
                  <a:lnTo>
                    <a:pt x="3507" y="2670"/>
                  </a:lnTo>
                  <a:lnTo>
                    <a:pt x="3507" y="2670"/>
                  </a:lnTo>
                  <a:lnTo>
                    <a:pt x="3507" y="2670"/>
                  </a:lnTo>
                  <a:lnTo>
                    <a:pt x="3505" y="2675"/>
                  </a:lnTo>
                  <a:lnTo>
                    <a:pt x="3505" y="2675"/>
                  </a:lnTo>
                  <a:lnTo>
                    <a:pt x="3505" y="2675"/>
                  </a:lnTo>
                  <a:lnTo>
                    <a:pt x="3505" y="2675"/>
                  </a:lnTo>
                  <a:lnTo>
                    <a:pt x="3505" y="2675"/>
                  </a:lnTo>
                  <a:lnTo>
                    <a:pt x="3505" y="2677"/>
                  </a:lnTo>
                  <a:lnTo>
                    <a:pt x="3505" y="2677"/>
                  </a:lnTo>
                  <a:lnTo>
                    <a:pt x="3505" y="2680"/>
                  </a:lnTo>
                  <a:lnTo>
                    <a:pt x="3505" y="2680"/>
                  </a:lnTo>
                  <a:lnTo>
                    <a:pt x="3505" y="2682"/>
                  </a:lnTo>
                  <a:lnTo>
                    <a:pt x="3505" y="2680"/>
                  </a:lnTo>
                  <a:lnTo>
                    <a:pt x="3502" y="2682"/>
                  </a:lnTo>
                  <a:lnTo>
                    <a:pt x="3505" y="2682"/>
                  </a:lnTo>
                  <a:lnTo>
                    <a:pt x="3505" y="2682"/>
                  </a:lnTo>
                  <a:lnTo>
                    <a:pt x="3505" y="2684"/>
                  </a:lnTo>
                  <a:lnTo>
                    <a:pt x="3505" y="2684"/>
                  </a:lnTo>
                  <a:lnTo>
                    <a:pt x="3505" y="2687"/>
                  </a:lnTo>
                  <a:lnTo>
                    <a:pt x="3505" y="2687"/>
                  </a:lnTo>
                  <a:lnTo>
                    <a:pt x="3505" y="2687"/>
                  </a:lnTo>
                  <a:lnTo>
                    <a:pt x="3505" y="2689"/>
                  </a:lnTo>
                  <a:lnTo>
                    <a:pt x="3505" y="2694"/>
                  </a:lnTo>
                  <a:lnTo>
                    <a:pt x="3505" y="2696"/>
                  </a:lnTo>
                  <a:lnTo>
                    <a:pt x="3502" y="2696"/>
                  </a:lnTo>
                  <a:lnTo>
                    <a:pt x="3502" y="2696"/>
                  </a:lnTo>
                  <a:lnTo>
                    <a:pt x="3505" y="2694"/>
                  </a:lnTo>
                  <a:lnTo>
                    <a:pt x="3505" y="2694"/>
                  </a:lnTo>
                  <a:lnTo>
                    <a:pt x="3505" y="2694"/>
                  </a:lnTo>
                  <a:lnTo>
                    <a:pt x="3502" y="2696"/>
                  </a:lnTo>
                  <a:lnTo>
                    <a:pt x="3502" y="2696"/>
                  </a:lnTo>
                  <a:lnTo>
                    <a:pt x="3502" y="2696"/>
                  </a:lnTo>
                  <a:lnTo>
                    <a:pt x="3502" y="2699"/>
                  </a:lnTo>
                  <a:lnTo>
                    <a:pt x="3505" y="2699"/>
                  </a:lnTo>
                  <a:lnTo>
                    <a:pt x="3505" y="2701"/>
                  </a:lnTo>
                  <a:lnTo>
                    <a:pt x="3505" y="2701"/>
                  </a:lnTo>
                  <a:lnTo>
                    <a:pt x="3507" y="2703"/>
                  </a:lnTo>
                  <a:lnTo>
                    <a:pt x="3509" y="2706"/>
                  </a:lnTo>
                  <a:lnTo>
                    <a:pt x="3509" y="2706"/>
                  </a:lnTo>
                  <a:lnTo>
                    <a:pt x="3509" y="2706"/>
                  </a:lnTo>
                  <a:lnTo>
                    <a:pt x="3509" y="2708"/>
                  </a:lnTo>
                  <a:lnTo>
                    <a:pt x="3512" y="2708"/>
                  </a:lnTo>
                  <a:lnTo>
                    <a:pt x="3512" y="2708"/>
                  </a:lnTo>
                  <a:lnTo>
                    <a:pt x="3509" y="2706"/>
                  </a:lnTo>
                  <a:lnTo>
                    <a:pt x="3509" y="2703"/>
                  </a:lnTo>
                  <a:lnTo>
                    <a:pt x="3509" y="2703"/>
                  </a:lnTo>
                  <a:lnTo>
                    <a:pt x="3505" y="2701"/>
                  </a:lnTo>
                  <a:lnTo>
                    <a:pt x="3505" y="2701"/>
                  </a:lnTo>
                  <a:lnTo>
                    <a:pt x="3505" y="2699"/>
                  </a:lnTo>
                  <a:lnTo>
                    <a:pt x="3507" y="2701"/>
                  </a:lnTo>
                  <a:lnTo>
                    <a:pt x="3507" y="2701"/>
                  </a:lnTo>
                  <a:lnTo>
                    <a:pt x="3509" y="2703"/>
                  </a:lnTo>
                  <a:lnTo>
                    <a:pt x="3509" y="2703"/>
                  </a:lnTo>
                  <a:lnTo>
                    <a:pt x="3509" y="2703"/>
                  </a:lnTo>
                  <a:lnTo>
                    <a:pt x="3512" y="2703"/>
                  </a:lnTo>
                  <a:lnTo>
                    <a:pt x="3512" y="2703"/>
                  </a:lnTo>
                  <a:lnTo>
                    <a:pt x="3512" y="2706"/>
                  </a:lnTo>
                  <a:lnTo>
                    <a:pt x="3512" y="2706"/>
                  </a:lnTo>
                  <a:lnTo>
                    <a:pt x="3512" y="2706"/>
                  </a:lnTo>
                  <a:lnTo>
                    <a:pt x="3512" y="2706"/>
                  </a:lnTo>
                  <a:lnTo>
                    <a:pt x="3514" y="2706"/>
                  </a:lnTo>
                  <a:lnTo>
                    <a:pt x="3514" y="2706"/>
                  </a:lnTo>
                  <a:lnTo>
                    <a:pt x="3514" y="2703"/>
                  </a:lnTo>
                  <a:lnTo>
                    <a:pt x="3514" y="2703"/>
                  </a:lnTo>
                  <a:lnTo>
                    <a:pt x="3514" y="2703"/>
                  </a:lnTo>
                  <a:lnTo>
                    <a:pt x="3514" y="2701"/>
                  </a:lnTo>
                  <a:lnTo>
                    <a:pt x="3514" y="2701"/>
                  </a:lnTo>
                  <a:lnTo>
                    <a:pt x="3514" y="2701"/>
                  </a:lnTo>
                  <a:lnTo>
                    <a:pt x="3514" y="2699"/>
                  </a:lnTo>
                  <a:lnTo>
                    <a:pt x="3514" y="2699"/>
                  </a:lnTo>
                  <a:lnTo>
                    <a:pt x="3514" y="2699"/>
                  </a:lnTo>
                  <a:lnTo>
                    <a:pt x="3514" y="2696"/>
                  </a:lnTo>
                  <a:lnTo>
                    <a:pt x="3514" y="2696"/>
                  </a:lnTo>
                  <a:lnTo>
                    <a:pt x="3517" y="2696"/>
                  </a:lnTo>
                  <a:lnTo>
                    <a:pt x="3517" y="2696"/>
                  </a:lnTo>
                  <a:lnTo>
                    <a:pt x="3514" y="2696"/>
                  </a:lnTo>
                  <a:lnTo>
                    <a:pt x="3512" y="2696"/>
                  </a:lnTo>
                  <a:lnTo>
                    <a:pt x="3509" y="2694"/>
                  </a:lnTo>
                  <a:lnTo>
                    <a:pt x="3509" y="2694"/>
                  </a:lnTo>
                  <a:lnTo>
                    <a:pt x="3509" y="2694"/>
                  </a:lnTo>
                  <a:lnTo>
                    <a:pt x="3512" y="2692"/>
                  </a:lnTo>
                  <a:lnTo>
                    <a:pt x="3512" y="2692"/>
                  </a:lnTo>
                  <a:lnTo>
                    <a:pt x="3509" y="2692"/>
                  </a:lnTo>
                  <a:lnTo>
                    <a:pt x="3509" y="2692"/>
                  </a:lnTo>
                  <a:lnTo>
                    <a:pt x="3509" y="2692"/>
                  </a:lnTo>
                  <a:lnTo>
                    <a:pt x="3509" y="2692"/>
                  </a:lnTo>
                  <a:lnTo>
                    <a:pt x="3509" y="2692"/>
                  </a:lnTo>
                  <a:lnTo>
                    <a:pt x="3509" y="2692"/>
                  </a:lnTo>
                  <a:lnTo>
                    <a:pt x="3509" y="2689"/>
                  </a:lnTo>
                  <a:lnTo>
                    <a:pt x="3509" y="2689"/>
                  </a:lnTo>
                  <a:lnTo>
                    <a:pt x="3509" y="2689"/>
                  </a:lnTo>
                  <a:lnTo>
                    <a:pt x="3509" y="2689"/>
                  </a:lnTo>
                  <a:lnTo>
                    <a:pt x="3512" y="2689"/>
                  </a:lnTo>
                  <a:lnTo>
                    <a:pt x="3512" y="2689"/>
                  </a:lnTo>
                  <a:lnTo>
                    <a:pt x="3512" y="2689"/>
                  </a:lnTo>
                  <a:lnTo>
                    <a:pt x="3512" y="2689"/>
                  </a:lnTo>
                  <a:lnTo>
                    <a:pt x="3512" y="2689"/>
                  </a:lnTo>
                  <a:lnTo>
                    <a:pt x="3512" y="2689"/>
                  </a:lnTo>
                  <a:lnTo>
                    <a:pt x="3514" y="2692"/>
                  </a:lnTo>
                  <a:lnTo>
                    <a:pt x="3514" y="2692"/>
                  </a:lnTo>
                  <a:lnTo>
                    <a:pt x="3512" y="2692"/>
                  </a:lnTo>
                  <a:lnTo>
                    <a:pt x="3512" y="2692"/>
                  </a:lnTo>
                  <a:lnTo>
                    <a:pt x="3514" y="2692"/>
                  </a:lnTo>
                  <a:lnTo>
                    <a:pt x="3517" y="2692"/>
                  </a:lnTo>
                  <a:lnTo>
                    <a:pt x="3517" y="2692"/>
                  </a:lnTo>
                  <a:lnTo>
                    <a:pt x="3517" y="2694"/>
                  </a:lnTo>
                  <a:lnTo>
                    <a:pt x="3517" y="2696"/>
                  </a:lnTo>
                  <a:lnTo>
                    <a:pt x="3517" y="2696"/>
                  </a:lnTo>
                  <a:lnTo>
                    <a:pt x="3519" y="2699"/>
                  </a:lnTo>
                  <a:lnTo>
                    <a:pt x="3519" y="2699"/>
                  </a:lnTo>
                  <a:lnTo>
                    <a:pt x="3519" y="2699"/>
                  </a:lnTo>
                  <a:lnTo>
                    <a:pt x="3521" y="2696"/>
                  </a:lnTo>
                  <a:lnTo>
                    <a:pt x="3519" y="2696"/>
                  </a:lnTo>
                  <a:lnTo>
                    <a:pt x="3519" y="2696"/>
                  </a:lnTo>
                  <a:lnTo>
                    <a:pt x="3519" y="2694"/>
                  </a:lnTo>
                  <a:lnTo>
                    <a:pt x="3519" y="2694"/>
                  </a:lnTo>
                  <a:lnTo>
                    <a:pt x="3519" y="2694"/>
                  </a:lnTo>
                  <a:lnTo>
                    <a:pt x="3521" y="2692"/>
                  </a:lnTo>
                  <a:lnTo>
                    <a:pt x="3521" y="2692"/>
                  </a:lnTo>
                  <a:lnTo>
                    <a:pt x="3521" y="2694"/>
                  </a:lnTo>
                  <a:lnTo>
                    <a:pt x="3524" y="2694"/>
                  </a:lnTo>
                  <a:lnTo>
                    <a:pt x="3524" y="2696"/>
                  </a:lnTo>
                  <a:lnTo>
                    <a:pt x="3524" y="2699"/>
                  </a:lnTo>
                  <a:lnTo>
                    <a:pt x="3524" y="2699"/>
                  </a:lnTo>
                  <a:lnTo>
                    <a:pt x="3524" y="2701"/>
                  </a:lnTo>
                  <a:lnTo>
                    <a:pt x="3524" y="2701"/>
                  </a:lnTo>
                  <a:lnTo>
                    <a:pt x="3521" y="2701"/>
                  </a:lnTo>
                  <a:lnTo>
                    <a:pt x="3521" y="2703"/>
                  </a:lnTo>
                  <a:lnTo>
                    <a:pt x="3521" y="2703"/>
                  </a:lnTo>
                  <a:lnTo>
                    <a:pt x="3521" y="2703"/>
                  </a:lnTo>
                  <a:lnTo>
                    <a:pt x="3521" y="2703"/>
                  </a:lnTo>
                  <a:lnTo>
                    <a:pt x="3519" y="2706"/>
                  </a:lnTo>
                  <a:lnTo>
                    <a:pt x="3519" y="2706"/>
                  </a:lnTo>
                  <a:lnTo>
                    <a:pt x="3519" y="2706"/>
                  </a:lnTo>
                  <a:lnTo>
                    <a:pt x="3519" y="2708"/>
                  </a:lnTo>
                  <a:lnTo>
                    <a:pt x="3519" y="2708"/>
                  </a:lnTo>
                  <a:lnTo>
                    <a:pt x="3519" y="2708"/>
                  </a:lnTo>
                  <a:lnTo>
                    <a:pt x="3519" y="2710"/>
                  </a:lnTo>
                  <a:lnTo>
                    <a:pt x="3517" y="2710"/>
                  </a:lnTo>
                  <a:lnTo>
                    <a:pt x="3517" y="2710"/>
                  </a:lnTo>
                  <a:lnTo>
                    <a:pt x="3517" y="2710"/>
                  </a:lnTo>
                  <a:lnTo>
                    <a:pt x="3517" y="2713"/>
                  </a:lnTo>
                  <a:lnTo>
                    <a:pt x="3517" y="2713"/>
                  </a:lnTo>
                  <a:lnTo>
                    <a:pt x="3517" y="2713"/>
                  </a:lnTo>
                  <a:lnTo>
                    <a:pt x="3517" y="2713"/>
                  </a:lnTo>
                  <a:lnTo>
                    <a:pt x="3517" y="2713"/>
                  </a:lnTo>
                  <a:lnTo>
                    <a:pt x="3517" y="2713"/>
                  </a:lnTo>
                  <a:lnTo>
                    <a:pt x="3517" y="2713"/>
                  </a:lnTo>
                  <a:lnTo>
                    <a:pt x="3517" y="2713"/>
                  </a:lnTo>
                  <a:lnTo>
                    <a:pt x="3517" y="2713"/>
                  </a:lnTo>
                  <a:lnTo>
                    <a:pt x="3517" y="2713"/>
                  </a:lnTo>
                  <a:lnTo>
                    <a:pt x="3519" y="2713"/>
                  </a:lnTo>
                  <a:lnTo>
                    <a:pt x="3519" y="2713"/>
                  </a:lnTo>
                  <a:lnTo>
                    <a:pt x="3517" y="2713"/>
                  </a:lnTo>
                  <a:lnTo>
                    <a:pt x="3517" y="2713"/>
                  </a:lnTo>
                  <a:lnTo>
                    <a:pt x="3517" y="2713"/>
                  </a:lnTo>
                  <a:lnTo>
                    <a:pt x="3517" y="2713"/>
                  </a:lnTo>
                  <a:lnTo>
                    <a:pt x="3517" y="2715"/>
                  </a:lnTo>
                  <a:lnTo>
                    <a:pt x="3517" y="2715"/>
                  </a:lnTo>
                  <a:lnTo>
                    <a:pt x="3519" y="2715"/>
                  </a:lnTo>
                  <a:lnTo>
                    <a:pt x="3517" y="2715"/>
                  </a:lnTo>
                  <a:lnTo>
                    <a:pt x="3517" y="2715"/>
                  </a:lnTo>
                  <a:lnTo>
                    <a:pt x="3514" y="2715"/>
                  </a:lnTo>
                  <a:lnTo>
                    <a:pt x="3514" y="2715"/>
                  </a:lnTo>
                  <a:lnTo>
                    <a:pt x="3514" y="2715"/>
                  </a:lnTo>
                  <a:lnTo>
                    <a:pt x="3514" y="2715"/>
                  </a:lnTo>
                  <a:lnTo>
                    <a:pt x="3514" y="2715"/>
                  </a:lnTo>
                  <a:lnTo>
                    <a:pt x="3514" y="2715"/>
                  </a:lnTo>
                  <a:lnTo>
                    <a:pt x="3517" y="2715"/>
                  </a:lnTo>
                  <a:lnTo>
                    <a:pt x="3517" y="2715"/>
                  </a:lnTo>
                  <a:lnTo>
                    <a:pt x="3517" y="2715"/>
                  </a:lnTo>
                  <a:lnTo>
                    <a:pt x="3514" y="2718"/>
                  </a:lnTo>
                  <a:lnTo>
                    <a:pt x="3514" y="2718"/>
                  </a:lnTo>
                  <a:lnTo>
                    <a:pt x="3514" y="2718"/>
                  </a:lnTo>
                  <a:lnTo>
                    <a:pt x="3514" y="2715"/>
                  </a:lnTo>
                  <a:lnTo>
                    <a:pt x="3512" y="2715"/>
                  </a:lnTo>
                  <a:lnTo>
                    <a:pt x="3512" y="2715"/>
                  </a:lnTo>
                  <a:lnTo>
                    <a:pt x="3512" y="2715"/>
                  </a:lnTo>
                  <a:lnTo>
                    <a:pt x="3512" y="2715"/>
                  </a:lnTo>
                  <a:lnTo>
                    <a:pt x="3512" y="2715"/>
                  </a:lnTo>
                  <a:lnTo>
                    <a:pt x="3512" y="2718"/>
                  </a:lnTo>
                  <a:lnTo>
                    <a:pt x="3514" y="2718"/>
                  </a:lnTo>
                  <a:lnTo>
                    <a:pt x="3514" y="2718"/>
                  </a:lnTo>
                  <a:lnTo>
                    <a:pt x="3517" y="2718"/>
                  </a:lnTo>
                  <a:lnTo>
                    <a:pt x="3517" y="2720"/>
                  </a:lnTo>
                  <a:lnTo>
                    <a:pt x="3519" y="2720"/>
                  </a:lnTo>
                  <a:lnTo>
                    <a:pt x="3519" y="2720"/>
                  </a:lnTo>
                  <a:lnTo>
                    <a:pt x="3521" y="2722"/>
                  </a:lnTo>
                  <a:lnTo>
                    <a:pt x="3521" y="2725"/>
                  </a:lnTo>
                  <a:lnTo>
                    <a:pt x="3521" y="2725"/>
                  </a:lnTo>
                  <a:lnTo>
                    <a:pt x="3521" y="2725"/>
                  </a:lnTo>
                  <a:lnTo>
                    <a:pt x="3521" y="2725"/>
                  </a:lnTo>
                  <a:lnTo>
                    <a:pt x="3521" y="2725"/>
                  </a:lnTo>
                  <a:lnTo>
                    <a:pt x="3521" y="2725"/>
                  </a:lnTo>
                  <a:lnTo>
                    <a:pt x="3521" y="2725"/>
                  </a:lnTo>
                  <a:lnTo>
                    <a:pt x="3521" y="2725"/>
                  </a:lnTo>
                  <a:lnTo>
                    <a:pt x="3521" y="2727"/>
                  </a:lnTo>
                  <a:lnTo>
                    <a:pt x="3521" y="2727"/>
                  </a:lnTo>
                  <a:lnTo>
                    <a:pt x="3524" y="2729"/>
                  </a:lnTo>
                  <a:lnTo>
                    <a:pt x="3524" y="2729"/>
                  </a:lnTo>
                  <a:lnTo>
                    <a:pt x="3524" y="2727"/>
                  </a:lnTo>
                  <a:lnTo>
                    <a:pt x="3524" y="2727"/>
                  </a:lnTo>
                  <a:lnTo>
                    <a:pt x="3524" y="2729"/>
                  </a:lnTo>
                  <a:lnTo>
                    <a:pt x="3524" y="2729"/>
                  </a:lnTo>
                  <a:lnTo>
                    <a:pt x="3524" y="2729"/>
                  </a:lnTo>
                  <a:lnTo>
                    <a:pt x="3524" y="2729"/>
                  </a:lnTo>
                  <a:lnTo>
                    <a:pt x="3524" y="2729"/>
                  </a:lnTo>
                  <a:lnTo>
                    <a:pt x="3524" y="2729"/>
                  </a:lnTo>
                  <a:lnTo>
                    <a:pt x="3524" y="2729"/>
                  </a:lnTo>
                  <a:lnTo>
                    <a:pt x="3526" y="2732"/>
                  </a:lnTo>
                  <a:lnTo>
                    <a:pt x="3526" y="2734"/>
                  </a:lnTo>
                  <a:lnTo>
                    <a:pt x="3531" y="2741"/>
                  </a:lnTo>
                  <a:lnTo>
                    <a:pt x="3533" y="2741"/>
                  </a:lnTo>
                  <a:lnTo>
                    <a:pt x="3533" y="2741"/>
                  </a:lnTo>
                  <a:lnTo>
                    <a:pt x="3533" y="2744"/>
                  </a:lnTo>
                  <a:lnTo>
                    <a:pt x="3533" y="2744"/>
                  </a:lnTo>
                  <a:lnTo>
                    <a:pt x="3533" y="2741"/>
                  </a:lnTo>
                  <a:lnTo>
                    <a:pt x="3533" y="2741"/>
                  </a:lnTo>
                  <a:lnTo>
                    <a:pt x="3531" y="2741"/>
                  </a:lnTo>
                  <a:lnTo>
                    <a:pt x="3533" y="2741"/>
                  </a:lnTo>
                  <a:lnTo>
                    <a:pt x="3535" y="2746"/>
                  </a:lnTo>
                  <a:lnTo>
                    <a:pt x="3538" y="2746"/>
                  </a:lnTo>
                  <a:lnTo>
                    <a:pt x="3538" y="2746"/>
                  </a:lnTo>
                  <a:lnTo>
                    <a:pt x="3538" y="2746"/>
                  </a:lnTo>
                  <a:lnTo>
                    <a:pt x="3538" y="2746"/>
                  </a:lnTo>
                  <a:lnTo>
                    <a:pt x="3538" y="2746"/>
                  </a:lnTo>
                  <a:lnTo>
                    <a:pt x="3540" y="2746"/>
                  </a:lnTo>
                  <a:lnTo>
                    <a:pt x="3540" y="2746"/>
                  </a:lnTo>
                  <a:lnTo>
                    <a:pt x="3540" y="2746"/>
                  </a:lnTo>
                  <a:lnTo>
                    <a:pt x="3540" y="2746"/>
                  </a:lnTo>
                  <a:lnTo>
                    <a:pt x="3540" y="2746"/>
                  </a:lnTo>
                  <a:lnTo>
                    <a:pt x="3540" y="2746"/>
                  </a:lnTo>
                  <a:lnTo>
                    <a:pt x="3540" y="2746"/>
                  </a:lnTo>
                  <a:lnTo>
                    <a:pt x="3540" y="2746"/>
                  </a:lnTo>
                  <a:lnTo>
                    <a:pt x="3540" y="2746"/>
                  </a:lnTo>
                  <a:lnTo>
                    <a:pt x="3540" y="2746"/>
                  </a:lnTo>
                  <a:lnTo>
                    <a:pt x="3543" y="2746"/>
                  </a:lnTo>
                  <a:lnTo>
                    <a:pt x="3543" y="2746"/>
                  </a:lnTo>
                  <a:lnTo>
                    <a:pt x="3543" y="2746"/>
                  </a:lnTo>
                  <a:lnTo>
                    <a:pt x="3543" y="2746"/>
                  </a:lnTo>
                  <a:lnTo>
                    <a:pt x="3543" y="2748"/>
                  </a:lnTo>
                  <a:lnTo>
                    <a:pt x="3543" y="2746"/>
                  </a:lnTo>
                  <a:lnTo>
                    <a:pt x="3543" y="2746"/>
                  </a:lnTo>
                  <a:lnTo>
                    <a:pt x="3543" y="2746"/>
                  </a:lnTo>
                  <a:lnTo>
                    <a:pt x="3543" y="2744"/>
                  </a:lnTo>
                  <a:lnTo>
                    <a:pt x="3540" y="2741"/>
                  </a:lnTo>
                  <a:lnTo>
                    <a:pt x="3540" y="2741"/>
                  </a:lnTo>
                  <a:lnTo>
                    <a:pt x="3540" y="2741"/>
                  </a:lnTo>
                  <a:lnTo>
                    <a:pt x="3540" y="2739"/>
                  </a:lnTo>
                  <a:lnTo>
                    <a:pt x="3540" y="2739"/>
                  </a:lnTo>
                  <a:lnTo>
                    <a:pt x="3538" y="2739"/>
                  </a:lnTo>
                  <a:lnTo>
                    <a:pt x="3538" y="2739"/>
                  </a:lnTo>
                  <a:lnTo>
                    <a:pt x="3535" y="2739"/>
                  </a:lnTo>
                  <a:lnTo>
                    <a:pt x="3535" y="2737"/>
                  </a:lnTo>
                  <a:lnTo>
                    <a:pt x="3535" y="2737"/>
                  </a:lnTo>
                  <a:lnTo>
                    <a:pt x="3538" y="2737"/>
                  </a:lnTo>
                  <a:lnTo>
                    <a:pt x="3538" y="2737"/>
                  </a:lnTo>
                  <a:lnTo>
                    <a:pt x="3538" y="2739"/>
                  </a:lnTo>
                  <a:lnTo>
                    <a:pt x="3540" y="2739"/>
                  </a:lnTo>
                  <a:lnTo>
                    <a:pt x="3540" y="2739"/>
                  </a:lnTo>
                  <a:lnTo>
                    <a:pt x="3540" y="2739"/>
                  </a:lnTo>
                  <a:lnTo>
                    <a:pt x="3540" y="2739"/>
                  </a:lnTo>
                  <a:lnTo>
                    <a:pt x="3540" y="2739"/>
                  </a:lnTo>
                  <a:lnTo>
                    <a:pt x="3543" y="2741"/>
                  </a:lnTo>
                  <a:lnTo>
                    <a:pt x="3543" y="2739"/>
                  </a:lnTo>
                  <a:lnTo>
                    <a:pt x="3543" y="2739"/>
                  </a:lnTo>
                  <a:lnTo>
                    <a:pt x="3543" y="2739"/>
                  </a:lnTo>
                  <a:lnTo>
                    <a:pt x="3543" y="2739"/>
                  </a:lnTo>
                  <a:lnTo>
                    <a:pt x="3543" y="2739"/>
                  </a:lnTo>
                  <a:lnTo>
                    <a:pt x="3545" y="2739"/>
                  </a:lnTo>
                  <a:lnTo>
                    <a:pt x="3545" y="2739"/>
                  </a:lnTo>
                  <a:lnTo>
                    <a:pt x="3545" y="2737"/>
                  </a:lnTo>
                  <a:lnTo>
                    <a:pt x="3547" y="2737"/>
                  </a:lnTo>
                  <a:lnTo>
                    <a:pt x="3547" y="2737"/>
                  </a:lnTo>
                  <a:lnTo>
                    <a:pt x="3550" y="2737"/>
                  </a:lnTo>
                  <a:lnTo>
                    <a:pt x="3550" y="2737"/>
                  </a:lnTo>
                  <a:lnTo>
                    <a:pt x="3550" y="2737"/>
                  </a:lnTo>
                  <a:lnTo>
                    <a:pt x="3547" y="2739"/>
                  </a:lnTo>
                  <a:lnTo>
                    <a:pt x="3547" y="2739"/>
                  </a:lnTo>
                  <a:lnTo>
                    <a:pt x="3545" y="2739"/>
                  </a:lnTo>
                  <a:lnTo>
                    <a:pt x="3545" y="2741"/>
                  </a:lnTo>
                  <a:lnTo>
                    <a:pt x="3545" y="2741"/>
                  </a:lnTo>
                  <a:lnTo>
                    <a:pt x="3545" y="2741"/>
                  </a:lnTo>
                  <a:lnTo>
                    <a:pt x="3547" y="2741"/>
                  </a:lnTo>
                  <a:lnTo>
                    <a:pt x="3547" y="2744"/>
                  </a:lnTo>
                  <a:lnTo>
                    <a:pt x="3547" y="2744"/>
                  </a:lnTo>
                  <a:lnTo>
                    <a:pt x="3547" y="2746"/>
                  </a:lnTo>
                  <a:lnTo>
                    <a:pt x="3547" y="2751"/>
                  </a:lnTo>
                  <a:lnTo>
                    <a:pt x="3547" y="2753"/>
                  </a:lnTo>
                  <a:lnTo>
                    <a:pt x="3547" y="2753"/>
                  </a:lnTo>
                  <a:lnTo>
                    <a:pt x="3550" y="2755"/>
                  </a:lnTo>
                  <a:lnTo>
                    <a:pt x="3550" y="2755"/>
                  </a:lnTo>
                  <a:lnTo>
                    <a:pt x="3550" y="2755"/>
                  </a:lnTo>
                  <a:lnTo>
                    <a:pt x="3550" y="2758"/>
                  </a:lnTo>
                  <a:lnTo>
                    <a:pt x="3550" y="2758"/>
                  </a:lnTo>
                  <a:lnTo>
                    <a:pt x="3550" y="2758"/>
                  </a:lnTo>
                  <a:lnTo>
                    <a:pt x="3550" y="2760"/>
                  </a:lnTo>
                  <a:lnTo>
                    <a:pt x="3550" y="2760"/>
                  </a:lnTo>
                  <a:lnTo>
                    <a:pt x="3552" y="2758"/>
                  </a:lnTo>
                  <a:lnTo>
                    <a:pt x="3552" y="2758"/>
                  </a:lnTo>
                  <a:lnTo>
                    <a:pt x="3552" y="2758"/>
                  </a:lnTo>
                  <a:lnTo>
                    <a:pt x="3552" y="2758"/>
                  </a:lnTo>
                  <a:lnTo>
                    <a:pt x="3554" y="2758"/>
                  </a:lnTo>
                  <a:lnTo>
                    <a:pt x="3554" y="2758"/>
                  </a:lnTo>
                  <a:lnTo>
                    <a:pt x="3554" y="2758"/>
                  </a:lnTo>
                  <a:lnTo>
                    <a:pt x="3554" y="2753"/>
                  </a:lnTo>
                  <a:lnTo>
                    <a:pt x="3554" y="2753"/>
                  </a:lnTo>
                  <a:lnTo>
                    <a:pt x="3557" y="2751"/>
                  </a:lnTo>
                  <a:lnTo>
                    <a:pt x="3557" y="2751"/>
                  </a:lnTo>
                  <a:lnTo>
                    <a:pt x="3557" y="2751"/>
                  </a:lnTo>
                  <a:lnTo>
                    <a:pt x="3559" y="2748"/>
                  </a:lnTo>
                  <a:lnTo>
                    <a:pt x="3559" y="2748"/>
                  </a:lnTo>
                  <a:lnTo>
                    <a:pt x="3561" y="2748"/>
                  </a:lnTo>
                  <a:lnTo>
                    <a:pt x="3559" y="2748"/>
                  </a:lnTo>
                  <a:lnTo>
                    <a:pt x="3559" y="2748"/>
                  </a:lnTo>
                  <a:lnTo>
                    <a:pt x="3559" y="2751"/>
                  </a:lnTo>
                  <a:lnTo>
                    <a:pt x="3559" y="2751"/>
                  </a:lnTo>
                  <a:lnTo>
                    <a:pt x="3559" y="2751"/>
                  </a:lnTo>
                  <a:lnTo>
                    <a:pt x="3559" y="2751"/>
                  </a:lnTo>
                  <a:lnTo>
                    <a:pt x="3559" y="2751"/>
                  </a:lnTo>
                  <a:lnTo>
                    <a:pt x="3559" y="2751"/>
                  </a:lnTo>
                  <a:lnTo>
                    <a:pt x="3557" y="2753"/>
                  </a:lnTo>
                  <a:lnTo>
                    <a:pt x="3557" y="2753"/>
                  </a:lnTo>
                  <a:lnTo>
                    <a:pt x="3557" y="2755"/>
                  </a:lnTo>
                  <a:lnTo>
                    <a:pt x="3557" y="2758"/>
                  </a:lnTo>
                  <a:lnTo>
                    <a:pt x="3554" y="2758"/>
                  </a:lnTo>
                  <a:lnTo>
                    <a:pt x="3554" y="2760"/>
                  </a:lnTo>
                  <a:lnTo>
                    <a:pt x="3554" y="2760"/>
                  </a:lnTo>
                  <a:lnTo>
                    <a:pt x="3554" y="2760"/>
                  </a:lnTo>
                  <a:lnTo>
                    <a:pt x="3552" y="2760"/>
                  </a:lnTo>
                  <a:lnTo>
                    <a:pt x="3552" y="2760"/>
                  </a:lnTo>
                  <a:lnTo>
                    <a:pt x="3552" y="2760"/>
                  </a:lnTo>
                  <a:lnTo>
                    <a:pt x="3552" y="2760"/>
                  </a:lnTo>
                  <a:lnTo>
                    <a:pt x="3552" y="2760"/>
                  </a:lnTo>
                  <a:lnTo>
                    <a:pt x="3552" y="2760"/>
                  </a:lnTo>
                  <a:lnTo>
                    <a:pt x="3552" y="2760"/>
                  </a:lnTo>
                  <a:lnTo>
                    <a:pt x="3552" y="2763"/>
                  </a:lnTo>
                  <a:lnTo>
                    <a:pt x="3552" y="2763"/>
                  </a:lnTo>
                  <a:lnTo>
                    <a:pt x="3552" y="2763"/>
                  </a:lnTo>
                  <a:lnTo>
                    <a:pt x="3552" y="2763"/>
                  </a:lnTo>
                  <a:lnTo>
                    <a:pt x="3554" y="2760"/>
                  </a:lnTo>
                  <a:lnTo>
                    <a:pt x="3557" y="2763"/>
                  </a:lnTo>
                  <a:lnTo>
                    <a:pt x="3557" y="2763"/>
                  </a:lnTo>
                  <a:lnTo>
                    <a:pt x="3557" y="2763"/>
                  </a:lnTo>
                  <a:lnTo>
                    <a:pt x="3557" y="2763"/>
                  </a:lnTo>
                  <a:lnTo>
                    <a:pt x="3557" y="2763"/>
                  </a:lnTo>
                  <a:lnTo>
                    <a:pt x="3559" y="2763"/>
                  </a:lnTo>
                  <a:lnTo>
                    <a:pt x="3559" y="2763"/>
                  </a:lnTo>
                  <a:lnTo>
                    <a:pt x="3557" y="2760"/>
                  </a:lnTo>
                  <a:lnTo>
                    <a:pt x="3557" y="2760"/>
                  </a:lnTo>
                  <a:lnTo>
                    <a:pt x="3559" y="2760"/>
                  </a:lnTo>
                  <a:lnTo>
                    <a:pt x="3559" y="2763"/>
                  </a:lnTo>
                  <a:lnTo>
                    <a:pt x="3559" y="2763"/>
                  </a:lnTo>
                  <a:lnTo>
                    <a:pt x="3559" y="2763"/>
                  </a:lnTo>
                  <a:lnTo>
                    <a:pt x="3561" y="2767"/>
                  </a:lnTo>
                  <a:lnTo>
                    <a:pt x="3559" y="2767"/>
                  </a:lnTo>
                  <a:lnTo>
                    <a:pt x="3559" y="2767"/>
                  </a:lnTo>
                  <a:lnTo>
                    <a:pt x="3559" y="2767"/>
                  </a:lnTo>
                  <a:lnTo>
                    <a:pt x="3559" y="2767"/>
                  </a:lnTo>
                  <a:lnTo>
                    <a:pt x="3561" y="2770"/>
                  </a:lnTo>
                  <a:lnTo>
                    <a:pt x="3561" y="2770"/>
                  </a:lnTo>
                  <a:lnTo>
                    <a:pt x="3561" y="2770"/>
                  </a:lnTo>
                  <a:lnTo>
                    <a:pt x="3561" y="2772"/>
                  </a:lnTo>
                  <a:lnTo>
                    <a:pt x="3564" y="2777"/>
                  </a:lnTo>
                  <a:lnTo>
                    <a:pt x="3564" y="2779"/>
                  </a:lnTo>
                  <a:lnTo>
                    <a:pt x="3564" y="2779"/>
                  </a:lnTo>
                  <a:lnTo>
                    <a:pt x="3564" y="2779"/>
                  </a:lnTo>
                  <a:lnTo>
                    <a:pt x="3564" y="2779"/>
                  </a:lnTo>
                  <a:lnTo>
                    <a:pt x="3564" y="2777"/>
                  </a:lnTo>
                  <a:lnTo>
                    <a:pt x="3564" y="2777"/>
                  </a:lnTo>
                  <a:lnTo>
                    <a:pt x="3566" y="2781"/>
                  </a:lnTo>
                  <a:lnTo>
                    <a:pt x="3566" y="2781"/>
                  </a:lnTo>
                  <a:lnTo>
                    <a:pt x="3569" y="2781"/>
                  </a:lnTo>
                  <a:lnTo>
                    <a:pt x="3569" y="2784"/>
                  </a:lnTo>
                  <a:lnTo>
                    <a:pt x="3569" y="2784"/>
                  </a:lnTo>
                  <a:lnTo>
                    <a:pt x="3569" y="2784"/>
                  </a:lnTo>
                  <a:lnTo>
                    <a:pt x="3569" y="2784"/>
                  </a:lnTo>
                  <a:lnTo>
                    <a:pt x="3571" y="2784"/>
                  </a:lnTo>
                  <a:lnTo>
                    <a:pt x="3571" y="2784"/>
                  </a:lnTo>
                  <a:lnTo>
                    <a:pt x="3571" y="2784"/>
                  </a:lnTo>
                  <a:lnTo>
                    <a:pt x="3571" y="2784"/>
                  </a:lnTo>
                  <a:lnTo>
                    <a:pt x="3571" y="2786"/>
                  </a:lnTo>
                  <a:lnTo>
                    <a:pt x="3571" y="2786"/>
                  </a:lnTo>
                  <a:lnTo>
                    <a:pt x="3571" y="2786"/>
                  </a:lnTo>
                  <a:lnTo>
                    <a:pt x="3571" y="2786"/>
                  </a:lnTo>
                  <a:lnTo>
                    <a:pt x="3569" y="2786"/>
                  </a:lnTo>
                  <a:lnTo>
                    <a:pt x="3569" y="2786"/>
                  </a:lnTo>
                  <a:lnTo>
                    <a:pt x="3569" y="2786"/>
                  </a:lnTo>
                  <a:lnTo>
                    <a:pt x="3569" y="2786"/>
                  </a:lnTo>
                  <a:lnTo>
                    <a:pt x="3569" y="2789"/>
                  </a:lnTo>
                  <a:lnTo>
                    <a:pt x="3569" y="2789"/>
                  </a:lnTo>
                  <a:lnTo>
                    <a:pt x="3571" y="2789"/>
                  </a:lnTo>
                  <a:lnTo>
                    <a:pt x="3571" y="2789"/>
                  </a:lnTo>
                  <a:lnTo>
                    <a:pt x="3571" y="2789"/>
                  </a:lnTo>
                  <a:lnTo>
                    <a:pt x="3571" y="2789"/>
                  </a:lnTo>
                  <a:lnTo>
                    <a:pt x="3571" y="2786"/>
                  </a:lnTo>
                  <a:lnTo>
                    <a:pt x="3571" y="2786"/>
                  </a:lnTo>
                  <a:lnTo>
                    <a:pt x="3571" y="2786"/>
                  </a:lnTo>
                  <a:lnTo>
                    <a:pt x="3571" y="2786"/>
                  </a:lnTo>
                  <a:lnTo>
                    <a:pt x="3571" y="2786"/>
                  </a:lnTo>
                  <a:lnTo>
                    <a:pt x="3571" y="2786"/>
                  </a:lnTo>
                  <a:lnTo>
                    <a:pt x="3573" y="2786"/>
                  </a:lnTo>
                  <a:lnTo>
                    <a:pt x="3573" y="2786"/>
                  </a:lnTo>
                  <a:lnTo>
                    <a:pt x="3573" y="2786"/>
                  </a:lnTo>
                  <a:lnTo>
                    <a:pt x="3573" y="2786"/>
                  </a:lnTo>
                  <a:lnTo>
                    <a:pt x="3573" y="2786"/>
                  </a:lnTo>
                  <a:lnTo>
                    <a:pt x="3573" y="2786"/>
                  </a:lnTo>
                  <a:lnTo>
                    <a:pt x="3576" y="2786"/>
                  </a:lnTo>
                  <a:lnTo>
                    <a:pt x="3576" y="2786"/>
                  </a:lnTo>
                  <a:lnTo>
                    <a:pt x="3576" y="2786"/>
                  </a:lnTo>
                  <a:lnTo>
                    <a:pt x="3576" y="2786"/>
                  </a:lnTo>
                  <a:lnTo>
                    <a:pt x="3576" y="2786"/>
                  </a:lnTo>
                  <a:lnTo>
                    <a:pt x="3576" y="2786"/>
                  </a:lnTo>
                  <a:lnTo>
                    <a:pt x="3576" y="2786"/>
                  </a:lnTo>
                  <a:lnTo>
                    <a:pt x="3576" y="2786"/>
                  </a:lnTo>
                  <a:lnTo>
                    <a:pt x="3576" y="2786"/>
                  </a:lnTo>
                  <a:lnTo>
                    <a:pt x="3576" y="2786"/>
                  </a:lnTo>
                  <a:lnTo>
                    <a:pt x="3578" y="2786"/>
                  </a:lnTo>
                  <a:lnTo>
                    <a:pt x="3578" y="2786"/>
                  </a:lnTo>
                  <a:lnTo>
                    <a:pt x="3578" y="2786"/>
                  </a:lnTo>
                  <a:lnTo>
                    <a:pt x="3580" y="2786"/>
                  </a:lnTo>
                  <a:lnTo>
                    <a:pt x="3580" y="2786"/>
                  </a:lnTo>
                  <a:lnTo>
                    <a:pt x="3580" y="2786"/>
                  </a:lnTo>
                  <a:lnTo>
                    <a:pt x="3580" y="2786"/>
                  </a:lnTo>
                  <a:lnTo>
                    <a:pt x="3583" y="2789"/>
                  </a:lnTo>
                  <a:lnTo>
                    <a:pt x="3583" y="2789"/>
                  </a:lnTo>
                  <a:lnTo>
                    <a:pt x="3583" y="2789"/>
                  </a:lnTo>
                  <a:lnTo>
                    <a:pt x="3585" y="2789"/>
                  </a:lnTo>
                  <a:lnTo>
                    <a:pt x="3585" y="2789"/>
                  </a:lnTo>
                  <a:lnTo>
                    <a:pt x="3585" y="2789"/>
                  </a:lnTo>
                  <a:lnTo>
                    <a:pt x="3588" y="2789"/>
                  </a:lnTo>
                  <a:lnTo>
                    <a:pt x="3588" y="2791"/>
                  </a:lnTo>
                  <a:lnTo>
                    <a:pt x="3590" y="2791"/>
                  </a:lnTo>
                  <a:lnTo>
                    <a:pt x="3588" y="2793"/>
                  </a:lnTo>
                  <a:lnTo>
                    <a:pt x="3588" y="2793"/>
                  </a:lnTo>
                  <a:lnTo>
                    <a:pt x="3588" y="2793"/>
                  </a:lnTo>
                  <a:lnTo>
                    <a:pt x="3588" y="2793"/>
                  </a:lnTo>
                  <a:lnTo>
                    <a:pt x="3590" y="2796"/>
                  </a:lnTo>
                  <a:lnTo>
                    <a:pt x="3590" y="2796"/>
                  </a:lnTo>
                  <a:lnTo>
                    <a:pt x="3590" y="2796"/>
                  </a:lnTo>
                  <a:lnTo>
                    <a:pt x="3592" y="2796"/>
                  </a:lnTo>
                  <a:lnTo>
                    <a:pt x="3592" y="2796"/>
                  </a:lnTo>
                  <a:lnTo>
                    <a:pt x="3592" y="2796"/>
                  </a:lnTo>
                  <a:lnTo>
                    <a:pt x="3592" y="2796"/>
                  </a:lnTo>
                  <a:lnTo>
                    <a:pt x="3592" y="2798"/>
                  </a:lnTo>
                  <a:lnTo>
                    <a:pt x="3595" y="2798"/>
                  </a:lnTo>
                  <a:lnTo>
                    <a:pt x="3595" y="2800"/>
                  </a:lnTo>
                  <a:lnTo>
                    <a:pt x="3595" y="2800"/>
                  </a:lnTo>
                  <a:lnTo>
                    <a:pt x="3595" y="2803"/>
                  </a:lnTo>
                  <a:lnTo>
                    <a:pt x="3597" y="2800"/>
                  </a:lnTo>
                  <a:lnTo>
                    <a:pt x="3597" y="2800"/>
                  </a:lnTo>
                  <a:lnTo>
                    <a:pt x="3597" y="2803"/>
                  </a:lnTo>
                  <a:lnTo>
                    <a:pt x="3597" y="2803"/>
                  </a:lnTo>
                  <a:lnTo>
                    <a:pt x="3597" y="2803"/>
                  </a:lnTo>
                  <a:lnTo>
                    <a:pt x="3597" y="2803"/>
                  </a:lnTo>
                  <a:lnTo>
                    <a:pt x="3597" y="2805"/>
                  </a:lnTo>
                  <a:lnTo>
                    <a:pt x="3599" y="2805"/>
                  </a:lnTo>
                  <a:lnTo>
                    <a:pt x="3599" y="2807"/>
                  </a:lnTo>
                  <a:lnTo>
                    <a:pt x="3599" y="2807"/>
                  </a:lnTo>
                  <a:lnTo>
                    <a:pt x="3599" y="2810"/>
                  </a:lnTo>
                  <a:lnTo>
                    <a:pt x="3599" y="2810"/>
                  </a:lnTo>
                  <a:lnTo>
                    <a:pt x="3599" y="2810"/>
                  </a:lnTo>
                  <a:lnTo>
                    <a:pt x="3602" y="2810"/>
                  </a:lnTo>
                  <a:lnTo>
                    <a:pt x="3604" y="2812"/>
                  </a:lnTo>
                  <a:lnTo>
                    <a:pt x="3604" y="2812"/>
                  </a:lnTo>
                  <a:lnTo>
                    <a:pt x="3606" y="2812"/>
                  </a:lnTo>
                  <a:lnTo>
                    <a:pt x="3606" y="2812"/>
                  </a:lnTo>
                  <a:lnTo>
                    <a:pt x="3609" y="2812"/>
                  </a:lnTo>
                  <a:lnTo>
                    <a:pt x="3611" y="2815"/>
                  </a:lnTo>
                  <a:lnTo>
                    <a:pt x="3611" y="2815"/>
                  </a:lnTo>
                  <a:lnTo>
                    <a:pt x="3611" y="2817"/>
                  </a:lnTo>
                  <a:lnTo>
                    <a:pt x="3611" y="2817"/>
                  </a:lnTo>
                  <a:lnTo>
                    <a:pt x="3609" y="2817"/>
                  </a:lnTo>
                  <a:lnTo>
                    <a:pt x="3609" y="2817"/>
                  </a:lnTo>
                  <a:lnTo>
                    <a:pt x="3609" y="2817"/>
                  </a:lnTo>
                  <a:lnTo>
                    <a:pt x="3609" y="2817"/>
                  </a:lnTo>
                  <a:lnTo>
                    <a:pt x="3609" y="2817"/>
                  </a:lnTo>
                  <a:lnTo>
                    <a:pt x="3609" y="2817"/>
                  </a:lnTo>
                  <a:lnTo>
                    <a:pt x="3609" y="2817"/>
                  </a:lnTo>
                  <a:lnTo>
                    <a:pt x="3609" y="2817"/>
                  </a:lnTo>
                  <a:lnTo>
                    <a:pt x="3604" y="2815"/>
                  </a:lnTo>
                  <a:lnTo>
                    <a:pt x="3604" y="2815"/>
                  </a:lnTo>
                  <a:lnTo>
                    <a:pt x="3604" y="2815"/>
                  </a:lnTo>
                  <a:lnTo>
                    <a:pt x="3604" y="2812"/>
                  </a:lnTo>
                  <a:lnTo>
                    <a:pt x="3604" y="2812"/>
                  </a:lnTo>
                  <a:lnTo>
                    <a:pt x="3602" y="2812"/>
                  </a:lnTo>
                  <a:lnTo>
                    <a:pt x="3602" y="2812"/>
                  </a:lnTo>
                  <a:lnTo>
                    <a:pt x="3602" y="2812"/>
                  </a:lnTo>
                  <a:lnTo>
                    <a:pt x="3602" y="2812"/>
                  </a:lnTo>
                  <a:lnTo>
                    <a:pt x="3602" y="2812"/>
                  </a:lnTo>
                  <a:lnTo>
                    <a:pt x="3599" y="2815"/>
                  </a:lnTo>
                  <a:lnTo>
                    <a:pt x="3599" y="2817"/>
                  </a:lnTo>
                  <a:lnTo>
                    <a:pt x="3599" y="2817"/>
                  </a:lnTo>
                  <a:lnTo>
                    <a:pt x="3602" y="2819"/>
                  </a:lnTo>
                  <a:lnTo>
                    <a:pt x="3602" y="2822"/>
                  </a:lnTo>
                  <a:lnTo>
                    <a:pt x="3604" y="2822"/>
                  </a:lnTo>
                  <a:lnTo>
                    <a:pt x="3604" y="2822"/>
                  </a:lnTo>
                  <a:lnTo>
                    <a:pt x="3606" y="2822"/>
                  </a:lnTo>
                  <a:lnTo>
                    <a:pt x="3609" y="2822"/>
                  </a:lnTo>
                  <a:lnTo>
                    <a:pt x="3611" y="2819"/>
                  </a:lnTo>
                  <a:lnTo>
                    <a:pt x="3611" y="2819"/>
                  </a:lnTo>
                  <a:lnTo>
                    <a:pt x="3614" y="2819"/>
                  </a:lnTo>
                  <a:lnTo>
                    <a:pt x="3614" y="2819"/>
                  </a:lnTo>
                  <a:lnTo>
                    <a:pt x="3614" y="2819"/>
                  </a:lnTo>
                  <a:lnTo>
                    <a:pt x="3616" y="2817"/>
                  </a:lnTo>
                  <a:lnTo>
                    <a:pt x="3616" y="2817"/>
                  </a:lnTo>
                  <a:lnTo>
                    <a:pt x="3618" y="2817"/>
                  </a:lnTo>
                  <a:lnTo>
                    <a:pt x="3618" y="2819"/>
                  </a:lnTo>
                  <a:lnTo>
                    <a:pt x="3618" y="2819"/>
                  </a:lnTo>
                  <a:lnTo>
                    <a:pt x="3618" y="2819"/>
                  </a:lnTo>
                  <a:lnTo>
                    <a:pt x="3618" y="2819"/>
                  </a:lnTo>
                  <a:lnTo>
                    <a:pt x="3618" y="2819"/>
                  </a:lnTo>
                  <a:lnTo>
                    <a:pt x="3618" y="2819"/>
                  </a:lnTo>
                  <a:lnTo>
                    <a:pt x="3618" y="2819"/>
                  </a:lnTo>
                  <a:lnTo>
                    <a:pt x="3618" y="2819"/>
                  </a:lnTo>
                  <a:lnTo>
                    <a:pt x="3618" y="2819"/>
                  </a:lnTo>
                  <a:lnTo>
                    <a:pt x="3618" y="2819"/>
                  </a:lnTo>
                  <a:lnTo>
                    <a:pt x="3618" y="2819"/>
                  </a:lnTo>
                  <a:lnTo>
                    <a:pt x="3618" y="2819"/>
                  </a:lnTo>
                  <a:lnTo>
                    <a:pt x="3621" y="2819"/>
                  </a:lnTo>
                  <a:lnTo>
                    <a:pt x="3621" y="2817"/>
                  </a:lnTo>
                  <a:lnTo>
                    <a:pt x="3621" y="2819"/>
                  </a:lnTo>
                  <a:lnTo>
                    <a:pt x="3621" y="2819"/>
                  </a:lnTo>
                  <a:lnTo>
                    <a:pt x="3621" y="2819"/>
                  </a:lnTo>
                  <a:lnTo>
                    <a:pt x="3623" y="2819"/>
                  </a:lnTo>
                  <a:lnTo>
                    <a:pt x="3623" y="2817"/>
                  </a:lnTo>
                  <a:lnTo>
                    <a:pt x="3623" y="2817"/>
                  </a:lnTo>
                  <a:lnTo>
                    <a:pt x="3623" y="2817"/>
                  </a:lnTo>
                  <a:lnTo>
                    <a:pt x="3625" y="2817"/>
                  </a:lnTo>
                  <a:lnTo>
                    <a:pt x="3625" y="2817"/>
                  </a:lnTo>
                  <a:lnTo>
                    <a:pt x="3625" y="2817"/>
                  </a:lnTo>
                  <a:lnTo>
                    <a:pt x="3625" y="2817"/>
                  </a:lnTo>
                  <a:lnTo>
                    <a:pt x="3625" y="2815"/>
                  </a:lnTo>
                  <a:lnTo>
                    <a:pt x="3625" y="2815"/>
                  </a:lnTo>
                  <a:lnTo>
                    <a:pt x="3625" y="2815"/>
                  </a:lnTo>
                  <a:lnTo>
                    <a:pt x="3625" y="2815"/>
                  </a:lnTo>
                  <a:lnTo>
                    <a:pt x="3625" y="2815"/>
                  </a:lnTo>
                  <a:lnTo>
                    <a:pt x="3625" y="2815"/>
                  </a:lnTo>
                  <a:lnTo>
                    <a:pt x="3625" y="2815"/>
                  </a:lnTo>
                  <a:lnTo>
                    <a:pt x="3625" y="2815"/>
                  </a:lnTo>
                  <a:lnTo>
                    <a:pt x="3628" y="2815"/>
                  </a:lnTo>
                  <a:lnTo>
                    <a:pt x="3628" y="2812"/>
                  </a:lnTo>
                  <a:lnTo>
                    <a:pt x="3628" y="2812"/>
                  </a:lnTo>
                  <a:lnTo>
                    <a:pt x="3628" y="2812"/>
                  </a:lnTo>
                  <a:lnTo>
                    <a:pt x="3630" y="2812"/>
                  </a:lnTo>
                  <a:lnTo>
                    <a:pt x="3630" y="2812"/>
                  </a:lnTo>
                  <a:lnTo>
                    <a:pt x="3630" y="2812"/>
                  </a:lnTo>
                  <a:lnTo>
                    <a:pt x="3630" y="2812"/>
                  </a:lnTo>
                  <a:lnTo>
                    <a:pt x="3630" y="2812"/>
                  </a:lnTo>
                  <a:lnTo>
                    <a:pt x="3630" y="2812"/>
                  </a:lnTo>
                  <a:lnTo>
                    <a:pt x="3630" y="2812"/>
                  </a:lnTo>
                  <a:lnTo>
                    <a:pt x="3630" y="2812"/>
                  </a:lnTo>
                  <a:lnTo>
                    <a:pt x="3630" y="2812"/>
                  </a:lnTo>
                  <a:lnTo>
                    <a:pt x="3630" y="2812"/>
                  </a:lnTo>
                  <a:lnTo>
                    <a:pt x="3630" y="2812"/>
                  </a:lnTo>
                  <a:lnTo>
                    <a:pt x="3630" y="2815"/>
                  </a:lnTo>
                  <a:lnTo>
                    <a:pt x="3630" y="2815"/>
                  </a:lnTo>
                  <a:lnTo>
                    <a:pt x="3632" y="2812"/>
                  </a:lnTo>
                  <a:lnTo>
                    <a:pt x="3632" y="2812"/>
                  </a:lnTo>
                  <a:lnTo>
                    <a:pt x="3632" y="2815"/>
                  </a:lnTo>
                  <a:lnTo>
                    <a:pt x="3635" y="2815"/>
                  </a:lnTo>
                  <a:lnTo>
                    <a:pt x="3635" y="2815"/>
                  </a:lnTo>
                  <a:lnTo>
                    <a:pt x="3635" y="2815"/>
                  </a:lnTo>
                  <a:lnTo>
                    <a:pt x="3632" y="2812"/>
                  </a:lnTo>
                  <a:lnTo>
                    <a:pt x="3632" y="2812"/>
                  </a:lnTo>
                  <a:lnTo>
                    <a:pt x="3630" y="2812"/>
                  </a:lnTo>
                  <a:lnTo>
                    <a:pt x="3632" y="2812"/>
                  </a:lnTo>
                  <a:lnTo>
                    <a:pt x="3632" y="2812"/>
                  </a:lnTo>
                  <a:lnTo>
                    <a:pt x="3632" y="2812"/>
                  </a:lnTo>
                  <a:lnTo>
                    <a:pt x="3632" y="2812"/>
                  </a:lnTo>
                  <a:lnTo>
                    <a:pt x="3635" y="2812"/>
                  </a:lnTo>
                  <a:lnTo>
                    <a:pt x="3635" y="2812"/>
                  </a:lnTo>
                  <a:lnTo>
                    <a:pt x="3635" y="2815"/>
                  </a:lnTo>
                  <a:lnTo>
                    <a:pt x="3635" y="2812"/>
                  </a:lnTo>
                  <a:lnTo>
                    <a:pt x="3635" y="2812"/>
                  </a:lnTo>
                  <a:lnTo>
                    <a:pt x="3635" y="2812"/>
                  </a:lnTo>
                  <a:lnTo>
                    <a:pt x="3635" y="2812"/>
                  </a:lnTo>
                  <a:lnTo>
                    <a:pt x="3635" y="2810"/>
                  </a:lnTo>
                  <a:lnTo>
                    <a:pt x="3635" y="2810"/>
                  </a:lnTo>
                  <a:lnTo>
                    <a:pt x="3635" y="2810"/>
                  </a:lnTo>
                  <a:lnTo>
                    <a:pt x="3635" y="2807"/>
                  </a:lnTo>
                  <a:lnTo>
                    <a:pt x="3635" y="2807"/>
                  </a:lnTo>
                  <a:lnTo>
                    <a:pt x="3637" y="2805"/>
                  </a:lnTo>
                  <a:lnTo>
                    <a:pt x="3637" y="2803"/>
                  </a:lnTo>
                  <a:lnTo>
                    <a:pt x="3637" y="2803"/>
                  </a:lnTo>
                  <a:lnTo>
                    <a:pt x="3637" y="2803"/>
                  </a:lnTo>
                  <a:lnTo>
                    <a:pt x="3637" y="2803"/>
                  </a:lnTo>
                  <a:lnTo>
                    <a:pt x="3637" y="2803"/>
                  </a:lnTo>
                  <a:lnTo>
                    <a:pt x="3637" y="2800"/>
                  </a:lnTo>
                  <a:lnTo>
                    <a:pt x="3637" y="2800"/>
                  </a:lnTo>
                  <a:lnTo>
                    <a:pt x="3637" y="2800"/>
                  </a:lnTo>
                  <a:lnTo>
                    <a:pt x="3637" y="2800"/>
                  </a:lnTo>
                  <a:lnTo>
                    <a:pt x="3637" y="2800"/>
                  </a:lnTo>
                  <a:lnTo>
                    <a:pt x="3635" y="2798"/>
                  </a:lnTo>
                  <a:lnTo>
                    <a:pt x="3635" y="2798"/>
                  </a:lnTo>
                  <a:lnTo>
                    <a:pt x="3635" y="2798"/>
                  </a:lnTo>
                  <a:lnTo>
                    <a:pt x="3637" y="2796"/>
                  </a:lnTo>
                  <a:lnTo>
                    <a:pt x="3637" y="2796"/>
                  </a:lnTo>
                  <a:lnTo>
                    <a:pt x="3637" y="2793"/>
                  </a:lnTo>
                  <a:lnTo>
                    <a:pt x="3637" y="2791"/>
                  </a:lnTo>
                  <a:lnTo>
                    <a:pt x="3637" y="2791"/>
                  </a:lnTo>
                  <a:lnTo>
                    <a:pt x="3637" y="2789"/>
                  </a:lnTo>
                  <a:lnTo>
                    <a:pt x="3637" y="2786"/>
                  </a:lnTo>
                  <a:lnTo>
                    <a:pt x="3637" y="2786"/>
                  </a:lnTo>
                  <a:lnTo>
                    <a:pt x="3637" y="2786"/>
                  </a:lnTo>
                  <a:lnTo>
                    <a:pt x="3640" y="2786"/>
                  </a:lnTo>
                  <a:lnTo>
                    <a:pt x="3640" y="2786"/>
                  </a:lnTo>
                  <a:lnTo>
                    <a:pt x="3640" y="2784"/>
                  </a:lnTo>
                  <a:lnTo>
                    <a:pt x="3640" y="2784"/>
                  </a:lnTo>
                  <a:lnTo>
                    <a:pt x="3640" y="2781"/>
                  </a:lnTo>
                  <a:lnTo>
                    <a:pt x="3640" y="2779"/>
                  </a:lnTo>
                  <a:lnTo>
                    <a:pt x="3640" y="2779"/>
                  </a:lnTo>
                  <a:lnTo>
                    <a:pt x="3642" y="2777"/>
                  </a:lnTo>
                  <a:lnTo>
                    <a:pt x="3642" y="2777"/>
                  </a:lnTo>
                  <a:lnTo>
                    <a:pt x="3642" y="2777"/>
                  </a:lnTo>
                  <a:lnTo>
                    <a:pt x="3642" y="2777"/>
                  </a:lnTo>
                  <a:lnTo>
                    <a:pt x="3642" y="2779"/>
                  </a:lnTo>
                  <a:lnTo>
                    <a:pt x="3642" y="2781"/>
                  </a:lnTo>
                  <a:lnTo>
                    <a:pt x="3642" y="2781"/>
                  </a:lnTo>
                  <a:lnTo>
                    <a:pt x="3642" y="2767"/>
                  </a:lnTo>
                  <a:lnTo>
                    <a:pt x="3640" y="2767"/>
                  </a:lnTo>
                  <a:lnTo>
                    <a:pt x="3640" y="2765"/>
                  </a:lnTo>
                  <a:lnTo>
                    <a:pt x="3640" y="2765"/>
                  </a:lnTo>
                  <a:lnTo>
                    <a:pt x="3642" y="2763"/>
                  </a:lnTo>
                  <a:lnTo>
                    <a:pt x="3640" y="2755"/>
                  </a:lnTo>
                  <a:lnTo>
                    <a:pt x="3640" y="2755"/>
                  </a:lnTo>
                  <a:lnTo>
                    <a:pt x="3640" y="2753"/>
                  </a:lnTo>
                  <a:lnTo>
                    <a:pt x="3640" y="2753"/>
                  </a:lnTo>
                  <a:lnTo>
                    <a:pt x="3640" y="2751"/>
                  </a:lnTo>
                  <a:lnTo>
                    <a:pt x="3640" y="2751"/>
                  </a:lnTo>
                  <a:lnTo>
                    <a:pt x="3640" y="2748"/>
                  </a:lnTo>
                  <a:lnTo>
                    <a:pt x="3640" y="2744"/>
                  </a:lnTo>
                  <a:lnTo>
                    <a:pt x="3640" y="2741"/>
                  </a:lnTo>
                  <a:lnTo>
                    <a:pt x="3640" y="2741"/>
                  </a:lnTo>
                  <a:lnTo>
                    <a:pt x="3640" y="2734"/>
                  </a:lnTo>
                  <a:lnTo>
                    <a:pt x="3637" y="2732"/>
                  </a:lnTo>
                  <a:lnTo>
                    <a:pt x="3637" y="2732"/>
                  </a:lnTo>
                  <a:lnTo>
                    <a:pt x="3637" y="2732"/>
                  </a:lnTo>
                  <a:lnTo>
                    <a:pt x="3637" y="2732"/>
                  </a:lnTo>
                  <a:lnTo>
                    <a:pt x="3637" y="2729"/>
                  </a:lnTo>
                  <a:lnTo>
                    <a:pt x="3635" y="2725"/>
                  </a:lnTo>
                  <a:lnTo>
                    <a:pt x="3635" y="2725"/>
                  </a:lnTo>
                  <a:lnTo>
                    <a:pt x="3635" y="2725"/>
                  </a:lnTo>
                  <a:lnTo>
                    <a:pt x="3632" y="2725"/>
                  </a:lnTo>
                  <a:lnTo>
                    <a:pt x="3632" y="2725"/>
                  </a:lnTo>
                  <a:lnTo>
                    <a:pt x="3632" y="2725"/>
                  </a:lnTo>
                  <a:lnTo>
                    <a:pt x="3632" y="2722"/>
                  </a:lnTo>
                  <a:lnTo>
                    <a:pt x="3635" y="2722"/>
                  </a:lnTo>
                  <a:lnTo>
                    <a:pt x="3635" y="2722"/>
                  </a:lnTo>
                  <a:lnTo>
                    <a:pt x="3635" y="2722"/>
                  </a:lnTo>
                  <a:lnTo>
                    <a:pt x="3635" y="2722"/>
                  </a:lnTo>
                  <a:lnTo>
                    <a:pt x="3632" y="2720"/>
                  </a:lnTo>
                  <a:lnTo>
                    <a:pt x="3632" y="2718"/>
                  </a:lnTo>
                  <a:lnTo>
                    <a:pt x="3630" y="2715"/>
                  </a:lnTo>
                  <a:lnTo>
                    <a:pt x="3630" y="2715"/>
                  </a:lnTo>
                  <a:lnTo>
                    <a:pt x="3630" y="2715"/>
                  </a:lnTo>
                  <a:lnTo>
                    <a:pt x="3628" y="2713"/>
                  </a:lnTo>
                  <a:lnTo>
                    <a:pt x="3628" y="2713"/>
                  </a:lnTo>
                  <a:lnTo>
                    <a:pt x="3625" y="2713"/>
                  </a:lnTo>
                  <a:lnTo>
                    <a:pt x="3625" y="2713"/>
                  </a:lnTo>
                  <a:lnTo>
                    <a:pt x="3625" y="2713"/>
                  </a:lnTo>
                  <a:lnTo>
                    <a:pt x="3623" y="2713"/>
                  </a:lnTo>
                  <a:lnTo>
                    <a:pt x="3623" y="2713"/>
                  </a:lnTo>
                  <a:lnTo>
                    <a:pt x="3623" y="2713"/>
                  </a:lnTo>
                  <a:lnTo>
                    <a:pt x="3621" y="2710"/>
                  </a:lnTo>
                  <a:lnTo>
                    <a:pt x="3621" y="2710"/>
                  </a:lnTo>
                  <a:lnTo>
                    <a:pt x="3623" y="2710"/>
                  </a:lnTo>
                  <a:lnTo>
                    <a:pt x="3623" y="2710"/>
                  </a:lnTo>
                  <a:lnTo>
                    <a:pt x="3623" y="2710"/>
                  </a:lnTo>
                  <a:lnTo>
                    <a:pt x="3623" y="2710"/>
                  </a:lnTo>
                  <a:lnTo>
                    <a:pt x="3623" y="2710"/>
                  </a:lnTo>
                  <a:lnTo>
                    <a:pt x="3625" y="2710"/>
                  </a:lnTo>
                  <a:lnTo>
                    <a:pt x="3625" y="2710"/>
                  </a:lnTo>
                  <a:lnTo>
                    <a:pt x="3628" y="2713"/>
                  </a:lnTo>
                  <a:lnTo>
                    <a:pt x="3628" y="2713"/>
                  </a:lnTo>
                  <a:lnTo>
                    <a:pt x="3618" y="2696"/>
                  </a:lnTo>
                  <a:lnTo>
                    <a:pt x="3614" y="2689"/>
                  </a:lnTo>
                  <a:lnTo>
                    <a:pt x="3604" y="2675"/>
                  </a:lnTo>
                  <a:lnTo>
                    <a:pt x="3595" y="2661"/>
                  </a:lnTo>
                  <a:lnTo>
                    <a:pt x="3595" y="2661"/>
                  </a:lnTo>
                  <a:lnTo>
                    <a:pt x="3592" y="2658"/>
                  </a:lnTo>
                  <a:lnTo>
                    <a:pt x="3592" y="2654"/>
                  </a:lnTo>
                  <a:lnTo>
                    <a:pt x="3590" y="2654"/>
                  </a:lnTo>
                  <a:lnTo>
                    <a:pt x="3590" y="2649"/>
                  </a:lnTo>
                  <a:lnTo>
                    <a:pt x="3588" y="2647"/>
                  </a:lnTo>
                  <a:lnTo>
                    <a:pt x="3588" y="2647"/>
                  </a:lnTo>
                  <a:lnTo>
                    <a:pt x="3585" y="2644"/>
                  </a:lnTo>
                  <a:lnTo>
                    <a:pt x="3585" y="2644"/>
                  </a:lnTo>
                  <a:lnTo>
                    <a:pt x="3585" y="2644"/>
                  </a:lnTo>
                  <a:lnTo>
                    <a:pt x="3585" y="2642"/>
                  </a:lnTo>
                  <a:lnTo>
                    <a:pt x="3585" y="2637"/>
                  </a:lnTo>
                  <a:lnTo>
                    <a:pt x="3585" y="2637"/>
                  </a:lnTo>
                  <a:lnTo>
                    <a:pt x="3588" y="2640"/>
                  </a:lnTo>
                  <a:lnTo>
                    <a:pt x="3588" y="2640"/>
                  </a:lnTo>
                  <a:lnTo>
                    <a:pt x="3590" y="2640"/>
                  </a:lnTo>
                  <a:lnTo>
                    <a:pt x="3590" y="2642"/>
                  </a:lnTo>
                  <a:lnTo>
                    <a:pt x="3588" y="2642"/>
                  </a:lnTo>
                  <a:lnTo>
                    <a:pt x="3588" y="2642"/>
                  </a:lnTo>
                  <a:lnTo>
                    <a:pt x="3588" y="2642"/>
                  </a:lnTo>
                  <a:lnTo>
                    <a:pt x="3588" y="2644"/>
                  </a:lnTo>
                  <a:lnTo>
                    <a:pt x="3588" y="2644"/>
                  </a:lnTo>
                  <a:lnTo>
                    <a:pt x="3588" y="2644"/>
                  </a:lnTo>
                  <a:lnTo>
                    <a:pt x="3590" y="2647"/>
                  </a:lnTo>
                  <a:lnTo>
                    <a:pt x="3590" y="2647"/>
                  </a:lnTo>
                  <a:lnTo>
                    <a:pt x="3592" y="2647"/>
                  </a:lnTo>
                  <a:lnTo>
                    <a:pt x="3592" y="2647"/>
                  </a:lnTo>
                  <a:lnTo>
                    <a:pt x="3595" y="2647"/>
                  </a:lnTo>
                  <a:lnTo>
                    <a:pt x="3595" y="2647"/>
                  </a:lnTo>
                  <a:lnTo>
                    <a:pt x="3595" y="2644"/>
                  </a:lnTo>
                  <a:lnTo>
                    <a:pt x="3595" y="2644"/>
                  </a:lnTo>
                  <a:lnTo>
                    <a:pt x="3595" y="2644"/>
                  </a:lnTo>
                  <a:lnTo>
                    <a:pt x="3595" y="2644"/>
                  </a:lnTo>
                  <a:lnTo>
                    <a:pt x="3595" y="2644"/>
                  </a:lnTo>
                  <a:lnTo>
                    <a:pt x="3595" y="2644"/>
                  </a:lnTo>
                  <a:lnTo>
                    <a:pt x="3595" y="2644"/>
                  </a:lnTo>
                  <a:lnTo>
                    <a:pt x="3597" y="2644"/>
                  </a:lnTo>
                  <a:lnTo>
                    <a:pt x="3597" y="2644"/>
                  </a:lnTo>
                  <a:lnTo>
                    <a:pt x="3597" y="2647"/>
                  </a:lnTo>
                  <a:lnTo>
                    <a:pt x="3597" y="2647"/>
                  </a:lnTo>
                  <a:lnTo>
                    <a:pt x="3597" y="2649"/>
                  </a:lnTo>
                  <a:lnTo>
                    <a:pt x="3597" y="2656"/>
                  </a:lnTo>
                  <a:lnTo>
                    <a:pt x="3599" y="2666"/>
                  </a:lnTo>
                  <a:lnTo>
                    <a:pt x="3599" y="2668"/>
                  </a:lnTo>
                  <a:lnTo>
                    <a:pt x="3602" y="2670"/>
                  </a:lnTo>
                  <a:lnTo>
                    <a:pt x="3606" y="2675"/>
                  </a:lnTo>
                  <a:lnTo>
                    <a:pt x="3606" y="2677"/>
                  </a:lnTo>
                  <a:lnTo>
                    <a:pt x="3609" y="2677"/>
                  </a:lnTo>
                  <a:lnTo>
                    <a:pt x="3609" y="2677"/>
                  </a:lnTo>
                  <a:lnTo>
                    <a:pt x="3609" y="2680"/>
                  </a:lnTo>
                  <a:lnTo>
                    <a:pt x="3609" y="2680"/>
                  </a:lnTo>
                  <a:lnTo>
                    <a:pt x="3609" y="2677"/>
                  </a:lnTo>
                  <a:lnTo>
                    <a:pt x="3604" y="2673"/>
                  </a:lnTo>
                  <a:lnTo>
                    <a:pt x="3604" y="2673"/>
                  </a:lnTo>
                  <a:lnTo>
                    <a:pt x="3604" y="2670"/>
                  </a:lnTo>
                  <a:lnTo>
                    <a:pt x="3602" y="2670"/>
                  </a:lnTo>
                  <a:lnTo>
                    <a:pt x="3599" y="2666"/>
                  </a:lnTo>
                  <a:lnTo>
                    <a:pt x="3599" y="2661"/>
                  </a:lnTo>
                  <a:lnTo>
                    <a:pt x="3599" y="2661"/>
                  </a:lnTo>
                  <a:lnTo>
                    <a:pt x="3599" y="2661"/>
                  </a:lnTo>
                  <a:lnTo>
                    <a:pt x="3599" y="2661"/>
                  </a:lnTo>
                  <a:lnTo>
                    <a:pt x="3599" y="2656"/>
                  </a:lnTo>
                  <a:lnTo>
                    <a:pt x="3599" y="2654"/>
                  </a:lnTo>
                  <a:lnTo>
                    <a:pt x="3599" y="2654"/>
                  </a:lnTo>
                  <a:lnTo>
                    <a:pt x="3599" y="2654"/>
                  </a:lnTo>
                  <a:lnTo>
                    <a:pt x="3599" y="2654"/>
                  </a:lnTo>
                  <a:lnTo>
                    <a:pt x="3599" y="2654"/>
                  </a:lnTo>
                  <a:lnTo>
                    <a:pt x="3599" y="2654"/>
                  </a:lnTo>
                  <a:lnTo>
                    <a:pt x="3599" y="2651"/>
                  </a:lnTo>
                  <a:lnTo>
                    <a:pt x="3602" y="2651"/>
                  </a:lnTo>
                  <a:lnTo>
                    <a:pt x="3599" y="2649"/>
                  </a:lnTo>
                  <a:lnTo>
                    <a:pt x="3599" y="2647"/>
                  </a:lnTo>
                  <a:lnTo>
                    <a:pt x="3595" y="2642"/>
                  </a:lnTo>
                  <a:lnTo>
                    <a:pt x="3592" y="2640"/>
                  </a:lnTo>
                  <a:lnTo>
                    <a:pt x="3588" y="2635"/>
                  </a:lnTo>
                  <a:lnTo>
                    <a:pt x="3580" y="2628"/>
                  </a:lnTo>
                  <a:lnTo>
                    <a:pt x="3580" y="2625"/>
                  </a:lnTo>
                  <a:lnTo>
                    <a:pt x="3580" y="2625"/>
                  </a:lnTo>
                  <a:lnTo>
                    <a:pt x="3578" y="2625"/>
                  </a:lnTo>
                  <a:lnTo>
                    <a:pt x="3578" y="2625"/>
                  </a:lnTo>
                  <a:lnTo>
                    <a:pt x="3578" y="2623"/>
                  </a:lnTo>
                  <a:lnTo>
                    <a:pt x="3578" y="2623"/>
                  </a:lnTo>
                  <a:lnTo>
                    <a:pt x="3576" y="2621"/>
                  </a:lnTo>
                  <a:lnTo>
                    <a:pt x="3573" y="2616"/>
                  </a:lnTo>
                  <a:lnTo>
                    <a:pt x="3569" y="2611"/>
                  </a:lnTo>
                  <a:lnTo>
                    <a:pt x="3566" y="2604"/>
                  </a:lnTo>
                  <a:lnTo>
                    <a:pt x="3564" y="2599"/>
                  </a:lnTo>
                  <a:lnTo>
                    <a:pt x="3561" y="2599"/>
                  </a:lnTo>
                  <a:lnTo>
                    <a:pt x="3561" y="2599"/>
                  </a:lnTo>
                  <a:lnTo>
                    <a:pt x="3561" y="2597"/>
                  </a:lnTo>
                  <a:lnTo>
                    <a:pt x="3559" y="2595"/>
                  </a:lnTo>
                  <a:lnTo>
                    <a:pt x="3559" y="2592"/>
                  </a:lnTo>
                  <a:lnTo>
                    <a:pt x="3559" y="2592"/>
                  </a:lnTo>
                  <a:lnTo>
                    <a:pt x="3557" y="2590"/>
                  </a:lnTo>
                  <a:lnTo>
                    <a:pt x="3557" y="2587"/>
                  </a:lnTo>
                  <a:lnTo>
                    <a:pt x="3557" y="2587"/>
                  </a:lnTo>
                  <a:lnTo>
                    <a:pt x="3557" y="2587"/>
                  </a:lnTo>
                  <a:lnTo>
                    <a:pt x="3557" y="2585"/>
                  </a:lnTo>
                  <a:lnTo>
                    <a:pt x="3557" y="2585"/>
                  </a:lnTo>
                  <a:lnTo>
                    <a:pt x="3554" y="2585"/>
                  </a:lnTo>
                  <a:lnTo>
                    <a:pt x="3554" y="2585"/>
                  </a:lnTo>
                  <a:lnTo>
                    <a:pt x="3554" y="2585"/>
                  </a:lnTo>
                  <a:lnTo>
                    <a:pt x="3552" y="2578"/>
                  </a:lnTo>
                  <a:lnTo>
                    <a:pt x="3550" y="2573"/>
                  </a:lnTo>
                  <a:lnTo>
                    <a:pt x="3550" y="2571"/>
                  </a:lnTo>
                  <a:lnTo>
                    <a:pt x="3547" y="2566"/>
                  </a:lnTo>
                  <a:lnTo>
                    <a:pt x="3547" y="2564"/>
                  </a:lnTo>
                  <a:lnTo>
                    <a:pt x="3547" y="2561"/>
                  </a:lnTo>
                  <a:lnTo>
                    <a:pt x="3547" y="2561"/>
                  </a:lnTo>
                  <a:lnTo>
                    <a:pt x="3547" y="2561"/>
                  </a:lnTo>
                  <a:lnTo>
                    <a:pt x="3545" y="2561"/>
                  </a:lnTo>
                  <a:lnTo>
                    <a:pt x="3545" y="2561"/>
                  </a:lnTo>
                  <a:lnTo>
                    <a:pt x="3545" y="2559"/>
                  </a:lnTo>
                  <a:lnTo>
                    <a:pt x="3545" y="2559"/>
                  </a:lnTo>
                  <a:lnTo>
                    <a:pt x="3545" y="2559"/>
                  </a:lnTo>
                  <a:lnTo>
                    <a:pt x="3545" y="2559"/>
                  </a:lnTo>
                  <a:lnTo>
                    <a:pt x="3545" y="2559"/>
                  </a:lnTo>
                  <a:lnTo>
                    <a:pt x="3545" y="2559"/>
                  </a:lnTo>
                  <a:lnTo>
                    <a:pt x="3545" y="2557"/>
                  </a:lnTo>
                  <a:lnTo>
                    <a:pt x="3543" y="2557"/>
                  </a:lnTo>
                  <a:lnTo>
                    <a:pt x="3543" y="2557"/>
                  </a:lnTo>
                  <a:lnTo>
                    <a:pt x="3543" y="2557"/>
                  </a:lnTo>
                  <a:lnTo>
                    <a:pt x="3543" y="2557"/>
                  </a:lnTo>
                  <a:lnTo>
                    <a:pt x="3540" y="2554"/>
                  </a:lnTo>
                  <a:lnTo>
                    <a:pt x="3540" y="2554"/>
                  </a:lnTo>
                  <a:lnTo>
                    <a:pt x="3540" y="2554"/>
                  </a:lnTo>
                  <a:lnTo>
                    <a:pt x="3540" y="2552"/>
                  </a:lnTo>
                  <a:lnTo>
                    <a:pt x="3540" y="2552"/>
                  </a:lnTo>
                  <a:lnTo>
                    <a:pt x="3540" y="2552"/>
                  </a:lnTo>
                  <a:lnTo>
                    <a:pt x="3540" y="2552"/>
                  </a:lnTo>
                  <a:lnTo>
                    <a:pt x="3540" y="2552"/>
                  </a:lnTo>
                  <a:lnTo>
                    <a:pt x="3540" y="2552"/>
                  </a:lnTo>
                  <a:lnTo>
                    <a:pt x="3543" y="2552"/>
                  </a:lnTo>
                  <a:lnTo>
                    <a:pt x="3543" y="2552"/>
                  </a:lnTo>
                  <a:lnTo>
                    <a:pt x="3543" y="2554"/>
                  </a:lnTo>
                  <a:lnTo>
                    <a:pt x="3543" y="2554"/>
                  </a:lnTo>
                  <a:lnTo>
                    <a:pt x="3543" y="2554"/>
                  </a:lnTo>
                  <a:lnTo>
                    <a:pt x="3543" y="2557"/>
                  </a:lnTo>
                  <a:lnTo>
                    <a:pt x="3543" y="2554"/>
                  </a:lnTo>
                  <a:lnTo>
                    <a:pt x="3543" y="2550"/>
                  </a:lnTo>
                  <a:lnTo>
                    <a:pt x="3543" y="2550"/>
                  </a:lnTo>
                  <a:lnTo>
                    <a:pt x="3543" y="2547"/>
                  </a:lnTo>
                  <a:lnTo>
                    <a:pt x="3543" y="2547"/>
                  </a:lnTo>
                  <a:lnTo>
                    <a:pt x="3543" y="2547"/>
                  </a:lnTo>
                  <a:lnTo>
                    <a:pt x="3543" y="2547"/>
                  </a:lnTo>
                  <a:lnTo>
                    <a:pt x="3543" y="2547"/>
                  </a:lnTo>
                  <a:lnTo>
                    <a:pt x="3543" y="2547"/>
                  </a:lnTo>
                  <a:lnTo>
                    <a:pt x="3540" y="2547"/>
                  </a:lnTo>
                  <a:lnTo>
                    <a:pt x="3540" y="2547"/>
                  </a:lnTo>
                  <a:lnTo>
                    <a:pt x="3540" y="2547"/>
                  </a:lnTo>
                  <a:lnTo>
                    <a:pt x="3540" y="2547"/>
                  </a:lnTo>
                  <a:lnTo>
                    <a:pt x="3540" y="2547"/>
                  </a:lnTo>
                  <a:lnTo>
                    <a:pt x="3540" y="2547"/>
                  </a:lnTo>
                  <a:lnTo>
                    <a:pt x="3540" y="2545"/>
                  </a:lnTo>
                  <a:lnTo>
                    <a:pt x="3540" y="2545"/>
                  </a:lnTo>
                  <a:lnTo>
                    <a:pt x="3538" y="2543"/>
                  </a:lnTo>
                  <a:lnTo>
                    <a:pt x="3538" y="2543"/>
                  </a:lnTo>
                  <a:lnTo>
                    <a:pt x="3538" y="2543"/>
                  </a:lnTo>
                  <a:lnTo>
                    <a:pt x="3538" y="2543"/>
                  </a:lnTo>
                  <a:lnTo>
                    <a:pt x="3538" y="2540"/>
                  </a:lnTo>
                  <a:lnTo>
                    <a:pt x="3538" y="2540"/>
                  </a:lnTo>
                  <a:lnTo>
                    <a:pt x="3535" y="2540"/>
                  </a:lnTo>
                  <a:lnTo>
                    <a:pt x="3535" y="2540"/>
                  </a:lnTo>
                  <a:lnTo>
                    <a:pt x="3538" y="2540"/>
                  </a:lnTo>
                  <a:lnTo>
                    <a:pt x="3538" y="2540"/>
                  </a:lnTo>
                  <a:lnTo>
                    <a:pt x="3538" y="2540"/>
                  </a:lnTo>
                  <a:lnTo>
                    <a:pt x="3538" y="2540"/>
                  </a:lnTo>
                  <a:lnTo>
                    <a:pt x="3538" y="2540"/>
                  </a:lnTo>
                  <a:lnTo>
                    <a:pt x="3538" y="2540"/>
                  </a:lnTo>
                  <a:lnTo>
                    <a:pt x="3538" y="2538"/>
                  </a:lnTo>
                  <a:lnTo>
                    <a:pt x="3538" y="2538"/>
                  </a:lnTo>
                  <a:lnTo>
                    <a:pt x="3538" y="2538"/>
                  </a:lnTo>
                  <a:lnTo>
                    <a:pt x="3538" y="2538"/>
                  </a:lnTo>
                  <a:lnTo>
                    <a:pt x="3538" y="2538"/>
                  </a:lnTo>
                  <a:lnTo>
                    <a:pt x="3538" y="2535"/>
                  </a:lnTo>
                  <a:lnTo>
                    <a:pt x="3538" y="2535"/>
                  </a:lnTo>
                  <a:lnTo>
                    <a:pt x="3540" y="2533"/>
                  </a:lnTo>
                  <a:lnTo>
                    <a:pt x="3538" y="2533"/>
                  </a:lnTo>
                  <a:lnTo>
                    <a:pt x="3538" y="2533"/>
                  </a:lnTo>
                  <a:lnTo>
                    <a:pt x="3535" y="2533"/>
                  </a:lnTo>
                  <a:lnTo>
                    <a:pt x="3535" y="2533"/>
                  </a:lnTo>
                  <a:lnTo>
                    <a:pt x="3538" y="2533"/>
                  </a:lnTo>
                  <a:lnTo>
                    <a:pt x="3538" y="2533"/>
                  </a:lnTo>
                  <a:lnTo>
                    <a:pt x="3538" y="2531"/>
                  </a:lnTo>
                  <a:lnTo>
                    <a:pt x="3538" y="2531"/>
                  </a:lnTo>
                  <a:lnTo>
                    <a:pt x="3535" y="2528"/>
                  </a:lnTo>
                  <a:lnTo>
                    <a:pt x="3535" y="2528"/>
                  </a:lnTo>
                  <a:lnTo>
                    <a:pt x="3535" y="2528"/>
                  </a:lnTo>
                  <a:lnTo>
                    <a:pt x="3538" y="2528"/>
                  </a:lnTo>
                  <a:lnTo>
                    <a:pt x="3538" y="2531"/>
                  </a:lnTo>
                  <a:lnTo>
                    <a:pt x="3540" y="2531"/>
                  </a:lnTo>
                  <a:lnTo>
                    <a:pt x="3540" y="2531"/>
                  </a:lnTo>
                  <a:lnTo>
                    <a:pt x="3540" y="2526"/>
                  </a:lnTo>
                  <a:lnTo>
                    <a:pt x="3540" y="2526"/>
                  </a:lnTo>
                  <a:lnTo>
                    <a:pt x="3540" y="2526"/>
                  </a:lnTo>
                  <a:lnTo>
                    <a:pt x="3538" y="2528"/>
                  </a:lnTo>
                  <a:lnTo>
                    <a:pt x="3540" y="2528"/>
                  </a:lnTo>
                  <a:lnTo>
                    <a:pt x="3538" y="2528"/>
                  </a:lnTo>
                  <a:lnTo>
                    <a:pt x="3538" y="2526"/>
                  </a:lnTo>
                  <a:lnTo>
                    <a:pt x="3535" y="2526"/>
                  </a:lnTo>
                  <a:lnTo>
                    <a:pt x="3535" y="2526"/>
                  </a:lnTo>
                  <a:lnTo>
                    <a:pt x="3535" y="2526"/>
                  </a:lnTo>
                  <a:lnTo>
                    <a:pt x="3538" y="2526"/>
                  </a:lnTo>
                  <a:lnTo>
                    <a:pt x="3538" y="2526"/>
                  </a:lnTo>
                  <a:lnTo>
                    <a:pt x="3538" y="2524"/>
                  </a:lnTo>
                  <a:lnTo>
                    <a:pt x="3538" y="2524"/>
                  </a:lnTo>
                  <a:lnTo>
                    <a:pt x="3538" y="2521"/>
                  </a:lnTo>
                  <a:lnTo>
                    <a:pt x="3538" y="2521"/>
                  </a:lnTo>
                  <a:lnTo>
                    <a:pt x="3538" y="2521"/>
                  </a:lnTo>
                  <a:lnTo>
                    <a:pt x="3538" y="2521"/>
                  </a:lnTo>
                  <a:lnTo>
                    <a:pt x="3538" y="2524"/>
                  </a:lnTo>
                  <a:lnTo>
                    <a:pt x="3540" y="2524"/>
                  </a:lnTo>
                  <a:lnTo>
                    <a:pt x="3540" y="2524"/>
                  </a:lnTo>
                  <a:lnTo>
                    <a:pt x="3540" y="2524"/>
                  </a:lnTo>
                  <a:lnTo>
                    <a:pt x="3540" y="2524"/>
                  </a:lnTo>
                  <a:lnTo>
                    <a:pt x="3543" y="2521"/>
                  </a:lnTo>
                  <a:lnTo>
                    <a:pt x="3543" y="2519"/>
                  </a:lnTo>
                  <a:lnTo>
                    <a:pt x="3545" y="2519"/>
                  </a:lnTo>
                  <a:lnTo>
                    <a:pt x="3545" y="2519"/>
                  </a:lnTo>
                  <a:lnTo>
                    <a:pt x="3545" y="2519"/>
                  </a:lnTo>
                  <a:lnTo>
                    <a:pt x="3545" y="2517"/>
                  </a:lnTo>
                  <a:lnTo>
                    <a:pt x="3543" y="2517"/>
                  </a:lnTo>
                  <a:lnTo>
                    <a:pt x="3543" y="2517"/>
                  </a:lnTo>
                  <a:lnTo>
                    <a:pt x="3540" y="2517"/>
                  </a:lnTo>
                  <a:lnTo>
                    <a:pt x="3540" y="2517"/>
                  </a:lnTo>
                  <a:lnTo>
                    <a:pt x="3538" y="2514"/>
                  </a:lnTo>
                  <a:lnTo>
                    <a:pt x="3535" y="2514"/>
                  </a:lnTo>
                  <a:lnTo>
                    <a:pt x="3533" y="2514"/>
                  </a:lnTo>
                  <a:lnTo>
                    <a:pt x="3535" y="2514"/>
                  </a:lnTo>
                  <a:lnTo>
                    <a:pt x="3535" y="2514"/>
                  </a:lnTo>
                  <a:lnTo>
                    <a:pt x="3535" y="2514"/>
                  </a:lnTo>
                  <a:lnTo>
                    <a:pt x="3538" y="2514"/>
                  </a:lnTo>
                  <a:lnTo>
                    <a:pt x="3540" y="2514"/>
                  </a:lnTo>
                  <a:lnTo>
                    <a:pt x="3540" y="2514"/>
                  </a:lnTo>
                  <a:lnTo>
                    <a:pt x="3540" y="2512"/>
                  </a:lnTo>
                  <a:lnTo>
                    <a:pt x="3540" y="2512"/>
                  </a:lnTo>
                  <a:lnTo>
                    <a:pt x="3540" y="2512"/>
                  </a:lnTo>
                  <a:lnTo>
                    <a:pt x="3538" y="2509"/>
                  </a:lnTo>
                  <a:lnTo>
                    <a:pt x="3540" y="2507"/>
                  </a:lnTo>
                  <a:lnTo>
                    <a:pt x="3540" y="2507"/>
                  </a:lnTo>
                  <a:lnTo>
                    <a:pt x="3540" y="2507"/>
                  </a:lnTo>
                  <a:lnTo>
                    <a:pt x="3540" y="2507"/>
                  </a:lnTo>
                  <a:lnTo>
                    <a:pt x="3540" y="2507"/>
                  </a:lnTo>
                  <a:lnTo>
                    <a:pt x="3540" y="2505"/>
                  </a:lnTo>
                  <a:lnTo>
                    <a:pt x="3540" y="2505"/>
                  </a:lnTo>
                  <a:lnTo>
                    <a:pt x="3540" y="2505"/>
                  </a:lnTo>
                  <a:lnTo>
                    <a:pt x="3540" y="2502"/>
                  </a:lnTo>
                  <a:lnTo>
                    <a:pt x="3540" y="2502"/>
                  </a:lnTo>
                  <a:lnTo>
                    <a:pt x="3543" y="2500"/>
                  </a:lnTo>
                  <a:lnTo>
                    <a:pt x="3543" y="2498"/>
                  </a:lnTo>
                  <a:lnTo>
                    <a:pt x="3543" y="2498"/>
                  </a:lnTo>
                  <a:lnTo>
                    <a:pt x="3543" y="2495"/>
                  </a:lnTo>
                  <a:lnTo>
                    <a:pt x="3543" y="2495"/>
                  </a:lnTo>
                  <a:lnTo>
                    <a:pt x="3543" y="2493"/>
                  </a:lnTo>
                  <a:lnTo>
                    <a:pt x="3540" y="2493"/>
                  </a:lnTo>
                  <a:lnTo>
                    <a:pt x="3540" y="2493"/>
                  </a:lnTo>
                  <a:lnTo>
                    <a:pt x="3540" y="2493"/>
                  </a:lnTo>
                  <a:lnTo>
                    <a:pt x="3540" y="2493"/>
                  </a:lnTo>
                  <a:lnTo>
                    <a:pt x="3540" y="2493"/>
                  </a:lnTo>
                  <a:lnTo>
                    <a:pt x="3543" y="2493"/>
                  </a:lnTo>
                  <a:lnTo>
                    <a:pt x="3543" y="2493"/>
                  </a:lnTo>
                  <a:lnTo>
                    <a:pt x="3543" y="2493"/>
                  </a:lnTo>
                  <a:lnTo>
                    <a:pt x="3545" y="2493"/>
                  </a:lnTo>
                  <a:lnTo>
                    <a:pt x="3547" y="2493"/>
                  </a:lnTo>
                  <a:lnTo>
                    <a:pt x="3547" y="2493"/>
                  </a:lnTo>
                  <a:lnTo>
                    <a:pt x="3547" y="2493"/>
                  </a:lnTo>
                  <a:lnTo>
                    <a:pt x="3550" y="2491"/>
                  </a:lnTo>
                  <a:lnTo>
                    <a:pt x="3550" y="2488"/>
                  </a:lnTo>
                  <a:lnTo>
                    <a:pt x="3550" y="2488"/>
                  </a:lnTo>
                  <a:lnTo>
                    <a:pt x="3550" y="2488"/>
                  </a:lnTo>
                  <a:lnTo>
                    <a:pt x="3550" y="2488"/>
                  </a:lnTo>
                  <a:lnTo>
                    <a:pt x="3547" y="2488"/>
                  </a:lnTo>
                  <a:lnTo>
                    <a:pt x="3547" y="2488"/>
                  </a:lnTo>
                  <a:lnTo>
                    <a:pt x="3545" y="2488"/>
                  </a:lnTo>
                  <a:lnTo>
                    <a:pt x="3545" y="2486"/>
                  </a:lnTo>
                  <a:lnTo>
                    <a:pt x="3547" y="2486"/>
                  </a:lnTo>
                  <a:lnTo>
                    <a:pt x="3547" y="2486"/>
                  </a:lnTo>
                  <a:lnTo>
                    <a:pt x="3545" y="2486"/>
                  </a:lnTo>
                  <a:lnTo>
                    <a:pt x="3545" y="2483"/>
                  </a:lnTo>
                  <a:lnTo>
                    <a:pt x="3545" y="2483"/>
                  </a:lnTo>
                  <a:lnTo>
                    <a:pt x="3547" y="2483"/>
                  </a:lnTo>
                  <a:lnTo>
                    <a:pt x="3547" y="2483"/>
                  </a:lnTo>
                  <a:lnTo>
                    <a:pt x="3547" y="2486"/>
                  </a:lnTo>
                  <a:lnTo>
                    <a:pt x="3547" y="2486"/>
                  </a:lnTo>
                  <a:lnTo>
                    <a:pt x="3547" y="2486"/>
                  </a:lnTo>
                  <a:lnTo>
                    <a:pt x="3550" y="2486"/>
                  </a:lnTo>
                  <a:lnTo>
                    <a:pt x="3552" y="2486"/>
                  </a:lnTo>
                  <a:lnTo>
                    <a:pt x="3552" y="2486"/>
                  </a:lnTo>
                  <a:lnTo>
                    <a:pt x="3552" y="2486"/>
                  </a:lnTo>
                  <a:lnTo>
                    <a:pt x="3554" y="2483"/>
                  </a:lnTo>
                  <a:lnTo>
                    <a:pt x="3552" y="2483"/>
                  </a:lnTo>
                  <a:lnTo>
                    <a:pt x="3552" y="2481"/>
                  </a:lnTo>
                  <a:lnTo>
                    <a:pt x="3552" y="2481"/>
                  </a:lnTo>
                  <a:lnTo>
                    <a:pt x="3552" y="2481"/>
                  </a:lnTo>
                  <a:lnTo>
                    <a:pt x="3552" y="2481"/>
                  </a:lnTo>
                  <a:lnTo>
                    <a:pt x="3552" y="2481"/>
                  </a:lnTo>
                  <a:lnTo>
                    <a:pt x="3552" y="2479"/>
                  </a:lnTo>
                  <a:lnTo>
                    <a:pt x="3552" y="2479"/>
                  </a:lnTo>
                  <a:lnTo>
                    <a:pt x="3552" y="2479"/>
                  </a:lnTo>
                  <a:lnTo>
                    <a:pt x="3554" y="2481"/>
                  </a:lnTo>
                  <a:lnTo>
                    <a:pt x="3554" y="2481"/>
                  </a:lnTo>
                  <a:lnTo>
                    <a:pt x="3554" y="2481"/>
                  </a:lnTo>
                  <a:lnTo>
                    <a:pt x="3557" y="2479"/>
                  </a:lnTo>
                  <a:lnTo>
                    <a:pt x="3557" y="2479"/>
                  </a:lnTo>
                  <a:lnTo>
                    <a:pt x="3557" y="2476"/>
                  </a:lnTo>
                  <a:lnTo>
                    <a:pt x="3554" y="2476"/>
                  </a:lnTo>
                  <a:lnTo>
                    <a:pt x="3554" y="2476"/>
                  </a:lnTo>
                  <a:lnTo>
                    <a:pt x="3554" y="2476"/>
                  </a:lnTo>
                  <a:lnTo>
                    <a:pt x="3554" y="2476"/>
                  </a:lnTo>
                  <a:lnTo>
                    <a:pt x="3554" y="2476"/>
                  </a:lnTo>
                  <a:lnTo>
                    <a:pt x="3554" y="2476"/>
                  </a:lnTo>
                  <a:lnTo>
                    <a:pt x="3554" y="2474"/>
                  </a:lnTo>
                  <a:lnTo>
                    <a:pt x="3554" y="2472"/>
                  </a:lnTo>
                  <a:lnTo>
                    <a:pt x="3554" y="2472"/>
                  </a:lnTo>
                  <a:lnTo>
                    <a:pt x="3554" y="2469"/>
                  </a:lnTo>
                  <a:lnTo>
                    <a:pt x="3557" y="2469"/>
                  </a:lnTo>
                  <a:lnTo>
                    <a:pt x="3557" y="2469"/>
                  </a:lnTo>
                  <a:lnTo>
                    <a:pt x="3557" y="2467"/>
                  </a:lnTo>
                  <a:lnTo>
                    <a:pt x="3557" y="2467"/>
                  </a:lnTo>
                  <a:lnTo>
                    <a:pt x="3557" y="2467"/>
                  </a:lnTo>
                  <a:lnTo>
                    <a:pt x="3557" y="2467"/>
                  </a:lnTo>
                  <a:lnTo>
                    <a:pt x="3557" y="2464"/>
                  </a:lnTo>
                  <a:lnTo>
                    <a:pt x="3557" y="2467"/>
                  </a:lnTo>
                  <a:lnTo>
                    <a:pt x="3557" y="2469"/>
                  </a:lnTo>
                  <a:lnTo>
                    <a:pt x="3557" y="2472"/>
                  </a:lnTo>
                  <a:lnTo>
                    <a:pt x="3559" y="2469"/>
                  </a:lnTo>
                  <a:lnTo>
                    <a:pt x="3561" y="2467"/>
                  </a:lnTo>
                  <a:lnTo>
                    <a:pt x="3561" y="2467"/>
                  </a:lnTo>
                  <a:lnTo>
                    <a:pt x="3561" y="2464"/>
                  </a:lnTo>
                  <a:lnTo>
                    <a:pt x="3561" y="2464"/>
                  </a:lnTo>
                  <a:lnTo>
                    <a:pt x="3559" y="2464"/>
                  </a:lnTo>
                  <a:lnTo>
                    <a:pt x="3559" y="2464"/>
                  </a:lnTo>
                  <a:lnTo>
                    <a:pt x="3559" y="2464"/>
                  </a:lnTo>
                  <a:lnTo>
                    <a:pt x="3559" y="2464"/>
                  </a:lnTo>
                  <a:lnTo>
                    <a:pt x="3557" y="2462"/>
                  </a:lnTo>
                  <a:lnTo>
                    <a:pt x="3557" y="2462"/>
                  </a:lnTo>
                  <a:lnTo>
                    <a:pt x="3554" y="2462"/>
                  </a:lnTo>
                  <a:lnTo>
                    <a:pt x="3554" y="2460"/>
                  </a:lnTo>
                  <a:lnTo>
                    <a:pt x="3554" y="2460"/>
                  </a:lnTo>
                  <a:lnTo>
                    <a:pt x="3554" y="2457"/>
                  </a:lnTo>
                  <a:lnTo>
                    <a:pt x="3554" y="2457"/>
                  </a:lnTo>
                  <a:lnTo>
                    <a:pt x="3552" y="2455"/>
                  </a:lnTo>
                  <a:lnTo>
                    <a:pt x="3552" y="2455"/>
                  </a:lnTo>
                  <a:lnTo>
                    <a:pt x="3552" y="2453"/>
                  </a:lnTo>
                  <a:lnTo>
                    <a:pt x="3552" y="2453"/>
                  </a:lnTo>
                  <a:lnTo>
                    <a:pt x="3552" y="2453"/>
                  </a:lnTo>
                  <a:lnTo>
                    <a:pt x="3552" y="2450"/>
                  </a:lnTo>
                  <a:lnTo>
                    <a:pt x="3552" y="2450"/>
                  </a:lnTo>
                  <a:lnTo>
                    <a:pt x="3552" y="2450"/>
                  </a:lnTo>
                  <a:lnTo>
                    <a:pt x="3552" y="2450"/>
                  </a:lnTo>
                  <a:lnTo>
                    <a:pt x="3552" y="2453"/>
                  </a:lnTo>
                  <a:lnTo>
                    <a:pt x="3552" y="2453"/>
                  </a:lnTo>
                  <a:lnTo>
                    <a:pt x="3554" y="2453"/>
                  </a:lnTo>
                  <a:lnTo>
                    <a:pt x="3554" y="2453"/>
                  </a:lnTo>
                  <a:lnTo>
                    <a:pt x="3554" y="2453"/>
                  </a:lnTo>
                  <a:lnTo>
                    <a:pt x="3554" y="2455"/>
                  </a:lnTo>
                  <a:lnTo>
                    <a:pt x="3554" y="2455"/>
                  </a:lnTo>
                  <a:lnTo>
                    <a:pt x="3554" y="2457"/>
                  </a:lnTo>
                  <a:lnTo>
                    <a:pt x="3557" y="2460"/>
                  </a:lnTo>
                  <a:lnTo>
                    <a:pt x="3559" y="2462"/>
                  </a:lnTo>
                  <a:lnTo>
                    <a:pt x="3561" y="2462"/>
                  </a:lnTo>
                  <a:lnTo>
                    <a:pt x="3561" y="2462"/>
                  </a:lnTo>
                  <a:lnTo>
                    <a:pt x="3561" y="2460"/>
                  </a:lnTo>
                  <a:lnTo>
                    <a:pt x="3561" y="2460"/>
                  </a:lnTo>
                  <a:lnTo>
                    <a:pt x="3559" y="2460"/>
                  </a:lnTo>
                  <a:lnTo>
                    <a:pt x="3559" y="2460"/>
                  </a:lnTo>
                  <a:lnTo>
                    <a:pt x="3559" y="2455"/>
                  </a:lnTo>
                  <a:lnTo>
                    <a:pt x="3559" y="2455"/>
                  </a:lnTo>
                  <a:lnTo>
                    <a:pt x="3559" y="2455"/>
                  </a:lnTo>
                  <a:lnTo>
                    <a:pt x="3559" y="2455"/>
                  </a:lnTo>
                  <a:lnTo>
                    <a:pt x="3559" y="2453"/>
                  </a:lnTo>
                  <a:lnTo>
                    <a:pt x="3559" y="2455"/>
                  </a:lnTo>
                  <a:lnTo>
                    <a:pt x="3559" y="2455"/>
                  </a:lnTo>
                  <a:lnTo>
                    <a:pt x="3559" y="2455"/>
                  </a:lnTo>
                  <a:lnTo>
                    <a:pt x="3559" y="2453"/>
                  </a:lnTo>
                  <a:lnTo>
                    <a:pt x="3559" y="2453"/>
                  </a:lnTo>
                  <a:lnTo>
                    <a:pt x="3561" y="2455"/>
                  </a:lnTo>
                  <a:lnTo>
                    <a:pt x="3559" y="2457"/>
                  </a:lnTo>
                  <a:lnTo>
                    <a:pt x="3561" y="2457"/>
                  </a:lnTo>
                  <a:lnTo>
                    <a:pt x="3561" y="2457"/>
                  </a:lnTo>
                  <a:lnTo>
                    <a:pt x="3561" y="2460"/>
                  </a:lnTo>
                  <a:lnTo>
                    <a:pt x="3561" y="2462"/>
                  </a:lnTo>
                  <a:lnTo>
                    <a:pt x="3561" y="2462"/>
                  </a:lnTo>
                  <a:lnTo>
                    <a:pt x="3564" y="2462"/>
                  </a:lnTo>
                  <a:lnTo>
                    <a:pt x="3564" y="2462"/>
                  </a:lnTo>
                  <a:lnTo>
                    <a:pt x="3564" y="2462"/>
                  </a:lnTo>
                  <a:lnTo>
                    <a:pt x="3566" y="2462"/>
                  </a:lnTo>
                  <a:lnTo>
                    <a:pt x="3566" y="2462"/>
                  </a:lnTo>
                  <a:lnTo>
                    <a:pt x="3569" y="2460"/>
                  </a:lnTo>
                  <a:lnTo>
                    <a:pt x="3569" y="2457"/>
                  </a:lnTo>
                  <a:lnTo>
                    <a:pt x="3569" y="2457"/>
                  </a:lnTo>
                  <a:lnTo>
                    <a:pt x="3569" y="2457"/>
                  </a:lnTo>
                  <a:lnTo>
                    <a:pt x="3569" y="2457"/>
                  </a:lnTo>
                  <a:lnTo>
                    <a:pt x="3569" y="2457"/>
                  </a:lnTo>
                  <a:lnTo>
                    <a:pt x="3569" y="2457"/>
                  </a:lnTo>
                  <a:lnTo>
                    <a:pt x="3569" y="2457"/>
                  </a:lnTo>
                  <a:lnTo>
                    <a:pt x="3569" y="2457"/>
                  </a:lnTo>
                  <a:lnTo>
                    <a:pt x="3571" y="2457"/>
                  </a:lnTo>
                  <a:lnTo>
                    <a:pt x="3571" y="2455"/>
                  </a:lnTo>
                  <a:lnTo>
                    <a:pt x="3571" y="2455"/>
                  </a:lnTo>
                  <a:lnTo>
                    <a:pt x="3571" y="2455"/>
                  </a:lnTo>
                  <a:lnTo>
                    <a:pt x="3569" y="2455"/>
                  </a:lnTo>
                  <a:lnTo>
                    <a:pt x="3569" y="2455"/>
                  </a:lnTo>
                  <a:lnTo>
                    <a:pt x="3569" y="2455"/>
                  </a:lnTo>
                  <a:lnTo>
                    <a:pt x="3569" y="2457"/>
                  </a:lnTo>
                  <a:lnTo>
                    <a:pt x="3569" y="2457"/>
                  </a:lnTo>
                  <a:lnTo>
                    <a:pt x="3566" y="2457"/>
                  </a:lnTo>
                  <a:lnTo>
                    <a:pt x="3566" y="2457"/>
                  </a:lnTo>
                  <a:lnTo>
                    <a:pt x="3566" y="2457"/>
                  </a:lnTo>
                  <a:lnTo>
                    <a:pt x="3566" y="2457"/>
                  </a:lnTo>
                  <a:lnTo>
                    <a:pt x="3566" y="2455"/>
                  </a:lnTo>
                  <a:lnTo>
                    <a:pt x="3569" y="2455"/>
                  </a:lnTo>
                  <a:lnTo>
                    <a:pt x="3569" y="2455"/>
                  </a:lnTo>
                  <a:lnTo>
                    <a:pt x="3569" y="2453"/>
                  </a:lnTo>
                  <a:lnTo>
                    <a:pt x="3566" y="2453"/>
                  </a:lnTo>
                  <a:lnTo>
                    <a:pt x="3564" y="2453"/>
                  </a:lnTo>
                  <a:lnTo>
                    <a:pt x="3564" y="2453"/>
                  </a:lnTo>
                  <a:lnTo>
                    <a:pt x="3566" y="2453"/>
                  </a:lnTo>
                  <a:lnTo>
                    <a:pt x="3566" y="2453"/>
                  </a:lnTo>
                  <a:lnTo>
                    <a:pt x="3569" y="2453"/>
                  </a:lnTo>
                  <a:lnTo>
                    <a:pt x="3569" y="2450"/>
                  </a:lnTo>
                  <a:lnTo>
                    <a:pt x="3566" y="2450"/>
                  </a:lnTo>
                  <a:lnTo>
                    <a:pt x="3566" y="2450"/>
                  </a:lnTo>
                  <a:lnTo>
                    <a:pt x="3566" y="2450"/>
                  </a:lnTo>
                  <a:lnTo>
                    <a:pt x="3564" y="2450"/>
                  </a:lnTo>
                  <a:lnTo>
                    <a:pt x="3564" y="2450"/>
                  </a:lnTo>
                  <a:lnTo>
                    <a:pt x="3564" y="2450"/>
                  </a:lnTo>
                  <a:lnTo>
                    <a:pt x="3559" y="2450"/>
                  </a:lnTo>
                  <a:lnTo>
                    <a:pt x="3559" y="2453"/>
                  </a:lnTo>
                  <a:lnTo>
                    <a:pt x="3559" y="2450"/>
                  </a:lnTo>
                  <a:lnTo>
                    <a:pt x="3559" y="2450"/>
                  </a:lnTo>
                  <a:lnTo>
                    <a:pt x="3559" y="2450"/>
                  </a:lnTo>
                  <a:lnTo>
                    <a:pt x="3561" y="2450"/>
                  </a:lnTo>
                  <a:lnTo>
                    <a:pt x="3564" y="2450"/>
                  </a:lnTo>
                  <a:lnTo>
                    <a:pt x="3564" y="2450"/>
                  </a:lnTo>
                  <a:lnTo>
                    <a:pt x="3564" y="2450"/>
                  </a:lnTo>
                  <a:lnTo>
                    <a:pt x="3564" y="2448"/>
                  </a:lnTo>
                  <a:lnTo>
                    <a:pt x="3564" y="2448"/>
                  </a:lnTo>
                  <a:lnTo>
                    <a:pt x="3564" y="2448"/>
                  </a:lnTo>
                  <a:lnTo>
                    <a:pt x="3564" y="2448"/>
                  </a:lnTo>
                  <a:lnTo>
                    <a:pt x="3564" y="2448"/>
                  </a:lnTo>
                  <a:lnTo>
                    <a:pt x="3564" y="2448"/>
                  </a:lnTo>
                  <a:lnTo>
                    <a:pt x="3566" y="2450"/>
                  </a:lnTo>
                  <a:lnTo>
                    <a:pt x="3566" y="2450"/>
                  </a:lnTo>
                  <a:lnTo>
                    <a:pt x="3569" y="2450"/>
                  </a:lnTo>
                  <a:lnTo>
                    <a:pt x="3569" y="2450"/>
                  </a:lnTo>
                  <a:lnTo>
                    <a:pt x="3569" y="2450"/>
                  </a:lnTo>
                  <a:lnTo>
                    <a:pt x="3571" y="2450"/>
                  </a:lnTo>
                  <a:lnTo>
                    <a:pt x="3571" y="2450"/>
                  </a:lnTo>
                  <a:lnTo>
                    <a:pt x="3571" y="2450"/>
                  </a:lnTo>
                  <a:lnTo>
                    <a:pt x="3571" y="2450"/>
                  </a:lnTo>
                  <a:lnTo>
                    <a:pt x="3571" y="2450"/>
                  </a:lnTo>
                  <a:lnTo>
                    <a:pt x="3571" y="2448"/>
                  </a:lnTo>
                  <a:lnTo>
                    <a:pt x="3571" y="2448"/>
                  </a:lnTo>
                  <a:lnTo>
                    <a:pt x="3573" y="2448"/>
                  </a:lnTo>
                  <a:lnTo>
                    <a:pt x="3573" y="2448"/>
                  </a:lnTo>
                  <a:lnTo>
                    <a:pt x="3573" y="2448"/>
                  </a:lnTo>
                  <a:lnTo>
                    <a:pt x="3573" y="2450"/>
                  </a:lnTo>
                  <a:lnTo>
                    <a:pt x="3573" y="2450"/>
                  </a:lnTo>
                  <a:lnTo>
                    <a:pt x="3573" y="2450"/>
                  </a:lnTo>
                  <a:lnTo>
                    <a:pt x="3573" y="2450"/>
                  </a:lnTo>
                  <a:lnTo>
                    <a:pt x="3576" y="2448"/>
                  </a:lnTo>
                  <a:lnTo>
                    <a:pt x="3578" y="2446"/>
                  </a:lnTo>
                  <a:lnTo>
                    <a:pt x="3578" y="2446"/>
                  </a:lnTo>
                  <a:lnTo>
                    <a:pt x="3578" y="2446"/>
                  </a:lnTo>
                  <a:lnTo>
                    <a:pt x="3578" y="2446"/>
                  </a:lnTo>
                  <a:lnTo>
                    <a:pt x="3578" y="2446"/>
                  </a:lnTo>
                  <a:lnTo>
                    <a:pt x="3578" y="2446"/>
                  </a:lnTo>
                  <a:lnTo>
                    <a:pt x="3578" y="2446"/>
                  </a:lnTo>
                  <a:lnTo>
                    <a:pt x="3576" y="2443"/>
                  </a:lnTo>
                  <a:lnTo>
                    <a:pt x="3576" y="2443"/>
                  </a:lnTo>
                  <a:lnTo>
                    <a:pt x="3576" y="2443"/>
                  </a:lnTo>
                  <a:lnTo>
                    <a:pt x="3576" y="2443"/>
                  </a:lnTo>
                  <a:lnTo>
                    <a:pt x="3578" y="2443"/>
                  </a:lnTo>
                  <a:lnTo>
                    <a:pt x="3580" y="2446"/>
                  </a:lnTo>
                  <a:lnTo>
                    <a:pt x="3580" y="2443"/>
                  </a:lnTo>
                  <a:lnTo>
                    <a:pt x="3580" y="2443"/>
                  </a:lnTo>
                  <a:lnTo>
                    <a:pt x="3580" y="2443"/>
                  </a:lnTo>
                  <a:lnTo>
                    <a:pt x="3583" y="2443"/>
                  </a:lnTo>
                  <a:lnTo>
                    <a:pt x="3585" y="2441"/>
                  </a:lnTo>
                  <a:lnTo>
                    <a:pt x="3585" y="2441"/>
                  </a:lnTo>
                  <a:lnTo>
                    <a:pt x="3588" y="2441"/>
                  </a:lnTo>
                  <a:lnTo>
                    <a:pt x="3585" y="2441"/>
                  </a:lnTo>
                  <a:lnTo>
                    <a:pt x="3585" y="2441"/>
                  </a:lnTo>
                  <a:lnTo>
                    <a:pt x="3585" y="2438"/>
                  </a:lnTo>
                  <a:lnTo>
                    <a:pt x="3585" y="2438"/>
                  </a:lnTo>
                  <a:lnTo>
                    <a:pt x="3585" y="2438"/>
                  </a:lnTo>
                  <a:lnTo>
                    <a:pt x="3588" y="2438"/>
                  </a:lnTo>
                  <a:lnTo>
                    <a:pt x="3588" y="2438"/>
                  </a:lnTo>
                  <a:lnTo>
                    <a:pt x="3588" y="2438"/>
                  </a:lnTo>
                  <a:lnTo>
                    <a:pt x="3590" y="2436"/>
                  </a:lnTo>
                  <a:lnTo>
                    <a:pt x="3590" y="2436"/>
                  </a:lnTo>
                  <a:lnTo>
                    <a:pt x="3590" y="2434"/>
                  </a:lnTo>
                  <a:lnTo>
                    <a:pt x="3590" y="2434"/>
                  </a:lnTo>
                  <a:lnTo>
                    <a:pt x="3590" y="2434"/>
                  </a:lnTo>
                  <a:lnTo>
                    <a:pt x="3590" y="2434"/>
                  </a:lnTo>
                  <a:lnTo>
                    <a:pt x="3590" y="2434"/>
                  </a:lnTo>
                  <a:lnTo>
                    <a:pt x="3590" y="2434"/>
                  </a:lnTo>
                  <a:lnTo>
                    <a:pt x="3590" y="2434"/>
                  </a:lnTo>
                  <a:lnTo>
                    <a:pt x="3588" y="2434"/>
                  </a:lnTo>
                  <a:lnTo>
                    <a:pt x="3588" y="2434"/>
                  </a:lnTo>
                  <a:lnTo>
                    <a:pt x="3585" y="2431"/>
                  </a:lnTo>
                  <a:lnTo>
                    <a:pt x="3585" y="2431"/>
                  </a:lnTo>
                  <a:lnTo>
                    <a:pt x="3588" y="2431"/>
                  </a:lnTo>
                  <a:lnTo>
                    <a:pt x="3588" y="2431"/>
                  </a:lnTo>
                  <a:lnTo>
                    <a:pt x="3588" y="2431"/>
                  </a:lnTo>
                  <a:lnTo>
                    <a:pt x="3588" y="2431"/>
                  </a:lnTo>
                  <a:lnTo>
                    <a:pt x="3588" y="2431"/>
                  </a:lnTo>
                  <a:lnTo>
                    <a:pt x="3588" y="2429"/>
                  </a:lnTo>
                  <a:lnTo>
                    <a:pt x="3588" y="2429"/>
                  </a:lnTo>
                  <a:lnTo>
                    <a:pt x="3588" y="2429"/>
                  </a:lnTo>
                  <a:lnTo>
                    <a:pt x="3588" y="2429"/>
                  </a:lnTo>
                  <a:lnTo>
                    <a:pt x="3588" y="2429"/>
                  </a:lnTo>
                  <a:lnTo>
                    <a:pt x="3588" y="2429"/>
                  </a:lnTo>
                  <a:lnTo>
                    <a:pt x="3588" y="2429"/>
                  </a:lnTo>
                  <a:lnTo>
                    <a:pt x="3590" y="2429"/>
                  </a:lnTo>
                  <a:lnTo>
                    <a:pt x="3590" y="2429"/>
                  </a:lnTo>
                  <a:lnTo>
                    <a:pt x="3590" y="2429"/>
                  </a:lnTo>
                  <a:lnTo>
                    <a:pt x="3588" y="2431"/>
                  </a:lnTo>
                  <a:lnTo>
                    <a:pt x="3590" y="2431"/>
                  </a:lnTo>
                  <a:lnTo>
                    <a:pt x="3590" y="2431"/>
                  </a:lnTo>
                  <a:lnTo>
                    <a:pt x="3590" y="2431"/>
                  </a:lnTo>
                  <a:lnTo>
                    <a:pt x="3590" y="2431"/>
                  </a:lnTo>
                  <a:lnTo>
                    <a:pt x="3592" y="2434"/>
                  </a:lnTo>
                  <a:lnTo>
                    <a:pt x="3592" y="2431"/>
                  </a:lnTo>
                  <a:lnTo>
                    <a:pt x="3592" y="2431"/>
                  </a:lnTo>
                  <a:lnTo>
                    <a:pt x="3595" y="2429"/>
                  </a:lnTo>
                  <a:lnTo>
                    <a:pt x="3597" y="2429"/>
                  </a:lnTo>
                  <a:lnTo>
                    <a:pt x="3597" y="2427"/>
                  </a:lnTo>
                  <a:lnTo>
                    <a:pt x="3597" y="2427"/>
                  </a:lnTo>
                  <a:lnTo>
                    <a:pt x="3597" y="2427"/>
                  </a:lnTo>
                  <a:lnTo>
                    <a:pt x="3599" y="2427"/>
                  </a:lnTo>
                  <a:lnTo>
                    <a:pt x="3599" y="2424"/>
                  </a:lnTo>
                  <a:lnTo>
                    <a:pt x="3599" y="2424"/>
                  </a:lnTo>
                  <a:lnTo>
                    <a:pt x="3599" y="2424"/>
                  </a:lnTo>
                  <a:lnTo>
                    <a:pt x="3599" y="2424"/>
                  </a:lnTo>
                  <a:lnTo>
                    <a:pt x="3602" y="2422"/>
                  </a:lnTo>
                  <a:lnTo>
                    <a:pt x="3602" y="2422"/>
                  </a:lnTo>
                  <a:lnTo>
                    <a:pt x="3602" y="2422"/>
                  </a:lnTo>
                  <a:lnTo>
                    <a:pt x="3602" y="2422"/>
                  </a:lnTo>
                  <a:lnTo>
                    <a:pt x="3599" y="2422"/>
                  </a:lnTo>
                  <a:lnTo>
                    <a:pt x="3599" y="2422"/>
                  </a:lnTo>
                  <a:lnTo>
                    <a:pt x="3599" y="2422"/>
                  </a:lnTo>
                  <a:lnTo>
                    <a:pt x="3599" y="2422"/>
                  </a:lnTo>
                  <a:lnTo>
                    <a:pt x="3599" y="2422"/>
                  </a:lnTo>
                  <a:lnTo>
                    <a:pt x="3599" y="2422"/>
                  </a:lnTo>
                  <a:lnTo>
                    <a:pt x="3599" y="2420"/>
                  </a:lnTo>
                  <a:lnTo>
                    <a:pt x="3599" y="2417"/>
                  </a:lnTo>
                  <a:lnTo>
                    <a:pt x="3602" y="2417"/>
                  </a:lnTo>
                  <a:lnTo>
                    <a:pt x="3602" y="2417"/>
                  </a:lnTo>
                  <a:lnTo>
                    <a:pt x="3602" y="2415"/>
                  </a:lnTo>
                  <a:lnTo>
                    <a:pt x="3604" y="2417"/>
                  </a:lnTo>
                  <a:lnTo>
                    <a:pt x="3604" y="2417"/>
                  </a:lnTo>
                  <a:lnTo>
                    <a:pt x="3604" y="2417"/>
                  </a:lnTo>
                  <a:lnTo>
                    <a:pt x="3604" y="2417"/>
                  </a:lnTo>
                  <a:lnTo>
                    <a:pt x="3604" y="2417"/>
                  </a:lnTo>
                  <a:lnTo>
                    <a:pt x="3606" y="2417"/>
                  </a:lnTo>
                  <a:lnTo>
                    <a:pt x="3606" y="2417"/>
                  </a:lnTo>
                  <a:lnTo>
                    <a:pt x="3606" y="2417"/>
                  </a:lnTo>
                  <a:lnTo>
                    <a:pt x="3609" y="2417"/>
                  </a:lnTo>
                  <a:lnTo>
                    <a:pt x="3609" y="2415"/>
                  </a:lnTo>
                  <a:lnTo>
                    <a:pt x="3609" y="2415"/>
                  </a:lnTo>
                  <a:lnTo>
                    <a:pt x="3609" y="2415"/>
                  </a:lnTo>
                  <a:lnTo>
                    <a:pt x="3609" y="2412"/>
                  </a:lnTo>
                  <a:lnTo>
                    <a:pt x="3611" y="2412"/>
                  </a:lnTo>
                  <a:lnTo>
                    <a:pt x="3611" y="2410"/>
                  </a:lnTo>
                  <a:lnTo>
                    <a:pt x="3611" y="2410"/>
                  </a:lnTo>
                  <a:lnTo>
                    <a:pt x="3611" y="2410"/>
                  </a:lnTo>
                  <a:lnTo>
                    <a:pt x="3609" y="2410"/>
                  </a:lnTo>
                  <a:lnTo>
                    <a:pt x="3609" y="2408"/>
                  </a:lnTo>
                  <a:lnTo>
                    <a:pt x="3609" y="2408"/>
                  </a:lnTo>
                  <a:lnTo>
                    <a:pt x="3611" y="2408"/>
                  </a:lnTo>
                  <a:lnTo>
                    <a:pt x="3611" y="2410"/>
                  </a:lnTo>
                  <a:lnTo>
                    <a:pt x="3611" y="2410"/>
                  </a:lnTo>
                  <a:lnTo>
                    <a:pt x="3614" y="2410"/>
                  </a:lnTo>
                  <a:lnTo>
                    <a:pt x="3614" y="2410"/>
                  </a:lnTo>
                  <a:lnTo>
                    <a:pt x="3614" y="2410"/>
                  </a:lnTo>
                  <a:lnTo>
                    <a:pt x="3614" y="2410"/>
                  </a:lnTo>
                  <a:lnTo>
                    <a:pt x="3614" y="2408"/>
                  </a:lnTo>
                  <a:lnTo>
                    <a:pt x="3611" y="2408"/>
                  </a:lnTo>
                  <a:lnTo>
                    <a:pt x="3611" y="2408"/>
                  </a:lnTo>
                  <a:lnTo>
                    <a:pt x="3614" y="2408"/>
                  </a:lnTo>
                  <a:lnTo>
                    <a:pt x="3614" y="2408"/>
                  </a:lnTo>
                  <a:lnTo>
                    <a:pt x="3614" y="2408"/>
                  </a:lnTo>
                  <a:lnTo>
                    <a:pt x="3614" y="2408"/>
                  </a:lnTo>
                  <a:lnTo>
                    <a:pt x="3614" y="2408"/>
                  </a:lnTo>
                  <a:lnTo>
                    <a:pt x="3614" y="2408"/>
                  </a:lnTo>
                  <a:lnTo>
                    <a:pt x="3616" y="2408"/>
                  </a:lnTo>
                  <a:lnTo>
                    <a:pt x="3616" y="2405"/>
                  </a:lnTo>
                  <a:lnTo>
                    <a:pt x="3614" y="2405"/>
                  </a:lnTo>
                  <a:lnTo>
                    <a:pt x="3614" y="2405"/>
                  </a:lnTo>
                  <a:lnTo>
                    <a:pt x="3614" y="2405"/>
                  </a:lnTo>
                  <a:lnTo>
                    <a:pt x="3614" y="2405"/>
                  </a:lnTo>
                  <a:lnTo>
                    <a:pt x="3614" y="2403"/>
                  </a:lnTo>
                  <a:lnTo>
                    <a:pt x="3614" y="2403"/>
                  </a:lnTo>
                  <a:lnTo>
                    <a:pt x="3611" y="2403"/>
                  </a:lnTo>
                  <a:lnTo>
                    <a:pt x="3611" y="2403"/>
                  </a:lnTo>
                  <a:lnTo>
                    <a:pt x="3609" y="2403"/>
                  </a:lnTo>
                  <a:lnTo>
                    <a:pt x="3609" y="2401"/>
                  </a:lnTo>
                  <a:lnTo>
                    <a:pt x="3609" y="2401"/>
                  </a:lnTo>
                  <a:lnTo>
                    <a:pt x="3609" y="2398"/>
                  </a:lnTo>
                  <a:lnTo>
                    <a:pt x="3609" y="2398"/>
                  </a:lnTo>
                  <a:lnTo>
                    <a:pt x="3611" y="2396"/>
                  </a:lnTo>
                  <a:lnTo>
                    <a:pt x="3611" y="2394"/>
                  </a:lnTo>
                  <a:lnTo>
                    <a:pt x="3614" y="2394"/>
                  </a:lnTo>
                  <a:lnTo>
                    <a:pt x="3614" y="2394"/>
                  </a:lnTo>
                  <a:lnTo>
                    <a:pt x="3611" y="2394"/>
                  </a:lnTo>
                  <a:lnTo>
                    <a:pt x="3611" y="2396"/>
                  </a:lnTo>
                  <a:lnTo>
                    <a:pt x="3611" y="2398"/>
                  </a:lnTo>
                  <a:lnTo>
                    <a:pt x="3611" y="2401"/>
                  </a:lnTo>
                  <a:lnTo>
                    <a:pt x="3611" y="2401"/>
                  </a:lnTo>
                  <a:lnTo>
                    <a:pt x="3611" y="2401"/>
                  </a:lnTo>
                  <a:lnTo>
                    <a:pt x="3614" y="2401"/>
                  </a:lnTo>
                  <a:lnTo>
                    <a:pt x="3614" y="2401"/>
                  </a:lnTo>
                  <a:lnTo>
                    <a:pt x="3614" y="2403"/>
                  </a:lnTo>
                  <a:lnTo>
                    <a:pt x="3614" y="2403"/>
                  </a:lnTo>
                  <a:lnTo>
                    <a:pt x="3616" y="2405"/>
                  </a:lnTo>
                  <a:lnTo>
                    <a:pt x="3616" y="2405"/>
                  </a:lnTo>
                  <a:lnTo>
                    <a:pt x="3616" y="2403"/>
                  </a:lnTo>
                  <a:lnTo>
                    <a:pt x="3616" y="2398"/>
                  </a:lnTo>
                  <a:lnTo>
                    <a:pt x="3616" y="2396"/>
                  </a:lnTo>
                  <a:lnTo>
                    <a:pt x="3614" y="2396"/>
                  </a:lnTo>
                  <a:lnTo>
                    <a:pt x="3616" y="2394"/>
                  </a:lnTo>
                  <a:lnTo>
                    <a:pt x="3618" y="2386"/>
                  </a:lnTo>
                  <a:lnTo>
                    <a:pt x="3621" y="2382"/>
                  </a:lnTo>
                  <a:lnTo>
                    <a:pt x="3623" y="2377"/>
                  </a:lnTo>
                  <a:lnTo>
                    <a:pt x="3628" y="2372"/>
                  </a:lnTo>
                  <a:lnTo>
                    <a:pt x="3630" y="2370"/>
                  </a:lnTo>
                  <a:lnTo>
                    <a:pt x="3632" y="2370"/>
                  </a:lnTo>
                  <a:lnTo>
                    <a:pt x="3635" y="2367"/>
                  </a:lnTo>
                  <a:lnTo>
                    <a:pt x="3635" y="2367"/>
                  </a:lnTo>
                  <a:lnTo>
                    <a:pt x="3635" y="2367"/>
                  </a:lnTo>
                  <a:lnTo>
                    <a:pt x="3632" y="2367"/>
                  </a:lnTo>
                  <a:lnTo>
                    <a:pt x="3632" y="2367"/>
                  </a:lnTo>
                  <a:lnTo>
                    <a:pt x="3632" y="2367"/>
                  </a:lnTo>
                  <a:lnTo>
                    <a:pt x="3635" y="2365"/>
                  </a:lnTo>
                  <a:lnTo>
                    <a:pt x="3635" y="2367"/>
                  </a:lnTo>
                  <a:lnTo>
                    <a:pt x="3635" y="2367"/>
                  </a:lnTo>
                  <a:lnTo>
                    <a:pt x="3635" y="2367"/>
                  </a:lnTo>
                  <a:lnTo>
                    <a:pt x="3637" y="2365"/>
                  </a:lnTo>
                  <a:lnTo>
                    <a:pt x="3640" y="2363"/>
                  </a:lnTo>
                  <a:lnTo>
                    <a:pt x="3642" y="2363"/>
                  </a:lnTo>
                  <a:lnTo>
                    <a:pt x="3642" y="2360"/>
                  </a:lnTo>
                  <a:lnTo>
                    <a:pt x="3642" y="2360"/>
                  </a:lnTo>
                  <a:lnTo>
                    <a:pt x="3642" y="2363"/>
                  </a:lnTo>
                  <a:lnTo>
                    <a:pt x="3642" y="2363"/>
                  </a:lnTo>
                  <a:lnTo>
                    <a:pt x="3642" y="2363"/>
                  </a:lnTo>
                  <a:lnTo>
                    <a:pt x="3644" y="2363"/>
                  </a:lnTo>
                  <a:lnTo>
                    <a:pt x="3647" y="2363"/>
                  </a:lnTo>
                  <a:lnTo>
                    <a:pt x="3649" y="2363"/>
                  </a:lnTo>
                  <a:lnTo>
                    <a:pt x="3649" y="2363"/>
                  </a:lnTo>
                  <a:lnTo>
                    <a:pt x="3651" y="2360"/>
                  </a:lnTo>
                  <a:lnTo>
                    <a:pt x="3651" y="2360"/>
                  </a:lnTo>
                  <a:lnTo>
                    <a:pt x="3656" y="2363"/>
                  </a:lnTo>
                  <a:lnTo>
                    <a:pt x="3656" y="2363"/>
                  </a:lnTo>
                  <a:lnTo>
                    <a:pt x="3656" y="2360"/>
                  </a:lnTo>
                  <a:lnTo>
                    <a:pt x="3656" y="2360"/>
                  </a:lnTo>
                  <a:lnTo>
                    <a:pt x="3658" y="2358"/>
                  </a:lnTo>
                  <a:lnTo>
                    <a:pt x="3658" y="2356"/>
                  </a:lnTo>
                  <a:lnTo>
                    <a:pt x="3658" y="2356"/>
                  </a:lnTo>
                  <a:lnTo>
                    <a:pt x="3658" y="2353"/>
                  </a:lnTo>
                  <a:lnTo>
                    <a:pt x="3658" y="2353"/>
                  </a:lnTo>
                  <a:lnTo>
                    <a:pt x="3658" y="2353"/>
                  </a:lnTo>
                  <a:lnTo>
                    <a:pt x="3658" y="2351"/>
                  </a:lnTo>
                  <a:lnTo>
                    <a:pt x="3656" y="2349"/>
                  </a:lnTo>
                  <a:lnTo>
                    <a:pt x="3656" y="2346"/>
                  </a:lnTo>
                  <a:lnTo>
                    <a:pt x="3656" y="2346"/>
                  </a:lnTo>
                  <a:lnTo>
                    <a:pt x="3658" y="2349"/>
                  </a:lnTo>
                  <a:lnTo>
                    <a:pt x="3658" y="2351"/>
                  </a:lnTo>
                  <a:lnTo>
                    <a:pt x="3658" y="2351"/>
                  </a:lnTo>
                  <a:lnTo>
                    <a:pt x="3661" y="2356"/>
                  </a:lnTo>
                  <a:lnTo>
                    <a:pt x="3658" y="2358"/>
                  </a:lnTo>
                  <a:lnTo>
                    <a:pt x="3658" y="2358"/>
                  </a:lnTo>
                  <a:lnTo>
                    <a:pt x="3661" y="2358"/>
                  </a:lnTo>
                  <a:lnTo>
                    <a:pt x="3661" y="2358"/>
                  </a:lnTo>
                  <a:lnTo>
                    <a:pt x="3658" y="2358"/>
                  </a:lnTo>
                  <a:lnTo>
                    <a:pt x="3661" y="2358"/>
                  </a:lnTo>
                  <a:lnTo>
                    <a:pt x="3661" y="2356"/>
                  </a:lnTo>
                  <a:lnTo>
                    <a:pt x="3661" y="2349"/>
                  </a:lnTo>
                  <a:lnTo>
                    <a:pt x="3661" y="2349"/>
                  </a:lnTo>
                  <a:lnTo>
                    <a:pt x="3661" y="2346"/>
                  </a:lnTo>
                  <a:lnTo>
                    <a:pt x="3661" y="2344"/>
                  </a:lnTo>
                  <a:lnTo>
                    <a:pt x="3661" y="2344"/>
                  </a:lnTo>
                  <a:lnTo>
                    <a:pt x="3663" y="2341"/>
                  </a:lnTo>
                  <a:lnTo>
                    <a:pt x="3666" y="2339"/>
                  </a:lnTo>
                  <a:lnTo>
                    <a:pt x="3666" y="2334"/>
                  </a:lnTo>
                  <a:lnTo>
                    <a:pt x="3670" y="2330"/>
                  </a:lnTo>
                  <a:lnTo>
                    <a:pt x="3673" y="2327"/>
                  </a:lnTo>
                  <a:lnTo>
                    <a:pt x="3675" y="2325"/>
                  </a:lnTo>
                  <a:lnTo>
                    <a:pt x="3677" y="2325"/>
                  </a:lnTo>
                  <a:lnTo>
                    <a:pt x="3677" y="2325"/>
                  </a:lnTo>
                  <a:lnTo>
                    <a:pt x="3677" y="2325"/>
                  </a:lnTo>
                  <a:lnTo>
                    <a:pt x="3677" y="2325"/>
                  </a:lnTo>
                  <a:lnTo>
                    <a:pt x="3677" y="2325"/>
                  </a:lnTo>
                  <a:lnTo>
                    <a:pt x="3677" y="2323"/>
                  </a:lnTo>
                  <a:lnTo>
                    <a:pt x="3675" y="2323"/>
                  </a:lnTo>
                  <a:lnTo>
                    <a:pt x="3675" y="2323"/>
                  </a:lnTo>
                  <a:lnTo>
                    <a:pt x="3675" y="2323"/>
                  </a:lnTo>
                  <a:lnTo>
                    <a:pt x="3675" y="2323"/>
                  </a:lnTo>
                  <a:lnTo>
                    <a:pt x="3673" y="2323"/>
                  </a:lnTo>
                  <a:lnTo>
                    <a:pt x="3673" y="2323"/>
                  </a:lnTo>
                  <a:lnTo>
                    <a:pt x="3673" y="2320"/>
                  </a:lnTo>
                  <a:lnTo>
                    <a:pt x="3673" y="2320"/>
                  </a:lnTo>
                  <a:lnTo>
                    <a:pt x="3673" y="2320"/>
                  </a:lnTo>
                  <a:lnTo>
                    <a:pt x="3673" y="2320"/>
                  </a:lnTo>
                  <a:lnTo>
                    <a:pt x="3675" y="2320"/>
                  </a:lnTo>
                  <a:lnTo>
                    <a:pt x="3675" y="2320"/>
                  </a:lnTo>
                  <a:lnTo>
                    <a:pt x="3675" y="2320"/>
                  </a:lnTo>
                  <a:lnTo>
                    <a:pt x="3675" y="2320"/>
                  </a:lnTo>
                  <a:lnTo>
                    <a:pt x="3675" y="2318"/>
                  </a:lnTo>
                  <a:lnTo>
                    <a:pt x="3675" y="2318"/>
                  </a:lnTo>
                  <a:lnTo>
                    <a:pt x="3675" y="2318"/>
                  </a:lnTo>
                  <a:lnTo>
                    <a:pt x="3673" y="2318"/>
                  </a:lnTo>
                  <a:lnTo>
                    <a:pt x="3673" y="2318"/>
                  </a:lnTo>
                  <a:lnTo>
                    <a:pt x="3673" y="2315"/>
                  </a:lnTo>
                  <a:lnTo>
                    <a:pt x="3673" y="2313"/>
                  </a:lnTo>
                  <a:lnTo>
                    <a:pt x="3673" y="2315"/>
                  </a:lnTo>
                  <a:lnTo>
                    <a:pt x="3673" y="2315"/>
                  </a:lnTo>
                  <a:lnTo>
                    <a:pt x="3673" y="2315"/>
                  </a:lnTo>
                  <a:lnTo>
                    <a:pt x="3675" y="2313"/>
                  </a:lnTo>
                  <a:lnTo>
                    <a:pt x="3675" y="2315"/>
                  </a:lnTo>
                  <a:lnTo>
                    <a:pt x="3675" y="2315"/>
                  </a:lnTo>
                  <a:lnTo>
                    <a:pt x="3675" y="2315"/>
                  </a:lnTo>
                  <a:lnTo>
                    <a:pt x="3675" y="2315"/>
                  </a:lnTo>
                  <a:lnTo>
                    <a:pt x="3675" y="2315"/>
                  </a:lnTo>
                  <a:lnTo>
                    <a:pt x="3675" y="2315"/>
                  </a:lnTo>
                  <a:lnTo>
                    <a:pt x="3677" y="2318"/>
                  </a:lnTo>
                  <a:lnTo>
                    <a:pt x="3677" y="2318"/>
                  </a:lnTo>
                  <a:lnTo>
                    <a:pt x="3677" y="2320"/>
                  </a:lnTo>
                  <a:lnTo>
                    <a:pt x="3675" y="2320"/>
                  </a:lnTo>
                  <a:lnTo>
                    <a:pt x="3675" y="2323"/>
                  </a:lnTo>
                  <a:lnTo>
                    <a:pt x="3677" y="2323"/>
                  </a:lnTo>
                  <a:lnTo>
                    <a:pt x="3677" y="2323"/>
                  </a:lnTo>
                  <a:lnTo>
                    <a:pt x="3677" y="2323"/>
                  </a:lnTo>
                  <a:lnTo>
                    <a:pt x="3677" y="2323"/>
                  </a:lnTo>
                  <a:lnTo>
                    <a:pt x="3680" y="2323"/>
                  </a:lnTo>
                  <a:lnTo>
                    <a:pt x="3680" y="2323"/>
                  </a:lnTo>
                  <a:lnTo>
                    <a:pt x="3680" y="2320"/>
                  </a:lnTo>
                  <a:lnTo>
                    <a:pt x="3682" y="2320"/>
                  </a:lnTo>
                  <a:lnTo>
                    <a:pt x="3682" y="2318"/>
                  </a:lnTo>
                  <a:lnTo>
                    <a:pt x="3685" y="2315"/>
                  </a:lnTo>
                  <a:lnTo>
                    <a:pt x="3685" y="2315"/>
                  </a:lnTo>
                  <a:lnTo>
                    <a:pt x="3685" y="2315"/>
                  </a:lnTo>
                  <a:lnTo>
                    <a:pt x="3685" y="2315"/>
                  </a:lnTo>
                  <a:lnTo>
                    <a:pt x="3685" y="2315"/>
                  </a:lnTo>
                  <a:lnTo>
                    <a:pt x="3685" y="2315"/>
                  </a:lnTo>
                  <a:lnTo>
                    <a:pt x="3685" y="2315"/>
                  </a:lnTo>
                  <a:lnTo>
                    <a:pt x="3685" y="2315"/>
                  </a:lnTo>
                  <a:lnTo>
                    <a:pt x="3685" y="2315"/>
                  </a:lnTo>
                  <a:lnTo>
                    <a:pt x="3685" y="2313"/>
                  </a:lnTo>
                  <a:lnTo>
                    <a:pt x="3685" y="2313"/>
                  </a:lnTo>
                  <a:lnTo>
                    <a:pt x="3685" y="2313"/>
                  </a:lnTo>
                  <a:lnTo>
                    <a:pt x="3685" y="2313"/>
                  </a:lnTo>
                  <a:lnTo>
                    <a:pt x="3685" y="2311"/>
                  </a:lnTo>
                  <a:lnTo>
                    <a:pt x="3685" y="2311"/>
                  </a:lnTo>
                  <a:lnTo>
                    <a:pt x="3685" y="2311"/>
                  </a:lnTo>
                  <a:lnTo>
                    <a:pt x="3685" y="2311"/>
                  </a:lnTo>
                  <a:lnTo>
                    <a:pt x="3687" y="2313"/>
                  </a:lnTo>
                  <a:lnTo>
                    <a:pt x="3687" y="2313"/>
                  </a:lnTo>
                  <a:lnTo>
                    <a:pt x="3687" y="2313"/>
                  </a:lnTo>
                  <a:lnTo>
                    <a:pt x="3687" y="2315"/>
                  </a:lnTo>
                  <a:lnTo>
                    <a:pt x="3687" y="2315"/>
                  </a:lnTo>
                  <a:lnTo>
                    <a:pt x="3687" y="2315"/>
                  </a:lnTo>
                  <a:lnTo>
                    <a:pt x="3687" y="2313"/>
                  </a:lnTo>
                  <a:lnTo>
                    <a:pt x="3694" y="2311"/>
                  </a:lnTo>
                  <a:lnTo>
                    <a:pt x="3694" y="2311"/>
                  </a:lnTo>
                  <a:lnTo>
                    <a:pt x="3703" y="2308"/>
                  </a:lnTo>
                  <a:lnTo>
                    <a:pt x="3701" y="2308"/>
                  </a:lnTo>
                  <a:lnTo>
                    <a:pt x="3701" y="2308"/>
                  </a:lnTo>
                  <a:lnTo>
                    <a:pt x="3701" y="2308"/>
                  </a:lnTo>
                  <a:lnTo>
                    <a:pt x="3701" y="2308"/>
                  </a:lnTo>
                  <a:lnTo>
                    <a:pt x="3701" y="2308"/>
                  </a:lnTo>
                  <a:lnTo>
                    <a:pt x="3699" y="2308"/>
                  </a:lnTo>
                  <a:lnTo>
                    <a:pt x="3699" y="2308"/>
                  </a:lnTo>
                  <a:lnTo>
                    <a:pt x="3701" y="2306"/>
                  </a:lnTo>
                  <a:lnTo>
                    <a:pt x="3701" y="2306"/>
                  </a:lnTo>
                  <a:lnTo>
                    <a:pt x="3701" y="2306"/>
                  </a:lnTo>
                  <a:lnTo>
                    <a:pt x="3703" y="2306"/>
                  </a:lnTo>
                  <a:lnTo>
                    <a:pt x="3703" y="2306"/>
                  </a:lnTo>
                  <a:lnTo>
                    <a:pt x="3703" y="2308"/>
                  </a:lnTo>
                  <a:lnTo>
                    <a:pt x="3703" y="2308"/>
                  </a:lnTo>
                  <a:lnTo>
                    <a:pt x="3706" y="2308"/>
                  </a:lnTo>
                  <a:lnTo>
                    <a:pt x="3706" y="2308"/>
                  </a:lnTo>
                  <a:lnTo>
                    <a:pt x="3706" y="2304"/>
                  </a:lnTo>
                  <a:lnTo>
                    <a:pt x="3706" y="2304"/>
                  </a:lnTo>
                  <a:lnTo>
                    <a:pt x="3706" y="2304"/>
                  </a:lnTo>
                  <a:lnTo>
                    <a:pt x="3708" y="2306"/>
                  </a:lnTo>
                  <a:lnTo>
                    <a:pt x="3706" y="2306"/>
                  </a:lnTo>
                  <a:lnTo>
                    <a:pt x="3706" y="2306"/>
                  </a:lnTo>
                  <a:lnTo>
                    <a:pt x="3708" y="2306"/>
                  </a:lnTo>
                  <a:lnTo>
                    <a:pt x="3708" y="2308"/>
                  </a:lnTo>
                  <a:lnTo>
                    <a:pt x="3711" y="2306"/>
                  </a:lnTo>
                  <a:lnTo>
                    <a:pt x="3711" y="2306"/>
                  </a:lnTo>
                  <a:lnTo>
                    <a:pt x="3711" y="2306"/>
                  </a:lnTo>
                  <a:lnTo>
                    <a:pt x="3711" y="2306"/>
                  </a:lnTo>
                  <a:lnTo>
                    <a:pt x="3711" y="2306"/>
                  </a:lnTo>
                  <a:lnTo>
                    <a:pt x="3711" y="2306"/>
                  </a:lnTo>
                  <a:lnTo>
                    <a:pt x="3711" y="2306"/>
                  </a:lnTo>
                  <a:lnTo>
                    <a:pt x="3711" y="2304"/>
                  </a:lnTo>
                  <a:lnTo>
                    <a:pt x="3711" y="2304"/>
                  </a:lnTo>
                  <a:lnTo>
                    <a:pt x="3711" y="2304"/>
                  </a:lnTo>
                  <a:lnTo>
                    <a:pt x="3711" y="2304"/>
                  </a:lnTo>
                  <a:lnTo>
                    <a:pt x="3713" y="2301"/>
                  </a:lnTo>
                  <a:lnTo>
                    <a:pt x="3713" y="2301"/>
                  </a:lnTo>
                  <a:lnTo>
                    <a:pt x="3713" y="2301"/>
                  </a:lnTo>
                  <a:lnTo>
                    <a:pt x="3713" y="2301"/>
                  </a:lnTo>
                  <a:lnTo>
                    <a:pt x="3713" y="2299"/>
                  </a:lnTo>
                  <a:lnTo>
                    <a:pt x="3713" y="2299"/>
                  </a:lnTo>
                  <a:lnTo>
                    <a:pt x="3713" y="2299"/>
                  </a:lnTo>
                  <a:lnTo>
                    <a:pt x="3713" y="2299"/>
                  </a:lnTo>
                  <a:lnTo>
                    <a:pt x="3713" y="2299"/>
                  </a:lnTo>
                  <a:lnTo>
                    <a:pt x="3713" y="2299"/>
                  </a:lnTo>
                  <a:lnTo>
                    <a:pt x="3713" y="2299"/>
                  </a:lnTo>
                  <a:lnTo>
                    <a:pt x="3715" y="2299"/>
                  </a:lnTo>
                  <a:lnTo>
                    <a:pt x="3715" y="2299"/>
                  </a:lnTo>
                  <a:lnTo>
                    <a:pt x="3715" y="2297"/>
                  </a:lnTo>
                  <a:lnTo>
                    <a:pt x="3715" y="2297"/>
                  </a:lnTo>
                  <a:lnTo>
                    <a:pt x="3715" y="2297"/>
                  </a:lnTo>
                  <a:lnTo>
                    <a:pt x="3715" y="2297"/>
                  </a:lnTo>
                  <a:lnTo>
                    <a:pt x="3715" y="2294"/>
                  </a:lnTo>
                  <a:lnTo>
                    <a:pt x="3715" y="2294"/>
                  </a:lnTo>
                  <a:lnTo>
                    <a:pt x="3715" y="2294"/>
                  </a:lnTo>
                  <a:lnTo>
                    <a:pt x="3715" y="2294"/>
                  </a:lnTo>
                  <a:lnTo>
                    <a:pt x="3718" y="2294"/>
                  </a:lnTo>
                  <a:lnTo>
                    <a:pt x="3718" y="2294"/>
                  </a:lnTo>
                  <a:lnTo>
                    <a:pt x="3718" y="2294"/>
                  </a:lnTo>
                  <a:lnTo>
                    <a:pt x="3718" y="2292"/>
                  </a:lnTo>
                  <a:lnTo>
                    <a:pt x="3715" y="2292"/>
                  </a:lnTo>
                  <a:lnTo>
                    <a:pt x="3715" y="2292"/>
                  </a:lnTo>
                  <a:lnTo>
                    <a:pt x="3715" y="2292"/>
                  </a:lnTo>
                  <a:lnTo>
                    <a:pt x="3713" y="2292"/>
                  </a:lnTo>
                  <a:lnTo>
                    <a:pt x="3713" y="2292"/>
                  </a:lnTo>
                  <a:lnTo>
                    <a:pt x="3715" y="2292"/>
                  </a:lnTo>
                  <a:lnTo>
                    <a:pt x="3715" y="2294"/>
                  </a:lnTo>
                  <a:lnTo>
                    <a:pt x="3715" y="2294"/>
                  </a:lnTo>
                  <a:lnTo>
                    <a:pt x="3713" y="2294"/>
                  </a:lnTo>
                  <a:lnTo>
                    <a:pt x="3713" y="2294"/>
                  </a:lnTo>
                  <a:lnTo>
                    <a:pt x="3713" y="2294"/>
                  </a:lnTo>
                  <a:lnTo>
                    <a:pt x="3713" y="2294"/>
                  </a:lnTo>
                  <a:lnTo>
                    <a:pt x="3711" y="2297"/>
                  </a:lnTo>
                  <a:lnTo>
                    <a:pt x="3711" y="2297"/>
                  </a:lnTo>
                  <a:lnTo>
                    <a:pt x="3711" y="2297"/>
                  </a:lnTo>
                  <a:lnTo>
                    <a:pt x="3711" y="2297"/>
                  </a:lnTo>
                  <a:lnTo>
                    <a:pt x="3711" y="2297"/>
                  </a:lnTo>
                  <a:lnTo>
                    <a:pt x="3711" y="2297"/>
                  </a:lnTo>
                  <a:lnTo>
                    <a:pt x="3711" y="2294"/>
                  </a:lnTo>
                  <a:lnTo>
                    <a:pt x="3711" y="2294"/>
                  </a:lnTo>
                  <a:lnTo>
                    <a:pt x="3711" y="2294"/>
                  </a:lnTo>
                  <a:lnTo>
                    <a:pt x="3711" y="2294"/>
                  </a:lnTo>
                  <a:lnTo>
                    <a:pt x="3711" y="2294"/>
                  </a:lnTo>
                  <a:lnTo>
                    <a:pt x="3711" y="2294"/>
                  </a:lnTo>
                  <a:lnTo>
                    <a:pt x="3711" y="2292"/>
                  </a:lnTo>
                  <a:lnTo>
                    <a:pt x="3711" y="2292"/>
                  </a:lnTo>
                  <a:lnTo>
                    <a:pt x="3711" y="2292"/>
                  </a:lnTo>
                  <a:lnTo>
                    <a:pt x="3711" y="2289"/>
                  </a:lnTo>
                  <a:lnTo>
                    <a:pt x="3711" y="2289"/>
                  </a:lnTo>
                  <a:lnTo>
                    <a:pt x="3708" y="2289"/>
                  </a:lnTo>
                  <a:lnTo>
                    <a:pt x="3708" y="2289"/>
                  </a:lnTo>
                  <a:lnTo>
                    <a:pt x="3708" y="2289"/>
                  </a:lnTo>
                  <a:lnTo>
                    <a:pt x="3708" y="2289"/>
                  </a:lnTo>
                  <a:lnTo>
                    <a:pt x="3708" y="2292"/>
                  </a:lnTo>
                  <a:lnTo>
                    <a:pt x="3708" y="2292"/>
                  </a:lnTo>
                  <a:lnTo>
                    <a:pt x="3708" y="2292"/>
                  </a:lnTo>
                  <a:lnTo>
                    <a:pt x="3708" y="2294"/>
                  </a:lnTo>
                  <a:lnTo>
                    <a:pt x="3708" y="2294"/>
                  </a:lnTo>
                  <a:lnTo>
                    <a:pt x="3708" y="2294"/>
                  </a:lnTo>
                  <a:lnTo>
                    <a:pt x="3708" y="2294"/>
                  </a:lnTo>
                  <a:lnTo>
                    <a:pt x="3706" y="2294"/>
                  </a:lnTo>
                  <a:lnTo>
                    <a:pt x="3706" y="2294"/>
                  </a:lnTo>
                  <a:lnTo>
                    <a:pt x="3706" y="2294"/>
                  </a:lnTo>
                  <a:lnTo>
                    <a:pt x="3706" y="2294"/>
                  </a:lnTo>
                  <a:lnTo>
                    <a:pt x="3706" y="2294"/>
                  </a:lnTo>
                  <a:lnTo>
                    <a:pt x="3706" y="2297"/>
                  </a:lnTo>
                  <a:lnTo>
                    <a:pt x="3706" y="2297"/>
                  </a:lnTo>
                  <a:lnTo>
                    <a:pt x="3706" y="2297"/>
                  </a:lnTo>
                  <a:lnTo>
                    <a:pt x="3706" y="2297"/>
                  </a:lnTo>
                  <a:lnTo>
                    <a:pt x="3703" y="2297"/>
                  </a:lnTo>
                  <a:lnTo>
                    <a:pt x="3703" y="2297"/>
                  </a:lnTo>
                  <a:lnTo>
                    <a:pt x="3703" y="2297"/>
                  </a:lnTo>
                  <a:lnTo>
                    <a:pt x="3703" y="2297"/>
                  </a:lnTo>
                  <a:lnTo>
                    <a:pt x="3703" y="2294"/>
                  </a:lnTo>
                  <a:lnTo>
                    <a:pt x="3703" y="2297"/>
                  </a:lnTo>
                  <a:lnTo>
                    <a:pt x="3701" y="2297"/>
                  </a:lnTo>
                  <a:lnTo>
                    <a:pt x="3701" y="2297"/>
                  </a:lnTo>
                  <a:lnTo>
                    <a:pt x="3701" y="2297"/>
                  </a:lnTo>
                  <a:lnTo>
                    <a:pt x="3701" y="2299"/>
                  </a:lnTo>
                  <a:lnTo>
                    <a:pt x="3699" y="2299"/>
                  </a:lnTo>
                  <a:lnTo>
                    <a:pt x="3699" y="2299"/>
                  </a:lnTo>
                  <a:lnTo>
                    <a:pt x="3699" y="2301"/>
                  </a:lnTo>
                  <a:lnTo>
                    <a:pt x="3699" y="2301"/>
                  </a:lnTo>
                  <a:lnTo>
                    <a:pt x="3699" y="2301"/>
                  </a:lnTo>
                  <a:lnTo>
                    <a:pt x="3699" y="2299"/>
                  </a:lnTo>
                  <a:lnTo>
                    <a:pt x="3696" y="2299"/>
                  </a:lnTo>
                  <a:lnTo>
                    <a:pt x="3696" y="2299"/>
                  </a:lnTo>
                  <a:lnTo>
                    <a:pt x="3694" y="2299"/>
                  </a:lnTo>
                  <a:lnTo>
                    <a:pt x="3692" y="2299"/>
                  </a:lnTo>
                  <a:lnTo>
                    <a:pt x="3689" y="2299"/>
                  </a:lnTo>
                  <a:lnTo>
                    <a:pt x="3689" y="2297"/>
                  </a:lnTo>
                  <a:lnTo>
                    <a:pt x="3687" y="2294"/>
                  </a:lnTo>
                  <a:lnTo>
                    <a:pt x="3687" y="2294"/>
                  </a:lnTo>
                  <a:lnTo>
                    <a:pt x="3685" y="2294"/>
                  </a:lnTo>
                  <a:lnTo>
                    <a:pt x="3685" y="2294"/>
                  </a:lnTo>
                  <a:lnTo>
                    <a:pt x="3682" y="2292"/>
                  </a:lnTo>
                  <a:lnTo>
                    <a:pt x="3685" y="2292"/>
                  </a:lnTo>
                  <a:lnTo>
                    <a:pt x="3687" y="2294"/>
                  </a:lnTo>
                  <a:lnTo>
                    <a:pt x="3689" y="2294"/>
                  </a:lnTo>
                  <a:lnTo>
                    <a:pt x="3689" y="2294"/>
                  </a:lnTo>
                  <a:lnTo>
                    <a:pt x="3692" y="2297"/>
                  </a:lnTo>
                  <a:lnTo>
                    <a:pt x="3692" y="2297"/>
                  </a:lnTo>
                  <a:lnTo>
                    <a:pt x="3694" y="2297"/>
                  </a:lnTo>
                  <a:lnTo>
                    <a:pt x="3696" y="2297"/>
                  </a:lnTo>
                  <a:lnTo>
                    <a:pt x="3696" y="2297"/>
                  </a:lnTo>
                  <a:lnTo>
                    <a:pt x="3699" y="2297"/>
                  </a:lnTo>
                  <a:lnTo>
                    <a:pt x="3699" y="2294"/>
                  </a:lnTo>
                  <a:lnTo>
                    <a:pt x="3699" y="2294"/>
                  </a:lnTo>
                  <a:lnTo>
                    <a:pt x="3701" y="2292"/>
                  </a:lnTo>
                  <a:lnTo>
                    <a:pt x="3703" y="2289"/>
                  </a:lnTo>
                  <a:lnTo>
                    <a:pt x="3701" y="2289"/>
                  </a:lnTo>
                  <a:lnTo>
                    <a:pt x="3703" y="2289"/>
                  </a:lnTo>
                  <a:lnTo>
                    <a:pt x="3703" y="2287"/>
                  </a:lnTo>
                  <a:lnTo>
                    <a:pt x="3703" y="2287"/>
                  </a:lnTo>
                  <a:lnTo>
                    <a:pt x="3703" y="2285"/>
                  </a:lnTo>
                  <a:lnTo>
                    <a:pt x="3703" y="2287"/>
                  </a:lnTo>
                  <a:lnTo>
                    <a:pt x="3703" y="2287"/>
                  </a:lnTo>
                  <a:lnTo>
                    <a:pt x="3703" y="2287"/>
                  </a:lnTo>
                  <a:lnTo>
                    <a:pt x="3703" y="2287"/>
                  </a:lnTo>
                  <a:lnTo>
                    <a:pt x="3703" y="2287"/>
                  </a:lnTo>
                  <a:lnTo>
                    <a:pt x="3703" y="2287"/>
                  </a:lnTo>
                  <a:lnTo>
                    <a:pt x="3701" y="2287"/>
                  </a:lnTo>
                  <a:lnTo>
                    <a:pt x="3701" y="2287"/>
                  </a:lnTo>
                  <a:lnTo>
                    <a:pt x="3701" y="2287"/>
                  </a:lnTo>
                  <a:lnTo>
                    <a:pt x="3699" y="2287"/>
                  </a:lnTo>
                  <a:lnTo>
                    <a:pt x="3699" y="2287"/>
                  </a:lnTo>
                  <a:lnTo>
                    <a:pt x="3699" y="2287"/>
                  </a:lnTo>
                  <a:lnTo>
                    <a:pt x="3699" y="2285"/>
                  </a:lnTo>
                  <a:lnTo>
                    <a:pt x="3701" y="2285"/>
                  </a:lnTo>
                  <a:lnTo>
                    <a:pt x="3701" y="2285"/>
                  </a:lnTo>
                  <a:lnTo>
                    <a:pt x="3701" y="2285"/>
                  </a:lnTo>
                  <a:lnTo>
                    <a:pt x="3701" y="2285"/>
                  </a:lnTo>
                  <a:lnTo>
                    <a:pt x="3701" y="2285"/>
                  </a:lnTo>
                  <a:lnTo>
                    <a:pt x="3703" y="2285"/>
                  </a:lnTo>
                  <a:lnTo>
                    <a:pt x="3703" y="2285"/>
                  </a:lnTo>
                  <a:lnTo>
                    <a:pt x="3703" y="2285"/>
                  </a:lnTo>
                  <a:lnTo>
                    <a:pt x="3703" y="2282"/>
                  </a:lnTo>
                  <a:lnTo>
                    <a:pt x="3703" y="2282"/>
                  </a:lnTo>
                  <a:lnTo>
                    <a:pt x="3703" y="2282"/>
                  </a:lnTo>
                  <a:lnTo>
                    <a:pt x="3703" y="2282"/>
                  </a:lnTo>
                  <a:lnTo>
                    <a:pt x="3703" y="2282"/>
                  </a:lnTo>
                  <a:lnTo>
                    <a:pt x="3703" y="2282"/>
                  </a:lnTo>
                  <a:lnTo>
                    <a:pt x="3706" y="2282"/>
                  </a:lnTo>
                  <a:lnTo>
                    <a:pt x="3706" y="2282"/>
                  </a:lnTo>
                  <a:lnTo>
                    <a:pt x="3706" y="2280"/>
                  </a:lnTo>
                  <a:lnTo>
                    <a:pt x="3706" y="2280"/>
                  </a:lnTo>
                  <a:lnTo>
                    <a:pt x="3706" y="2280"/>
                  </a:lnTo>
                  <a:lnTo>
                    <a:pt x="3706" y="2280"/>
                  </a:lnTo>
                  <a:lnTo>
                    <a:pt x="3706" y="2278"/>
                  </a:lnTo>
                  <a:lnTo>
                    <a:pt x="3703" y="2278"/>
                  </a:lnTo>
                  <a:lnTo>
                    <a:pt x="3703" y="2278"/>
                  </a:lnTo>
                  <a:lnTo>
                    <a:pt x="3699" y="2278"/>
                  </a:lnTo>
                  <a:lnTo>
                    <a:pt x="3696" y="2278"/>
                  </a:lnTo>
                  <a:lnTo>
                    <a:pt x="3694" y="2278"/>
                  </a:lnTo>
                  <a:lnTo>
                    <a:pt x="3692" y="2278"/>
                  </a:lnTo>
                  <a:lnTo>
                    <a:pt x="3689" y="2278"/>
                  </a:lnTo>
                  <a:lnTo>
                    <a:pt x="3689" y="2275"/>
                  </a:lnTo>
                  <a:lnTo>
                    <a:pt x="3687" y="2275"/>
                  </a:lnTo>
                  <a:lnTo>
                    <a:pt x="3685" y="2275"/>
                  </a:lnTo>
                  <a:lnTo>
                    <a:pt x="3685" y="2275"/>
                  </a:lnTo>
                  <a:lnTo>
                    <a:pt x="3682" y="2275"/>
                  </a:lnTo>
                  <a:lnTo>
                    <a:pt x="3682" y="2273"/>
                  </a:lnTo>
                  <a:lnTo>
                    <a:pt x="3682" y="2273"/>
                  </a:lnTo>
                  <a:lnTo>
                    <a:pt x="3682" y="2273"/>
                  </a:lnTo>
                  <a:lnTo>
                    <a:pt x="3680" y="2273"/>
                  </a:lnTo>
                  <a:lnTo>
                    <a:pt x="3680" y="2273"/>
                  </a:lnTo>
                  <a:lnTo>
                    <a:pt x="3682" y="2273"/>
                  </a:lnTo>
                  <a:lnTo>
                    <a:pt x="3682" y="2273"/>
                  </a:lnTo>
                  <a:lnTo>
                    <a:pt x="3685" y="2273"/>
                  </a:lnTo>
                  <a:lnTo>
                    <a:pt x="3687" y="2273"/>
                  </a:lnTo>
                  <a:lnTo>
                    <a:pt x="3687" y="2275"/>
                  </a:lnTo>
                  <a:lnTo>
                    <a:pt x="3689" y="2273"/>
                  </a:lnTo>
                  <a:lnTo>
                    <a:pt x="3692" y="2275"/>
                  </a:lnTo>
                  <a:lnTo>
                    <a:pt x="3692" y="2275"/>
                  </a:lnTo>
                  <a:lnTo>
                    <a:pt x="3692" y="2275"/>
                  </a:lnTo>
                  <a:lnTo>
                    <a:pt x="3694" y="2275"/>
                  </a:lnTo>
                  <a:lnTo>
                    <a:pt x="3696" y="2275"/>
                  </a:lnTo>
                  <a:lnTo>
                    <a:pt x="3696" y="2273"/>
                  </a:lnTo>
                  <a:lnTo>
                    <a:pt x="3696" y="2273"/>
                  </a:lnTo>
                  <a:lnTo>
                    <a:pt x="3696" y="2273"/>
                  </a:lnTo>
                  <a:lnTo>
                    <a:pt x="3696" y="2273"/>
                  </a:lnTo>
                  <a:lnTo>
                    <a:pt x="3696" y="2275"/>
                  </a:lnTo>
                  <a:lnTo>
                    <a:pt x="3699" y="2275"/>
                  </a:lnTo>
                  <a:lnTo>
                    <a:pt x="3699" y="2275"/>
                  </a:lnTo>
                  <a:lnTo>
                    <a:pt x="3701" y="2275"/>
                  </a:lnTo>
                  <a:lnTo>
                    <a:pt x="3701" y="2273"/>
                  </a:lnTo>
                  <a:lnTo>
                    <a:pt x="3699" y="2273"/>
                  </a:lnTo>
                  <a:lnTo>
                    <a:pt x="3699" y="2273"/>
                  </a:lnTo>
                  <a:lnTo>
                    <a:pt x="3699" y="2273"/>
                  </a:lnTo>
                  <a:lnTo>
                    <a:pt x="3699" y="2273"/>
                  </a:lnTo>
                  <a:lnTo>
                    <a:pt x="3699" y="2273"/>
                  </a:lnTo>
                  <a:lnTo>
                    <a:pt x="3699" y="2273"/>
                  </a:lnTo>
                  <a:lnTo>
                    <a:pt x="3699" y="2273"/>
                  </a:lnTo>
                  <a:lnTo>
                    <a:pt x="3699" y="2273"/>
                  </a:lnTo>
                  <a:lnTo>
                    <a:pt x="3699" y="2273"/>
                  </a:lnTo>
                  <a:lnTo>
                    <a:pt x="3699" y="2273"/>
                  </a:lnTo>
                  <a:lnTo>
                    <a:pt x="3699" y="2271"/>
                  </a:lnTo>
                  <a:lnTo>
                    <a:pt x="3699" y="2271"/>
                  </a:lnTo>
                  <a:lnTo>
                    <a:pt x="3699" y="2271"/>
                  </a:lnTo>
                  <a:lnTo>
                    <a:pt x="3699" y="2271"/>
                  </a:lnTo>
                  <a:lnTo>
                    <a:pt x="3696" y="2271"/>
                  </a:lnTo>
                  <a:lnTo>
                    <a:pt x="3696" y="2268"/>
                  </a:lnTo>
                  <a:lnTo>
                    <a:pt x="3696" y="2268"/>
                  </a:lnTo>
                  <a:lnTo>
                    <a:pt x="3699" y="2268"/>
                  </a:lnTo>
                  <a:lnTo>
                    <a:pt x="3699" y="2268"/>
                  </a:lnTo>
                  <a:lnTo>
                    <a:pt x="3699" y="2268"/>
                  </a:lnTo>
                  <a:lnTo>
                    <a:pt x="3701" y="2268"/>
                  </a:lnTo>
                  <a:lnTo>
                    <a:pt x="3703" y="2266"/>
                  </a:lnTo>
                  <a:lnTo>
                    <a:pt x="3703" y="2266"/>
                  </a:lnTo>
                  <a:lnTo>
                    <a:pt x="3703" y="2268"/>
                  </a:lnTo>
                  <a:lnTo>
                    <a:pt x="3703" y="2268"/>
                  </a:lnTo>
                  <a:lnTo>
                    <a:pt x="3701" y="2268"/>
                  </a:lnTo>
                  <a:lnTo>
                    <a:pt x="3699" y="2268"/>
                  </a:lnTo>
                  <a:lnTo>
                    <a:pt x="3699" y="2271"/>
                  </a:lnTo>
                  <a:lnTo>
                    <a:pt x="3699" y="2271"/>
                  </a:lnTo>
                  <a:lnTo>
                    <a:pt x="3701" y="2271"/>
                  </a:lnTo>
                  <a:lnTo>
                    <a:pt x="3701" y="2271"/>
                  </a:lnTo>
                  <a:lnTo>
                    <a:pt x="3701" y="2271"/>
                  </a:lnTo>
                  <a:lnTo>
                    <a:pt x="3701" y="2273"/>
                  </a:lnTo>
                  <a:lnTo>
                    <a:pt x="3703" y="2273"/>
                  </a:lnTo>
                  <a:lnTo>
                    <a:pt x="3703" y="2273"/>
                  </a:lnTo>
                  <a:lnTo>
                    <a:pt x="3703" y="2273"/>
                  </a:lnTo>
                  <a:lnTo>
                    <a:pt x="3703" y="2273"/>
                  </a:lnTo>
                  <a:lnTo>
                    <a:pt x="3701" y="2273"/>
                  </a:lnTo>
                  <a:lnTo>
                    <a:pt x="3703" y="2273"/>
                  </a:lnTo>
                  <a:lnTo>
                    <a:pt x="3703" y="2275"/>
                  </a:lnTo>
                  <a:lnTo>
                    <a:pt x="3706" y="2275"/>
                  </a:lnTo>
                  <a:lnTo>
                    <a:pt x="3706" y="2275"/>
                  </a:lnTo>
                  <a:lnTo>
                    <a:pt x="3706" y="2273"/>
                  </a:lnTo>
                  <a:lnTo>
                    <a:pt x="3703" y="2273"/>
                  </a:lnTo>
                  <a:lnTo>
                    <a:pt x="3703" y="2273"/>
                  </a:lnTo>
                  <a:lnTo>
                    <a:pt x="3703" y="2273"/>
                  </a:lnTo>
                  <a:lnTo>
                    <a:pt x="3706" y="2273"/>
                  </a:lnTo>
                  <a:lnTo>
                    <a:pt x="3706" y="2273"/>
                  </a:lnTo>
                  <a:lnTo>
                    <a:pt x="3706" y="2273"/>
                  </a:lnTo>
                  <a:lnTo>
                    <a:pt x="3706" y="2271"/>
                  </a:lnTo>
                  <a:lnTo>
                    <a:pt x="3706" y="2271"/>
                  </a:lnTo>
                  <a:lnTo>
                    <a:pt x="3706" y="2271"/>
                  </a:lnTo>
                  <a:lnTo>
                    <a:pt x="3706" y="2271"/>
                  </a:lnTo>
                  <a:lnTo>
                    <a:pt x="3708" y="2271"/>
                  </a:lnTo>
                  <a:lnTo>
                    <a:pt x="3708" y="2273"/>
                  </a:lnTo>
                  <a:lnTo>
                    <a:pt x="3708" y="2273"/>
                  </a:lnTo>
                  <a:lnTo>
                    <a:pt x="3708" y="2273"/>
                  </a:lnTo>
                  <a:lnTo>
                    <a:pt x="3708" y="2273"/>
                  </a:lnTo>
                  <a:lnTo>
                    <a:pt x="3706" y="2275"/>
                  </a:lnTo>
                  <a:lnTo>
                    <a:pt x="3708" y="2275"/>
                  </a:lnTo>
                  <a:lnTo>
                    <a:pt x="3708" y="2275"/>
                  </a:lnTo>
                  <a:lnTo>
                    <a:pt x="3708" y="2275"/>
                  </a:lnTo>
                  <a:lnTo>
                    <a:pt x="3708" y="2275"/>
                  </a:lnTo>
                  <a:lnTo>
                    <a:pt x="3708" y="2275"/>
                  </a:lnTo>
                  <a:lnTo>
                    <a:pt x="3708" y="2275"/>
                  </a:lnTo>
                  <a:lnTo>
                    <a:pt x="3711" y="2275"/>
                  </a:lnTo>
                  <a:lnTo>
                    <a:pt x="3711" y="2275"/>
                  </a:lnTo>
                  <a:lnTo>
                    <a:pt x="3711" y="2273"/>
                  </a:lnTo>
                  <a:lnTo>
                    <a:pt x="3708" y="2273"/>
                  </a:lnTo>
                  <a:lnTo>
                    <a:pt x="3708" y="2273"/>
                  </a:lnTo>
                  <a:lnTo>
                    <a:pt x="3708" y="2273"/>
                  </a:lnTo>
                  <a:lnTo>
                    <a:pt x="3708" y="2273"/>
                  </a:lnTo>
                  <a:lnTo>
                    <a:pt x="3711" y="2273"/>
                  </a:lnTo>
                  <a:lnTo>
                    <a:pt x="3711" y="2273"/>
                  </a:lnTo>
                  <a:lnTo>
                    <a:pt x="3711" y="2273"/>
                  </a:lnTo>
                  <a:lnTo>
                    <a:pt x="3713" y="2275"/>
                  </a:lnTo>
                  <a:lnTo>
                    <a:pt x="3713" y="2275"/>
                  </a:lnTo>
                  <a:lnTo>
                    <a:pt x="3713" y="2273"/>
                  </a:lnTo>
                  <a:lnTo>
                    <a:pt x="3713" y="2273"/>
                  </a:lnTo>
                  <a:lnTo>
                    <a:pt x="3713" y="2273"/>
                  </a:lnTo>
                  <a:lnTo>
                    <a:pt x="3713" y="2273"/>
                  </a:lnTo>
                  <a:lnTo>
                    <a:pt x="3715" y="2273"/>
                  </a:lnTo>
                  <a:lnTo>
                    <a:pt x="3715" y="2273"/>
                  </a:lnTo>
                  <a:lnTo>
                    <a:pt x="3718" y="2273"/>
                  </a:lnTo>
                  <a:lnTo>
                    <a:pt x="3718" y="2273"/>
                  </a:lnTo>
                  <a:lnTo>
                    <a:pt x="3718" y="2273"/>
                  </a:lnTo>
                  <a:lnTo>
                    <a:pt x="3720" y="2273"/>
                  </a:lnTo>
                  <a:lnTo>
                    <a:pt x="3720" y="2271"/>
                  </a:lnTo>
                  <a:lnTo>
                    <a:pt x="3722" y="2271"/>
                  </a:lnTo>
                  <a:lnTo>
                    <a:pt x="3720" y="2271"/>
                  </a:lnTo>
                  <a:lnTo>
                    <a:pt x="3720" y="2271"/>
                  </a:lnTo>
                  <a:lnTo>
                    <a:pt x="3720" y="2268"/>
                  </a:lnTo>
                  <a:lnTo>
                    <a:pt x="3720" y="2268"/>
                  </a:lnTo>
                  <a:lnTo>
                    <a:pt x="3722" y="2268"/>
                  </a:lnTo>
                  <a:lnTo>
                    <a:pt x="3722" y="2268"/>
                  </a:lnTo>
                  <a:lnTo>
                    <a:pt x="3722" y="2268"/>
                  </a:lnTo>
                  <a:lnTo>
                    <a:pt x="3722" y="2268"/>
                  </a:lnTo>
                  <a:lnTo>
                    <a:pt x="3722" y="2268"/>
                  </a:lnTo>
                  <a:lnTo>
                    <a:pt x="3722" y="2268"/>
                  </a:lnTo>
                  <a:lnTo>
                    <a:pt x="3722" y="2268"/>
                  </a:lnTo>
                  <a:lnTo>
                    <a:pt x="3722" y="2266"/>
                  </a:lnTo>
                  <a:lnTo>
                    <a:pt x="3722" y="2266"/>
                  </a:lnTo>
                  <a:lnTo>
                    <a:pt x="3722" y="2266"/>
                  </a:lnTo>
                  <a:lnTo>
                    <a:pt x="3722" y="2266"/>
                  </a:lnTo>
                  <a:lnTo>
                    <a:pt x="3722" y="2266"/>
                  </a:lnTo>
                  <a:lnTo>
                    <a:pt x="3725" y="2263"/>
                  </a:lnTo>
                  <a:lnTo>
                    <a:pt x="3725" y="2263"/>
                  </a:lnTo>
                  <a:lnTo>
                    <a:pt x="3722" y="2263"/>
                  </a:lnTo>
                  <a:lnTo>
                    <a:pt x="3722" y="2263"/>
                  </a:lnTo>
                  <a:lnTo>
                    <a:pt x="3722" y="2263"/>
                  </a:lnTo>
                  <a:lnTo>
                    <a:pt x="3722" y="2263"/>
                  </a:lnTo>
                  <a:lnTo>
                    <a:pt x="3725" y="2263"/>
                  </a:lnTo>
                  <a:lnTo>
                    <a:pt x="3725" y="2263"/>
                  </a:lnTo>
                  <a:lnTo>
                    <a:pt x="3725" y="2259"/>
                  </a:lnTo>
                  <a:lnTo>
                    <a:pt x="3725" y="2259"/>
                  </a:lnTo>
                  <a:lnTo>
                    <a:pt x="3725" y="2259"/>
                  </a:lnTo>
                  <a:lnTo>
                    <a:pt x="3725" y="2256"/>
                  </a:lnTo>
                  <a:lnTo>
                    <a:pt x="3725" y="2256"/>
                  </a:lnTo>
                  <a:lnTo>
                    <a:pt x="3727" y="2259"/>
                  </a:lnTo>
                  <a:lnTo>
                    <a:pt x="3727" y="2259"/>
                  </a:lnTo>
                  <a:lnTo>
                    <a:pt x="3727" y="2259"/>
                  </a:lnTo>
                  <a:lnTo>
                    <a:pt x="3729" y="2259"/>
                  </a:lnTo>
                  <a:lnTo>
                    <a:pt x="3729" y="2259"/>
                  </a:lnTo>
                  <a:lnTo>
                    <a:pt x="3729" y="2259"/>
                  </a:lnTo>
                  <a:lnTo>
                    <a:pt x="3729" y="2259"/>
                  </a:lnTo>
                  <a:lnTo>
                    <a:pt x="3729" y="2259"/>
                  </a:lnTo>
                  <a:lnTo>
                    <a:pt x="3729" y="2259"/>
                  </a:lnTo>
                  <a:lnTo>
                    <a:pt x="3727" y="2259"/>
                  </a:lnTo>
                  <a:lnTo>
                    <a:pt x="3729" y="2259"/>
                  </a:lnTo>
                  <a:lnTo>
                    <a:pt x="3729" y="2259"/>
                  </a:lnTo>
                  <a:lnTo>
                    <a:pt x="3729" y="2259"/>
                  </a:lnTo>
                  <a:lnTo>
                    <a:pt x="3729" y="2259"/>
                  </a:lnTo>
                  <a:lnTo>
                    <a:pt x="3729" y="2259"/>
                  </a:lnTo>
                  <a:lnTo>
                    <a:pt x="3729" y="2259"/>
                  </a:lnTo>
                  <a:lnTo>
                    <a:pt x="3729" y="2259"/>
                  </a:lnTo>
                  <a:lnTo>
                    <a:pt x="3729" y="2256"/>
                  </a:lnTo>
                  <a:lnTo>
                    <a:pt x="3732" y="2256"/>
                  </a:lnTo>
                  <a:lnTo>
                    <a:pt x="3732" y="2256"/>
                  </a:lnTo>
                  <a:lnTo>
                    <a:pt x="3732" y="2256"/>
                  </a:lnTo>
                  <a:lnTo>
                    <a:pt x="3732" y="2256"/>
                  </a:lnTo>
                  <a:lnTo>
                    <a:pt x="3732" y="2254"/>
                  </a:lnTo>
                  <a:lnTo>
                    <a:pt x="3729" y="2254"/>
                  </a:lnTo>
                  <a:lnTo>
                    <a:pt x="3729" y="2254"/>
                  </a:lnTo>
                  <a:lnTo>
                    <a:pt x="3729" y="2252"/>
                  </a:lnTo>
                  <a:lnTo>
                    <a:pt x="3729" y="2252"/>
                  </a:lnTo>
                  <a:lnTo>
                    <a:pt x="3732" y="2252"/>
                  </a:lnTo>
                  <a:lnTo>
                    <a:pt x="3732" y="2252"/>
                  </a:lnTo>
                  <a:lnTo>
                    <a:pt x="3732" y="2252"/>
                  </a:lnTo>
                  <a:lnTo>
                    <a:pt x="3732" y="2249"/>
                  </a:lnTo>
                  <a:lnTo>
                    <a:pt x="3729" y="2249"/>
                  </a:lnTo>
                  <a:lnTo>
                    <a:pt x="3729" y="2249"/>
                  </a:lnTo>
                  <a:lnTo>
                    <a:pt x="3729" y="2249"/>
                  </a:lnTo>
                  <a:lnTo>
                    <a:pt x="3729" y="2247"/>
                  </a:lnTo>
                  <a:lnTo>
                    <a:pt x="3729" y="2247"/>
                  </a:lnTo>
                  <a:lnTo>
                    <a:pt x="3729" y="2244"/>
                  </a:lnTo>
                  <a:lnTo>
                    <a:pt x="3729" y="2244"/>
                  </a:lnTo>
                  <a:lnTo>
                    <a:pt x="3729" y="2244"/>
                  </a:lnTo>
                  <a:lnTo>
                    <a:pt x="3729" y="2244"/>
                  </a:lnTo>
                  <a:lnTo>
                    <a:pt x="3727" y="2242"/>
                  </a:lnTo>
                  <a:lnTo>
                    <a:pt x="3725" y="2240"/>
                  </a:lnTo>
                  <a:lnTo>
                    <a:pt x="3722" y="2240"/>
                  </a:lnTo>
                  <a:lnTo>
                    <a:pt x="3722" y="2240"/>
                  </a:lnTo>
                  <a:lnTo>
                    <a:pt x="3722" y="2240"/>
                  </a:lnTo>
                  <a:lnTo>
                    <a:pt x="3722" y="2240"/>
                  </a:lnTo>
                  <a:lnTo>
                    <a:pt x="3722" y="2242"/>
                  </a:lnTo>
                  <a:lnTo>
                    <a:pt x="3725" y="2242"/>
                  </a:lnTo>
                  <a:lnTo>
                    <a:pt x="3725" y="2242"/>
                  </a:lnTo>
                  <a:lnTo>
                    <a:pt x="3725" y="2242"/>
                  </a:lnTo>
                  <a:lnTo>
                    <a:pt x="3725" y="2242"/>
                  </a:lnTo>
                  <a:lnTo>
                    <a:pt x="3725" y="2242"/>
                  </a:lnTo>
                  <a:lnTo>
                    <a:pt x="3722" y="2242"/>
                  </a:lnTo>
                  <a:lnTo>
                    <a:pt x="3722" y="2242"/>
                  </a:lnTo>
                  <a:lnTo>
                    <a:pt x="3722" y="2242"/>
                  </a:lnTo>
                  <a:lnTo>
                    <a:pt x="3722" y="2242"/>
                  </a:lnTo>
                  <a:lnTo>
                    <a:pt x="3722" y="2242"/>
                  </a:lnTo>
                  <a:lnTo>
                    <a:pt x="3722" y="2244"/>
                  </a:lnTo>
                  <a:lnTo>
                    <a:pt x="3725" y="2244"/>
                  </a:lnTo>
                  <a:lnTo>
                    <a:pt x="3725" y="2244"/>
                  </a:lnTo>
                  <a:lnTo>
                    <a:pt x="3725" y="2244"/>
                  </a:lnTo>
                  <a:lnTo>
                    <a:pt x="3725" y="2244"/>
                  </a:lnTo>
                  <a:lnTo>
                    <a:pt x="3722" y="2244"/>
                  </a:lnTo>
                  <a:lnTo>
                    <a:pt x="3722" y="2244"/>
                  </a:lnTo>
                  <a:lnTo>
                    <a:pt x="3722" y="2242"/>
                  </a:lnTo>
                  <a:lnTo>
                    <a:pt x="3720" y="2242"/>
                  </a:lnTo>
                  <a:lnTo>
                    <a:pt x="3720" y="2242"/>
                  </a:lnTo>
                  <a:lnTo>
                    <a:pt x="3720" y="2244"/>
                  </a:lnTo>
                  <a:lnTo>
                    <a:pt x="3720" y="2244"/>
                  </a:lnTo>
                  <a:lnTo>
                    <a:pt x="3718" y="2244"/>
                  </a:lnTo>
                  <a:lnTo>
                    <a:pt x="3720" y="2252"/>
                  </a:lnTo>
                  <a:lnTo>
                    <a:pt x="3720" y="2254"/>
                  </a:lnTo>
                  <a:lnTo>
                    <a:pt x="3720" y="2256"/>
                  </a:lnTo>
                  <a:lnTo>
                    <a:pt x="3720" y="2256"/>
                  </a:lnTo>
                  <a:lnTo>
                    <a:pt x="3720" y="2256"/>
                  </a:lnTo>
                  <a:lnTo>
                    <a:pt x="3720" y="2256"/>
                  </a:lnTo>
                  <a:lnTo>
                    <a:pt x="3720" y="2256"/>
                  </a:lnTo>
                  <a:lnTo>
                    <a:pt x="3720" y="2256"/>
                  </a:lnTo>
                  <a:lnTo>
                    <a:pt x="3718" y="2256"/>
                  </a:lnTo>
                  <a:lnTo>
                    <a:pt x="3718" y="2256"/>
                  </a:lnTo>
                  <a:lnTo>
                    <a:pt x="3715" y="2256"/>
                  </a:lnTo>
                  <a:lnTo>
                    <a:pt x="3715" y="2256"/>
                  </a:lnTo>
                  <a:lnTo>
                    <a:pt x="3715" y="2256"/>
                  </a:lnTo>
                  <a:lnTo>
                    <a:pt x="3718" y="2256"/>
                  </a:lnTo>
                  <a:lnTo>
                    <a:pt x="3718" y="2256"/>
                  </a:lnTo>
                  <a:lnTo>
                    <a:pt x="3720" y="2254"/>
                  </a:lnTo>
                  <a:lnTo>
                    <a:pt x="3718" y="2254"/>
                  </a:lnTo>
                  <a:lnTo>
                    <a:pt x="3718" y="2254"/>
                  </a:lnTo>
                  <a:lnTo>
                    <a:pt x="3718" y="2254"/>
                  </a:lnTo>
                  <a:lnTo>
                    <a:pt x="3718" y="2254"/>
                  </a:lnTo>
                  <a:lnTo>
                    <a:pt x="3718" y="2254"/>
                  </a:lnTo>
                  <a:lnTo>
                    <a:pt x="3718" y="2252"/>
                  </a:lnTo>
                  <a:lnTo>
                    <a:pt x="3718" y="2252"/>
                  </a:lnTo>
                  <a:lnTo>
                    <a:pt x="3718" y="2252"/>
                  </a:lnTo>
                  <a:lnTo>
                    <a:pt x="3718" y="2252"/>
                  </a:lnTo>
                  <a:lnTo>
                    <a:pt x="3718" y="2252"/>
                  </a:lnTo>
                  <a:lnTo>
                    <a:pt x="3715" y="2252"/>
                  </a:lnTo>
                  <a:lnTo>
                    <a:pt x="3715" y="2252"/>
                  </a:lnTo>
                  <a:lnTo>
                    <a:pt x="3715" y="2252"/>
                  </a:lnTo>
                  <a:lnTo>
                    <a:pt x="3715" y="2252"/>
                  </a:lnTo>
                  <a:lnTo>
                    <a:pt x="3715" y="2252"/>
                  </a:lnTo>
                  <a:lnTo>
                    <a:pt x="3715" y="2252"/>
                  </a:lnTo>
                  <a:lnTo>
                    <a:pt x="3718" y="2249"/>
                  </a:lnTo>
                  <a:lnTo>
                    <a:pt x="3718" y="2249"/>
                  </a:lnTo>
                  <a:lnTo>
                    <a:pt x="3715" y="2247"/>
                  </a:lnTo>
                  <a:lnTo>
                    <a:pt x="3715" y="2247"/>
                  </a:lnTo>
                  <a:lnTo>
                    <a:pt x="3715" y="2247"/>
                  </a:lnTo>
                  <a:lnTo>
                    <a:pt x="3715" y="2247"/>
                  </a:lnTo>
                  <a:lnTo>
                    <a:pt x="3718" y="2244"/>
                  </a:lnTo>
                  <a:lnTo>
                    <a:pt x="3718" y="2244"/>
                  </a:lnTo>
                  <a:lnTo>
                    <a:pt x="3718" y="2242"/>
                  </a:lnTo>
                  <a:lnTo>
                    <a:pt x="3715" y="2244"/>
                  </a:lnTo>
                  <a:lnTo>
                    <a:pt x="3715" y="2244"/>
                  </a:lnTo>
                  <a:lnTo>
                    <a:pt x="3715" y="2242"/>
                  </a:lnTo>
                  <a:lnTo>
                    <a:pt x="3715" y="2242"/>
                  </a:lnTo>
                  <a:lnTo>
                    <a:pt x="3715" y="2242"/>
                  </a:lnTo>
                  <a:lnTo>
                    <a:pt x="3715" y="2242"/>
                  </a:lnTo>
                  <a:lnTo>
                    <a:pt x="3715" y="2240"/>
                  </a:lnTo>
                  <a:lnTo>
                    <a:pt x="3715" y="2240"/>
                  </a:lnTo>
                  <a:lnTo>
                    <a:pt x="3713" y="2240"/>
                  </a:lnTo>
                  <a:lnTo>
                    <a:pt x="3708" y="2242"/>
                  </a:lnTo>
                  <a:lnTo>
                    <a:pt x="3706" y="2244"/>
                  </a:lnTo>
                  <a:lnTo>
                    <a:pt x="3706" y="2244"/>
                  </a:lnTo>
                  <a:lnTo>
                    <a:pt x="3706" y="2244"/>
                  </a:lnTo>
                  <a:lnTo>
                    <a:pt x="3706" y="2244"/>
                  </a:lnTo>
                  <a:lnTo>
                    <a:pt x="3708" y="2247"/>
                  </a:lnTo>
                  <a:lnTo>
                    <a:pt x="3706" y="2247"/>
                  </a:lnTo>
                  <a:lnTo>
                    <a:pt x="3703" y="2244"/>
                  </a:lnTo>
                  <a:lnTo>
                    <a:pt x="3703" y="2244"/>
                  </a:lnTo>
                  <a:lnTo>
                    <a:pt x="3703" y="2247"/>
                  </a:lnTo>
                  <a:lnTo>
                    <a:pt x="3703" y="2247"/>
                  </a:lnTo>
                  <a:lnTo>
                    <a:pt x="3703" y="2247"/>
                  </a:lnTo>
                  <a:lnTo>
                    <a:pt x="3701" y="2247"/>
                  </a:lnTo>
                  <a:lnTo>
                    <a:pt x="3701" y="2247"/>
                  </a:lnTo>
                  <a:lnTo>
                    <a:pt x="3701" y="2244"/>
                  </a:lnTo>
                  <a:lnTo>
                    <a:pt x="3701" y="2244"/>
                  </a:lnTo>
                  <a:lnTo>
                    <a:pt x="3701" y="2244"/>
                  </a:lnTo>
                  <a:lnTo>
                    <a:pt x="3701" y="2244"/>
                  </a:lnTo>
                  <a:lnTo>
                    <a:pt x="3699" y="2244"/>
                  </a:lnTo>
                  <a:lnTo>
                    <a:pt x="3696" y="2247"/>
                  </a:lnTo>
                  <a:lnTo>
                    <a:pt x="3696" y="2247"/>
                  </a:lnTo>
                  <a:lnTo>
                    <a:pt x="3694" y="2247"/>
                  </a:lnTo>
                  <a:lnTo>
                    <a:pt x="3694" y="2247"/>
                  </a:lnTo>
                  <a:lnTo>
                    <a:pt x="3689" y="2249"/>
                  </a:lnTo>
                  <a:lnTo>
                    <a:pt x="3689" y="2249"/>
                  </a:lnTo>
                  <a:lnTo>
                    <a:pt x="3689" y="2247"/>
                  </a:lnTo>
                  <a:lnTo>
                    <a:pt x="3689" y="2244"/>
                  </a:lnTo>
                  <a:lnTo>
                    <a:pt x="3689" y="2244"/>
                  </a:lnTo>
                  <a:lnTo>
                    <a:pt x="3689" y="2244"/>
                  </a:lnTo>
                  <a:lnTo>
                    <a:pt x="3689" y="2244"/>
                  </a:lnTo>
                  <a:lnTo>
                    <a:pt x="3689" y="2244"/>
                  </a:lnTo>
                  <a:lnTo>
                    <a:pt x="3687" y="2244"/>
                  </a:lnTo>
                  <a:lnTo>
                    <a:pt x="3687" y="2242"/>
                  </a:lnTo>
                  <a:lnTo>
                    <a:pt x="3687" y="2242"/>
                  </a:lnTo>
                  <a:lnTo>
                    <a:pt x="3687" y="2242"/>
                  </a:lnTo>
                  <a:lnTo>
                    <a:pt x="3685" y="2240"/>
                  </a:lnTo>
                  <a:lnTo>
                    <a:pt x="3685" y="2240"/>
                  </a:lnTo>
                  <a:lnTo>
                    <a:pt x="3685" y="2237"/>
                  </a:lnTo>
                  <a:lnTo>
                    <a:pt x="3685" y="2235"/>
                  </a:lnTo>
                  <a:lnTo>
                    <a:pt x="3685" y="2235"/>
                  </a:lnTo>
                  <a:lnTo>
                    <a:pt x="3685" y="2233"/>
                  </a:lnTo>
                  <a:lnTo>
                    <a:pt x="3687" y="2233"/>
                  </a:lnTo>
                  <a:lnTo>
                    <a:pt x="3687" y="2233"/>
                  </a:lnTo>
                  <a:lnTo>
                    <a:pt x="3687" y="2233"/>
                  </a:lnTo>
                  <a:lnTo>
                    <a:pt x="3685" y="2230"/>
                  </a:lnTo>
                  <a:lnTo>
                    <a:pt x="3685" y="2230"/>
                  </a:lnTo>
                  <a:lnTo>
                    <a:pt x="3685" y="2230"/>
                  </a:lnTo>
                  <a:lnTo>
                    <a:pt x="3685" y="2230"/>
                  </a:lnTo>
                  <a:lnTo>
                    <a:pt x="3687" y="2230"/>
                  </a:lnTo>
                  <a:lnTo>
                    <a:pt x="3687" y="2230"/>
                  </a:lnTo>
                  <a:lnTo>
                    <a:pt x="3687" y="2233"/>
                  </a:lnTo>
                  <a:lnTo>
                    <a:pt x="3687" y="2233"/>
                  </a:lnTo>
                  <a:lnTo>
                    <a:pt x="3687" y="2235"/>
                  </a:lnTo>
                  <a:lnTo>
                    <a:pt x="3687" y="2235"/>
                  </a:lnTo>
                  <a:lnTo>
                    <a:pt x="3687" y="2237"/>
                  </a:lnTo>
                  <a:lnTo>
                    <a:pt x="3687" y="2237"/>
                  </a:lnTo>
                  <a:lnTo>
                    <a:pt x="3687" y="2240"/>
                  </a:lnTo>
                  <a:lnTo>
                    <a:pt x="3689" y="2242"/>
                  </a:lnTo>
                  <a:lnTo>
                    <a:pt x="3689" y="2244"/>
                  </a:lnTo>
                  <a:lnTo>
                    <a:pt x="3692" y="2244"/>
                  </a:lnTo>
                  <a:lnTo>
                    <a:pt x="3692" y="2242"/>
                  </a:lnTo>
                  <a:lnTo>
                    <a:pt x="3692" y="2242"/>
                  </a:lnTo>
                  <a:lnTo>
                    <a:pt x="3694" y="2244"/>
                  </a:lnTo>
                  <a:lnTo>
                    <a:pt x="3694" y="2244"/>
                  </a:lnTo>
                  <a:lnTo>
                    <a:pt x="3694" y="2244"/>
                  </a:lnTo>
                  <a:lnTo>
                    <a:pt x="3696" y="2244"/>
                  </a:lnTo>
                  <a:lnTo>
                    <a:pt x="3696" y="2242"/>
                  </a:lnTo>
                  <a:lnTo>
                    <a:pt x="3699" y="2242"/>
                  </a:lnTo>
                  <a:lnTo>
                    <a:pt x="3699" y="2242"/>
                  </a:lnTo>
                  <a:lnTo>
                    <a:pt x="3699" y="2240"/>
                  </a:lnTo>
                  <a:lnTo>
                    <a:pt x="3699" y="2240"/>
                  </a:lnTo>
                  <a:lnTo>
                    <a:pt x="3699" y="2240"/>
                  </a:lnTo>
                  <a:lnTo>
                    <a:pt x="3699" y="2240"/>
                  </a:lnTo>
                  <a:lnTo>
                    <a:pt x="3699" y="2240"/>
                  </a:lnTo>
                  <a:lnTo>
                    <a:pt x="3703" y="2237"/>
                  </a:lnTo>
                  <a:lnTo>
                    <a:pt x="3703" y="2237"/>
                  </a:lnTo>
                  <a:lnTo>
                    <a:pt x="3703" y="2237"/>
                  </a:lnTo>
                  <a:lnTo>
                    <a:pt x="3701" y="2237"/>
                  </a:lnTo>
                  <a:lnTo>
                    <a:pt x="3701" y="2237"/>
                  </a:lnTo>
                  <a:lnTo>
                    <a:pt x="3699" y="2235"/>
                  </a:lnTo>
                  <a:lnTo>
                    <a:pt x="3699" y="2235"/>
                  </a:lnTo>
                  <a:lnTo>
                    <a:pt x="3699" y="2235"/>
                  </a:lnTo>
                  <a:lnTo>
                    <a:pt x="3696" y="2235"/>
                  </a:lnTo>
                  <a:lnTo>
                    <a:pt x="3696" y="2235"/>
                  </a:lnTo>
                  <a:lnTo>
                    <a:pt x="3696" y="2233"/>
                  </a:lnTo>
                  <a:lnTo>
                    <a:pt x="3696" y="2235"/>
                  </a:lnTo>
                  <a:lnTo>
                    <a:pt x="3699" y="2235"/>
                  </a:lnTo>
                  <a:lnTo>
                    <a:pt x="3699" y="2235"/>
                  </a:lnTo>
                  <a:lnTo>
                    <a:pt x="3699" y="2235"/>
                  </a:lnTo>
                  <a:lnTo>
                    <a:pt x="3701" y="2235"/>
                  </a:lnTo>
                  <a:lnTo>
                    <a:pt x="3701" y="2235"/>
                  </a:lnTo>
                  <a:lnTo>
                    <a:pt x="3706" y="2237"/>
                  </a:lnTo>
                  <a:lnTo>
                    <a:pt x="3708" y="2237"/>
                  </a:lnTo>
                  <a:lnTo>
                    <a:pt x="3708" y="2237"/>
                  </a:lnTo>
                  <a:lnTo>
                    <a:pt x="3708" y="2235"/>
                  </a:lnTo>
                  <a:lnTo>
                    <a:pt x="3708" y="2235"/>
                  </a:lnTo>
                  <a:lnTo>
                    <a:pt x="3706" y="2233"/>
                  </a:lnTo>
                  <a:lnTo>
                    <a:pt x="3706" y="2233"/>
                  </a:lnTo>
                  <a:lnTo>
                    <a:pt x="3703" y="2233"/>
                  </a:lnTo>
                  <a:lnTo>
                    <a:pt x="3703" y="2233"/>
                  </a:lnTo>
                  <a:lnTo>
                    <a:pt x="3703" y="2233"/>
                  </a:lnTo>
                  <a:lnTo>
                    <a:pt x="3703" y="2233"/>
                  </a:lnTo>
                  <a:lnTo>
                    <a:pt x="3703" y="2233"/>
                  </a:lnTo>
                  <a:lnTo>
                    <a:pt x="3703" y="2233"/>
                  </a:lnTo>
                  <a:lnTo>
                    <a:pt x="3703" y="2233"/>
                  </a:lnTo>
                  <a:lnTo>
                    <a:pt x="3706" y="2233"/>
                  </a:lnTo>
                  <a:lnTo>
                    <a:pt x="3706" y="2233"/>
                  </a:lnTo>
                  <a:lnTo>
                    <a:pt x="3706" y="2233"/>
                  </a:lnTo>
                  <a:lnTo>
                    <a:pt x="3708" y="2235"/>
                  </a:lnTo>
                  <a:lnTo>
                    <a:pt x="3708" y="2235"/>
                  </a:lnTo>
                  <a:lnTo>
                    <a:pt x="3708" y="2235"/>
                  </a:lnTo>
                  <a:lnTo>
                    <a:pt x="3708" y="2235"/>
                  </a:lnTo>
                  <a:lnTo>
                    <a:pt x="3711" y="2235"/>
                  </a:lnTo>
                  <a:lnTo>
                    <a:pt x="3711" y="2235"/>
                  </a:lnTo>
                  <a:lnTo>
                    <a:pt x="3711" y="2235"/>
                  </a:lnTo>
                  <a:lnTo>
                    <a:pt x="3711" y="2233"/>
                  </a:lnTo>
                  <a:lnTo>
                    <a:pt x="3711" y="2233"/>
                  </a:lnTo>
                  <a:lnTo>
                    <a:pt x="3713" y="2233"/>
                  </a:lnTo>
                  <a:lnTo>
                    <a:pt x="3713" y="2233"/>
                  </a:lnTo>
                  <a:lnTo>
                    <a:pt x="3713" y="2233"/>
                  </a:lnTo>
                  <a:lnTo>
                    <a:pt x="3713" y="2233"/>
                  </a:lnTo>
                  <a:lnTo>
                    <a:pt x="3713" y="2233"/>
                  </a:lnTo>
                  <a:lnTo>
                    <a:pt x="3711" y="2230"/>
                  </a:lnTo>
                  <a:lnTo>
                    <a:pt x="3711" y="2230"/>
                  </a:lnTo>
                  <a:lnTo>
                    <a:pt x="3711" y="2230"/>
                  </a:lnTo>
                  <a:lnTo>
                    <a:pt x="3708" y="2228"/>
                  </a:lnTo>
                  <a:lnTo>
                    <a:pt x="3708" y="2228"/>
                  </a:lnTo>
                  <a:lnTo>
                    <a:pt x="3708" y="2228"/>
                  </a:lnTo>
                  <a:lnTo>
                    <a:pt x="3706" y="2228"/>
                  </a:lnTo>
                  <a:lnTo>
                    <a:pt x="3706" y="2228"/>
                  </a:lnTo>
                  <a:lnTo>
                    <a:pt x="3706" y="2228"/>
                  </a:lnTo>
                  <a:lnTo>
                    <a:pt x="3706" y="2226"/>
                  </a:lnTo>
                  <a:lnTo>
                    <a:pt x="3706" y="2226"/>
                  </a:lnTo>
                  <a:lnTo>
                    <a:pt x="3706" y="2226"/>
                  </a:lnTo>
                  <a:lnTo>
                    <a:pt x="3706" y="2226"/>
                  </a:lnTo>
                  <a:lnTo>
                    <a:pt x="3706" y="2226"/>
                  </a:lnTo>
                  <a:lnTo>
                    <a:pt x="3706" y="2226"/>
                  </a:lnTo>
                  <a:lnTo>
                    <a:pt x="3706" y="2226"/>
                  </a:lnTo>
                  <a:lnTo>
                    <a:pt x="3708" y="2226"/>
                  </a:lnTo>
                  <a:lnTo>
                    <a:pt x="3708" y="2228"/>
                  </a:lnTo>
                  <a:lnTo>
                    <a:pt x="3711" y="2228"/>
                  </a:lnTo>
                  <a:lnTo>
                    <a:pt x="3711" y="2228"/>
                  </a:lnTo>
                  <a:lnTo>
                    <a:pt x="3711" y="2228"/>
                  </a:lnTo>
                  <a:lnTo>
                    <a:pt x="3711" y="2228"/>
                  </a:lnTo>
                  <a:lnTo>
                    <a:pt x="3713" y="2228"/>
                  </a:lnTo>
                  <a:lnTo>
                    <a:pt x="3713" y="2230"/>
                  </a:lnTo>
                  <a:lnTo>
                    <a:pt x="3715" y="2230"/>
                  </a:lnTo>
                  <a:lnTo>
                    <a:pt x="3715" y="2230"/>
                  </a:lnTo>
                  <a:lnTo>
                    <a:pt x="3715" y="2230"/>
                  </a:lnTo>
                  <a:lnTo>
                    <a:pt x="3720" y="2230"/>
                  </a:lnTo>
                  <a:lnTo>
                    <a:pt x="3720" y="2230"/>
                  </a:lnTo>
                  <a:lnTo>
                    <a:pt x="3718" y="2230"/>
                  </a:lnTo>
                  <a:lnTo>
                    <a:pt x="3718" y="2230"/>
                  </a:lnTo>
                  <a:lnTo>
                    <a:pt x="3715" y="2230"/>
                  </a:lnTo>
                  <a:lnTo>
                    <a:pt x="3718" y="2228"/>
                  </a:lnTo>
                  <a:lnTo>
                    <a:pt x="3718" y="2228"/>
                  </a:lnTo>
                  <a:lnTo>
                    <a:pt x="3715" y="2228"/>
                  </a:lnTo>
                  <a:lnTo>
                    <a:pt x="3715" y="2226"/>
                  </a:lnTo>
                  <a:lnTo>
                    <a:pt x="3715" y="2226"/>
                  </a:lnTo>
                  <a:lnTo>
                    <a:pt x="3715" y="2226"/>
                  </a:lnTo>
                  <a:lnTo>
                    <a:pt x="3713" y="2223"/>
                  </a:lnTo>
                  <a:lnTo>
                    <a:pt x="3715" y="2223"/>
                  </a:lnTo>
                  <a:lnTo>
                    <a:pt x="3715" y="2223"/>
                  </a:lnTo>
                  <a:lnTo>
                    <a:pt x="3718" y="2226"/>
                  </a:lnTo>
                  <a:lnTo>
                    <a:pt x="3715" y="2226"/>
                  </a:lnTo>
                  <a:lnTo>
                    <a:pt x="3718" y="2226"/>
                  </a:lnTo>
                  <a:lnTo>
                    <a:pt x="3718" y="2226"/>
                  </a:lnTo>
                  <a:lnTo>
                    <a:pt x="3718" y="2226"/>
                  </a:lnTo>
                  <a:lnTo>
                    <a:pt x="3718" y="2228"/>
                  </a:lnTo>
                  <a:lnTo>
                    <a:pt x="3718" y="2228"/>
                  </a:lnTo>
                  <a:lnTo>
                    <a:pt x="3718" y="2228"/>
                  </a:lnTo>
                  <a:lnTo>
                    <a:pt x="3718" y="2228"/>
                  </a:lnTo>
                  <a:lnTo>
                    <a:pt x="3720" y="2228"/>
                  </a:lnTo>
                  <a:lnTo>
                    <a:pt x="3720" y="2230"/>
                  </a:lnTo>
                  <a:lnTo>
                    <a:pt x="3720" y="2230"/>
                  </a:lnTo>
                  <a:lnTo>
                    <a:pt x="3720" y="2230"/>
                  </a:lnTo>
                  <a:lnTo>
                    <a:pt x="3720" y="2230"/>
                  </a:lnTo>
                  <a:lnTo>
                    <a:pt x="3720" y="2230"/>
                  </a:lnTo>
                  <a:lnTo>
                    <a:pt x="3720" y="2233"/>
                  </a:lnTo>
                  <a:lnTo>
                    <a:pt x="3722" y="2233"/>
                  </a:lnTo>
                  <a:lnTo>
                    <a:pt x="3722" y="2233"/>
                  </a:lnTo>
                  <a:lnTo>
                    <a:pt x="3722" y="2235"/>
                  </a:lnTo>
                  <a:lnTo>
                    <a:pt x="3725" y="2235"/>
                  </a:lnTo>
                  <a:lnTo>
                    <a:pt x="3725" y="2233"/>
                  </a:lnTo>
                  <a:lnTo>
                    <a:pt x="3725" y="2233"/>
                  </a:lnTo>
                  <a:lnTo>
                    <a:pt x="3725" y="2233"/>
                  </a:lnTo>
                  <a:lnTo>
                    <a:pt x="3722" y="2230"/>
                  </a:lnTo>
                  <a:lnTo>
                    <a:pt x="3722" y="2230"/>
                  </a:lnTo>
                  <a:lnTo>
                    <a:pt x="3720" y="2226"/>
                  </a:lnTo>
                  <a:lnTo>
                    <a:pt x="3720" y="2226"/>
                  </a:lnTo>
                  <a:lnTo>
                    <a:pt x="3718" y="2223"/>
                  </a:lnTo>
                  <a:lnTo>
                    <a:pt x="3718" y="2221"/>
                  </a:lnTo>
                  <a:lnTo>
                    <a:pt x="3715" y="2221"/>
                  </a:lnTo>
                  <a:lnTo>
                    <a:pt x="3715" y="2218"/>
                  </a:lnTo>
                  <a:lnTo>
                    <a:pt x="3715" y="2218"/>
                  </a:lnTo>
                  <a:lnTo>
                    <a:pt x="3715" y="2218"/>
                  </a:lnTo>
                  <a:lnTo>
                    <a:pt x="3715" y="2218"/>
                  </a:lnTo>
                  <a:lnTo>
                    <a:pt x="3715" y="2218"/>
                  </a:lnTo>
                  <a:lnTo>
                    <a:pt x="3715" y="2218"/>
                  </a:lnTo>
                  <a:lnTo>
                    <a:pt x="3715" y="2221"/>
                  </a:lnTo>
                  <a:lnTo>
                    <a:pt x="3715" y="2221"/>
                  </a:lnTo>
                  <a:lnTo>
                    <a:pt x="3715" y="2221"/>
                  </a:lnTo>
                  <a:lnTo>
                    <a:pt x="3715" y="2221"/>
                  </a:lnTo>
                  <a:lnTo>
                    <a:pt x="3715" y="2221"/>
                  </a:lnTo>
                  <a:lnTo>
                    <a:pt x="3713" y="2218"/>
                  </a:lnTo>
                  <a:lnTo>
                    <a:pt x="3713" y="2218"/>
                  </a:lnTo>
                  <a:lnTo>
                    <a:pt x="3713" y="2218"/>
                  </a:lnTo>
                  <a:lnTo>
                    <a:pt x="3713" y="2218"/>
                  </a:lnTo>
                  <a:lnTo>
                    <a:pt x="3711" y="2216"/>
                  </a:lnTo>
                  <a:lnTo>
                    <a:pt x="3711" y="2216"/>
                  </a:lnTo>
                  <a:lnTo>
                    <a:pt x="3711" y="2216"/>
                  </a:lnTo>
                  <a:lnTo>
                    <a:pt x="3711" y="2214"/>
                  </a:lnTo>
                  <a:lnTo>
                    <a:pt x="3711" y="2214"/>
                  </a:lnTo>
                  <a:lnTo>
                    <a:pt x="3711" y="2214"/>
                  </a:lnTo>
                  <a:lnTo>
                    <a:pt x="3711" y="2214"/>
                  </a:lnTo>
                  <a:lnTo>
                    <a:pt x="3711" y="2211"/>
                  </a:lnTo>
                  <a:lnTo>
                    <a:pt x="3708" y="2211"/>
                  </a:lnTo>
                  <a:lnTo>
                    <a:pt x="3708" y="2211"/>
                  </a:lnTo>
                  <a:lnTo>
                    <a:pt x="3708" y="2211"/>
                  </a:lnTo>
                  <a:lnTo>
                    <a:pt x="3711" y="2211"/>
                  </a:lnTo>
                  <a:lnTo>
                    <a:pt x="3711" y="2214"/>
                  </a:lnTo>
                  <a:lnTo>
                    <a:pt x="3713" y="2214"/>
                  </a:lnTo>
                  <a:lnTo>
                    <a:pt x="3713" y="2214"/>
                  </a:lnTo>
                  <a:lnTo>
                    <a:pt x="3713" y="2214"/>
                  </a:lnTo>
                  <a:lnTo>
                    <a:pt x="3713" y="2214"/>
                  </a:lnTo>
                  <a:lnTo>
                    <a:pt x="3715" y="2214"/>
                  </a:lnTo>
                  <a:lnTo>
                    <a:pt x="3715" y="2214"/>
                  </a:lnTo>
                  <a:lnTo>
                    <a:pt x="3715" y="2214"/>
                  </a:lnTo>
                  <a:lnTo>
                    <a:pt x="3715" y="2214"/>
                  </a:lnTo>
                  <a:lnTo>
                    <a:pt x="3715" y="2214"/>
                  </a:lnTo>
                  <a:lnTo>
                    <a:pt x="3715" y="2211"/>
                  </a:lnTo>
                  <a:lnTo>
                    <a:pt x="3715" y="2211"/>
                  </a:lnTo>
                  <a:lnTo>
                    <a:pt x="3715" y="2211"/>
                  </a:lnTo>
                  <a:lnTo>
                    <a:pt x="3713" y="2211"/>
                  </a:lnTo>
                  <a:lnTo>
                    <a:pt x="3713" y="2211"/>
                  </a:lnTo>
                  <a:lnTo>
                    <a:pt x="3713" y="2211"/>
                  </a:lnTo>
                  <a:lnTo>
                    <a:pt x="3713" y="2211"/>
                  </a:lnTo>
                  <a:lnTo>
                    <a:pt x="3713" y="2211"/>
                  </a:lnTo>
                  <a:lnTo>
                    <a:pt x="3713" y="2211"/>
                  </a:lnTo>
                  <a:lnTo>
                    <a:pt x="3713" y="2211"/>
                  </a:lnTo>
                  <a:lnTo>
                    <a:pt x="3713" y="2211"/>
                  </a:lnTo>
                  <a:lnTo>
                    <a:pt x="3711" y="2209"/>
                  </a:lnTo>
                  <a:lnTo>
                    <a:pt x="3711" y="2204"/>
                  </a:lnTo>
                  <a:lnTo>
                    <a:pt x="3711" y="2204"/>
                  </a:lnTo>
                  <a:lnTo>
                    <a:pt x="3711" y="2204"/>
                  </a:lnTo>
                  <a:lnTo>
                    <a:pt x="3713" y="2204"/>
                  </a:lnTo>
                  <a:lnTo>
                    <a:pt x="3713" y="2204"/>
                  </a:lnTo>
                  <a:lnTo>
                    <a:pt x="3713" y="2204"/>
                  </a:lnTo>
                  <a:lnTo>
                    <a:pt x="3715" y="2209"/>
                  </a:lnTo>
                  <a:lnTo>
                    <a:pt x="3715" y="2209"/>
                  </a:lnTo>
                  <a:lnTo>
                    <a:pt x="3715" y="2209"/>
                  </a:lnTo>
                  <a:lnTo>
                    <a:pt x="3715" y="2209"/>
                  </a:lnTo>
                  <a:lnTo>
                    <a:pt x="3715" y="2209"/>
                  </a:lnTo>
                  <a:lnTo>
                    <a:pt x="3715" y="2209"/>
                  </a:lnTo>
                  <a:lnTo>
                    <a:pt x="3715" y="2211"/>
                  </a:lnTo>
                  <a:lnTo>
                    <a:pt x="3715" y="2211"/>
                  </a:lnTo>
                  <a:lnTo>
                    <a:pt x="3715" y="2211"/>
                  </a:lnTo>
                  <a:lnTo>
                    <a:pt x="3715" y="2211"/>
                  </a:lnTo>
                  <a:lnTo>
                    <a:pt x="3718" y="2214"/>
                  </a:lnTo>
                  <a:lnTo>
                    <a:pt x="3718" y="2216"/>
                  </a:lnTo>
                  <a:lnTo>
                    <a:pt x="3718" y="2216"/>
                  </a:lnTo>
                  <a:lnTo>
                    <a:pt x="3718" y="2216"/>
                  </a:lnTo>
                  <a:lnTo>
                    <a:pt x="3720" y="2218"/>
                  </a:lnTo>
                  <a:lnTo>
                    <a:pt x="3720" y="2218"/>
                  </a:lnTo>
                  <a:lnTo>
                    <a:pt x="3720" y="2221"/>
                  </a:lnTo>
                  <a:lnTo>
                    <a:pt x="3722" y="2223"/>
                  </a:lnTo>
                  <a:lnTo>
                    <a:pt x="3722" y="2223"/>
                  </a:lnTo>
                  <a:lnTo>
                    <a:pt x="3720" y="2223"/>
                  </a:lnTo>
                  <a:lnTo>
                    <a:pt x="3720" y="2223"/>
                  </a:lnTo>
                  <a:lnTo>
                    <a:pt x="3722" y="2223"/>
                  </a:lnTo>
                  <a:lnTo>
                    <a:pt x="3722" y="2223"/>
                  </a:lnTo>
                  <a:lnTo>
                    <a:pt x="3725" y="2226"/>
                  </a:lnTo>
                  <a:lnTo>
                    <a:pt x="3725" y="2228"/>
                  </a:lnTo>
                  <a:lnTo>
                    <a:pt x="3725" y="2228"/>
                  </a:lnTo>
                  <a:lnTo>
                    <a:pt x="3727" y="2230"/>
                  </a:lnTo>
                  <a:lnTo>
                    <a:pt x="3727" y="2233"/>
                  </a:lnTo>
                  <a:lnTo>
                    <a:pt x="3727" y="2233"/>
                  </a:lnTo>
                  <a:lnTo>
                    <a:pt x="3727" y="2233"/>
                  </a:lnTo>
                  <a:lnTo>
                    <a:pt x="3727" y="2233"/>
                  </a:lnTo>
                  <a:lnTo>
                    <a:pt x="3727" y="2235"/>
                  </a:lnTo>
                  <a:lnTo>
                    <a:pt x="3729" y="2235"/>
                  </a:lnTo>
                  <a:lnTo>
                    <a:pt x="3729" y="2235"/>
                  </a:lnTo>
                  <a:lnTo>
                    <a:pt x="3729" y="2235"/>
                  </a:lnTo>
                  <a:lnTo>
                    <a:pt x="3729" y="2235"/>
                  </a:lnTo>
                  <a:lnTo>
                    <a:pt x="3729" y="2235"/>
                  </a:lnTo>
                  <a:lnTo>
                    <a:pt x="3729" y="2237"/>
                  </a:lnTo>
                  <a:lnTo>
                    <a:pt x="3729" y="2237"/>
                  </a:lnTo>
                  <a:lnTo>
                    <a:pt x="3727" y="2235"/>
                  </a:lnTo>
                  <a:lnTo>
                    <a:pt x="3729" y="2237"/>
                  </a:lnTo>
                  <a:lnTo>
                    <a:pt x="3729" y="2237"/>
                  </a:lnTo>
                  <a:lnTo>
                    <a:pt x="3729" y="2237"/>
                  </a:lnTo>
                  <a:lnTo>
                    <a:pt x="3729" y="2237"/>
                  </a:lnTo>
                  <a:lnTo>
                    <a:pt x="3729" y="2237"/>
                  </a:lnTo>
                  <a:lnTo>
                    <a:pt x="3734" y="2240"/>
                  </a:lnTo>
                  <a:lnTo>
                    <a:pt x="3734" y="2242"/>
                  </a:lnTo>
                  <a:lnTo>
                    <a:pt x="3734" y="2242"/>
                  </a:lnTo>
                  <a:lnTo>
                    <a:pt x="3737" y="2244"/>
                  </a:lnTo>
                  <a:lnTo>
                    <a:pt x="3737" y="2244"/>
                  </a:lnTo>
                  <a:lnTo>
                    <a:pt x="3737" y="2244"/>
                  </a:lnTo>
                  <a:lnTo>
                    <a:pt x="3737" y="2244"/>
                  </a:lnTo>
                  <a:lnTo>
                    <a:pt x="3737" y="2244"/>
                  </a:lnTo>
                  <a:lnTo>
                    <a:pt x="3737" y="2244"/>
                  </a:lnTo>
                  <a:lnTo>
                    <a:pt x="3739" y="2244"/>
                  </a:lnTo>
                  <a:lnTo>
                    <a:pt x="3739" y="2244"/>
                  </a:lnTo>
                  <a:lnTo>
                    <a:pt x="3737" y="2242"/>
                  </a:lnTo>
                  <a:lnTo>
                    <a:pt x="3737" y="2240"/>
                  </a:lnTo>
                  <a:lnTo>
                    <a:pt x="3727" y="2230"/>
                  </a:lnTo>
                  <a:lnTo>
                    <a:pt x="3725" y="2226"/>
                  </a:lnTo>
                  <a:lnTo>
                    <a:pt x="3722" y="2223"/>
                  </a:lnTo>
                  <a:lnTo>
                    <a:pt x="3722" y="2223"/>
                  </a:lnTo>
                  <a:lnTo>
                    <a:pt x="3722" y="2221"/>
                  </a:lnTo>
                  <a:lnTo>
                    <a:pt x="3722" y="2221"/>
                  </a:lnTo>
                  <a:lnTo>
                    <a:pt x="3720" y="2218"/>
                  </a:lnTo>
                  <a:lnTo>
                    <a:pt x="3718" y="2211"/>
                  </a:lnTo>
                  <a:lnTo>
                    <a:pt x="3718" y="2211"/>
                  </a:lnTo>
                  <a:lnTo>
                    <a:pt x="3715" y="2209"/>
                  </a:lnTo>
                  <a:lnTo>
                    <a:pt x="3711" y="2200"/>
                  </a:lnTo>
                  <a:lnTo>
                    <a:pt x="3708" y="2195"/>
                  </a:lnTo>
                  <a:lnTo>
                    <a:pt x="3706" y="2192"/>
                  </a:lnTo>
                  <a:lnTo>
                    <a:pt x="3706" y="2195"/>
                  </a:lnTo>
                  <a:lnTo>
                    <a:pt x="3706" y="2195"/>
                  </a:lnTo>
                  <a:lnTo>
                    <a:pt x="3703" y="2195"/>
                  </a:lnTo>
                  <a:lnTo>
                    <a:pt x="3701" y="2195"/>
                  </a:lnTo>
                  <a:lnTo>
                    <a:pt x="3701" y="2195"/>
                  </a:lnTo>
                  <a:lnTo>
                    <a:pt x="3696" y="2195"/>
                  </a:lnTo>
                  <a:lnTo>
                    <a:pt x="3694" y="2195"/>
                  </a:lnTo>
                  <a:lnTo>
                    <a:pt x="3694" y="2195"/>
                  </a:lnTo>
                  <a:lnTo>
                    <a:pt x="3694" y="2197"/>
                  </a:lnTo>
                  <a:lnTo>
                    <a:pt x="3694" y="2197"/>
                  </a:lnTo>
                  <a:lnTo>
                    <a:pt x="3694" y="2197"/>
                  </a:lnTo>
                  <a:lnTo>
                    <a:pt x="3694" y="2197"/>
                  </a:lnTo>
                  <a:lnTo>
                    <a:pt x="3694" y="2200"/>
                  </a:lnTo>
                  <a:lnTo>
                    <a:pt x="3696" y="2200"/>
                  </a:lnTo>
                  <a:lnTo>
                    <a:pt x="3696" y="2200"/>
                  </a:lnTo>
                  <a:lnTo>
                    <a:pt x="3696" y="2200"/>
                  </a:lnTo>
                  <a:lnTo>
                    <a:pt x="3694" y="2200"/>
                  </a:lnTo>
                  <a:lnTo>
                    <a:pt x="3694" y="2200"/>
                  </a:lnTo>
                  <a:lnTo>
                    <a:pt x="3694" y="2200"/>
                  </a:lnTo>
                  <a:lnTo>
                    <a:pt x="3694" y="2200"/>
                  </a:lnTo>
                  <a:lnTo>
                    <a:pt x="3692" y="2197"/>
                  </a:lnTo>
                  <a:lnTo>
                    <a:pt x="3692" y="2200"/>
                  </a:lnTo>
                  <a:lnTo>
                    <a:pt x="3689" y="2200"/>
                  </a:lnTo>
                  <a:lnTo>
                    <a:pt x="3689" y="2200"/>
                  </a:lnTo>
                  <a:lnTo>
                    <a:pt x="3689" y="2200"/>
                  </a:lnTo>
                  <a:lnTo>
                    <a:pt x="3687" y="2202"/>
                  </a:lnTo>
                  <a:lnTo>
                    <a:pt x="3687" y="2202"/>
                  </a:lnTo>
                  <a:lnTo>
                    <a:pt x="3687" y="2202"/>
                  </a:lnTo>
                  <a:lnTo>
                    <a:pt x="3687" y="2200"/>
                  </a:lnTo>
                  <a:lnTo>
                    <a:pt x="3687" y="2200"/>
                  </a:lnTo>
                  <a:lnTo>
                    <a:pt x="3689" y="2200"/>
                  </a:lnTo>
                  <a:lnTo>
                    <a:pt x="3687" y="2197"/>
                  </a:lnTo>
                  <a:lnTo>
                    <a:pt x="3687" y="2197"/>
                  </a:lnTo>
                  <a:lnTo>
                    <a:pt x="3687" y="2197"/>
                  </a:lnTo>
                  <a:lnTo>
                    <a:pt x="3687" y="2197"/>
                  </a:lnTo>
                  <a:lnTo>
                    <a:pt x="3687" y="2197"/>
                  </a:lnTo>
                  <a:lnTo>
                    <a:pt x="3685" y="2195"/>
                  </a:lnTo>
                  <a:lnTo>
                    <a:pt x="3685" y="2195"/>
                  </a:lnTo>
                  <a:lnTo>
                    <a:pt x="3685" y="2195"/>
                  </a:lnTo>
                  <a:lnTo>
                    <a:pt x="3685" y="2195"/>
                  </a:lnTo>
                  <a:lnTo>
                    <a:pt x="3682" y="2195"/>
                  </a:lnTo>
                  <a:lnTo>
                    <a:pt x="3682" y="2195"/>
                  </a:lnTo>
                  <a:lnTo>
                    <a:pt x="3682" y="2195"/>
                  </a:lnTo>
                  <a:lnTo>
                    <a:pt x="3682" y="2195"/>
                  </a:lnTo>
                  <a:lnTo>
                    <a:pt x="3682" y="2195"/>
                  </a:lnTo>
                  <a:lnTo>
                    <a:pt x="3682" y="2195"/>
                  </a:lnTo>
                  <a:lnTo>
                    <a:pt x="3680" y="2195"/>
                  </a:lnTo>
                  <a:lnTo>
                    <a:pt x="3680" y="2195"/>
                  </a:lnTo>
                  <a:lnTo>
                    <a:pt x="3680" y="2192"/>
                  </a:lnTo>
                  <a:lnTo>
                    <a:pt x="3680" y="2190"/>
                  </a:lnTo>
                  <a:lnTo>
                    <a:pt x="3677" y="2188"/>
                  </a:lnTo>
                  <a:lnTo>
                    <a:pt x="3677" y="2188"/>
                  </a:lnTo>
                  <a:lnTo>
                    <a:pt x="3677" y="2188"/>
                  </a:lnTo>
                  <a:lnTo>
                    <a:pt x="3675" y="2188"/>
                  </a:lnTo>
                  <a:lnTo>
                    <a:pt x="3675" y="2188"/>
                  </a:lnTo>
                  <a:lnTo>
                    <a:pt x="3675" y="2188"/>
                  </a:lnTo>
                  <a:lnTo>
                    <a:pt x="3673" y="2188"/>
                  </a:lnTo>
                  <a:lnTo>
                    <a:pt x="3673" y="2188"/>
                  </a:lnTo>
                  <a:lnTo>
                    <a:pt x="3668" y="2188"/>
                  </a:lnTo>
                  <a:lnTo>
                    <a:pt x="3668" y="2188"/>
                  </a:lnTo>
                  <a:lnTo>
                    <a:pt x="3666" y="2188"/>
                  </a:lnTo>
                  <a:lnTo>
                    <a:pt x="3666" y="2188"/>
                  </a:lnTo>
                  <a:lnTo>
                    <a:pt x="3666" y="2185"/>
                  </a:lnTo>
                  <a:lnTo>
                    <a:pt x="3663" y="2185"/>
                  </a:lnTo>
                  <a:lnTo>
                    <a:pt x="3663" y="2185"/>
                  </a:lnTo>
                  <a:lnTo>
                    <a:pt x="3663" y="2183"/>
                  </a:lnTo>
                  <a:lnTo>
                    <a:pt x="3663" y="2185"/>
                  </a:lnTo>
                  <a:lnTo>
                    <a:pt x="3661" y="2185"/>
                  </a:lnTo>
                  <a:lnTo>
                    <a:pt x="3661" y="2185"/>
                  </a:lnTo>
                  <a:lnTo>
                    <a:pt x="3661" y="2185"/>
                  </a:lnTo>
                  <a:lnTo>
                    <a:pt x="3661" y="2185"/>
                  </a:lnTo>
                  <a:lnTo>
                    <a:pt x="3661" y="2185"/>
                  </a:lnTo>
                  <a:lnTo>
                    <a:pt x="3656" y="2185"/>
                  </a:lnTo>
                  <a:lnTo>
                    <a:pt x="3654" y="2185"/>
                  </a:lnTo>
                  <a:lnTo>
                    <a:pt x="3654" y="2185"/>
                  </a:lnTo>
                  <a:lnTo>
                    <a:pt x="3654" y="2185"/>
                  </a:lnTo>
                  <a:lnTo>
                    <a:pt x="3651" y="2185"/>
                  </a:lnTo>
                  <a:lnTo>
                    <a:pt x="3651" y="2185"/>
                  </a:lnTo>
                  <a:lnTo>
                    <a:pt x="3651" y="2185"/>
                  </a:lnTo>
                  <a:lnTo>
                    <a:pt x="3654" y="2183"/>
                  </a:lnTo>
                  <a:lnTo>
                    <a:pt x="3654" y="2183"/>
                  </a:lnTo>
                  <a:lnTo>
                    <a:pt x="3654" y="2185"/>
                  </a:lnTo>
                  <a:lnTo>
                    <a:pt x="3656" y="2183"/>
                  </a:lnTo>
                  <a:lnTo>
                    <a:pt x="3656" y="2183"/>
                  </a:lnTo>
                  <a:lnTo>
                    <a:pt x="3656" y="2183"/>
                  </a:lnTo>
                  <a:lnTo>
                    <a:pt x="3656" y="2185"/>
                  </a:lnTo>
                  <a:lnTo>
                    <a:pt x="3658" y="2183"/>
                  </a:lnTo>
                  <a:lnTo>
                    <a:pt x="3658" y="2183"/>
                  </a:lnTo>
                  <a:lnTo>
                    <a:pt x="3658" y="2183"/>
                  </a:lnTo>
                  <a:lnTo>
                    <a:pt x="3658" y="2183"/>
                  </a:lnTo>
                  <a:lnTo>
                    <a:pt x="3658" y="2183"/>
                  </a:lnTo>
                  <a:lnTo>
                    <a:pt x="3661" y="2183"/>
                  </a:lnTo>
                  <a:lnTo>
                    <a:pt x="3661" y="2183"/>
                  </a:lnTo>
                  <a:lnTo>
                    <a:pt x="3661" y="2185"/>
                  </a:lnTo>
                  <a:lnTo>
                    <a:pt x="3661" y="2185"/>
                  </a:lnTo>
                  <a:lnTo>
                    <a:pt x="3661" y="2185"/>
                  </a:lnTo>
                  <a:lnTo>
                    <a:pt x="3661" y="2185"/>
                  </a:lnTo>
                  <a:lnTo>
                    <a:pt x="3663" y="2183"/>
                  </a:lnTo>
                  <a:lnTo>
                    <a:pt x="3663" y="2183"/>
                  </a:lnTo>
                  <a:lnTo>
                    <a:pt x="3663" y="2183"/>
                  </a:lnTo>
                  <a:lnTo>
                    <a:pt x="3663" y="2183"/>
                  </a:lnTo>
                  <a:lnTo>
                    <a:pt x="3666" y="2185"/>
                  </a:lnTo>
                  <a:lnTo>
                    <a:pt x="3666" y="2185"/>
                  </a:lnTo>
                  <a:lnTo>
                    <a:pt x="3666" y="2185"/>
                  </a:lnTo>
                  <a:lnTo>
                    <a:pt x="3668" y="2185"/>
                  </a:lnTo>
                  <a:lnTo>
                    <a:pt x="3668" y="2185"/>
                  </a:lnTo>
                  <a:lnTo>
                    <a:pt x="3668" y="2185"/>
                  </a:lnTo>
                  <a:lnTo>
                    <a:pt x="3668" y="2183"/>
                  </a:lnTo>
                  <a:lnTo>
                    <a:pt x="3668" y="2183"/>
                  </a:lnTo>
                  <a:lnTo>
                    <a:pt x="3668" y="2183"/>
                  </a:lnTo>
                  <a:lnTo>
                    <a:pt x="3668" y="2181"/>
                  </a:lnTo>
                  <a:lnTo>
                    <a:pt x="3668" y="2183"/>
                  </a:lnTo>
                  <a:lnTo>
                    <a:pt x="3668" y="2183"/>
                  </a:lnTo>
                  <a:lnTo>
                    <a:pt x="3670" y="2185"/>
                  </a:lnTo>
                  <a:lnTo>
                    <a:pt x="3670" y="2185"/>
                  </a:lnTo>
                  <a:lnTo>
                    <a:pt x="3670" y="2185"/>
                  </a:lnTo>
                  <a:lnTo>
                    <a:pt x="3673" y="2185"/>
                  </a:lnTo>
                  <a:lnTo>
                    <a:pt x="3673" y="2185"/>
                  </a:lnTo>
                  <a:lnTo>
                    <a:pt x="3673" y="2185"/>
                  </a:lnTo>
                  <a:lnTo>
                    <a:pt x="3673" y="2185"/>
                  </a:lnTo>
                  <a:lnTo>
                    <a:pt x="3673" y="2185"/>
                  </a:lnTo>
                  <a:lnTo>
                    <a:pt x="3675" y="2185"/>
                  </a:lnTo>
                  <a:lnTo>
                    <a:pt x="3675" y="2188"/>
                  </a:lnTo>
                  <a:lnTo>
                    <a:pt x="3675" y="2185"/>
                  </a:lnTo>
                  <a:lnTo>
                    <a:pt x="3675" y="2185"/>
                  </a:lnTo>
                  <a:lnTo>
                    <a:pt x="3675" y="2185"/>
                  </a:lnTo>
                  <a:lnTo>
                    <a:pt x="3675" y="2185"/>
                  </a:lnTo>
                  <a:lnTo>
                    <a:pt x="3677" y="2185"/>
                  </a:lnTo>
                  <a:lnTo>
                    <a:pt x="3677" y="2183"/>
                  </a:lnTo>
                  <a:lnTo>
                    <a:pt x="3677" y="2185"/>
                  </a:lnTo>
                  <a:lnTo>
                    <a:pt x="3680" y="2185"/>
                  </a:lnTo>
                  <a:lnTo>
                    <a:pt x="3680" y="2188"/>
                  </a:lnTo>
                  <a:lnTo>
                    <a:pt x="3680" y="2188"/>
                  </a:lnTo>
                  <a:lnTo>
                    <a:pt x="3680" y="2190"/>
                  </a:lnTo>
                  <a:lnTo>
                    <a:pt x="3680" y="2190"/>
                  </a:lnTo>
                  <a:lnTo>
                    <a:pt x="3682" y="2190"/>
                  </a:lnTo>
                  <a:lnTo>
                    <a:pt x="3685" y="2190"/>
                  </a:lnTo>
                  <a:lnTo>
                    <a:pt x="3685" y="2192"/>
                  </a:lnTo>
                  <a:lnTo>
                    <a:pt x="3687" y="2192"/>
                  </a:lnTo>
                  <a:lnTo>
                    <a:pt x="3689" y="2192"/>
                  </a:lnTo>
                  <a:lnTo>
                    <a:pt x="3689" y="2195"/>
                  </a:lnTo>
                  <a:lnTo>
                    <a:pt x="3689" y="2195"/>
                  </a:lnTo>
                  <a:lnTo>
                    <a:pt x="3692" y="2195"/>
                  </a:lnTo>
                  <a:lnTo>
                    <a:pt x="3692" y="2192"/>
                  </a:lnTo>
                  <a:lnTo>
                    <a:pt x="3692" y="2192"/>
                  </a:lnTo>
                  <a:lnTo>
                    <a:pt x="3692" y="2192"/>
                  </a:lnTo>
                  <a:lnTo>
                    <a:pt x="3694" y="2192"/>
                  </a:lnTo>
                  <a:lnTo>
                    <a:pt x="3694" y="2192"/>
                  </a:lnTo>
                  <a:lnTo>
                    <a:pt x="3694" y="2190"/>
                  </a:lnTo>
                  <a:lnTo>
                    <a:pt x="3694" y="2190"/>
                  </a:lnTo>
                  <a:lnTo>
                    <a:pt x="3694" y="2190"/>
                  </a:lnTo>
                  <a:lnTo>
                    <a:pt x="3694" y="2188"/>
                  </a:lnTo>
                  <a:lnTo>
                    <a:pt x="3694" y="2188"/>
                  </a:lnTo>
                  <a:lnTo>
                    <a:pt x="3692" y="2188"/>
                  </a:lnTo>
                  <a:lnTo>
                    <a:pt x="3692" y="2188"/>
                  </a:lnTo>
                  <a:lnTo>
                    <a:pt x="3692" y="2188"/>
                  </a:lnTo>
                  <a:lnTo>
                    <a:pt x="3692" y="2185"/>
                  </a:lnTo>
                  <a:lnTo>
                    <a:pt x="3694" y="2185"/>
                  </a:lnTo>
                  <a:lnTo>
                    <a:pt x="3692" y="2185"/>
                  </a:lnTo>
                  <a:lnTo>
                    <a:pt x="3692" y="2185"/>
                  </a:lnTo>
                  <a:lnTo>
                    <a:pt x="3692" y="2185"/>
                  </a:lnTo>
                  <a:lnTo>
                    <a:pt x="3689" y="2185"/>
                  </a:lnTo>
                  <a:lnTo>
                    <a:pt x="3689" y="2185"/>
                  </a:lnTo>
                  <a:lnTo>
                    <a:pt x="3689" y="2185"/>
                  </a:lnTo>
                  <a:lnTo>
                    <a:pt x="3689" y="2185"/>
                  </a:lnTo>
                  <a:lnTo>
                    <a:pt x="3689" y="2183"/>
                  </a:lnTo>
                  <a:lnTo>
                    <a:pt x="3689" y="2183"/>
                  </a:lnTo>
                  <a:lnTo>
                    <a:pt x="3689" y="2183"/>
                  </a:lnTo>
                  <a:lnTo>
                    <a:pt x="3689" y="2183"/>
                  </a:lnTo>
                  <a:lnTo>
                    <a:pt x="3689" y="2183"/>
                  </a:lnTo>
                  <a:lnTo>
                    <a:pt x="3687" y="2183"/>
                  </a:lnTo>
                  <a:lnTo>
                    <a:pt x="3687" y="2183"/>
                  </a:lnTo>
                  <a:lnTo>
                    <a:pt x="3685" y="2183"/>
                  </a:lnTo>
                  <a:lnTo>
                    <a:pt x="3685" y="2183"/>
                  </a:lnTo>
                  <a:lnTo>
                    <a:pt x="3682" y="2183"/>
                  </a:lnTo>
                  <a:lnTo>
                    <a:pt x="3680" y="2181"/>
                  </a:lnTo>
                  <a:lnTo>
                    <a:pt x="3675" y="2178"/>
                  </a:lnTo>
                  <a:lnTo>
                    <a:pt x="3675" y="2176"/>
                  </a:lnTo>
                  <a:lnTo>
                    <a:pt x="3675" y="2176"/>
                  </a:lnTo>
                  <a:lnTo>
                    <a:pt x="3673" y="2176"/>
                  </a:lnTo>
                  <a:lnTo>
                    <a:pt x="3670" y="2174"/>
                  </a:lnTo>
                  <a:lnTo>
                    <a:pt x="3670" y="2174"/>
                  </a:lnTo>
                  <a:lnTo>
                    <a:pt x="3670" y="2171"/>
                  </a:lnTo>
                  <a:lnTo>
                    <a:pt x="3670" y="2171"/>
                  </a:lnTo>
                  <a:lnTo>
                    <a:pt x="3668" y="2171"/>
                  </a:lnTo>
                  <a:lnTo>
                    <a:pt x="3668" y="2171"/>
                  </a:lnTo>
                  <a:lnTo>
                    <a:pt x="3668" y="2171"/>
                  </a:lnTo>
                  <a:lnTo>
                    <a:pt x="3668" y="2171"/>
                  </a:lnTo>
                  <a:lnTo>
                    <a:pt x="3670" y="2171"/>
                  </a:lnTo>
                  <a:lnTo>
                    <a:pt x="3673" y="2171"/>
                  </a:lnTo>
                  <a:lnTo>
                    <a:pt x="3673" y="2174"/>
                  </a:lnTo>
                  <a:lnTo>
                    <a:pt x="3675" y="2176"/>
                  </a:lnTo>
                  <a:lnTo>
                    <a:pt x="3675" y="2176"/>
                  </a:lnTo>
                  <a:lnTo>
                    <a:pt x="3675" y="2176"/>
                  </a:lnTo>
                  <a:lnTo>
                    <a:pt x="3680" y="2178"/>
                  </a:lnTo>
                  <a:lnTo>
                    <a:pt x="3680" y="2178"/>
                  </a:lnTo>
                  <a:lnTo>
                    <a:pt x="3680" y="2178"/>
                  </a:lnTo>
                  <a:lnTo>
                    <a:pt x="3680" y="2181"/>
                  </a:lnTo>
                  <a:lnTo>
                    <a:pt x="3682" y="2181"/>
                  </a:lnTo>
                  <a:lnTo>
                    <a:pt x="3682" y="2181"/>
                  </a:lnTo>
                  <a:lnTo>
                    <a:pt x="3685" y="2183"/>
                  </a:lnTo>
                  <a:lnTo>
                    <a:pt x="3685" y="2181"/>
                  </a:lnTo>
                  <a:lnTo>
                    <a:pt x="3689" y="2181"/>
                  </a:lnTo>
                  <a:lnTo>
                    <a:pt x="3689" y="2178"/>
                  </a:lnTo>
                  <a:lnTo>
                    <a:pt x="3687" y="2178"/>
                  </a:lnTo>
                  <a:lnTo>
                    <a:pt x="3687" y="2178"/>
                  </a:lnTo>
                  <a:lnTo>
                    <a:pt x="3687" y="2178"/>
                  </a:lnTo>
                  <a:lnTo>
                    <a:pt x="3687" y="2178"/>
                  </a:lnTo>
                  <a:lnTo>
                    <a:pt x="3685" y="2178"/>
                  </a:lnTo>
                  <a:lnTo>
                    <a:pt x="3685" y="2178"/>
                  </a:lnTo>
                  <a:lnTo>
                    <a:pt x="3687" y="2176"/>
                  </a:lnTo>
                  <a:lnTo>
                    <a:pt x="3687" y="2176"/>
                  </a:lnTo>
                  <a:lnTo>
                    <a:pt x="3687" y="2176"/>
                  </a:lnTo>
                  <a:lnTo>
                    <a:pt x="3687" y="2176"/>
                  </a:lnTo>
                  <a:lnTo>
                    <a:pt x="3687" y="2176"/>
                  </a:lnTo>
                  <a:lnTo>
                    <a:pt x="3685" y="2176"/>
                  </a:lnTo>
                  <a:lnTo>
                    <a:pt x="3685" y="2176"/>
                  </a:lnTo>
                  <a:lnTo>
                    <a:pt x="3685" y="2174"/>
                  </a:lnTo>
                  <a:lnTo>
                    <a:pt x="3685" y="2174"/>
                  </a:lnTo>
                  <a:lnTo>
                    <a:pt x="3685" y="2174"/>
                  </a:lnTo>
                  <a:lnTo>
                    <a:pt x="3685" y="2174"/>
                  </a:lnTo>
                  <a:lnTo>
                    <a:pt x="3687" y="2174"/>
                  </a:lnTo>
                  <a:lnTo>
                    <a:pt x="3687" y="2174"/>
                  </a:lnTo>
                  <a:lnTo>
                    <a:pt x="3685" y="2174"/>
                  </a:lnTo>
                  <a:lnTo>
                    <a:pt x="3685" y="2174"/>
                  </a:lnTo>
                  <a:lnTo>
                    <a:pt x="3685" y="2174"/>
                  </a:lnTo>
                  <a:lnTo>
                    <a:pt x="3685" y="2171"/>
                  </a:lnTo>
                  <a:lnTo>
                    <a:pt x="3687" y="2171"/>
                  </a:lnTo>
                  <a:lnTo>
                    <a:pt x="3687" y="2174"/>
                  </a:lnTo>
                  <a:lnTo>
                    <a:pt x="3689" y="2174"/>
                  </a:lnTo>
                  <a:lnTo>
                    <a:pt x="3689" y="2174"/>
                  </a:lnTo>
                  <a:lnTo>
                    <a:pt x="3689" y="2174"/>
                  </a:lnTo>
                  <a:lnTo>
                    <a:pt x="3689" y="2174"/>
                  </a:lnTo>
                  <a:lnTo>
                    <a:pt x="3692" y="2176"/>
                  </a:lnTo>
                  <a:lnTo>
                    <a:pt x="3692" y="2176"/>
                  </a:lnTo>
                  <a:lnTo>
                    <a:pt x="3692" y="2176"/>
                  </a:lnTo>
                  <a:lnTo>
                    <a:pt x="3692" y="2174"/>
                  </a:lnTo>
                  <a:lnTo>
                    <a:pt x="3692" y="2174"/>
                  </a:lnTo>
                  <a:lnTo>
                    <a:pt x="3692" y="2171"/>
                  </a:lnTo>
                  <a:lnTo>
                    <a:pt x="3692" y="2169"/>
                  </a:lnTo>
                  <a:lnTo>
                    <a:pt x="3692" y="2169"/>
                  </a:lnTo>
                  <a:lnTo>
                    <a:pt x="3692" y="2169"/>
                  </a:lnTo>
                  <a:lnTo>
                    <a:pt x="3689" y="2169"/>
                  </a:lnTo>
                  <a:lnTo>
                    <a:pt x="3689" y="2169"/>
                  </a:lnTo>
                  <a:lnTo>
                    <a:pt x="3689" y="2169"/>
                  </a:lnTo>
                  <a:lnTo>
                    <a:pt x="3689" y="2169"/>
                  </a:lnTo>
                  <a:lnTo>
                    <a:pt x="3689" y="2166"/>
                  </a:lnTo>
                  <a:lnTo>
                    <a:pt x="3689" y="2166"/>
                  </a:lnTo>
                  <a:lnTo>
                    <a:pt x="3689" y="2166"/>
                  </a:lnTo>
                  <a:lnTo>
                    <a:pt x="3689" y="2166"/>
                  </a:lnTo>
                  <a:lnTo>
                    <a:pt x="3689" y="2169"/>
                  </a:lnTo>
                  <a:lnTo>
                    <a:pt x="3687" y="2169"/>
                  </a:lnTo>
                  <a:lnTo>
                    <a:pt x="3687" y="2166"/>
                  </a:lnTo>
                  <a:lnTo>
                    <a:pt x="3685" y="2166"/>
                  </a:lnTo>
                  <a:lnTo>
                    <a:pt x="3685" y="2166"/>
                  </a:lnTo>
                  <a:lnTo>
                    <a:pt x="3685" y="2166"/>
                  </a:lnTo>
                  <a:lnTo>
                    <a:pt x="3685" y="2166"/>
                  </a:lnTo>
                  <a:lnTo>
                    <a:pt x="3687" y="2166"/>
                  </a:lnTo>
                  <a:lnTo>
                    <a:pt x="3689" y="2164"/>
                  </a:lnTo>
                  <a:lnTo>
                    <a:pt x="3689" y="2164"/>
                  </a:lnTo>
                  <a:lnTo>
                    <a:pt x="3687" y="2164"/>
                  </a:lnTo>
                  <a:lnTo>
                    <a:pt x="3685" y="2164"/>
                  </a:lnTo>
                  <a:lnTo>
                    <a:pt x="3685" y="2164"/>
                  </a:lnTo>
                  <a:lnTo>
                    <a:pt x="3682" y="2162"/>
                  </a:lnTo>
                  <a:lnTo>
                    <a:pt x="3682" y="2164"/>
                  </a:lnTo>
                  <a:lnTo>
                    <a:pt x="3682" y="2164"/>
                  </a:lnTo>
                  <a:lnTo>
                    <a:pt x="3680" y="2164"/>
                  </a:lnTo>
                  <a:lnTo>
                    <a:pt x="3677" y="2164"/>
                  </a:lnTo>
                  <a:lnTo>
                    <a:pt x="3677" y="2162"/>
                  </a:lnTo>
                  <a:lnTo>
                    <a:pt x="3675" y="2162"/>
                  </a:lnTo>
                  <a:lnTo>
                    <a:pt x="3675" y="2162"/>
                  </a:lnTo>
                  <a:lnTo>
                    <a:pt x="3675" y="2162"/>
                  </a:lnTo>
                  <a:lnTo>
                    <a:pt x="3675" y="2159"/>
                  </a:lnTo>
                  <a:lnTo>
                    <a:pt x="3675" y="2159"/>
                  </a:lnTo>
                  <a:lnTo>
                    <a:pt x="3673" y="2159"/>
                  </a:lnTo>
                  <a:lnTo>
                    <a:pt x="3673" y="2159"/>
                  </a:lnTo>
                  <a:lnTo>
                    <a:pt x="3670" y="2159"/>
                  </a:lnTo>
                  <a:lnTo>
                    <a:pt x="3670" y="2157"/>
                  </a:lnTo>
                  <a:lnTo>
                    <a:pt x="3670" y="2157"/>
                  </a:lnTo>
                  <a:lnTo>
                    <a:pt x="3670" y="2157"/>
                  </a:lnTo>
                  <a:lnTo>
                    <a:pt x="3670" y="2157"/>
                  </a:lnTo>
                  <a:lnTo>
                    <a:pt x="3670" y="2157"/>
                  </a:lnTo>
                  <a:lnTo>
                    <a:pt x="3670" y="2157"/>
                  </a:lnTo>
                  <a:lnTo>
                    <a:pt x="3670" y="2157"/>
                  </a:lnTo>
                  <a:lnTo>
                    <a:pt x="3670" y="2157"/>
                  </a:lnTo>
                  <a:lnTo>
                    <a:pt x="3670" y="2157"/>
                  </a:lnTo>
                  <a:lnTo>
                    <a:pt x="3668" y="2157"/>
                  </a:lnTo>
                  <a:lnTo>
                    <a:pt x="3668" y="2157"/>
                  </a:lnTo>
                  <a:lnTo>
                    <a:pt x="3668" y="2155"/>
                  </a:lnTo>
                  <a:lnTo>
                    <a:pt x="3666" y="2155"/>
                  </a:lnTo>
                  <a:lnTo>
                    <a:pt x="3666" y="2155"/>
                  </a:lnTo>
                  <a:lnTo>
                    <a:pt x="3666" y="2152"/>
                  </a:lnTo>
                  <a:lnTo>
                    <a:pt x="3666" y="2152"/>
                  </a:lnTo>
                  <a:lnTo>
                    <a:pt x="3663" y="2152"/>
                  </a:lnTo>
                  <a:lnTo>
                    <a:pt x="3663" y="2152"/>
                  </a:lnTo>
                  <a:lnTo>
                    <a:pt x="3663" y="2152"/>
                  </a:lnTo>
                  <a:lnTo>
                    <a:pt x="3661" y="2150"/>
                  </a:lnTo>
                  <a:lnTo>
                    <a:pt x="3661" y="2150"/>
                  </a:lnTo>
                  <a:lnTo>
                    <a:pt x="3661" y="2150"/>
                  </a:lnTo>
                  <a:lnTo>
                    <a:pt x="3661" y="2150"/>
                  </a:lnTo>
                  <a:lnTo>
                    <a:pt x="3661" y="2150"/>
                  </a:lnTo>
                  <a:lnTo>
                    <a:pt x="3658" y="2150"/>
                  </a:lnTo>
                  <a:lnTo>
                    <a:pt x="3658" y="2148"/>
                  </a:lnTo>
                  <a:lnTo>
                    <a:pt x="3658" y="2145"/>
                  </a:lnTo>
                  <a:lnTo>
                    <a:pt x="3658" y="2145"/>
                  </a:lnTo>
                  <a:lnTo>
                    <a:pt x="3656" y="2145"/>
                  </a:lnTo>
                  <a:lnTo>
                    <a:pt x="3656" y="2145"/>
                  </a:lnTo>
                  <a:lnTo>
                    <a:pt x="3656" y="2145"/>
                  </a:lnTo>
                  <a:lnTo>
                    <a:pt x="3654" y="2145"/>
                  </a:lnTo>
                  <a:lnTo>
                    <a:pt x="3654" y="2143"/>
                  </a:lnTo>
                  <a:lnTo>
                    <a:pt x="3654" y="2143"/>
                  </a:lnTo>
                  <a:lnTo>
                    <a:pt x="3651" y="2143"/>
                  </a:lnTo>
                  <a:lnTo>
                    <a:pt x="3651" y="2143"/>
                  </a:lnTo>
                  <a:lnTo>
                    <a:pt x="3651" y="2143"/>
                  </a:lnTo>
                  <a:lnTo>
                    <a:pt x="3651" y="2143"/>
                  </a:lnTo>
                  <a:lnTo>
                    <a:pt x="3651" y="2143"/>
                  </a:lnTo>
                  <a:lnTo>
                    <a:pt x="3649" y="2143"/>
                  </a:lnTo>
                  <a:lnTo>
                    <a:pt x="3649" y="2143"/>
                  </a:lnTo>
                  <a:lnTo>
                    <a:pt x="3649" y="2143"/>
                  </a:lnTo>
                  <a:lnTo>
                    <a:pt x="3649" y="2140"/>
                  </a:lnTo>
                  <a:lnTo>
                    <a:pt x="3649" y="2140"/>
                  </a:lnTo>
                  <a:lnTo>
                    <a:pt x="3651" y="2140"/>
                  </a:lnTo>
                  <a:lnTo>
                    <a:pt x="3651" y="2140"/>
                  </a:lnTo>
                  <a:lnTo>
                    <a:pt x="3654" y="2143"/>
                  </a:lnTo>
                  <a:lnTo>
                    <a:pt x="3654" y="2143"/>
                  </a:lnTo>
                  <a:lnTo>
                    <a:pt x="3654" y="2143"/>
                  </a:lnTo>
                  <a:lnTo>
                    <a:pt x="3654" y="2143"/>
                  </a:lnTo>
                  <a:lnTo>
                    <a:pt x="3656" y="2143"/>
                  </a:lnTo>
                  <a:lnTo>
                    <a:pt x="3656" y="2143"/>
                  </a:lnTo>
                  <a:lnTo>
                    <a:pt x="3658" y="2143"/>
                  </a:lnTo>
                  <a:lnTo>
                    <a:pt x="3658" y="2145"/>
                  </a:lnTo>
                  <a:lnTo>
                    <a:pt x="3661" y="2148"/>
                  </a:lnTo>
                  <a:lnTo>
                    <a:pt x="3661" y="2148"/>
                  </a:lnTo>
                  <a:lnTo>
                    <a:pt x="3661" y="2148"/>
                  </a:lnTo>
                  <a:lnTo>
                    <a:pt x="3663" y="2150"/>
                  </a:lnTo>
                  <a:lnTo>
                    <a:pt x="3666" y="2152"/>
                  </a:lnTo>
                  <a:lnTo>
                    <a:pt x="3666" y="2152"/>
                  </a:lnTo>
                  <a:lnTo>
                    <a:pt x="3668" y="2155"/>
                  </a:lnTo>
                  <a:lnTo>
                    <a:pt x="3670" y="2155"/>
                  </a:lnTo>
                  <a:lnTo>
                    <a:pt x="3670" y="2155"/>
                  </a:lnTo>
                  <a:lnTo>
                    <a:pt x="3670" y="2155"/>
                  </a:lnTo>
                  <a:lnTo>
                    <a:pt x="3670" y="2155"/>
                  </a:lnTo>
                  <a:lnTo>
                    <a:pt x="3670" y="2155"/>
                  </a:lnTo>
                  <a:lnTo>
                    <a:pt x="3670" y="2155"/>
                  </a:lnTo>
                  <a:lnTo>
                    <a:pt x="3673" y="2155"/>
                  </a:lnTo>
                  <a:lnTo>
                    <a:pt x="3673" y="2155"/>
                  </a:lnTo>
                  <a:lnTo>
                    <a:pt x="3673" y="2155"/>
                  </a:lnTo>
                  <a:lnTo>
                    <a:pt x="3673" y="2155"/>
                  </a:lnTo>
                  <a:lnTo>
                    <a:pt x="3673" y="2155"/>
                  </a:lnTo>
                  <a:lnTo>
                    <a:pt x="3673" y="2157"/>
                  </a:lnTo>
                  <a:lnTo>
                    <a:pt x="3675" y="2157"/>
                  </a:lnTo>
                  <a:lnTo>
                    <a:pt x="3675" y="2157"/>
                  </a:lnTo>
                  <a:lnTo>
                    <a:pt x="3675" y="2157"/>
                  </a:lnTo>
                  <a:lnTo>
                    <a:pt x="3677" y="2159"/>
                  </a:lnTo>
                  <a:lnTo>
                    <a:pt x="3677" y="2159"/>
                  </a:lnTo>
                  <a:lnTo>
                    <a:pt x="3677" y="2159"/>
                  </a:lnTo>
                  <a:lnTo>
                    <a:pt x="3677" y="2162"/>
                  </a:lnTo>
                  <a:lnTo>
                    <a:pt x="3680" y="2162"/>
                  </a:lnTo>
                  <a:lnTo>
                    <a:pt x="3680" y="2162"/>
                  </a:lnTo>
                  <a:lnTo>
                    <a:pt x="3680" y="2159"/>
                  </a:lnTo>
                  <a:lnTo>
                    <a:pt x="3680" y="2159"/>
                  </a:lnTo>
                  <a:lnTo>
                    <a:pt x="3680" y="2159"/>
                  </a:lnTo>
                  <a:lnTo>
                    <a:pt x="3680" y="2159"/>
                  </a:lnTo>
                  <a:lnTo>
                    <a:pt x="3682" y="2162"/>
                  </a:lnTo>
                  <a:lnTo>
                    <a:pt x="3682" y="2162"/>
                  </a:lnTo>
                  <a:lnTo>
                    <a:pt x="3682" y="2162"/>
                  </a:lnTo>
                  <a:lnTo>
                    <a:pt x="3682" y="2162"/>
                  </a:lnTo>
                  <a:lnTo>
                    <a:pt x="3682" y="2162"/>
                  </a:lnTo>
                  <a:lnTo>
                    <a:pt x="3682" y="2162"/>
                  </a:lnTo>
                  <a:lnTo>
                    <a:pt x="3682" y="2162"/>
                  </a:lnTo>
                  <a:lnTo>
                    <a:pt x="3685" y="2162"/>
                  </a:lnTo>
                  <a:lnTo>
                    <a:pt x="3687" y="2162"/>
                  </a:lnTo>
                  <a:lnTo>
                    <a:pt x="3687" y="2162"/>
                  </a:lnTo>
                  <a:lnTo>
                    <a:pt x="3687" y="2162"/>
                  </a:lnTo>
                  <a:lnTo>
                    <a:pt x="3687" y="2162"/>
                  </a:lnTo>
                  <a:lnTo>
                    <a:pt x="3685" y="2159"/>
                  </a:lnTo>
                  <a:lnTo>
                    <a:pt x="3685" y="2159"/>
                  </a:lnTo>
                  <a:lnTo>
                    <a:pt x="3685" y="2159"/>
                  </a:lnTo>
                  <a:lnTo>
                    <a:pt x="3687" y="2159"/>
                  </a:lnTo>
                  <a:lnTo>
                    <a:pt x="3687" y="2159"/>
                  </a:lnTo>
                  <a:lnTo>
                    <a:pt x="3685" y="2159"/>
                  </a:lnTo>
                  <a:lnTo>
                    <a:pt x="3687" y="2159"/>
                  </a:lnTo>
                  <a:lnTo>
                    <a:pt x="3687" y="2159"/>
                  </a:lnTo>
                  <a:lnTo>
                    <a:pt x="3687" y="2157"/>
                  </a:lnTo>
                  <a:lnTo>
                    <a:pt x="3687" y="2157"/>
                  </a:lnTo>
                  <a:lnTo>
                    <a:pt x="3687" y="2157"/>
                  </a:lnTo>
                  <a:lnTo>
                    <a:pt x="3685" y="2157"/>
                  </a:lnTo>
                  <a:lnTo>
                    <a:pt x="3685" y="2157"/>
                  </a:lnTo>
                  <a:lnTo>
                    <a:pt x="3685" y="2155"/>
                  </a:lnTo>
                  <a:lnTo>
                    <a:pt x="3685" y="2155"/>
                  </a:lnTo>
                  <a:lnTo>
                    <a:pt x="3687" y="2155"/>
                  </a:lnTo>
                  <a:lnTo>
                    <a:pt x="3687" y="2155"/>
                  </a:lnTo>
                  <a:lnTo>
                    <a:pt x="3687" y="2155"/>
                  </a:lnTo>
                  <a:lnTo>
                    <a:pt x="3687" y="2155"/>
                  </a:lnTo>
                  <a:lnTo>
                    <a:pt x="3687" y="2155"/>
                  </a:lnTo>
                  <a:lnTo>
                    <a:pt x="3685" y="2152"/>
                  </a:lnTo>
                  <a:lnTo>
                    <a:pt x="3685" y="2152"/>
                  </a:lnTo>
                  <a:lnTo>
                    <a:pt x="3685" y="2150"/>
                  </a:lnTo>
                  <a:lnTo>
                    <a:pt x="3685" y="2150"/>
                  </a:lnTo>
                  <a:lnTo>
                    <a:pt x="3685" y="2150"/>
                  </a:lnTo>
                  <a:lnTo>
                    <a:pt x="3687" y="2152"/>
                  </a:lnTo>
                  <a:lnTo>
                    <a:pt x="3687" y="2152"/>
                  </a:lnTo>
                  <a:lnTo>
                    <a:pt x="3687" y="2150"/>
                  </a:lnTo>
                  <a:lnTo>
                    <a:pt x="3687" y="2150"/>
                  </a:lnTo>
                  <a:lnTo>
                    <a:pt x="3687" y="2148"/>
                  </a:lnTo>
                  <a:lnTo>
                    <a:pt x="3687" y="2148"/>
                  </a:lnTo>
                  <a:lnTo>
                    <a:pt x="3687" y="2148"/>
                  </a:lnTo>
                  <a:lnTo>
                    <a:pt x="3685" y="2148"/>
                  </a:lnTo>
                  <a:lnTo>
                    <a:pt x="3680" y="2145"/>
                  </a:lnTo>
                  <a:lnTo>
                    <a:pt x="3680" y="2145"/>
                  </a:lnTo>
                  <a:lnTo>
                    <a:pt x="3677" y="2145"/>
                  </a:lnTo>
                  <a:lnTo>
                    <a:pt x="3677" y="2145"/>
                  </a:lnTo>
                  <a:lnTo>
                    <a:pt x="3677" y="2145"/>
                  </a:lnTo>
                  <a:lnTo>
                    <a:pt x="3677" y="2145"/>
                  </a:lnTo>
                  <a:lnTo>
                    <a:pt x="3677" y="2143"/>
                  </a:lnTo>
                  <a:lnTo>
                    <a:pt x="3677" y="2143"/>
                  </a:lnTo>
                  <a:lnTo>
                    <a:pt x="3675" y="2143"/>
                  </a:lnTo>
                  <a:lnTo>
                    <a:pt x="3675" y="2143"/>
                  </a:lnTo>
                  <a:lnTo>
                    <a:pt x="3675" y="2143"/>
                  </a:lnTo>
                  <a:lnTo>
                    <a:pt x="3675" y="2143"/>
                  </a:lnTo>
                  <a:lnTo>
                    <a:pt x="3673" y="2143"/>
                  </a:lnTo>
                  <a:lnTo>
                    <a:pt x="3673" y="2143"/>
                  </a:lnTo>
                  <a:lnTo>
                    <a:pt x="3675" y="2143"/>
                  </a:lnTo>
                  <a:lnTo>
                    <a:pt x="3673" y="2143"/>
                  </a:lnTo>
                  <a:lnTo>
                    <a:pt x="3673" y="2140"/>
                  </a:lnTo>
                  <a:lnTo>
                    <a:pt x="3673" y="2140"/>
                  </a:lnTo>
                  <a:lnTo>
                    <a:pt x="3670" y="2140"/>
                  </a:lnTo>
                  <a:lnTo>
                    <a:pt x="3670" y="2140"/>
                  </a:lnTo>
                  <a:lnTo>
                    <a:pt x="3670" y="2140"/>
                  </a:lnTo>
                  <a:lnTo>
                    <a:pt x="3670" y="2138"/>
                  </a:lnTo>
                  <a:lnTo>
                    <a:pt x="3670" y="2138"/>
                  </a:lnTo>
                  <a:lnTo>
                    <a:pt x="3670" y="2138"/>
                  </a:lnTo>
                  <a:lnTo>
                    <a:pt x="3668" y="2138"/>
                  </a:lnTo>
                  <a:lnTo>
                    <a:pt x="3668" y="2138"/>
                  </a:lnTo>
                  <a:lnTo>
                    <a:pt x="3668" y="2138"/>
                  </a:lnTo>
                  <a:lnTo>
                    <a:pt x="3668" y="2138"/>
                  </a:lnTo>
                  <a:lnTo>
                    <a:pt x="3668" y="2138"/>
                  </a:lnTo>
                  <a:lnTo>
                    <a:pt x="3666" y="2138"/>
                  </a:lnTo>
                  <a:lnTo>
                    <a:pt x="3666" y="2138"/>
                  </a:lnTo>
                  <a:lnTo>
                    <a:pt x="3666" y="2140"/>
                  </a:lnTo>
                  <a:lnTo>
                    <a:pt x="3666" y="2140"/>
                  </a:lnTo>
                  <a:lnTo>
                    <a:pt x="3663" y="2140"/>
                  </a:lnTo>
                  <a:lnTo>
                    <a:pt x="3663" y="2138"/>
                  </a:lnTo>
                  <a:lnTo>
                    <a:pt x="3663" y="2138"/>
                  </a:lnTo>
                  <a:lnTo>
                    <a:pt x="3661" y="2138"/>
                  </a:lnTo>
                  <a:lnTo>
                    <a:pt x="3661" y="2140"/>
                  </a:lnTo>
                  <a:lnTo>
                    <a:pt x="3658" y="2138"/>
                  </a:lnTo>
                  <a:lnTo>
                    <a:pt x="3656" y="2138"/>
                  </a:lnTo>
                  <a:lnTo>
                    <a:pt x="3656" y="2138"/>
                  </a:lnTo>
                  <a:lnTo>
                    <a:pt x="3656" y="2138"/>
                  </a:lnTo>
                  <a:lnTo>
                    <a:pt x="3656" y="2136"/>
                  </a:lnTo>
                  <a:lnTo>
                    <a:pt x="3656" y="2136"/>
                  </a:lnTo>
                  <a:lnTo>
                    <a:pt x="3654" y="2136"/>
                  </a:lnTo>
                  <a:lnTo>
                    <a:pt x="3654" y="2136"/>
                  </a:lnTo>
                  <a:lnTo>
                    <a:pt x="3654" y="2136"/>
                  </a:lnTo>
                  <a:lnTo>
                    <a:pt x="3654" y="2136"/>
                  </a:lnTo>
                  <a:lnTo>
                    <a:pt x="3651" y="2133"/>
                  </a:lnTo>
                  <a:lnTo>
                    <a:pt x="3651" y="2133"/>
                  </a:lnTo>
                  <a:lnTo>
                    <a:pt x="3651" y="2133"/>
                  </a:lnTo>
                  <a:lnTo>
                    <a:pt x="3651" y="2133"/>
                  </a:lnTo>
                  <a:lnTo>
                    <a:pt x="3651" y="2133"/>
                  </a:lnTo>
                  <a:lnTo>
                    <a:pt x="3651" y="2133"/>
                  </a:lnTo>
                  <a:lnTo>
                    <a:pt x="3651" y="2133"/>
                  </a:lnTo>
                  <a:lnTo>
                    <a:pt x="3651" y="2131"/>
                  </a:lnTo>
                  <a:lnTo>
                    <a:pt x="3651" y="2131"/>
                  </a:lnTo>
                  <a:lnTo>
                    <a:pt x="3651" y="2131"/>
                  </a:lnTo>
                  <a:lnTo>
                    <a:pt x="3651" y="2131"/>
                  </a:lnTo>
                  <a:lnTo>
                    <a:pt x="3649" y="2129"/>
                  </a:lnTo>
                  <a:lnTo>
                    <a:pt x="3649" y="2131"/>
                  </a:lnTo>
                  <a:lnTo>
                    <a:pt x="3649" y="2131"/>
                  </a:lnTo>
                  <a:lnTo>
                    <a:pt x="3647" y="2131"/>
                  </a:lnTo>
                  <a:lnTo>
                    <a:pt x="3647" y="2133"/>
                  </a:lnTo>
                  <a:lnTo>
                    <a:pt x="3644" y="2133"/>
                  </a:lnTo>
                  <a:lnTo>
                    <a:pt x="3642" y="2136"/>
                  </a:lnTo>
                  <a:lnTo>
                    <a:pt x="3640" y="2133"/>
                  </a:lnTo>
                  <a:lnTo>
                    <a:pt x="3640" y="2136"/>
                  </a:lnTo>
                  <a:lnTo>
                    <a:pt x="3640" y="2133"/>
                  </a:lnTo>
                  <a:lnTo>
                    <a:pt x="3640" y="2133"/>
                  </a:lnTo>
                  <a:lnTo>
                    <a:pt x="3640" y="2133"/>
                  </a:lnTo>
                  <a:lnTo>
                    <a:pt x="3640" y="2133"/>
                  </a:lnTo>
                  <a:lnTo>
                    <a:pt x="3640" y="2133"/>
                  </a:lnTo>
                  <a:lnTo>
                    <a:pt x="3640" y="2133"/>
                  </a:lnTo>
                  <a:lnTo>
                    <a:pt x="3640" y="2133"/>
                  </a:lnTo>
                  <a:lnTo>
                    <a:pt x="3637" y="2131"/>
                  </a:lnTo>
                  <a:lnTo>
                    <a:pt x="3637" y="2131"/>
                  </a:lnTo>
                  <a:lnTo>
                    <a:pt x="3637" y="2131"/>
                  </a:lnTo>
                  <a:lnTo>
                    <a:pt x="3637" y="2131"/>
                  </a:lnTo>
                  <a:lnTo>
                    <a:pt x="3640" y="2131"/>
                  </a:lnTo>
                  <a:lnTo>
                    <a:pt x="3637" y="2129"/>
                  </a:lnTo>
                  <a:lnTo>
                    <a:pt x="3640" y="2126"/>
                  </a:lnTo>
                  <a:lnTo>
                    <a:pt x="3640" y="2124"/>
                  </a:lnTo>
                  <a:lnTo>
                    <a:pt x="3640" y="2124"/>
                  </a:lnTo>
                  <a:lnTo>
                    <a:pt x="3640" y="2124"/>
                  </a:lnTo>
                  <a:lnTo>
                    <a:pt x="3640" y="2124"/>
                  </a:lnTo>
                  <a:lnTo>
                    <a:pt x="3640" y="2121"/>
                  </a:lnTo>
                  <a:lnTo>
                    <a:pt x="3640" y="2121"/>
                  </a:lnTo>
                  <a:lnTo>
                    <a:pt x="3640" y="2121"/>
                  </a:lnTo>
                  <a:lnTo>
                    <a:pt x="3640" y="2121"/>
                  </a:lnTo>
                  <a:lnTo>
                    <a:pt x="3640" y="2121"/>
                  </a:lnTo>
                  <a:lnTo>
                    <a:pt x="3640" y="2121"/>
                  </a:lnTo>
                  <a:lnTo>
                    <a:pt x="3640" y="2119"/>
                  </a:lnTo>
                  <a:lnTo>
                    <a:pt x="3640" y="2119"/>
                  </a:lnTo>
                  <a:lnTo>
                    <a:pt x="3640" y="2119"/>
                  </a:lnTo>
                  <a:lnTo>
                    <a:pt x="3640" y="2117"/>
                  </a:lnTo>
                  <a:lnTo>
                    <a:pt x="3642" y="2117"/>
                  </a:lnTo>
                  <a:lnTo>
                    <a:pt x="3642" y="2117"/>
                  </a:lnTo>
                  <a:lnTo>
                    <a:pt x="3642" y="2119"/>
                  </a:lnTo>
                  <a:lnTo>
                    <a:pt x="3642" y="2119"/>
                  </a:lnTo>
                  <a:lnTo>
                    <a:pt x="3642" y="2119"/>
                  </a:lnTo>
                  <a:lnTo>
                    <a:pt x="3642" y="2119"/>
                  </a:lnTo>
                  <a:lnTo>
                    <a:pt x="3642" y="2119"/>
                  </a:lnTo>
                  <a:lnTo>
                    <a:pt x="3644" y="2119"/>
                  </a:lnTo>
                  <a:lnTo>
                    <a:pt x="3644" y="2117"/>
                  </a:lnTo>
                  <a:lnTo>
                    <a:pt x="3642" y="2117"/>
                  </a:lnTo>
                  <a:lnTo>
                    <a:pt x="3642" y="2117"/>
                  </a:lnTo>
                  <a:lnTo>
                    <a:pt x="3642" y="2117"/>
                  </a:lnTo>
                  <a:lnTo>
                    <a:pt x="3642" y="2117"/>
                  </a:lnTo>
                  <a:lnTo>
                    <a:pt x="3642" y="2117"/>
                  </a:lnTo>
                  <a:lnTo>
                    <a:pt x="3642" y="2117"/>
                  </a:lnTo>
                  <a:lnTo>
                    <a:pt x="3644" y="2117"/>
                  </a:lnTo>
                  <a:lnTo>
                    <a:pt x="3644" y="2117"/>
                  </a:lnTo>
                  <a:lnTo>
                    <a:pt x="3644" y="2114"/>
                  </a:lnTo>
                  <a:lnTo>
                    <a:pt x="3644" y="2114"/>
                  </a:lnTo>
                  <a:lnTo>
                    <a:pt x="3644" y="2114"/>
                  </a:lnTo>
                  <a:lnTo>
                    <a:pt x="3644" y="2114"/>
                  </a:lnTo>
                  <a:lnTo>
                    <a:pt x="3647" y="2114"/>
                  </a:lnTo>
                  <a:lnTo>
                    <a:pt x="3647" y="2114"/>
                  </a:lnTo>
                  <a:lnTo>
                    <a:pt x="3647" y="2112"/>
                  </a:lnTo>
                  <a:lnTo>
                    <a:pt x="3647" y="2112"/>
                  </a:lnTo>
                  <a:lnTo>
                    <a:pt x="3647" y="2112"/>
                  </a:lnTo>
                  <a:lnTo>
                    <a:pt x="3647" y="2110"/>
                  </a:lnTo>
                  <a:lnTo>
                    <a:pt x="3644" y="2110"/>
                  </a:lnTo>
                  <a:lnTo>
                    <a:pt x="3647" y="2110"/>
                  </a:lnTo>
                  <a:lnTo>
                    <a:pt x="3647" y="2110"/>
                  </a:lnTo>
                  <a:lnTo>
                    <a:pt x="3647" y="2110"/>
                  </a:lnTo>
                  <a:lnTo>
                    <a:pt x="3647" y="2110"/>
                  </a:lnTo>
                  <a:lnTo>
                    <a:pt x="3647" y="2107"/>
                  </a:lnTo>
                  <a:lnTo>
                    <a:pt x="3644" y="2107"/>
                  </a:lnTo>
                  <a:lnTo>
                    <a:pt x="3644" y="2107"/>
                  </a:lnTo>
                  <a:lnTo>
                    <a:pt x="3647" y="2107"/>
                  </a:lnTo>
                  <a:lnTo>
                    <a:pt x="3647" y="2107"/>
                  </a:lnTo>
                  <a:lnTo>
                    <a:pt x="3647" y="2107"/>
                  </a:lnTo>
                  <a:lnTo>
                    <a:pt x="3644" y="2107"/>
                  </a:lnTo>
                  <a:lnTo>
                    <a:pt x="3644" y="2105"/>
                  </a:lnTo>
                  <a:lnTo>
                    <a:pt x="3644" y="2105"/>
                  </a:lnTo>
                  <a:lnTo>
                    <a:pt x="3644" y="2105"/>
                  </a:lnTo>
                  <a:lnTo>
                    <a:pt x="3644" y="2105"/>
                  </a:lnTo>
                  <a:lnTo>
                    <a:pt x="3644" y="2105"/>
                  </a:lnTo>
                  <a:lnTo>
                    <a:pt x="3644" y="2105"/>
                  </a:lnTo>
                  <a:lnTo>
                    <a:pt x="3644" y="2105"/>
                  </a:lnTo>
                  <a:lnTo>
                    <a:pt x="3644" y="2105"/>
                  </a:lnTo>
                  <a:lnTo>
                    <a:pt x="3647" y="2105"/>
                  </a:lnTo>
                  <a:lnTo>
                    <a:pt x="3647" y="2107"/>
                  </a:lnTo>
                  <a:lnTo>
                    <a:pt x="3647" y="2107"/>
                  </a:lnTo>
                  <a:lnTo>
                    <a:pt x="3647" y="2107"/>
                  </a:lnTo>
                  <a:lnTo>
                    <a:pt x="3647" y="2107"/>
                  </a:lnTo>
                  <a:lnTo>
                    <a:pt x="3647" y="2107"/>
                  </a:lnTo>
                  <a:lnTo>
                    <a:pt x="3647" y="2110"/>
                  </a:lnTo>
                  <a:lnTo>
                    <a:pt x="3647" y="2110"/>
                  </a:lnTo>
                  <a:lnTo>
                    <a:pt x="3647" y="2110"/>
                  </a:lnTo>
                  <a:lnTo>
                    <a:pt x="3647" y="2110"/>
                  </a:lnTo>
                  <a:lnTo>
                    <a:pt x="3647" y="2112"/>
                  </a:lnTo>
                  <a:lnTo>
                    <a:pt x="3647" y="2112"/>
                  </a:lnTo>
                  <a:lnTo>
                    <a:pt x="3647" y="2112"/>
                  </a:lnTo>
                  <a:lnTo>
                    <a:pt x="3647" y="2112"/>
                  </a:lnTo>
                  <a:lnTo>
                    <a:pt x="3647" y="2112"/>
                  </a:lnTo>
                  <a:lnTo>
                    <a:pt x="3647" y="2112"/>
                  </a:lnTo>
                  <a:lnTo>
                    <a:pt x="3647" y="2112"/>
                  </a:lnTo>
                  <a:lnTo>
                    <a:pt x="3647" y="2112"/>
                  </a:lnTo>
                  <a:lnTo>
                    <a:pt x="3647" y="2114"/>
                  </a:lnTo>
                  <a:lnTo>
                    <a:pt x="3647" y="2114"/>
                  </a:lnTo>
                  <a:lnTo>
                    <a:pt x="3647" y="2114"/>
                  </a:lnTo>
                  <a:lnTo>
                    <a:pt x="3647" y="2114"/>
                  </a:lnTo>
                  <a:lnTo>
                    <a:pt x="3647" y="2114"/>
                  </a:lnTo>
                  <a:lnTo>
                    <a:pt x="3649" y="2114"/>
                  </a:lnTo>
                  <a:lnTo>
                    <a:pt x="3647" y="2114"/>
                  </a:lnTo>
                  <a:lnTo>
                    <a:pt x="3647" y="2114"/>
                  </a:lnTo>
                  <a:lnTo>
                    <a:pt x="3647" y="2114"/>
                  </a:lnTo>
                  <a:lnTo>
                    <a:pt x="3647" y="2114"/>
                  </a:lnTo>
                  <a:lnTo>
                    <a:pt x="3644" y="2114"/>
                  </a:lnTo>
                  <a:lnTo>
                    <a:pt x="3644" y="2114"/>
                  </a:lnTo>
                  <a:lnTo>
                    <a:pt x="3644" y="2117"/>
                  </a:lnTo>
                  <a:lnTo>
                    <a:pt x="3644" y="2117"/>
                  </a:lnTo>
                  <a:lnTo>
                    <a:pt x="3644" y="2117"/>
                  </a:lnTo>
                  <a:lnTo>
                    <a:pt x="3644" y="2117"/>
                  </a:lnTo>
                  <a:lnTo>
                    <a:pt x="3644" y="2119"/>
                  </a:lnTo>
                  <a:lnTo>
                    <a:pt x="3644" y="2119"/>
                  </a:lnTo>
                  <a:lnTo>
                    <a:pt x="3644" y="2119"/>
                  </a:lnTo>
                  <a:lnTo>
                    <a:pt x="3642" y="2119"/>
                  </a:lnTo>
                  <a:lnTo>
                    <a:pt x="3642" y="2119"/>
                  </a:lnTo>
                  <a:lnTo>
                    <a:pt x="3642" y="2119"/>
                  </a:lnTo>
                  <a:lnTo>
                    <a:pt x="3642" y="2119"/>
                  </a:lnTo>
                  <a:lnTo>
                    <a:pt x="3642" y="2119"/>
                  </a:lnTo>
                  <a:lnTo>
                    <a:pt x="3642" y="2121"/>
                  </a:lnTo>
                  <a:lnTo>
                    <a:pt x="3642" y="2121"/>
                  </a:lnTo>
                  <a:lnTo>
                    <a:pt x="3642" y="2121"/>
                  </a:lnTo>
                  <a:lnTo>
                    <a:pt x="3642" y="2121"/>
                  </a:lnTo>
                  <a:lnTo>
                    <a:pt x="3642" y="2121"/>
                  </a:lnTo>
                  <a:lnTo>
                    <a:pt x="3644" y="2121"/>
                  </a:lnTo>
                  <a:lnTo>
                    <a:pt x="3642" y="2124"/>
                  </a:lnTo>
                  <a:lnTo>
                    <a:pt x="3642" y="2124"/>
                  </a:lnTo>
                  <a:lnTo>
                    <a:pt x="3642" y="2124"/>
                  </a:lnTo>
                  <a:lnTo>
                    <a:pt x="3642" y="2124"/>
                  </a:lnTo>
                  <a:lnTo>
                    <a:pt x="3640" y="2124"/>
                  </a:lnTo>
                  <a:lnTo>
                    <a:pt x="3640" y="2126"/>
                  </a:lnTo>
                  <a:lnTo>
                    <a:pt x="3640" y="2126"/>
                  </a:lnTo>
                  <a:lnTo>
                    <a:pt x="3640" y="2129"/>
                  </a:lnTo>
                  <a:lnTo>
                    <a:pt x="3642" y="2129"/>
                  </a:lnTo>
                  <a:lnTo>
                    <a:pt x="3642" y="2131"/>
                  </a:lnTo>
                  <a:lnTo>
                    <a:pt x="3642" y="2131"/>
                  </a:lnTo>
                  <a:lnTo>
                    <a:pt x="3642" y="2133"/>
                  </a:lnTo>
                  <a:lnTo>
                    <a:pt x="3644" y="2133"/>
                  </a:lnTo>
                  <a:lnTo>
                    <a:pt x="3644" y="2131"/>
                  </a:lnTo>
                  <a:lnTo>
                    <a:pt x="3644" y="2131"/>
                  </a:lnTo>
                  <a:lnTo>
                    <a:pt x="3647" y="2131"/>
                  </a:lnTo>
                  <a:lnTo>
                    <a:pt x="3647" y="2131"/>
                  </a:lnTo>
                  <a:lnTo>
                    <a:pt x="3647" y="2129"/>
                  </a:lnTo>
                  <a:lnTo>
                    <a:pt x="3647" y="2129"/>
                  </a:lnTo>
                  <a:lnTo>
                    <a:pt x="3647" y="2129"/>
                  </a:lnTo>
                  <a:lnTo>
                    <a:pt x="3647" y="2129"/>
                  </a:lnTo>
                  <a:lnTo>
                    <a:pt x="3647" y="2126"/>
                  </a:lnTo>
                  <a:lnTo>
                    <a:pt x="3647" y="2126"/>
                  </a:lnTo>
                  <a:lnTo>
                    <a:pt x="3647" y="2126"/>
                  </a:lnTo>
                  <a:lnTo>
                    <a:pt x="3647" y="2126"/>
                  </a:lnTo>
                  <a:lnTo>
                    <a:pt x="3647" y="2126"/>
                  </a:lnTo>
                  <a:lnTo>
                    <a:pt x="3647" y="2126"/>
                  </a:lnTo>
                  <a:lnTo>
                    <a:pt x="3647" y="2126"/>
                  </a:lnTo>
                  <a:lnTo>
                    <a:pt x="3647" y="2129"/>
                  </a:lnTo>
                  <a:lnTo>
                    <a:pt x="3647" y="2129"/>
                  </a:lnTo>
                  <a:lnTo>
                    <a:pt x="3647" y="2129"/>
                  </a:lnTo>
                  <a:lnTo>
                    <a:pt x="3647" y="2129"/>
                  </a:lnTo>
                  <a:lnTo>
                    <a:pt x="3649" y="2129"/>
                  </a:lnTo>
                  <a:lnTo>
                    <a:pt x="3649" y="2129"/>
                  </a:lnTo>
                  <a:lnTo>
                    <a:pt x="3649" y="2126"/>
                  </a:lnTo>
                  <a:lnTo>
                    <a:pt x="3649" y="2126"/>
                  </a:lnTo>
                  <a:lnTo>
                    <a:pt x="3649" y="2126"/>
                  </a:lnTo>
                  <a:lnTo>
                    <a:pt x="3649" y="2126"/>
                  </a:lnTo>
                  <a:lnTo>
                    <a:pt x="3649" y="2126"/>
                  </a:lnTo>
                  <a:lnTo>
                    <a:pt x="3649" y="2126"/>
                  </a:lnTo>
                  <a:lnTo>
                    <a:pt x="3651" y="2126"/>
                  </a:lnTo>
                  <a:lnTo>
                    <a:pt x="3651" y="2131"/>
                  </a:lnTo>
                  <a:lnTo>
                    <a:pt x="3654" y="2131"/>
                  </a:lnTo>
                  <a:lnTo>
                    <a:pt x="3654" y="2131"/>
                  </a:lnTo>
                  <a:lnTo>
                    <a:pt x="3656" y="2133"/>
                  </a:lnTo>
                  <a:lnTo>
                    <a:pt x="3656" y="2133"/>
                  </a:lnTo>
                  <a:lnTo>
                    <a:pt x="3656" y="2133"/>
                  </a:lnTo>
                  <a:lnTo>
                    <a:pt x="3658" y="2133"/>
                  </a:lnTo>
                  <a:lnTo>
                    <a:pt x="3658" y="2136"/>
                  </a:lnTo>
                  <a:lnTo>
                    <a:pt x="3658" y="2133"/>
                  </a:lnTo>
                  <a:lnTo>
                    <a:pt x="3658" y="2131"/>
                  </a:lnTo>
                  <a:lnTo>
                    <a:pt x="3658" y="2131"/>
                  </a:lnTo>
                  <a:lnTo>
                    <a:pt x="3656" y="2129"/>
                  </a:lnTo>
                  <a:lnTo>
                    <a:pt x="3658" y="2129"/>
                  </a:lnTo>
                  <a:lnTo>
                    <a:pt x="3658" y="2129"/>
                  </a:lnTo>
                  <a:lnTo>
                    <a:pt x="3658" y="2131"/>
                  </a:lnTo>
                  <a:lnTo>
                    <a:pt x="3661" y="2133"/>
                  </a:lnTo>
                  <a:lnTo>
                    <a:pt x="3661" y="2133"/>
                  </a:lnTo>
                  <a:lnTo>
                    <a:pt x="3661" y="2133"/>
                  </a:lnTo>
                  <a:lnTo>
                    <a:pt x="3661" y="2136"/>
                  </a:lnTo>
                  <a:lnTo>
                    <a:pt x="3661" y="2136"/>
                  </a:lnTo>
                  <a:lnTo>
                    <a:pt x="3663" y="2136"/>
                  </a:lnTo>
                  <a:lnTo>
                    <a:pt x="3666" y="2136"/>
                  </a:lnTo>
                  <a:lnTo>
                    <a:pt x="3666" y="2136"/>
                  </a:lnTo>
                  <a:lnTo>
                    <a:pt x="3668" y="2136"/>
                  </a:lnTo>
                  <a:lnTo>
                    <a:pt x="3668" y="2136"/>
                  </a:lnTo>
                  <a:lnTo>
                    <a:pt x="3670" y="2136"/>
                  </a:lnTo>
                  <a:lnTo>
                    <a:pt x="3670" y="2136"/>
                  </a:lnTo>
                  <a:lnTo>
                    <a:pt x="3673" y="2136"/>
                  </a:lnTo>
                  <a:lnTo>
                    <a:pt x="3673" y="2138"/>
                  </a:lnTo>
                  <a:lnTo>
                    <a:pt x="3673" y="2138"/>
                  </a:lnTo>
                  <a:lnTo>
                    <a:pt x="3673" y="2138"/>
                  </a:lnTo>
                  <a:lnTo>
                    <a:pt x="3673" y="2138"/>
                  </a:lnTo>
                  <a:lnTo>
                    <a:pt x="3673" y="2138"/>
                  </a:lnTo>
                  <a:lnTo>
                    <a:pt x="3673" y="2136"/>
                  </a:lnTo>
                  <a:lnTo>
                    <a:pt x="3675" y="2138"/>
                  </a:lnTo>
                  <a:lnTo>
                    <a:pt x="3675" y="2138"/>
                  </a:lnTo>
                  <a:lnTo>
                    <a:pt x="3675" y="2136"/>
                  </a:lnTo>
                  <a:lnTo>
                    <a:pt x="3675" y="2136"/>
                  </a:lnTo>
                  <a:lnTo>
                    <a:pt x="3675" y="2136"/>
                  </a:lnTo>
                  <a:lnTo>
                    <a:pt x="3675" y="2136"/>
                  </a:lnTo>
                  <a:lnTo>
                    <a:pt x="3675" y="2136"/>
                  </a:lnTo>
                  <a:lnTo>
                    <a:pt x="3675" y="2133"/>
                  </a:lnTo>
                  <a:lnTo>
                    <a:pt x="3675" y="2133"/>
                  </a:lnTo>
                  <a:lnTo>
                    <a:pt x="3675" y="2136"/>
                  </a:lnTo>
                  <a:lnTo>
                    <a:pt x="3677" y="2136"/>
                  </a:lnTo>
                  <a:lnTo>
                    <a:pt x="3677" y="2138"/>
                  </a:lnTo>
                  <a:lnTo>
                    <a:pt x="3677" y="2138"/>
                  </a:lnTo>
                  <a:lnTo>
                    <a:pt x="3677" y="2138"/>
                  </a:lnTo>
                  <a:lnTo>
                    <a:pt x="3680" y="2140"/>
                  </a:lnTo>
                  <a:lnTo>
                    <a:pt x="3682" y="2140"/>
                  </a:lnTo>
                  <a:lnTo>
                    <a:pt x="3682" y="2140"/>
                  </a:lnTo>
                  <a:lnTo>
                    <a:pt x="3682" y="2140"/>
                  </a:lnTo>
                  <a:lnTo>
                    <a:pt x="3682" y="2140"/>
                  </a:lnTo>
                  <a:lnTo>
                    <a:pt x="3682" y="2138"/>
                  </a:lnTo>
                  <a:lnTo>
                    <a:pt x="3680" y="2138"/>
                  </a:lnTo>
                  <a:lnTo>
                    <a:pt x="3680" y="2136"/>
                  </a:lnTo>
                  <a:lnTo>
                    <a:pt x="3682" y="2136"/>
                  </a:lnTo>
                  <a:lnTo>
                    <a:pt x="3680" y="2136"/>
                  </a:lnTo>
                  <a:lnTo>
                    <a:pt x="3680" y="2133"/>
                  </a:lnTo>
                  <a:lnTo>
                    <a:pt x="3677" y="2133"/>
                  </a:lnTo>
                  <a:lnTo>
                    <a:pt x="3677" y="2133"/>
                  </a:lnTo>
                  <a:lnTo>
                    <a:pt x="3677" y="2131"/>
                  </a:lnTo>
                  <a:lnTo>
                    <a:pt x="3677" y="2131"/>
                  </a:lnTo>
                  <a:lnTo>
                    <a:pt x="3677" y="2129"/>
                  </a:lnTo>
                  <a:lnTo>
                    <a:pt x="3677" y="2129"/>
                  </a:lnTo>
                  <a:lnTo>
                    <a:pt x="3677" y="2129"/>
                  </a:lnTo>
                  <a:lnTo>
                    <a:pt x="3675" y="2129"/>
                  </a:lnTo>
                  <a:lnTo>
                    <a:pt x="3675" y="2129"/>
                  </a:lnTo>
                  <a:lnTo>
                    <a:pt x="3675" y="2129"/>
                  </a:lnTo>
                  <a:lnTo>
                    <a:pt x="3675" y="2129"/>
                  </a:lnTo>
                  <a:lnTo>
                    <a:pt x="3673" y="2129"/>
                  </a:lnTo>
                  <a:lnTo>
                    <a:pt x="3673" y="2129"/>
                  </a:lnTo>
                  <a:lnTo>
                    <a:pt x="3670" y="2126"/>
                  </a:lnTo>
                  <a:lnTo>
                    <a:pt x="3670" y="2126"/>
                  </a:lnTo>
                  <a:lnTo>
                    <a:pt x="3670" y="2126"/>
                  </a:lnTo>
                  <a:lnTo>
                    <a:pt x="3668" y="2126"/>
                  </a:lnTo>
                  <a:lnTo>
                    <a:pt x="3666" y="2124"/>
                  </a:lnTo>
                  <a:lnTo>
                    <a:pt x="3666" y="2124"/>
                  </a:lnTo>
                  <a:lnTo>
                    <a:pt x="3663" y="2121"/>
                  </a:lnTo>
                  <a:lnTo>
                    <a:pt x="3663" y="2121"/>
                  </a:lnTo>
                  <a:lnTo>
                    <a:pt x="3663" y="2119"/>
                  </a:lnTo>
                  <a:lnTo>
                    <a:pt x="3663" y="2119"/>
                  </a:lnTo>
                  <a:lnTo>
                    <a:pt x="3663" y="2117"/>
                  </a:lnTo>
                  <a:lnTo>
                    <a:pt x="3661" y="2114"/>
                  </a:lnTo>
                  <a:lnTo>
                    <a:pt x="3661" y="2112"/>
                  </a:lnTo>
                  <a:lnTo>
                    <a:pt x="3661" y="2112"/>
                  </a:lnTo>
                  <a:lnTo>
                    <a:pt x="3661" y="2112"/>
                  </a:lnTo>
                  <a:lnTo>
                    <a:pt x="3661" y="2114"/>
                  </a:lnTo>
                  <a:lnTo>
                    <a:pt x="3663" y="2121"/>
                  </a:lnTo>
                  <a:lnTo>
                    <a:pt x="3666" y="2121"/>
                  </a:lnTo>
                  <a:lnTo>
                    <a:pt x="3666" y="2124"/>
                  </a:lnTo>
                  <a:lnTo>
                    <a:pt x="3668" y="2124"/>
                  </a:lnTo>
                  <a:lnTo>
                    <a:pt x="3670" y="2124"/>
                  </a:lnTo>
                  <a:lnTo>
                    <a:pt x="3670" y="2124"/>
                  </a:lnTo>
                  <a:lnTo>
                    <a:pt x="3670" y="2124"/>
                  </a:lnTo>
                  <a:lnTo>
                    <a:pt x="3673" y="2126"/>
                  </a:lnTo>
                  <a:lnTo>
                    <a:pt x="3673" y="2126"/>
                  </a:lnTo>
                  <a:lnTo>
                    <a:pt x="3673" y="2126"/>
                  </a:lnTo>
                  <a:lnTo>
                    <a:pt x="3673" y="2126"/>
                  </a:lnTo>
                  <a:lnTo>
                    <a:pt x="3673" y="2126"/>
                  </a:lnTo>
                  <a:lnTo>
                    <a:pt x="3673" y="2129"/>
                  </a:lnTo>
                  <a:lnTo>
                    <a:pt x="3673" y="2129"/>
                  </a:lnTo>
                  <a:lnTo>
                    <a:pt x="3675" y="2129"/>
                  </a:lnTo>
                  <a:lnTo>
                    <a:pt x="3675" y="2126"/>
                  </a:lnTo>
                  <a:lnTo>
                    <a:pt x="3675" y="2124"/>
                  </a:lnTo>
                  <a:lnTo>
                    <a:pt x="3675" y="2124"/>
                  </a:lnTo>
                  <a:lnTo>
                    <a:pt x="3675" y="2124"/>
                  </a:lnTo>
                  <a:lnTo>
                    <a:pt x="3673" y="2121"/>
                  </a:lnTo>
                  <a:lnTo>
                    <a:pt x="3670" y="2119"/>
                  </a:lnTo>
                  <a:lnTo>
                    <a:pt x="3670" y="2119"/>
                  </a:lnTo>
                  <a:lnTo>
                    <a:pt x="3668" y="2117"/>
                  </a:lnTo>
                  <a:lnTo>
                    <a:pt x="3668" y="2114"/>
                  </a:lnTo>
                  <a:lnTo>
                    <a:pt x="3668" y="2112"/>
                  </a:lnTo>
                  <a:lnTo>
                    <a:pt x="3668" y="2112"/>
                  </a:lnTo>
                  <a:lnTo>
                    <a:pt x="3668" y="2110"/>
                  </a:lnTo>
                  <a:lnTo>
                    <a:pt x="3668" y="2110"/>
                  </a:lnTo>
                  <a:lnTo>
                    <a:pt x="3666" y="2107"/>
                  </a:lnTo>
                  <a:lnTo>
                    <a:pt x="3666" y="2107"/>
                  </a:lnTo>
                  <a:lnTo>
                    <a:pt x="3666" y="2107"/>
                  </a:lnTo>
                  <a:lnTo>
                    <a:pt x="3666" y="2105"/>
                  </a:lnTo>
                  <a:lnTo>
                    <a:pt x="3666" y="2105"/>
                  </a:lnTo>
                  <a:lnTo>
                    <a:pt x="3668" y="2103"/>
                  </a:lnTo>
                  <a:lnTo>
                    <a:pt x="3666" y="2103"/>
                  </a:lnTo>
                  <a:lnTo>
                    <a:pt x="3666" y="2103"/>
                  </a:lnTo>
                  <a:lnTo>
                    <a:pt x="3666" y="2103"/>
                  </a:lnTo>
                  <a:lnTo>
                    <a:pt x="3666" y="2103"/>
                  </a:lnTo>
                  <a:lnTo>
                    <a:pt x="3666" y="2103"/>
                  </a:lnTo>
                  <a:lnTo>
                    <a:pt x="3666" y="2103"/>
                  </a:lnTo>
                  <a:lnTo>
                    <a:pt x="3666" y="2103"/>
                  </a:lnTo>
                  <a:lnTo>
                    <a:pt x="3666" y="2100"/>
                  </a:lnTo>
                  <a:lnTo>
                    <a:pt x="3666" y="2100"/>
                  </a:lnTo>
                  <a:lnTo>
                    <a:pt x="3666" y="2100"/>
                  </a:lnTo>
                  <a:lnTo>
                    <a:pt x="3666" y="2100"/>
                  </a:lnTo>
                  <a:lnTo>
                    <a:pt x="3666" y="2100"/>
                  </a:lnTo>
                  <a:lnTo>
                    <a:pt x="3666" y="2100"/>
                  </a:lnTo>
                  <a:lnTo>
                    <a:pt x="3666" y="2100"/>
                  </a:lnTo>
                  <a:lnTo>
                    <a:pt x="3666" y="2100"/>
                  </a:lnTo>
                  <a:lnTo>
                    <a:pt x="3666" y="2100"/>
                  </a:lnTo>
                  <a:lnTo>
                    <a:pt x="3666" y="2098"/>
                  </a:lnTo>
                  <a:lnTo>
                    <a:pt x="3663" y="2098"/>
                  </a:lnTo>
                  <a:lnTo>
                    <a:pt x="3663" y="2098"/>
                  </a:lnTo>
                  <a:lnTo>
                    <a:pt x="3663" y="2098"/>
                  </a:lnTo>
                  <a:lnTo>
                    <a:pt x="3663" y="2098"/>
                  </a:lnTo>
                  <a:lnTo>
                    <a:pt x="3666" y="2098"/>
                  </a:lnTo>
                  <a:lnTo>
                    <a:pt x="3668" y="2098"/>
                  </a:lnTo>
                  <a:lnTo>
                    <a:pt x="3668" y="2098"/>
                  </a:lnTo>
                  <a:lnTo>
                    <a:pt x="3668" y="2098"/>
                  </a:lnTo>
                  <a:lnTo>
                    <a:pt x="3666" y="2098"/>
                  </a:lnTo>
                  <a:lnTo>
                    <a:pt x="3666" y="2095"/>
                  </a:lnTo>
                  <a:lnTo>
                    <a:pt x="3666" y="2095"/>
                  </a:lnTo>
                  <a:lnTo>
                    <a:pt x="3663" y="2095"/>
                  </a:lnTo>
                  <a:lnTo>
                    <a:pt x="3663" y="2093"/>
                  </a:lnTo>
                  <a:lnTo>
                    <a:pt x="3663" y="2093"/>
                  </a:lnTo>
                  <a:lnTo>
                    <a:pt x="3661" y="2093"/>
                  </a:lnTo>
                  <a:lnTo>
                    <a:pt x="3661" y="2093"/>
                  </a:lnTo>
                  <a:lnTo>
                    <a:pt x="3661" y="2093"/>
                  </a:lnTo>
                  <a:lnTo>
                    <a:pt x="3661" y="2093"/>
                  </a:lnTo>
                  <a:lnTo>
                    <a:pt x="3661" y="2091"/>
                  </a:lnTo>
                  <a:lnTo>
                    <a:pt x="3661" y="2091"/>
                  </a:lnTo>
                  <a:lnTo>
                    <a:pt x="3663" y="2093"/>
                  </a:lnTo>
                  <a:lnTo>
                    <a:pt x="3663" y="2093"/>
                  </a:lnTo>
                  <a:lnTo>
                    <a:pt x="3663" y="2093"/>
                  </a:lnTo>
                  <a:lnTo>
                    <a:pt x="3666" y="2095"/>
                  </a:lnTo>
                  <a:lnTo>
                    <a:pt x="3666" y="2095"/>
                  </a:lnTo>
                  <a:lnTo>
                    <a:pt x="3666" y="2093"/>
                  </a:lnTo>
                  <a:lnTo>
                    <a:pt x="3668" y="2093"/>
                  </a:lnTo>
                  <a:lnTo>
                    <a:pt x="3668" y="2093"/>
                  </a:lnTo>
                  <a:lnTo>
                    <a:pt x="3668" y="2093"/>
                  </a:lnTo>
                  <a:lnTo>
                    <a:pt x="3668" y="2093"/>
                  </a:lnTo>
                  <a:lnTo>
                    <a:pt x="3668" y="2093"/>
                  </a:lnTo>
                  <a:lnTo>
                    <a:pt x="3668" y="2093"/>
                  </a:lnTo>
                  <a:lnTo>
                    <a:pt x="3666" y="2091"/>
                  </a:lnTo>
                  <a:lnTo>
                    <a:pt x="3663" y="2091"/>
                  </a:lnTo>
                  <a:lnTo>
                    <a:pt x="3663" y="2091"/>
                  </a:lnTo>
                  <a:lnTo>
                    <a:pt x="3663" y="2091"/>
                  </a:lnTo>
                  <a:lnTo>
                    <a:pt x="3663" y="2091"/>
                  </a:lnTo>
                  <a:lnTo>
                    <a:pt x="3663" y="2091"/>
                  </a:lnTo>
                  <a:lnTo>
                    <a:pt x="3666" y="2091"/>
                  </a:lnTo>
                  <a:lnTo>
                    <a:pt x="3666" y="2091"/>
                  </a:lnTo>
                  <a:lnTo>
                    <a:pt x="3666" y="2091"/>
                  </a:lnTo>
                  <a:lnTo>
                    <a:pt x="3666" y="2091"/>
                  </a:lnTo>
                  <a:lnTo>
                    <a:pt x="3666" y="2091"/>
                  </a:lnTo>
                  <a:lnTo>
                    <a:pt x="3666" y="2091"/>
                  </a:lnTo>
                  <a:lnTo>
                    <a:pt x="3668" y="2091"/>
                  </a:lnTo>
                  <a:lnTo>
                    <a:pt x="3668" y="2091"/>
                  </a:lnTo>
                  <a:lnTo>
                    <a:pt x="3666" y="2088"/>
                  </a:lnTo>
                  <a:lnTo>
                    <a:pt x="3666" y="2088"/>
                  </a:lnTo>
                  <a:lnTo>
                    <a:pt x="3666" y="2088"/>
                  </a:lnTo>
                  <a:lnTo>
                    <a:pt x="3663" y="2086"/>
                  </a:lnTo>
                  <a:lnTo>
                    <a:pt x="3663" y="2086"/>
                  </a:lnTo>
                  <a:lnTo>
                    <a:pt x="3663" y="2086"/>
                  </a:lnTo>
                  <a:lnTo>
                    <a:pt x="3663" y="2086"/>
                  </a:lnTo>
                  <a:lnTo>
                    <a:pt x="3663" y="2086"/>
                  </a:lnTo>
                  <a:lnTo>
                    <a:pt x="3661" y="2086"/>
                  </a:lnTo>
                  <a:lnTo>
                    <a:pt x="3661" y="2086"/>
                  </a:lnTo>
                  <a:lnTo>
                    <a:pt x="3661" y="2086"/>
                  </a:lnTo>
                  <a:lnTo>
                    <a:pt x="3661" y="2084"/>
                  </a:lnTo>
                  <a:lnTo>
                    <a:pt x="3661" y="2084"/>
                  </a:lnTo>
                  <a:lnTo>
                    <a:pt x="3661" y="2084"/>
                  </a:lnTo>
                  <a:lnTo>
                    <a:pt x="3658" y="2084"/>
                  </a:lnTo>
                  <a:lnTo>
                    <a:pt x="3658" y="2084"/>
                  </a:lnTo>
                  <a:lnTo>
                    <a:pt x="3658" y="2084"/>
                  </a:lnTo>
                  <a:lnTo>
                    <a:pt x="3658" y="2084"/>
                  </a:lnTo>
                  <a:lnTo>
                    <a:pt x="3656" y="2084"/>
                  </a:lnTo>
                  <a:lnTo>
                    <a:pt x="3658" y="2084"/>
                  </a:lnTo>
                  <a:lnTo>
                    <a:pt x="3658" y="2084"/>
                  </a:lnTo>
                  <a:lnTo>
                    <a:pt x="3658" y="2081"/>
                  </a:lnTo>
                  <a:lnTo>
                    <a:pt x="3658" y="2081"/>
                  </a:lnTo>
                  <a:lnTo>
                    <a:pt x="3658" y="2081"/>
                  </a:lnTo>
                  <a:lnTo>
                    <a:pt x="3661" y="2084"/>
                  </a:lnTo>
                  <a:lnTo>
                    <a:pt x="3661" y="2084"/>
                  </a:lnTo>
                  <a:lnTo>
                    <a:pt x="3663" y="2084"/>
                  </a:lnTo>
                  <a:lnTo>
                    <a:pt x="3663" y="2084"/>
                  </a:lnTo>
                  <a:lnTo>
                    <a:pt x="3663" y="2084"/>
                  </a:lnTo>
                  <a:lnTo>
                    <a:pt x="3663" y="2084"/>
                  </a:lnTo>
                  <a:lnTo>
                    <a:pt x="3663" y="2084"/>
                  </a:lnTo>
                  <a:lnTo>
                    <a:pt x="3663" y="2084"/>
                  </a:lnTo>
                  <a:lnTo>
                    <a:pt x="3666" y="2084"/>
                  </a:lnTo>
                  <a:lnTo>
                    <a:pt x="3666" y="2084"/>
                  </a:lnTo>
                  <a:lnTo>
                    <a:pt x="3666" y="2084"/>
                  </a:lnTo>
                  <a:lnTo>
                    <a:pt x="3666" y="2084"/>
                  </a:lnTo>
                  <a:lnTo>
                    <a:pt x="3666" y="2084"/>
                  </a:lnTo>
                  <a:lnTo>
                    <a:pt x="3666" y="2081"/>
                  </a:lnTo>
                  <a:lnTo>
                    <a:pt x="3666" y="2081"/>
                  </a:lnTo>
                  <a:lnTo>
                    <a:pt x="3663" y="2081"/>
                  </a:lnTo>
                  <a:lnTo>
                    <a:pt x="3663" y="2081"/>
                  </a:lnTo>
                  <a:lnTo>
                    <a:pt x="3661" y="2079"/>
                  </a:lnTo>
                  <a:lnTo>
                    <a:pt x="3663" y="2079"/>
                  </a:lnTo>
                  <a:lnTo>
                    <a:pt x="3663" y="2079"/>
                  </a:lnTo>
                  <a:lnTo>
                    <a:pt x="3666" y="2081"/>
                  </a:lnTo>
                  <a:lnTo>
                    <a:pt x="3666" y="2081"/>
                  </a:lnTo>
                  <a:lnTo>
                    <a:pt x="3666" y="2081"/>
                  </a:lnTo>
                  <a:lnTo>
                    <a:pt x="3666" y="2081"/>
                  </a:lnTo>
                  <a:lnTo>
                    <a:pt x="3666" y="2081"/>
                  </a:lnTo>
                  <a:lnTo>
                    <a:pt x="3663" y="2079"/>
                  </a:lnTo>
                  <a:lnTo>
                    <a:pt x="3663" y="2079"/>
                  </a:lnTo>
                  <a:lnTo>
                    <a:pt x="3663" y="2079"/>
                  </a:lnTo>
                  <a:lnTo>
                    <a:pt x="3666" y="2079"/>
                  </a:lnTo>
                  <a:lnTo>
                    <a:pt x="3666" y="2079"/>
                  </a:lnTo>
                  <a:lnTo>
                    <a:pt x="3666" y="2077"/>
                  </a:lnTo>
                  <a:lnTo>
                    <a:pt x="3666" y="2077"/>
                  </a:lnTo>
                  <a:lnTo>
                    <a:pt x="3668" y="2077"/>
                  </a:lnTo>
                  <a:lnTo>
                    <a:pt x="3668" y="2077"/>
                  </a:lnTo>
                  <a:lnTo>
                    <a:pt x="3668" y="2077"/>
                  </a:lnTo>
                  <a:lnTo>
                    <a:pt x="3668" y="2077"/>
                  </a:lnTo>
                  <a:lnTo>
                    <a:pt x="3668" y="2074"/>
                  </a:lnTo>
                  <a:lnTo>
                    <a:pt x="3666" y="2074"/>
                  </a:lnTo>
                  <a:lnTo>
                    <a:pt x="3666" y="2074"/>
                  </a:lnTo>
                  <a:lnTo>
                    <a:pt x="3663" y="2074"/>
                  </a:lnTo>
                  <a:lnTo>
                    <a:pt x="3668" y="2074"/>
                  </a:lnTo>
                  <a:lnTo>
                    <a:pt x="3668" y="2074"/>
                  </a:lnTo>
                  <a:lnTo>
                    <a:pt x="3668" y="2074"/>
                  </a:lnTo>
                  <a:lnTo>
                    <a:pt x="3670" y="2077"/>
                  </a:lnTo>
                  <a:lnTo>
                    <a:pt x="3670" y="2077"/>
                  </a:lnTo>
                  <a:lnTo>
                    <a:pt x="3670" y="2077"/>
                  </a:lnTo>
                  <a:lnTo>
                    <a:pt x="3670" y="2074"/>
                  </a:lnTo>
                  <a:lnTo>
                    <a:pt x="3670" y="2074"/>
                  </a:lnTo>
                  <a:lnTo>
                    <a:pt x="3670" y="2074"/>
                  </a:lnTo>
                  <a:lnTo>
                    <a:pt x="3670" y="2069"/>
                  </a:lnTo>
                  <a:lnTo>
                    <a:pt x="3670" y="2069"/>
                  </a:lnTo>
                  <a:lnTo>
                    <a:pt x="3670" y="2069"/>
                  </a:lnTo>
                  <a:lnTo>
                    <a:pt x="3670" y="2069"/>
                  </a:lnTo>
                  <a:lnTo>
                    <a:pt x="3670" y="2069"/>
                  </a:lnTo>
                  <a:lnTo>
                    <a:pt x="3670" y="2069"/>
                  </a:lnTo>
                  <a:lnTo>
                    <a:pt x="3670" y="2069"/>
                  </a:lnTo>
                  <a:lnTo>
                    <a:pt x="3670" y="2069"/>
                  </a:lnTo>
                  <a:lnTo>
                    <a:pt x="3670" y="2072"/>
                  </a:lnTo>
                  <a:lnTo>
                    <a:pt x="3670" y="2074"/>
                  </a:lnTo>
                  <a:lnTo>
                    <a:pt x="3673" y="2074"/>
                  </a:lnTo>
                  <a:lnTo>
                    <a:pt x="3673" y="2074"/>
                  </a:lnTo>
                  <a:lnTo>
                    <a:pt x="3675" y="2072"/>
                  </a:lnTo>
                  <a:lnTo>
                    <a:pt x="3677" y="2069"/>
                  </a:lnTo>
                  <a:lnTo>
                    <a:pt x="3677" y="2069"/>
                  </a:lnTo>
                  <a:lnTo>
                    <a:pt x="3677" y="2067"/>
                  </a:lnTo>
                  <a:lnTo>
                    <a:pt x="3675" y="2067"/>
                  </a:lnTo>
                  <a:lnTo>
                    <a:pt x="3675" y="2067"/>
                  </a:lnTo>
                  <a:lnTo>
                    <a:pt x="3675" y="2067"/>
                  </a:lnTo>
                  <a:lnTo>
                    <a:pt x="3675" y="2065"/>
                  </a:lnTo>
                  <a:lnTo>
                    <a:pt x="3675" y="2062"/>
                  </a:lnTo>
                  <a:lnTo>
                    <a:pt x="3675" y="2062"/>
                  </a:lnTo>
                  <a:lnTo>
                    <a:pt x="3677" y="2062"/>
                  </a:lnTo>
                  <a:lnTo>
                    <a:pt x="3677" y="2062"/>
                  </a:lnTo>
                  <a:lnTo>
                    <a:pt x="3680" y="2062"/>
                  </a:lnTo>
                  <a:lnTo>
                    <a:pt x="3680" y="2060"/>
                  </a:lnTo>
                  <a:lnTo>
                    <a:pt x="3680" y="2060"/>
                  </a:lnTo>
                  <a:lnTo>
                    <a:pt x="3680" y="2060"/>
                  </a:lnTo>
                  <a:lnTo>
                    <a:pt x="3680" y="2062"/>
                  </a:lnTo>
                  <a:lnTo>
                    <a:pt x="3680" y="2062"/>
                  </a:lnTo>
                  <a:lnTo>
                    <a:pt x="3680" y="2065"/>
                  </a:lnTo>
                  <a:lnTo>
                    <a:pt x="3680" y="2065"/>
                  </a:lnTo>
                  <a:lnTo>
                    <a:pt x="3680" y="2067"/>
                  </a:lnTo>
                  <a:lnTo>
                    <a:pt x="3680" y="2067"/>
                  </a:lnTo>
                  <a:lnTo>
                    <a:pt x="3680" y="2067"/>
                  </a:lnTo>
                  <a:lnTo>
                    <a:pt x="3682" y="2065"/>
                  </a:lnTo>
                  <a:lnTo>
                    <a:pt x="3682" y="2062"/>
                  </a:lnTo>
                  <a:lnTo>
                    <a:pt x="3682" y="2062"/>
                  </a:lnTo>
                  <a:lnTo>
                    <a:pt x="3685" y="2060"/>
                  </a:lnTo>
                  <a:lnTo>
                    <a:pt x="3685" y="2060"/>
                  </a:lnTo>
                  <a:lnTo>
                    <a:pt x="3685" y="2062"/>
                  </a:lnTo>
                  <a:lnTo>
                    <a:pt x="3685" y="2062"/>
                  </a:lnTo>
                  <a:lnTo>
                    <a:pt x="3685" y="2065"/>
                  </a:lnTo>
                  <a:lnTo>
                    <a:pt x="3682" y="2065"/>
                  </a:lnTo>
                  <a:lnTo>
                    <a:pt x="3682" y="2065"/>
                  </a:lnTo>
                  <a:lnTo>
                    <a:pt x="3685" y="2065"/>
                  </a:lnTo>
                  <a:lnTo>
                    <a:pt x="3685" y="2067"/>
                  </a:lnTo>
                  <a:lnTo>
                    <a:pt x="3685" y="2067"/>
                  </a:lnTo>
                  <a:lnTo>
                    <a:pt x="3685" y="2067"/>
                  </a:lnTo>
                  <a:lnTo>
                    <a:pt x="3682" y="2067"/>
                  </a:lnTo>
                  <a:lnTo>
                    <a:pt x="3682" y="2067"/>
                  </a:lnTo>
                  <a:lnTo>
                    <a:pt x="3680" y="2067"/>
                  </a:lnTo>
                  <a:lnTo>
                    <a:pt x="3680" y="2067"/>
                  </a:lnTo>
                  <a:lnTo>
                    <a:pt x="3680" y="2069"/>
                  </a:lnTo>
                  <a:lnTo>
                    <a:pt x="3677" y="2072"/>
                  </a:lnTo>
                  <a:lnTo>
                    <a:pt x="3680" y="2072"/>
                  </a:lnTo>
                  <a:lnTo>
                    <a:pt x="3685" y="2072"/>
                  </a:lnTo>
                  <a:lnTo>
                    <a:pt x="3685" y="2069"/>
                  </a:lnTo>
                  <a:lnTo>
                    <a:pt x="3687" y="2072"/>
                  </a:lnTo>
                  <a:lnTo>
                    <a:pt x="3685" y="2072"/>
                  </a:lnTo>
                  <a:lnTo>
                    <a:pt x="3685" y="2072"/>
                  </a:lnTo>
                  <a:lnTo>
                    <a:pt x="3682" y="2072"/>
                  </a:lnTo>
                  <a:lnTo>
                    <a:pt x="3680" y="2072"/>
                  </a:lnTo>
                  <a:lnTo>
                    <a:pt x="3680" y="2072"/>
                  </a:lnTo>
                  <a:lnTo>
                    <a:pt x="3677" y="2072"/>
                  </a:lnTo>
                  <a:lnTo>
                    <a:pt x="3675" y="2072"/>
                  </a:lnTo>
                  <a:lnTo>
                    <a:pt x="3675" y="2074"/>
                  </a:lnTo>
                  <a:lnTo>
                    <a:pt x="3675" y="2074"/>
                  </a:lnTo>
                  <a:lnTo>
                    <a:pt x="3675" y="2074"/>
                  </a:lnTo>
                  <a:lnTo>
                    <a:pt x="3675" y="2074"/>
                  </a:lnTo>
                  <a:lnTo>
                    <a:pt x="3675" y="2077"/>
                  </a:lnTo>
                  <a:lnTo>
                    <a:pt x="3675" y="2077"/>
                  </a:lnTo>
                  <a:lnTo>
                    <a:pt x="3675" y="2077"/>
                  </a:lnTo>
                  <a:lnTo>
                    <a:pt x="3673" y="2077"/>
                  </a:lnTo>
                  <a:lnTo>
                    <a:pt x="3675" y="2079"/>
                  </a:lnTo>
                  <a:lnTo>
                    <a:pt x="3673" y="2079"/>
                  </a:lnTo>
                  <a:lnTo>
                    <a:pt x="3673" y="2081"/>
                  </a:lnTo>
                  <a:lnTo>
                    <a:pt x="3673" y="2084"/>
                  </a:lnTo>
                  <a:lnTo>
                    <a:pt x="3673" y="2084"/>
                  </a:lnTo>
                  <a:lnTo>
                    <a:pt x="3673" y="2086"/>
                  </a:lnTo>
                  <a:lnTo>
                    <a:pt x="3673" y="2086"/>
                  </a:lnTo>
                  <a:lnTo>
                    <a:pt x="3673" y="2086"/>
                  </a:lnTo>
                  <a:lnTo>
                    <a:pt x="3673" y="2086"/>
                  </a:lnTo>
                  <a:lnTo>
                    <a:pt x="3675" y="2088"/>
                  </a:lnTo>
                  <a:lnTo>
                    <a:pt x="3675" y="2091"/>
                  </a:lnTo>
                  <a:lnTo>
                    <a:pt x="3675" y="2091"/>
                  </a:lnTo>
                  <a:lnTo>
                    <a:pt x="3675" y="2091"/>
                  </a:lnTo>
                  <a:lnTo>
                    <a:pt x="3675" y="2091"/>
                  </a:lnTo>
                  <a:lnTo>
                    <a:pt x="3675" y="2091"/>
                  </a:lnTo>
                  <a:lnTo>
                    <a:pt x="3675" y="2091"/>
                  </a:lnTo>
                  <a:lnTo>
                    <a:pt x="3675" y="2091"/>
                  </a:lnTo>
                  <a:lnTo>
                    <a:pt x="3675" y="2088"/>
                  </a:lnTo>
                  <a:lnTo>
                    <a:pt x="3675" y="2088"/>
                  </a:lnTo>
                  <a:lnTo>
                    <a:pt x="3675" y="2086"/>
                  </a:lnTo>
                  <a:lnTo>
                    <a:pt x="3677" y="2086"/>
                  </a:lnTo>
                  <a:lnTo>
                    <a:pt x="3677" y="2086"/>
                  </a:lnTo>
                  <a:lnTo>
                    <a:pt x="3677" y="2086"/>
                  </a:lnTo>
                  <a:lnTo>
                    <a:pt x="3677" y="2086"/>
                  </a:lnTo>
                  <a:lnTo>
                    <a:pt x="3677" y="2086"/>
                  </a:lnTo>
                  <a:lnTo>
                    <a:pt x="3680" y="2084"/>
                  </a:lnTo>
                  <a:lnTo>
                    <a:pt x="3680" y="2084"/>
                  </a:lnTo>
                  <a:lnTo>
                    <a:pt x="3680" y="2086"/>
                  </a:lnTo>
                  <a:lnTo>
                    <a:pt x="3677" y="2086"/>
                  </a:lnTo>
                  <a:lnTo>
                    <a:pt x="3677" y="2088"/>
                  </a:lnTo>
                  <a:lnTo>
                    <a:pt x="3677" y="2088"/>
                  </a:lnTo>
                  <a:lnTo>
                    <a:pt x="3677" y="2088"/>
                  </a:lnTo>
                  <a:lnTo>
                    <a:pt x="3677" y="2088"/>
                  </a:lnTo>
                  <a:lnTo>
                    <a:pt x="3677" y="2091"/>
                  </a:lnTo>
                  <a:lnTo>
                    <a:pt x="3677" y="2091"/>
                  </a:lnTo>
                  <a:lnTo>
                    <a:pt x="3677" y="2091"/>
                  </a:lnTo>
                  <a:lnTo>
                    <a:pt x="3677" y="2091"/>
                  </a:lnTo>
                  <a:lnTo>
                    <a:pt x="3677" y="2091"/>
                  </a:lnTo>
                  <a:lnTo>
                    <a:pt x="3677" y="2093"/>
                  </a:lnTo>
                  <a:lnTo>
                    <a:pt x="3677" y="2093"/>
                  </a:lnTo>
                  <a:lnTo>
                    <a:pt x="3675" y="2093"/>
                  </a:lnTo>
                  <a:lnTo>
                    <a:pt x="3675" y="2093"/>
                  </a:lnTo>
                  <a:lnTo>
                    <a:pt x="3673" y="2093"/>
                  </a:lnTo>
                  <a:lnTo>
                    <a:pt x="3673" y="2093"/>
                  </a:lnTo>
                  <a:lnTo>
                    <a:pt x="3673" y="2091"/>
                  </a:lnTo>
                  <a:lnTo>
                    <a:pt x="3673" y="2091"/>
                  </a:lnTo>
                  <a:lnTo>
                    <a:pt x="3673" y="2091"/>
                  </a:lnTo>
                  <a:lnTo>
                    <a:pt x="3673" y="2093"/>
                  </a:lnTo>
                  <a:lnTo>
                    <a:pt x="3670" y="2093"/>
                  </a:lnTo>
                  <a:lnTo>
                    <a:pt x="3670" y="2095"/>
                  </a:lnTo>
                  <a:lnTo>
                    <a:pt x="3670" y="2095"/>
                  </a:lnTo>
                  <a:lnTo>
                    <a:pt x="3670" y="2098"/>
                  </a:lnTo>
                  <a:lnTo>
                    <a:pt x="3670" y="2103"/>
                  </a:lnTo>
                  <a:lnTo>
                    <a:pt x="3673" y="2100"/>
                  </a:lnTo>
                  <a:lnTo>
                    <a:pt x="3673" y="2100"/>
                  </a:lnTo>
                  <a:lnTo>
                    <a:pt x="3673" y="2100"/>
                  </a:lnTo>
                  <a:lnTo>
                    <a:pt x="3673" y="2100"/>
                  </a:lnTo>
                  <a:lnTo>
                    <a:pt x="3673" y="2098"/>
                  </a:lnTo>
                  <a:lnTo>
                    <a:pt x="3673" y="2098"/>
                  </a:lnTo>
                  <a:lnTo>
                    <a:pt x="3673" y="2098"/>
                  </a:lnTo>
                  <a:lnTo>
                    <a:pt x="3673" y="2098"/>
                  </a:lnTo>
                  <a:lnTo>
                    <a:pt x="3673" y="2098"/>
                  </a:lnTo>
                  <a:lnTo>
                    <a:pt x="3675" y="2098"/>
                  </a:lnTo>
                  <a:lnTo>
                    <a:pt x="3675" y="2095"/>
                  </a:lnTo>
                  <a:lnTo>
                    <a:pt x="3675" y="2095"/>
                  </a:lnTo>
                  <a:lnTo>
                    <a:pt x="3675" y="2095"/>
                  </a:lnTo>
                  <a:lnTo>
                    <a:pt x="3675" y="2095"/>
                  </a:lnTo>
                  <a:lnTo>
                    <a:pt x="3675" y="2095"/>
                  </a:lnTo>
                  <a:lnTo>
                    <a:pt x="3675" y="2095"/>
                  </a:lnTo>
                  <a:lnTo>
                    <a:pt x="3675" y="2095"/>
                  </a:lnTo>
                  <a:lnTo>
                    <a:pt x="3677" y="2095"/>
                  </a:lnTo>
                  <a:lnTo>
                    <a:pt x="3677" y="2095"/>
                  </a:lnTo>
                  <a:lnTo>
                    <a:pt x="3677" y="2095"/>
                  </a:lnTo>
                  <a:lnTo>
                    <a:pt x="3677" y="2098"/>
                  </a:lnTo>
                  <a:lnTo>
                    <a:pt x="3677" y="2098"/>
                  </a:lnTo>
                  <a:lnTo>
                    <a:pt x="3677" y="2098"/>
                  </a:lnTo>
                  <a:lnTo>
                    <a:pt x="3680" y="2098"/>
                  </a:lnTo>
                  <a:lnTo>
                    <a:pt x="3680" y="2095"/>
                  </a:lnTo>
                  <a:lnTo>
                    <a:pt x="3680" y="2095"/>
                  </a:lnTo>
                  <a:lnTo>
                    <a:pt x="3680" y="2095"/>
                  </a:lnTo>
                  <a:lnTo>
                    <a:pt x="3680" y="2095"/>
                  </a:lnTo>
                  <a:lnTo>
                    <a:pt x="3680" y="2098"/>
                  </a:lnTo>
                  <a:lnTo>
                    <a:pt x="3680" y="2098"/>
                  </a:lnTo>
                  <a:lnTo>
                    <a:pt x="3682" y="2098"/>
                  </a:lnTo>
                  <a:lnTo>
                    <a:pt x="3680" y="2098"/>
                  </a:lnTo>
                  <a:lnTo>
                    <a:pt x="3680" y="2098"/>
                  </a:lnTo>
                  <a:lnTo>
                    <a:pt x="3677" y="2100"/>
                  </a:lnTo>
                  <a:lnTo>
                    <a:pt x="3680" y="2103"/>
                  </a:lnTo>
                  <a:lnTo>
                    <a:pt x="3680" y="2103"/>
                  </a:lnTo>
                  <a:lnTo>
                    <a:pt x="3680" y="2103"/>
                  </a:lnTo>
                  <a:lnTo>
                    <a:pt x="3682" y="2103"/>
                  </a:lnTo>
                  <a:lnTo>
                    <a:pt x="3682" y="2100"/>
                  </a:lnTo>
                  <a:lnTo>
                    <a:pt x="3682" y="2103"/>
                  </a:lnTo>
                  <a:lnTo>
                    <a:pt x="3682" y="2103"/>
                  </a:lnTo>
                  <a:lnTo>
                    <a:pt x="3682" y="2103"/>
                  </a:lnTo>
                  <a:lnTo>
                    <a:pt x="3682" y="2103"/>
                  </a:lnTo>
                  <a:lnTo>
                    <a:pt x="3680" y="2105"/>
                  </a:lnTo>
                  <a:lnTo>
                    <a:pt x="3680" y="2105"/>
                  </a:lnTo>
                  <a:lnTo>
                    <a:pt x="3680" y="2103"/>
                  </a:lnTo>
                  <a:lnTo>
                    <a:pt x="3677" y="2103"/>
                  </a:lnTo>
                  <a:lnTo>
                    <a:pt x="3677" y="2103"/>
                  </a:lnTo>
                  <a:lnTo>
                    <a:pt x="3677" y="2103"/>
                  </a:lnTo>
                  <a:lnTo>
                    <a:pt x="3677" y="2103"/>
                  </a:lnTo>
                  <a:lnTo>
                    <a:pt x="3675" y="2100"/>
                  </a:lnTo>
                  <a:lnTo>
                    <a:pt x="3675" y="2100"/>
                  </a:lnTo>
                  <a:lnTo>
                    <a:pt x="3675" y="2100"/>
                  </a:lnTo>
                  <a:lnTo>
                    <a:pt x="3675" y="2100"/>
                  </a:lnTo>
                  <a:lnTo>
                    <a:pt x="3675" y="2103"/>
                  </a:lnTo>
                  <a:lnTo>
                    <a:pt x="3675" y="2103"/>
                  </a:lnTo>
                  <a:lnTo>
                    <a:pt x="3675" y="2103"/>
                  </a:lnTo>
                  <a:lnTo>
                    <a:pt x="3675" y="2107"/>
                  </a:lnTo>
                  <a:lnTo>
                    <a:pt x="3675" y="2107"/>
                  </a:lnTo>
                  <a:lnTo>
                    <a:pt x="3675" y="2107"/>
                  </a:lnTo>
                  <a:lnTo>
                    <a:pt x="3675" y="2110"/>
                  </a:lnTo>
                  <a:lnTo>
                    <a:pt x="3675" y="2110"/>
                  </a:lnTo>
                  <a:lnTo>
                    <a:pt x="3675" y="2110"/>
                  </a:lnTo>
                  <a:lnTo>
                    <a:pt x="3675" y="2110"/>
                  </a:lnTo>
                  <a:lnTo>
                    <a:pt x="3675" y="2107"/>
                  </a:lnTo>
                  <a:lnTo>
                    <a:pt x="3675" y="2107"/>
                  </a:lnTo>
                  <a:lnTo>
                    <a:pt x="3675" y="2107"/>
                  </a:lnTo>
                  <a:lnTo>
                    <a:pt x="3675" y="2105"/>
                  </a:lnTo>
                  <a:lnTo>
                    <a:pt x="3675" y="2105"/>
                  </a:lnTo>
                  <a:lnTo>
                    <a:pt x="3675" y="2105"/>
                  </a:lnTo>
                  <a:lnTo>
                    <a:pt x="3675" y="2105"/>
                  </a:lnTo>
                  <a:lnTo>
                    <a:pt x="3675" y="2105"/>
                  </a:lnTo>
                  <a:lnTo>
                    <a:pt x="3675" y="2107"/>
                  </a:lnTo>
                  <a:lnTo>
                    <a:pt x="3677" y="2107"/>
                  </a:lnTo>
                  <a:lnTo>
                    <a:pt x="3677" y="2105"/>
                  </a:lnTo>
                  <a:lnTo>
                    <a:pt x="3677" y="2105"/>
                  </a:lnTo>
                  <a:lnTo>
                    <a:pt x="3677" y="2105"/>
                  </a:lnTo>
                  <a:lnTo>
                    <a:pt x="3680" y="2105"/>
                  </a:lnTo>
                  <a:lnTo>
                    <a:pt x="3677" y="2105"/>
                  </a:lnTo>
                  <a:lnTo>
                    <a:pt x="3677" y="2107"/>
                  </a:lnTo>
                  <a:lnTo>
                    <a:pt x="3680" y="2107"/>
                  </a:lnTo>
                  <a:lnTo>
                    <a:pt x="3680" y="2107"/>
                  </a:lnTo>
                  <a:lnTo>
                    <a:pt x="3680" y="2110"/>
                  </a:lnTo>
                  <a:lnTo>
                    <a:pt x="3680" y="2107"/>
                  </a:lnTo>
                  <a:lnTo>
                    <a:pt x="3680" y="2107"/>
                  </a:lnTo>
                  <a:lnTo>
                    <a:pt x="3680" y="2107"/>
                  </a:lnTo>
                  <a:lnTo>
                    <a:pt x="3680" y="2105"/>
                  </a:lnTo>
                  <a:lnTo>
                    <a:pt x="3680" y="2105"/>
                  </a:lnTo>
                  <a:lnTo>
                    <a:pt x="3680" y="2107"/>
                  </a:lnTo>
                  <a:lnTo>
                    <a:pt x="3680" y="2107"/>
                  </a:lnTo>
                  <a:lnTo>
                    <a:pt x="3680" y="2107"/>
                  </a:lnTo>
                  <a:lnTo>
                    <a:pt x="3682" y="2107"/>
                  </a:lnTo>
                  <a:lnTo>
                    <a:pt x="3682" y="2107"/>
                  </a:lnTo>
                  <a:lnTo>
                    <a:pt x="3682" y="2107"/>
                  </a:lnTo>
                  <a:lnTo>
                    <a:pt x="3685" y="2107"/>
                  </a:lnTo>
                  <a:lnTo>
                    <a:pt x="3685" y="2107"/>
                  </a:lnTo>
                  <a:lnTo>
                    <a:pt x="3682" y="2107"/>
                  </a:lnTo>
                  <a:lnTo>
                    <a:pt x="3682" y="2110"/>
                  </a:lnTo>
                  <a:lnTo>
                    <a:pt x="3682" y="2110"/>
                  </a:lnTo>
                  <a:lnTo>
                    <a:pt x="3682" y="2110"/>
                  </a:lnTo>
                  <a:lnTo>
                    <a:pt x="3682" y="2110"/>
                  </a:lnTo>
                  <a:lnTo>
                    <a:pt x="3685" y="2110"/>
                  </a:lnTo>
                  <a:lnTo>
                    <a:pt x="3685" y="2110"/>
                  </a:lnTo>
                  <a:lnTo>
                    <a:pt x="3685" y="2107"/>
                  </a:lnTo>
                  <a:lnTo>
                    <a:pt x="3685" y="2110"/>
                  </a:lnTo>
                  <a:lnTo>
                    <a:pt x="3685" y="2110"/>
                  </a:lnTo>
                  <a:lnTo>
                    <a:pt x="3687" y="2110"/>
                  </a:lnTo>
                  <a:lnTo>
                    <a:pt x="3687" y="2112"/>
                  </a:lnTo>
                  <a:lnTo>
                    <a:pt x="3689" y="2110"/>
                  </a:lnTo>
                  <a:lnTo>
                    <a:pt x="3689" y="2110"/>
                  </a:lnTo>
                  <a:lnTo>
                    <a:pt x="3689" y="2107"/>
                  </a:lnTo>
                  <a:lnTo>
                    <a:pt x="3689" y="2107"/>
                  </a:lnTo>
                  <a:lnTo>
                    <a:pt x="3689" y="2107"/>
                  </a:lnTo>
                  <a:lnTo>
                    <a:pt x="3689" y="2107"/>
                  </a:lnTo>
                  <a:lnTo>
                    <a:pt x="3689" y="2107"/>
                  </a:lnTo>
                  <a:lnTo>
                    <a:pt x="3689" y="2110"/>
                  </a:lnTo>
                  <a:lnTo>
                    <a:pt x="3689" y="2112"/>
                  </a:lnTo>
                  <a:lnTo>
                    <a:pt x="3689" y="2112"/>
                  </a:lnTo>
                  <a:lnTo>
                    <a:pt x="3689" y="2112"/>
                  </a:lnTo>
                  <a:lnTo>
                    <a:pt x="3687" y="2112"/>
                  </a:lnTo>
                  <a:lnTo>
                    <a:pt x="3685" y="2112"/>
                  </a:lnTo>
                  <a:lnTo>
                    <a:pt x="3685" y="2112"/>
                  </a:lnTo>
                  <a:lnTo>
                    <a:pt x="3682" y="2112"/>
                  </a:lnTo>
                  <a:lnTo>
                    <a:pt x="3682" y="2112"/>
                  </a:lnTo>
                  <a:lnTo>
                    <a:pt x="3682" y="2112"/>
                  </a:lnTo>
                  <a:lnTo>
                    <a:pt x="3682" y="2112"/>
                  </a:lnTo>
                  <a:lnTo>
                    <a:pt x="3682" y="2112"/>
                  </a:lnTo>
                  <a:lnTo>
                    <a:pt x="3682" y="2110"/>
                  </a:lnTo>
                  <a:lnTo>
                    <a:pt x="3682" y="2110"/>
                  </a:lnTo>
                  <a:lnTo>
                    <a:pt x="3680" y="2112"/>
                  </a:lnTo>
                  <a:lnTo>
                    <a:pt x="3680" y="2112"/>
                  </a:lnTo>
                  <a:lnTo>
                    <a:pt x="3680" y="2112"/>
                  </a:lnTo>
                  <a:lnTo>
                    <a:pt x="3677" y="2112"/>
                  </a:lnTo>
                  <a:lnTo>
                    <a:pt x="3677" y="2112"/>
                  </a:lnTo>
                  <a:lnTo>
                    <a:pt x="3677" y="2112"/>
                  </a:lnTo>
                  <a:lnTo>
                    <a:pt x="3677" y="2112"/>
                  </a:lnTo>
                  <a:lnTo>
                    <a:pt x="3677" y="2112"/>
                  </a:lnTo>
                  <a:lnTo>
                    <a:pt x="3677" y="2114"/>
                  </a:lnTo>
                  <a:lnTo>
                    <a:pt x="3677" y="2114"/>
                  </a:lnTo>
                  <a:lnTo>
                    <a:pt x="3677" y="2114"/>
                  </a:lnTo>
                  <a:lnTo>
                    <a:pt x="3680" y="2114"/>
                  </a:lnTo>
                  <a:lnTo>
                    <a:pt x="3680" y="2114"/>
                  </a:lnTo>
                  <a:lnTo>
                    <a:pt x="3680" y="2114"/>
                  </a:lnTo>
                  <a:lnTo>
                    <a:pt x="3680" y="2114"/>
                  </a:lnTo>
                  <a:lnTo>
                    <a:pt x="3680" y="2114"/>
                  </a:lnTo>
                  <a:lnTo>
                    <a:pt x="3680" y="2114"/>
                  </a:lnTo>
                  <a:lnTo>
                    <a:pt x="3682" y="2112"/>
                  </a:lnTo>
                  <a:lnTo>
                    <a:pt x="3682" y="2112"/>
                  </a:lnTo>
                  <a:lnTo>
                    <a:pt x="3682" y="2112"/>
                  </a:lnTo>
                  <a:lnTo>
                    <a:pt x="3682" y="2112"/>
                  </a:lnTo>
                  <a:lnTo>
                    <a:pt x="3682" y="2114"/>
                  </a:lnTo>
                  <a:lnTo>
                    <a:pt x="3682" y="2114"/>
                  </a:lnTo>
                  <a:lnTo>
                    <a:pt x="3682" y="2114"/>
                  </a:lnTo>
                  <a:lnTo>
                    <a:pt x="3682" y="2114"/>
                  </a:lnTo>
                  <a:lnTo>
                    <a:pt x="3682" y="2114"/>
                  </a:lnTo>
                  <a:lnTo>
                    <a:pt x="3680" y="2117"/>
                  </a:lnTo>
                  <a:lnTo>
                    <a:pt x="3680" y="2117"/>
                  </a:lnTo>
                  <a:lnTo>
                    <a:pt x="3680" y="2117"/>
                  </a:lnTo>
                  <a:lnTo>
                    <a:pt x="3680" y="2119"/>
                  </a:lnTo>
                  <a:lnTo>
                    <a:pt x="3680" y="2119"/>
                  </a:lnTo>
                  <a:lnTo>
                    <a:pt x="3680" y="2119"/>
                  </a:lnTo>
                  <a:lnTo>
                    <a:pt x="3680" y="2119"/>
                  </a:lnTo>
                  <a:lnTo>
                    <a:pt x="3677" y="2119"/>
                  </a:lnTo>
                  <a:lnTo>
                    <a:pt x="3677" y="2119"/>
                  </a:lnTo>
                  <a:lnTo>
                    <a:pt x="3677" y="2119"/>
                  </a:lnTo>
                  <a:lnTo>
                    <a:pt x="3677" y="2119"/>
                  </a:lnTo>
                  <a:lnTo>
                    <a:pt x="3677" y="2119"/>
                  </a:lnTo>
                  <a:lnTo>
                    <a:pt x="3677" y="2119"/>
                  </a:lnTo>
                  <a:lnTo>
                    <a:pt x="3677" y="2119"/>
                  </a:lnTo>
                  <a:lnTo>
                    <a:pt x="3680" y="2121"/>
                  </a:lnTo>
                  <a:lnTo>
                    <a:pt x="3680" y="2121"/>
                  </a:lnTo>
                  <a:lnTo>
                    <a:pt x="3680" y="2121"/>
                  </a:lnTo>
                  <a:lnTo>
                    <a:pt x="3680" y="2121"/>
                  </a:lnTo>
                  <a:lnTo>
                    <a:pt x="3682" y="2124"/>
                  </a:lnTo>
                  <a:lnTo>
                    <a:pt x="3682" y="2126"/>
                  </a:lnTo>
                  <a:lnTo>
                    <a:pt x="3682" y="2126"/>
                  </a:lnTo>
                  <a:lnTo>
                    <a:pt x="3685" y="2126"/>
                  </a:lnTo>
                  <a:lnTo>
                    <a:pt x="3685" y="2126"/>
                  </a:lnTo>
                  <a:lnTo>
                    <a:pt x="3682" y="2124"/>
                  </a:lnTo>
                  <a:lnTo>
                    <a:pt x="3682" y="2124"/>
                  </a:lnTo>
                  <a:lnTo>
                    <a:pt x="3685" y="2124"/>
                  </a:lnTo>
                  <a:lnTo>
                    <a:pt x="3687" y="2126"/>
                  </a:lnTo>
                  <a:lnTo>
                    <a:pt x="3687" y="2126"/>
                  </a:lnTo>
                  <a:lnTo>
                    <a:pt x="3687" y="2126"/>
                  </a:lnTo>
                  <a:lnTo>
                    <a:pt x="3689" y="2126"/>
                  </a:lnTo>
                  <a:lnTo>
                    <a:pt x="3689" y="2126"/>
                  </a:lnTo>
                  <a:lnTo>
                    <a:pt x="3692" y="2129"/>
                  </a:lnTo>
                  <a:lnTo>
                    <a:pt x="3692" y="2129"/>
                  </a:lnTo>
                  <a:lnTo>
                    <a:pt x="3692" y="2129"/>
                  </a:lnTo>
                  <a:lnTo>
                    <a:pt x="3692" y="2126"/>
                  </a:lnTo>
                  <a:lnTo>
                    <a:pt x="3692" y="2126"/>
                  </a:lnTo>
                  <a:lnTo>
                    <a:pt x="3692" y="2126"/>
                  </a:lnTo>
                  <a:lnTo>
                    <a:pt x="3692" y="2126"/>
                  </a:lnTo>
                  <a:lnTo>
                    <a:pt x="3689" y="2126"/>
                  </a:lnTo>
                  <a:lnTo>
                    <a:pt x="3692" y="2124"/>
                  </a:lnTo>
                  <a:lnTo>
                    <a:pt x="3692" y="2121"/>
                  </a:lnTo>
                  <a:lnTo>
                    <a:pt x="3692" y="2121"/>
                  </a:lnTo>
                  <a:lnTo>
                    <a:pt x="3694" y="2121"/>
                  </a:lnTo>
                  <a:lnTo>
                    <a:pt x="3694" y="2124"/>
                  </a:lnTo>
                  <a:lnTo>
                    <a:pt x="3692" y="2124"/>
                  </a:lnTo>
                  <a:lnTo>
                    <a:pt x="3692" y="2124"/>
                  </a:lnTo>
                  <a:lnTo>
                    <a:pt x="3692" y="2126"/>
                  </a:lnTo>
                  <a:lnTo>
                    <a:pt x="3692" y="2126"/>
                  </a:lnTo>
                  <a:lnTo>
                    <a:pt x="3694" y="2126"/>
                  </a:lnTo>
                  <a:lnTo>
                    <a:pt x="3694" y="2126"/>
                  </a:lnTo>
                  <a:lnTo>
                    <a:pt x="3694" y="2126"/>
                  </a:lnTo>
                  <a:lnTo>
                    <a:pt x="3694" y="2126"/>
                  </a:lnTo>
                  <a:lnTo>
                    <a:pt x="3694" y="2129"/>
                  </a:lnTo>
                  <a:lnTo>
                    <a:pt x="3694" y="2129"/>
                  </a:lnTo>
                  <a:lnTo>
                    <a:pt x="3694" y="2126"/>
                  </a:lnTo>
                  <a:lnTo>
                    <a:pt x="3694" y="2124"/>
                  </a:lnTo>
                  <a:lnTo>
                    <a:pt x="3694" y="2124"/>
                  </a:lnTo>
                  <a:lnTo>
                    <a:pt x="3696" y="2121"/>
                  </a:lnTo>
                  <a:lnTo>
                    <a:pt x="3696" y="2121"/>
                  </a:lnTo>
                  <a:lnTo>
                    <a:pt x="3696" y="2119"/>
                  </a:lnTo>
                  <a:lnTo>
                    <a:pt x="3696" y="2119"/>
                  </a:lnTo>
                  <a:lnTo>
                    <a:pt x="3696" y="2119"/>
                  </a:lnTo>
                  <a:lnTo>
                    <a:pt x="3696" y="2119"/>
                  </a:lnTo>
                  <a:lnTo>
                    <a:pt x="3696" y="2119"/>
                  </a:lnTo>
                  <a:lnTo>
                    <a:pt x="3696" y="2119"/>
                  </a:lnTo>
                  <a:lnTo>
                    <a:pt x="3696" y="2121"/>
                  </a:lnTo>
                  <a:lnTo>
                    <a:pt x="3696" y="2121"/>
                  </a:lnTo>
                  <a:lnTo>
                    <a:pt x="3696" y="2124"/>
                  </a:lnTo>
                  <a:lnTo>
                    <a:pt x="3696" y="2124"/>
                  </a:lnTo>
                  <a:lnTo>
                    <a:pt x="3696" y="2126"/>
                  </a:lnTo>
                  <a:lnTo>
                    <a:pt x="3696" y="2126"/>
                  </a:lnTo>
                  <a:lnTo>
                    <a:pt x="3696" y="2126"/>
                  </a:lnTo>
                  <a:lnTo>
                    <a:pt x="3699" y="2126"/>
                  </a:lnTo>
                  <a:lnTo>
                    <a:pt x="3699" y="2126"/>
                  </a:lnTo>
                  <a:lnTo>
                    <a:pt x="3699" y="2129"/>
                  </a:lnTo>
                  <a:lnTo>
                    <a:pt x="3696" y="2129"/>
                  </a:lnTo>
                  <a:lnTo>
                    <a:pt x="3696" y="2131"/>
                  </a:lnTo>
                  <a:lnTo>
                    <a:pt x="3696" y="2133"/>
                  </a:lnTo>
                  <a:lnTo>
                    <a:pt x="3696" y="2133"/>
                  </a:lnTo>
                  <a:lnTo>
                    <a:pt x="3696" y="2133"/>
                  </a:lnTo>
                  <a:lnTo>
                    <a:pt x="3696" y="2133"/>
                  </a:lnTo>
                  <a:lnTo>
                    <a:pt x="3696" y="2133"/>
                  </a:lnTo>
                  <a:lnTo>
                    <a:pt x="3696" y="2133"/>
                  </a:lnTo>
                  <a:lnTo>
                    <a:pt x="3696" y="2133"/>
                  </a:lnTo>
                  <a:lnTo>
                    <a:pt x="3696" y="2131"/>
                  </a:lnTo>
                  <a:lnTo>
                    <a:pt x="3699" y="2131"/>
                  </a:lnTo>
                  <a:lnTo>
                    <a:pt x="3699" y="2131"/>
                  </a:lnTo>
                  <a:lnTo>
                    <a:pt x="3701" y="2131"/>
                  </a:lnTo>
                  <a:lnTo>
                    <a:pt x="3701" y="2131"/>
                  </a:lnTo>
                  <a:lnTo>
                    <a:pt x="3701" y="2131"/>
                  </a:lnTo>
                  <a:lnTo>
                    <a:pt x="3701" y="2131"/>
                  </a:lnTo>
                  <a:lnTo>
                    <a:pt x="3703" y="2131"/>
                  </a:lnTo>
                  <a:lnTo>
                    <a:pt x="3701" y="2131"/>
                  </a:lnTo>
                  <a:lnTo>
                    <a:pt x="3701" y="2131"/>
                  </a:lnTo>
                  <a:lnTo>
                    <a:pt x="3701" y="2133"/>
                  </a:lnTo>
                  <a:lnTo>
                    <a:pt x="3701" y="2133"/>
                  </a:lnTo>
                  <a:lnTo>
                    <a:pt x="3701" y="2133"/>
                  </a:lnTo>
                  <a:lnTo>
                    <a:pt x="3701" y="2133"/>
                  </a:lnTo>
                  <a:lnTo>
                    <a:pt x="3701" y="2133"/>
                  </a:lnTo>
                  <a:lnTo>
                    <a:pt x="3699" y="2133"/>
                  </a:lnTo>
                  <a:lnTo>
                    <a:pt x="3701" y="2136"/>
                  </a:lnTo>
                  <a:lnTo>
                    <a:pt x="3701" y="2136"/>
                  </a:lnTo>
                  <a:lnTo>
                    <a:pt x="3701" y="2136"/>
                  </a:lnTo>
                  <a:lnTo>
                    <a:pt x="3701" y="2136"/>
                  </a:lnTo>
                  <a:lnTo>
                    <a:pt x="3701" y="2136"/>
                  </a:lnTo>
                  <a:lnTo>
                    <a:pt x="3701" y="2136"/>
                  </a:lnTo>
                  <a:lnTo>
                    <a:pt x="3701" y="2133"/>
                  </a:lnTo>
                  <a:lnTo>
                    <a:pt x="3703" y="2133"/>
                  </a:lnTo>
                  <a:lnTo>
                    <a:pt x="3703" y="2133"/>
                  </a:lnTo>
                  <a:lnTo>
                    <a:pt x="3703" y="2133"/>
                  </a:lnTo>
                  <a:lnTo>
                    <a:pt x="3703" y="2133"/>
                  </a:lnTo>
                  <a:lnTo>
                    <a:pt x="3703" y="2133"/>
                  </a:lnTo>
                  <a:lnTo>
                    <a:pt x="3703" y="2133"/>
                  </a:lnTo>
                  <a:lnTo>
                    <a:pt x="3703" y="2136"/>
                  </a:lnTo>
                  <a:lnTo>
                    <a:pt x="3701" y="2136"/>
                  </a:lnTo>
                  <a:lnTo>
                    <a:pt x="3701" y="2136"/>
                  </a:lnTo>
                  <a:lnTo>
                    <a:pt x="3701" y="2138"/>
                  </a:lnTo>
                  <a:lnTo>
                    <a:pt x="3701" y="2138"/>
                  </a:lnTo>
                  <a:lnTo>
                    <a:pt x="3701" y="2138"/>
                  </a:lnTo>
                  <a:lnTo>
                    <a:pt x="3701" y="2140"/>
                  </a:lnTo>
                  <a:lnTo>
                    <a:pt x="3699" y="2140"/>
                  </a:lnTo>
                  <a:lnTo>
                    <a:pt x="3701" y="2140"/>
                  </a:lnTo>
                  <a:lnTo>
                    <a:pt x="3701" y="2140"/>
                  </a:lnTo>
                  <a:lnTo>
                    <a:pt x="3701" y="2140"/>
                  </a:lnTo>
                  <a:lnTo>
                    <a:pt x="3701" y="2140"/>
                  </a:lnTo>
                  <a:lnTo>
                    <a:pt x="3701" y="2140"/>
                  </a:lnTo>
                  <a:lnTo>
                    <a:pt x="3701" y="2140"/>
                  </a:lnTo>
                  <a:lnTo>
                    <a:pt x="3701" y="2140"/>
                  </a:lnTo>
                  <a:lnTo>
                    <a:pt x="3701" y="2140"/>
                  </a:lnTo>
                  <a:lnTo>
                    <a:pt x="3701" y="2140"/>
                  </a:lnTo>
                  <a:lnTo>
                    <a:pt x="3701" y="2140"/>
                  </a:lnTo>
                  <a:lnTo>
                    <a:pt x="3701" y="2140"/>
                  </a:lnTo>
                  <a:lnTo>
                    <a:pt x="3701" y="2140"/>
                  </a:lnTo>
                  <a:lnTo>
                    <a:pt x="3701" y="2140"/>
                  </a:lnTo>
                  <a:lnTo>
                    <a:pt x="3701" y="2143"/>
                  </a:lnTo>
                  <a:lnTo>
                    <a:pt x="3701" y="2143"/>
                  </a:lnTo>
                  <a:lnTo>
                    <a:pt x="3701" y="2143"/>
                  </a:lnTo>
                  <a:lnTo>
                    <a:pt x="3701" y="2143"/>
                  </a:lnTo>
                  <a:lnTo>
                    <a:pt x="3701" y="2143"/>
                  </a:lnTo>
                  <a:lnTo>
                    <a:pt x="3701" y="2143"/>
                  </a:lnTo>
                  <a:lnTo>
                    <a:pt x="3703" y="2140"/>
                  </a:lnTo>
                  <a:lnTo>
                    <a:pt x="3703" y="2140"/>
                  </a:lnTo>
                  <a:lnTo>
                    <a:pt x="3706" y="2140"/>
                  </a:lnTo>
                  <a:lnTo>
                    <a:pt x="3708" y="2138"/>
                  </a:lnTo>
                  <a:lnTo>
                    <a:pt x="3708" y="2138"/>
                  </a:lnTo>
                  <a:lnTo>
                    <a:pt x="3711" y="2138"/>
                  </a:lnTo>
                  <a:lnTo>
                    <a:pt x="3711" y="2140"/>
                  </a:lnTo>
                  <a:lnTo>
                    <a:pt x="3708" y="2140"/>
                  </a:lnTo>
                  <a:lnTo>
                    <a:pt x="3708" y="2140"/>
                  </a:lnTo>
                  <a:lnTo>
                    <a:pt x="3708" y="2140"/>
                  </a:lnTo>
                  <a:lnTo>
                    <a:pt x="3706" y="2143"/>
                  </a:lnTo>
                  <a:lnTo>
                    <a:pt x="3706" y="2143"/>
                  </a:lnTo>
                  <a:lnTo>
                    <a:pt x="3708" y="2143"/>
                  </a:lnTo>
                  <a:lnTo>
                    <a:pt x="3708" y="2143"/>
                  </a:lnTo>
                  <a:lnTo>
                    <a:pt x="3708" y="2143"/>
                  </a:lnTo>
                  <a:lnTo>
                    <a:pt x="3711" y="2143"/>
                  </a:lnTo>
                  <a:lnTo>
                    <a:pt x="3711" y="2145"/>
                  </a:lnTo>
                  <a:lnTo>
                    <a:pt x="3711" y="2145"/>
                  </a:lnTo>
                  <a:lnTo>
                    <a:pt x="3711" y="2145"/>
                  </a:lnTo>
                  <a:lnTo>
                    <a:pt x="3711" y="2145"/>
                  </a:lnTo>
                  <a:lnTo>
                    <a:pt x="3711" y="2145"/>
                  </a:lnTo>
                  <a:lnTo>
                    <a:pt x="3708" y="2145"/>
                  </a:lnTo>
                  <a:lnTo>
                    <a:pt x="3708" y="2145"/>
                  </a:lnTo>
                  <a:lnTo>
                    <a:pt x="3708" y="2145"/>
                  </a:lnTo>
                  <a:lnTo>
                    <a:pt x="3708" y="2148"/>
                  </a:lnTo>
                  <a:lnTo>
                    <a:pt x="3708" y="2148"/>
                  </a:lnTo>
                  <a:lnTo>
                    <a:pt x="3711" y="2148"/>
                  </a:lnTo>
                  <a:lnTo>
                    <a:pt x="3708" y="2148"/>
                  </a:lnTo>
                  <a:lnTo>
                    <a:pt x="3706" y="2148"/>
                  </a:lnTo>
                  <a:lnTo>
                    <a:pt x="3706" y="2148"/>
                  </a:lnTo>
                  <a:lnTo>
                    <a:pt x="3706" y="2148"/>
                  </a:lnTo>
                  <a:lnTo>
                    <a:pt x="3706" y="2150"/>
                  </a:lnTo>
                  <a:lnTo>
                    <a:pt x="3706" y="2150"/>
                  </a:lnTo>
                  <a:lnTo>
                    <a:pt x="3706" y="2150"/>
                  </a:lnTo>
                  <a:lnTo>
                    <a:pt x="3706" y="2150"/>
                  </a:lnTo>
                  <a:lnTo>
                    <a:pt x="3706" y="2152"/>
                  </a:lnTo>
                  <a:lnTo>
                    <a:pt x="3706" y="2152"/>
                  </a:lnTo>
                  <a:lnTo>
                    <a:pt x="3706" y="2152"/>
                  </a:lnTo>
                  <a:lnTo>
                    <a:pt x="3706" y="2152"/>
                  </a:lnTo>
                  <a:lnTo>
                    <a:pt x="3706" y="2155"/>
                  </a:lnTo>
                  <a:lnTo>
                    <a:pt x="3706" y="2155"/>
                  </a:lnTo>
                  <a:lnTo>
                    <a:pt x="3706" y="2155"/>
                  </a:lnTo>
                  <a:lnTo>
                    <a:pt x="3706" y="2155"/>
                  </a:lnTo>
                  <a:lnTo>
                    <a:pt x="3703" y="2155"/>
                  </a:lnTo>
                  <a:lnTo>
                    <a:pt x="3703" y="2157"/>
                  </a:lnTo>
                  <a:lnTo>
                    <a:pt x="3703" y="2157"/>
                  </a:lnTo>
                  <a:lnTo>
                    <a:pt x="3703" y="2157"/>
                  </a:lnTo>
                  <a:lnTo>
                    <a:pt x="3703" y="2157"/>
                  </a:lnTo>
                  <a:lnTo>
                    <a:pt x="3703" y="2159"/>
                  </a:lnTo>
                  <a:lnTo>
                    <a:pt x="3703" y="2159"/>
                  </a:lnTo>
                  <a:lnTo>
                    <a:pt x="3703" y="2159"/>
                  </a:lnTo>
                  <a:lnTo>
                    <a:pt x="3703" y="2159"/>
                  </a:lnTo>
                  <a:lnTo>
                    <a:pt x="3703" y="2159"/>
                  </a:lnTo>
                  <a:lnTo>
                    <a:pt x="3703" y="2162"/>
                  </a:lnTo>
                  <a:lnTo>
                    <a:pt x="3703" y="2162"/>
                  </a:lnTo>
                  <a:lnTo>
                    <a:pt x="3703" y="2162"/>
                  </a:lnTo>
                  <a:lnTo>
                    <a:pt x="3703" y="2162"/>
                  </a:lnTo>
                  <a:lnTo>
                    <a:pt x="3703" y="2164"/>
                  </a:lnTo>
                  <a:lnTo>
                    <a:pt x="3703" y="2166"/>
                  </a:lnTo>
                  <a:lnTo>
                    <a:pt x="3703" y="2164"/>
                  </a:lnTo>
                  <a:lnTo>
                    <a:pt x="3703" y="2164"/>
                  </a:lnTo>
                  <a:lnTo>
                    <a:pt x="3703" y="2166"/>
                  </a:lnTo>
                  <a:lnTo>
                    <a:pt x="3703" y="2166"/>
                  </a:lnTo>
                  <a:lnTo>
                    <a:pt x="3703" y="2166"/>
                  </a:lnTo>
                  <a:lnTo>
                    <a:pt x="3703" y="2169"/>
                  </a:lnTo>
                  <a:lnTo>
                    <a:pt x="3703" y="2169"/>
                  </a:lnTo>
                  <a:lnTo>
                    <a:pt x="3703" y="2169"/>
                  </a:lnTo>
                  <a:lnTo>
                    <a:pt x="3703" y="2169"/>
                  </a:lnTo>
                  <a:lnTo>
                    <a:pt x="3703" y="2169"/>
                  </a:lnTo>
                  <a:lnTo>
                    <a:pt x="3703" y="2169"/>
                  </a:lnTo>
                  <a:lnTo>
                    <a:pt x="3703" y="2169"/>
                  </a:lnTo>
                  <a:lnTo>
                    <a:pt x="3703" y="2169"/>
                  </a:lnTo>
                  <a:lnTo>
                    <a:pt x="3703" y="2169"/>
                  </a:lnTo>
                  <a:lnTo>
                    <a:pt x="3703" y="2171"/>
                  </a:lnTo>
                  <a:lnTo>
                    <a:pt x="3703" y="2171"/>
                  </a:lnTo>
                  <a:lnTo>
                    <a:pt x="3703" y="2171"/>
                  </a:lnTo>
                  <a:lnTo>
                    <a:pt x="3703" y="2174"/>
                  </a:lnTo>
                  <a:lnTo>
                    <a:pt x="3703" y="2174"/>
                  </a:lnTo>
                  <a:lnTo>
                    <a:pt x="3703" y="2174"/>
                  </a:lnTo>
                  <a:lnTo>
                    <a:pt x="3703" y="2174"/>
                  </a:lnTo>
                  <a:lnTo>
                    <a:pt x="3703" y="2174"/>
                  </a:lnTo>
                  <a:lnTo>
                    <a:pt x="3703" y="2176"/>
                  </a:lnTo>
                  <a:lnTo>
                    <a:pt x="3703" y="2176"/>
                  </a:lnTo>
                  <a:lnTo>
                    <a:pt x="3703" y="2178"/>
                  </a:lnTo>
                  <a:lnTo>
                    <a:pt x="3703" y="2178"/>
                  </a:lnTo>
                  <a:lnTo>
                    <a:pt x="3703" y="2178"/>
                  </a:lnTo>
                  <a:lnTo>
                    <a:pt x="3703" y="2178"/>
                  </a:lnTo>
                  <a:lnTo>
                    <a:pt x="3703" y="2181"/>
                  </a:lnTo>
                  <a:lnTo>
                    <a:pt x="3706" y="2183"/>
                  </a:lnTo>
                  <a:lnTo>
                    <a:pt x="3706" y="2183"/>
                  </a:lnTo>
                  <a:lnTo>
                    <a:pt x="3706" y="2183"/>
                  </a:lnTo>
                  <a:lnTo>
                    <a:pt x="3708" y="2183"/>
                  </a:lnTo>
                  <a:lnTo>
                    <a:pt x="3708" y="2181"/>
                  </a:lnTo>
                  <a:lnTo>
                    <a:pt x="3706" y="2181"/>
                  </a:lnTo>
                  <a:lnTo>
                    <a:pt x="3706" y="2178"/>
                  </a:lnTo>
                  <a:lnTo>
                    <a:pt x="3706" y="2178"/>
                  </a:lnTo>
                  <a:lnTo>
                    <a:pt x="3706" y="2176"/>
                  </a:lnTo>
                  <a:lnTo>
                    <a:pt x="3706" y="2174"/>
                  </a:lnTo>
                  <a:lnTo>
                    <a:pt x="3706" y="2171"/>
                  </a:lnTo>
                  <a:lnTo>
                    <a:pt x="3708" y="2171"/>
                  </a:lnTo>
                  <a:lnTo>
                    <a:pt x="3708" y="2169"/>
                  </a:lnTo>
                  <a:lnTo>
                    <a:pt x="3708" y="2169"/>
                  </a:lnTo>
                  <a:lnTo>
                    <a:pt x="3708" y="2169"/>
                  </a:lnTo>
                  <a:lnTo>
                    <a:pt x="3708" y="2169"/>
                  </a:lnTo>
                  <a:lnTo>
                    <a:pt x="3708" y="2169"/>
                  </a:lnTo>
                  <a:lnTo>
                    <a:pt x="3711" y="2169"/>
                  </a:lnTo>
                  <a:lnTo>
                    <a:pt x="3711" y="2169"/>
                  </a:lnTo>
                  <a:lnTo>
                    <a:pt x="3708" y="2169"/>
                  </a:lnTo>
                  <a:lnTo>
                    <a:pt x="3708" y="2169"/>
                  </a:lnTo>
                  <a:lnTo>
                    <a:pt x="3708" y="2166"/>
                  </a:lnTo>
                  <a:lnTo>
                    <a:pt x="3708" y="2166"/>
                  </a:lnTo>
                  <a:lnTo>
                    <a:pt x="3708" y="2166"/>
                  </a:lnTo>
                  <a:lnTo>
                    <a:pt x="3708" y="2166"/>
                  </a:lnTo>
                  <a:lnTo>
                    <a:pt x="3708" y="2166"/>
                  </a:lnTo>
                  <a:lnTo>
                    <a:pt x="3708" y="2164"/>
                  </a:lnTo>
                  <a:lnTo>
                    <a:pt x="3711" y="2164"/>
                  </a:lnTo>
                  <a:lnTo>
                    <a:pt x="3711" y="2164"/>
                  </a:lnTo>
                  <a:lnTo>
                    <a:pt x="3711" y="2162"/>
                  </a:lnTo>
                  <a:lnTo>
                    <a:pt x="3711" y="2162"/>
                  </a:lnTo>
                  <a:lnTo>
                    <a:pt x="3711" y="2162"/>
                  </a:lnTo>
                  <a:lnTo>
                    <a:pt x="3711" y="2159"/>
                  </a:lnTo>
                  <a:lnTo>
                    <a:pt x="3711" y="2159"/>
                  </a:lnTo>
                  <a:lnTo>
                    <a:pt x="3713" y="2155"/>
                  </a:lnTo>
                  <a:lnTo>
                    <a:pt x="3713" y="2152"/>
                  </a:lnTo>
                  <a:lnTo>
                    <a:pt x="3715" y="2152"/>
                  </a:lnTo>
                  <a:lnTo>
                    <a:pt x="3715" y="2150"/>
                  </a:lnTo>
                  <a:lnTo>
                    <a:pt x="3715" y="2148"/>
                  </a:lnTo>
                  <a:lnTo>
                    <a:pt x="3718" y="2145"/>
                  </a:lnTo>
                  <a:lnTo>
                    <a:pt x="3718" y="2145"/>
                  </a:lnTo>
                  <a:lnTo>
                    <a:pt x="3718" y="2143"/>
                  </a:lnTo>
                  <a:lnTo>
                    <a:pt x="3718" y="2143"/>
                  </a:lnTo>
                  <a:lnTo>
                    <a:pt x="3720" y="2140"/>
                  </a:lnTo>
                  <a:lnTo>
                    <a:pt x="3720" y="2140"/>
                  </a:lnTo>
                  <a:lnTo>
                    <a:pt x="3720" y="2140"/>
                  </a:lnTo>
                  <a:lnTo>
                    <a:pt x="3718" y="2140"/>
                  </a:lnTo>
                  <a:lnTo>
                    <a:pt x="3718" y="2140"/>
                  </a:lnTo>
                  <a:lnTo>
                    <a:pt x="3718" y="2140"/>
                  </a:lnTo>
                  <a:lnTo>
                    <a:pt x="3718" y="2140"/>
                  </a:lnTo>
                  <a:lnTo>
                    <a:pt x="3720" y="2140"/>
                  </a:lnTo>
                  <a:lnTo>
                    <a:pt x="3718" y="2138"/>
                  </a:lnTo>
                  <a:lnTo>
                    <a:pt x="3718" y="2138"/>
                  </a:lnTo>
                  <a:lnTo>
                    <a:pt x="3718" y="2138"/>
                  </a:lnTo>
                  <a:lnTo>
                    <a:pt x="3718" y="2138"/>
                  </a:lnTo>
                  <a:lnTo>
                    <a:pt x="3718" y="2138"/>
                  </a:lnTo>
                  <a:lnTo>
                    <a:pt x="3718" y="2138"/>
                  </a:lnTo>
                  <a:lnTo>
                    <a:pt x="3718" y="2136"/>
                  </a:lnTo>
                  <a:lnTo>
                    <a:pt x="3718" y="2136"/>
                  </a:lnTo>
                  <a:lnTo>
                    <a:pt x="3718" y="2136"/>
                  </a:lnTo>
                  <a:lnTo>
                    <a:pt x="3720" y="2136"/>
                  </a:lnTo>
                  <a:lnTo>
                    <a:pt x="3720" y="2133"/>
                  </a:lnTo>
                  <a:lnTo>
                    <a:pt x="3720" y="2133"/>
                  </a:lnTo>
                  <a:lnTo>
                    <a:pt x="3720" y="2133"/>
                  </a:lnTo>
                  <a:lnTo>
                    <a:pt x="3720" y="2131"/>
                  </a:lnTo>
                  <a:lnTo>
                    <a:pt x="3720" y="2131"/>
                  </a:lnTo>
                  <a:lnTo>
                    <a:pt x="3720" y="2131"/>
                  </a:lnTo>
                  <a:lnTo>
                    <a:pt x="3720" y="2129"/>
                  </a:lnTo>
                  <a:lnTo>
                    <a:pt x="3720" y="2129"/>
                  </a:lnTo>
                  <a:lnTo>
                    <a:pt x="3720" y="2129"/>
                  </a:lnTo>
                  <a:lnTo>
                    <a:pt x="3722" y="2129"/>
                  </a:lnTo>
                  <a:lnTo>
                    <a:pt x="3722" y="2129"/>
                  </a:lnTo>
                  <a:lnTo>
                    <a:pt x="3722" y="2129"/>
                  </a:lnTo>
                  <a:lnTo>
                    <a:pt x="3722" y="2126"/>
                  </a:lnTo>
                  <a:lnTo>
                    <a:pt x="3722" y="2126"/>
                  </a:lnTo>
                  <a:lnTo>
                    <a:pt x="3722" y="2126"/>
                  </a:lnTo>
                  <a:lnTo>
                    <a:pt x="3722" y="2121"/>
                  </a:lnTo>
                  <a:lnTo>
                    <a:pt x="3722" y="2121"/>
                  </a:lnTo>
                  <a:lnTo>
                    <a:pt x="3722" y="2121"/>
                  </a:lnTo>
                  <a:lnTo>
                    <a:pt x="3725" y="2119"/>
                  </a:lnTo>
                  <a:lnTo>
                    <a:pt x="3725" y="2121"/>
                  </a:lnTo>
                  <a:lnTo>
                    <a:pt x="3725" y="2121"/>
                  </a:lnTo>
                  <a:lnTo>
                    <a:pt x="3725" y="2121"/>
                  </a:lnTo>
                  <a:lnTo>
                    <a:pt x="3725" y="2121"/>
                  </a:lnTo>
                  <a:lnTo>
                    <a:pt x="3727" y="2119"/>
                  </a:lnTo>
                  <a:lnTo>
                    <a:pt x="3727" y="2117"/>
                  </a:lnTo>
                  <a:lnTo>
                    <a:pt x="3727" y="2117"/>
                  </a:lnTo>
                  <a:lnTo>
                    <a:pt x="3727" y="2117"/>
                  </a:lnTo>
                  <a:lnTo>
                    <a:pt x="3727" y="2114"/>
                  </a:lnTo>
                  <a:lnTo>
                    <a:pt x="3727" y="2114"/>
                  </a:lnTo>
                  <a:lnTo>
                    <a:pt x="3727" y="2114"/>
                  </a:lnTo>
                  <a:lnTo>
                    <a:pt x="3725" y="2114"/>
                  </a:lnTo>
                  <a:lnTo>
                    <a:pt x="3725" y="2114"/>
                  </a:lnTo>
                  <a:lnTo>
                    <a:pt x="3725" y="2114"/>
                  </a:lnTo>
                  <a:lnTo>
                    <a:pt x="3725" y="2114"/>
                  </a:lnTo>
                  <a:lnTo>
                    <a:pt x="3725" y="2114"/>
                  </a:lnTo>
                  <a:lnTo>
                    <a:pt x="3725" y="2114"/>
                  </a:lnTo>
                  <a:lnTo>
                    <a:pt x="3725" y="2114"/>
                  </a:lnTo>
                  <a:lnTo>
                    <a:pt x="3725" y="2114"/>
                  </a:lnTo>
                  <a:lnTo>
                    <a:pt x="3725" y="2112"/>
                  </a:lnTo>
                  <a:lnTo>
                    <a:pt x="3725" y="2112"/>
                  </a:lnTo>
                  <a:lnTo>
                    <a:pt x="3722" y="2112"/>
                  </a:lnTo>
                  <a:lnTo>
                    <a:pt x="3722" y="2112"/>
                  </a:lnTo>
                  <a:lnTo>
                    <a:pt x="3725" y="2112"/>
                  </a:lnTo>
                  <a:lnTo>
                    <a:pt x="3725" y="2112"/>
                  </a:lnTo>
                  <a:lnTo>
                    <a:pt x="3725" y="2112"/>
                  </a:lnTo>
                  <a:lnTo>
                    <a:pt x="3725" y="2112"/>
                  </a:lnTo>
                  <a:lnTo>
                    <a:pt x="3727" y="2112"/>
                  </a:lnTo>
                  <a:lnTo>
                    <a:pt x="3725" y="2112"/>
                  </a:lnTo>
                  <a:lnTo>
                    <a:pt x="3725" y="2110"/>
                  </a:lnTo>
                  <a:lnTo>
                    <a:pt x="3727" y="2112"/>
                  </a:lnTo>
                  <a:lnTo>
                    <a:pt x="3727" y="2110"/>
                  </a:lnTo>
                  <a:lnTo>
                    <a:pt x="3727" y="2110"/>
                  </a:lnTo>
                  <a:lnTo>
                    <a:pt x="3725" y="2110"/>
                  </a:lnTo>
                  <a:lnTo>
                    <a:pt x="3727" y="2110"/>
                  </a:lnTo>
                  <a:lnTo>
                    <a:pt x="3727" y="2110"/>
                  </a:lnTo>
                  <a:lnTo>
                    <a:pt x="3727" y="2110"/>
                  </a:lnTo>
                  <a:lnTo>
                    <a:pt x="3727" y="2110"/>
                  </a:lnTo>
                  <a:lnTo>
                    <a:pt x="3727" y="2110"/>
                  </a:lnTo>
                  <a:lnTo>
                    <a:pt x="3727" y="2112"/>
                  </a:lnTo>
                  <a:lnTo>
                    <a:pt x="3727" y="2114"/>
                  </a:lnTo>
                  <a:lnTo>
                    <a:pt x="3727" y="2114"/>
                  </a:lnTo>
                  <a:lnTo>
                    <a:pt x="3727" y="2114"/>
                  </a:lnTo>
                  <a:lnTo>
                    <a:pt x="3727" y="2112"/>
                  </a:lnTo>
                  <a:lnTo>
                    <a:pt x="3727" y="2112"/>
                  </a:lnTo>
                  <a:lnTo>
                    <a:pt x="3727" y="2110"/>
                  </a:lnTo>
                  <a:lnTo>
                    <a:pt x="3727" y="2110"/>
                  </a:lnTo>
                  <a:lnTo>
                    <a:pt x="3727" y="2107"/>
                  </a:lnTo>
                  <a:lnTo>
                    <a:pt x="3727" y="2107"/>
                  </a:lnTo>
                  <a:lnTo>
                    <a:pt x="3727" y="2105"/>
                  </a:lnTo>
                  <a:lnTo>
                    <a:pt x="3725" y="2105"/>
                  </a:lnTo>
                  <a:lnTo>
                    <a:pt x="3725" y="2103"/>
                  </a:lnTo>
                  <a:lnTo>
                    <a:pt x="3725" y="2103"/>
                  </a:lnTo>
                  <a:lnTo>
                    <a:pt x="3725" y="2103"/>
                  </a:lnTo>
                  <a:lnTo>
                    <a:pt x="3725" y="2103"/>
                  </a:lnTo>
                  <a:lnTo>
                    <a:pt x="3725" y="2103"/>
                  </a:lnTo>
                  <a:lnTo>
                    <a:pt x="3725" y="2103"/>
                  </a:lnTo>
                  <a:lnTo>
                    <a:pt x="3725" y="2103"/>
                  </a:lnTo>
                  <a:lnTo>
                    <a:pt x="3725" y="2105"/>
                  </a:lnTo>
                  <a:lnTo>
                    <a:pt x="3725" y="2105"/>
                  </a:lnTo>
                  <a:lnTo>
                    <a:pt x="3725" y="2105"/>
                  </a:lnTo>
                  <a:lnTo>
                    <a:pt x="3722" y="2103"/>
                  </a:lnTo>
                  <a:lnTo>
                    <a:pt x="3722" y="2103"/>
                  </a:lnTo>
                  <a:lnTo>
                    <a:pt x="3722" y="2103"/>
                  </a:lnTo>
                  <a:lnTo>
                    <a:pt x="3720" y="2105"/>
                  </a:lnTo>
                  <a:lnTo>
                    <a:pt x="3720" y="2105"/>
                  </a:lnTo>
                  <a:lnTo>
                    <a:pt x="3720" y="2105"/>
                  </a:lnTo>
                  <a:lnTo>
                    <a:pt x="3720" y="2105"/>
                  </a:lnTo>
                  <a:lnTo>
                    <a:pt x="3720" y="2105"/>
                  </a:lnTo>
                  <a:lnTo>
                    <a:pt x="3720" y="2105"/>
                  </a:lnTo>
                  <a:lnTo>
                    <a:pt x="3720" y="2105"/>
                  </a:lnTo>
                  <a:lnTo>
                    <a:pt x="3720" y="2103"/>
                  </a:lnTo>
                  <a:lnTo>
                    <a:pt x="3722" y="2103"/>
                  </a:lnTo>
                  <a:lnTo>
                    <a:pt x="3722" y="2100"/>
                  </a:lnTo>
                  <a:lnTo>
                    <a:pt x="3722" y="2100"/>
                  </a:lnTo>
                  <a:lnTo>
                    <a:pt x="3722" y="2100"/>
                  </a:lnTo>
                  <a:lnTo>
                    <a:pt x="3722" y="2100"/>
                  </a:lnTo>
                  <a:lnTo>
                    <a:pt x="3720" y="2100"/>
                  </a:lnTo>
                  <a:lnTo>
                    <a:pt x="3720" y="2100"/>
                  </a:lnTo>
                  <a:lnTo>
                    <a:pt x="3722" y="2100"/>
                  </a:lnTo>
                  <a:lnTo>
                    <a:pt x="3722" y="2100"/>
                  </a:lnTo>
                  <a:lnTo>
                    <a:pt x="3722" y="2100"/>
                  </a:lnTo>
                  <a:lnTo>
                    <a:pt x="3722" y="2100"/>
                  </a:lnTo>
                  <a:lnTo>
                    <a:pt x="3722" y="2100"/>
                  </a:lnTo>
                  <a:lnTo>
                    <a:pt x="3722" y="2098"/>
                  </a:lnTo>
                  <a:lnTo>
                    <a:pt x="3722" y="2098"/>
                  </a:lnTo>
                  <a:lnTo>
                    <a:pt x="3722" y="2098"/>
                  </a:lnTo>
                  <a:lnTo>
                    <a:pt x="3725" y="2098"/>
                  </a:lnTo>
                  <a:lnTo>
                    <a:pt x="3725" y="2100"/>
                  </a:lnTo>
                  <a:lnTo>
                    <a:pt x="3725" y="2100"/>
                  </a:lnTo>
                  <a:lnTo>
                    <a:pt x="3725" y="2098"/>
                  </a:lnTo>
                  <a:lnTo>
                    <a:pt x="3722" y="2093"/>
                  </a:lnTo>
                  <a:lnTo>
                    <a:pt x="3722" y="2093"/>
                  </a:lnTo>
                  <a:lnTo>
                    <a:pt x="3722" y="2093"/>
                  </a:lnTo>
                  <a:lnTo>
                    <a:pt x="3722" y="2093"/>
                  </a:lnTo>
                  <a:lnTo>
                    <a:pt x="3722" y="2093"/>
                  </a:lnTo>
                  <a:lnTo>
                    <a:pt x="3720" y="2093"/>
                  </a:lnTo>
                  <a:lnTo>
                    <a:pt x="3720" y="2093"/>
                  </a:lnTo>
                  <a:lnTo>
                    <a:pt x="3718" y="2093"/>
                  </a:lnTo>
                  <a:lnTo>
                    <a:pt x="3715" y="2091"/>
                  </a:lnTo>
                  <a:lnTo>
                    <a:pt x="3713" y="2088"/>
                  </a:lnTo>
                  <a:lnTo>
                    <a:pt x="3713" y="2088"/>
                  </a:lnTo>
                  <a:lnTo>
                    <a:pt x="3711" y="2086"/>
                  </a:lnTo>
                  <a:lnTo>
                    <a:pt x="3711" y="2086"/>
                  </a:lnTo>
                  <a:lnTo>
                    <a:pt x="3711" y="2086"/>
                  </a:lnTo>
                  <a:lnTo>
                    <a:pt x="3711" y="2084"/>
                  </a:lnTo>
                  <a:lnTo>
                    <a:pt x="3708" y="2084"/>
                  </a:lnTo>
                  <a:lnTo>
                    <a:pt x="3708" y="2084"/>
                  </a:lnTo>
                  <a:lnTo>
                    <a:pt x="3706" y="2081"/>
                  </a:lnTo>
                  <a:lnTo>
                    <a:pt x="3706" y="2081"/>
                  </a:lnTo>
                  <a:lnTo>
                    <a:pt x="3706" y="2079"/>
                  </a:lnTo>
                  <a:lnTo>
                    <a:pt x="3706" y="2079"/>
                  </a:lnTo>
                  <a:lnTo>
                    <a:pt x="3706" y="2079"/>
                  </a:lnTo>
                  <a:lnTo>
                    <a:pt x="3706" y="2077"/>
                  </a:lnTo>
                  <a:lnTo>
                    <a:pt x="3706" y="2074"/>
                  </a:lnTo>
                  <a:lnTo>
                    <a:pt x="3706" y="2072"/>
                  </a:lnTo>
                  <a:lnTo>
                    <a:pt x="3703" y="2072"/>
                  </a:lnTo>
                  <a:lnTo>
                    <a:pt x="3703" y="2072"/>
                  </a:lnTo>
                  <a:lnTo>
                    <a:pt x="3703" y="2069"/>
                  </a:lnTo>
                  <a:lnTo>
                    <a:pt x="3701" y="2069"/>
                  </a:lnTo>
                  <a:lnTo>
                    <a:pt x="3701" y="2069"/>
                  </a:lnTo>
                  <a:lnTo>
                    <a:pt x="3701" y="2069"/>
                  </a:lnTo>
                  <a:lnTo>
                    <a:pt x="3701" y="2069"/>
                  </a:lnTo>
                  <a:lnTo>
                    <a:pt x="3699" y="2067"/>
                  </a:lnTo>
                  <a:lnTo>
                    <a:pt x="3696" y="2065"/>
                  </a:lnTo>
                  <a:lnTo>
                    <a:pt x="3696" y="2065"/>
                  </a:lnTo>
                  <a:lnTo>
                    <a:pt x="3694" y="2065"/>
                  </a:lnTo>
                  <a:lnTo>
                    <a:pt x="3694" y="2062"/>
                  </a:lnTo>
                  <a:lnTo>
                    <a:pt x="3694" y="2062"/>
                  </a:lnTo>
                  <a:lnTo>
                    <a:pt x="3696" y="2060"/>
                  </a:lnTo>
                  <a:lnTo>
                    <a:pt x="3696" y="2060"/>
                  </a:lnTo>
                  <a:lnTo>
                    <a:pt x="3696" y="2060"/>
                  </a:lnTo>
                  <a:lnTo>
                    <a:pt x="3694" y="2058"/>
                  </a:lnTo>
                  <a:lnTo>
                    <a:pt x="3694" y="2058"/>
                  </a:lnTo>
                  <a:lnTo>
                    <a:pt x="3694" y="2058"/>
                  </a:lnTo>
                  <a:lnTo>
                    <a:pt x="3692" y="2058"/>
                  </a:lnTo>
                  <a:lnTo>
                    <a:pt x="3692" y="2055"/>
                  </a:lnTo>
                  <a:lnTo>
                    <a:pt x="3692" y="2055"/>
                  </a:lnTo>
                  <a:lnTo>
                    <a:pt x="3692" y="2055"/>
                  </a:lnTo>
                  <a:lnTo>
                    <a:pt x="3694" y="2055"/>
                  </a:lnTo>
                  <a:lnTo>
                    <a:pt x="3694" y="2053"/>
                  </a:lnTo>
                  <a:lnTo>
                    <a:pt x="3694" y="2053"/>
                  </a:lnTo>
                  <a:lnTo>
                    <a:pt x="3696" y="2051"/>
                  </a:lnTo>
                  <a:lnTo>
                    <a:pt x="3696" y="2051"/>
                  </a:lnTo>
                  <a:lnTo>
                    <a:pt x="3696" y="2048"/>
                  </a:lnTo>
                  <a:lnTo>
                    <a:pt x="3696" y="2046"/>
                  </a:lnTo>
                  <a:lnTo>
                    <a:pt x="3696" y="2046"/>
                  </a:lnTo>
                  <a:lnTo>
                    <a:pt x="3699" y="2043"/>
                  </a:lnTo>
                  <a:lnTo>
                    <a:pt x="3699" y="2043"/>
                  </a:lnTo>
                  <a:lnTo>
                    <a:pt x="3699" y="2043"/>
                  </a:lnTo>
                  <a:lnTo>
                    <a:pt x="3701" y="2041"/>
                  </a:lnTo>
                  <a:lnTo>
                    <a:pt x="3703" y="2041"/>
                  </a:lnTo>
                  <a:lnTo>
                    <a:pt x="3703" y="2041"/>
                  </a:lnTo>
                  <a:lnTo>
                    <a:pt x="3706" y="2039"/>
                  </a:lnTo>
                  <a:lnTo>
                    <a:pt x="3708" y="2039"/>
                  </a:lnTo>
                  <a:lnTo>
                    <a:pt x="3708" y="2039"/>
                  </a:lnTo>
                  <a:lnTo>
                    <a:pt x="3708" y="2036"/>
                  </a:lnTo>
                  <a:lnTo>
                    <a:pt x="3706" y="2036"/>
                  </a:lnTo>
                  <a:lnTo>
                    <a:pt x="3708" y="2034"/>
                  </a:lnTo>
                  <a:lnTo>
                    <a:pt x="3708" y="2034"/>
                  </a:lnTo>
                  <a:lnTo>
                    <a:pt x="3708" y="2034"/>
                  </a:lnTo>
                  <a:lnTo>
                    <a:pt x="3711" y="2032"/>
                  </a:lnTo>
                  <a:lnTo>
                    <a:pt x="3711" y="2032"/>
                  </a:lnTo>
                  <a:lnTo>
                    <a:pt x="3711" y="2032"/>
                  </a:lnTo>
                  <a:lnTo>
                    <a:pt x="3708" y="2034"/>
                  </a:lnTo>
                  <a:lnTo>
                    <a:pt x="3708" y="2034"/>
                  </a:lnTo>
                  <a:lnTo>
                    <a:pt x="3708" y="2036"/>
                  </a:lnTo>
                  <a:lnTo>
                    <a:pt x="3708" y="2036"/>
                  </a:lnTo>
                  <a:lnTo>
                    <a:pt x="3708" y="2036"/>
                  </a:lnTo>
                  <a:lnTo>
                    <a:pt x="3708" y="2036"/>
                  </a:lnTo>
                  <a:lnTo>
                    <a:pt x="3708" y="2039"/>
                  </a:lnTo>
                  <a:lnTo>
                    <a:pt x="3708" y="2039"/>
                  </a:lnTo>
                  <a:lnTo>
                    <a:pt x="3708" y="2039"/>
                  </a:lnTo>
                  <a:lnTo>
                    <a:pt x="3708" y="2039"/>
                  </a:lnTo>
                  <a:lnTo>
                    <a:pt x="3706" y="2039"/>
                  </a:lnTo>
                  <a:lnTo>
                    <a:pt x="3706" y="2039"/>
                  </a:lnTo>
                  <a:lnTo>
                    <a:pt x="3706" y="2039"/>
                  </a:lnTo>
                  <a:lnTo>
                    <a:pt x="3706" y="2041"/>
                  </a:lnTo>
                  <a:lnTo>
                    <a:pt x="3706" y="2041"/>
                  </a:lnTo>
                  <a:lnTo>
                    <a:pt x="3703" y="2041"/>
                  </a:lnTo>
                  <a:lnTo>
                    <a:pt x="3703" y="2041"/>
                  </a:lnTo>
                  <a:lnTo>
                    <a:pt x="3703" y="2041"/>
                  </a:lnTo>
                  <a:lnTo>
                    <a:pt x="3701" y="2043"/>
                  </a:lnTo>
                  <a:lnTo>
                    <a:pt x="3699" y="2043"/>
                  </a:lnTo>
                  <a:lnTo>
                    <a:pt x="3699" y="2046"/>
                  </a:lnTo>
                  <a:lnTo>
                    <a:pt x="3696" y="2048"/>
                  </a:lnTo>
                  <a:lnTo>
                    <a:pt x="3696" y="2048"/>
                  </a:lnTo>
                  <a:lnTo>
                    <a:pt x="3696" y="2051"/>
                  </a:lnTo>
                  <a:lnTo>
                    <a:pt x="3696" y="2051"/>
                  </a:lnTo>
                  <a:lnTo>
                    <a:pt x="3696" y="2051"/>
                  </a:lnTo>
                  <a:lnTo>
                    <a:pt x="3696" y="2051"/>
                  </a:lnTo>
                  <a:lnTo>
                    <a:pt x="3696" y="2051"/>
                  </a:lnTo>
                  <a:lnTo>
                    <a:pt x="3696" y="2053"/>
                  </a:lnTo>
                  <a:lnTo>
                    <a:pt x="3696" y="2053"/>
                  </a:lnTo>
                  <a:lnTo>
                    <a:pt x="3696" y="2053"/>
                  </a:lnTo>
                  <a:lnTo>
                    <a:pt x="3696" y="2053"/>
                  </a:lnTo>
                  <a:lnTo>
                    <a:pt x="3696" y="2055"/>
                  </a:lnTo>
                  <a:lnTo>
                    <a:pt x="3694" y="2055"/>
                  </a:lnTo>
                  <a:lnTo>
                    <a:pt x="3694" y="2055"/>
                  </a:lnTo>
                  <a:lnTo>
                    <a:pt x="3694" y="2055"/>
                  </a:lnTo>
                  <a:lnTo>
                    <a:pt x="3694" y="2058"/>
                  </a:lnTo>
                  <a:lnTo>
                    <a:pt x="3696" y="2058"/>
                  </a:lnTo>
                  <a:lnTo>
                    <a:pt x="3696" y="2058"/>
                  </a:lnTo>
                  <a:lnTo>
                    <a:pt x="3696" y="2060"/>
                  </a:lnTo>
                  <a:lnTo>
                    <a:pt x="3696" y="2062"/>
                  </a:lnTo>
                  <a:lnTo>
                    <a:pt x="3696" y="2062"/>
                  </a:lnTo>
                  <a:lnTo>
                    <a:pt x="3696" y="2062"/>
                  </a:lnTo>
                  <a:lnTo>
                    <a:pt x="3696" y="2062"/>
                  </a:lnTo>
                  <a:lnTo>
                    <a:pt x="3696" y="2062"/>
                  </a:lnTo>
                  <a:lnTo>
                    <a:pt x="3699" y="2065"/>
                  </a:lnTo>
                  <a:lnTo>
                    <a:pt x="3699" y="2065"/>
                  </a:lnTo>
                  <a:lnTo>
                    <a:pt x="3703" y="2067"/>
                  </a:lnTo>
                  <a:lnTo>
                    <a:pt x="3706" y="2067"/>
                  </a:lnTo>
                  <a:lnTo>
                    <a:pt x="3706" y="2067"/>
                  </a:lnTo>
                  <a:lnTo>
                    <a:pt x="3706" y="2067"/>
                  </a:lnTo>
                  <a:lnTo>
                    <a:pt x="3706" y="2067"/>
                  </a:lnTo>
                  <a:lnTo>
                    <a:pt x="3706" y="2067"/>
                  </a:lnTo>
                  <a:lnTo>
                    <a:pt x="3706" y="2067"/>
                  </a:lnTo>
                  <a:lnTo>
                    <a:pt x="3706" y="2067"/>
                  </a:lnTo>
                  <a:lnTo>
                    <a:pt x="3706" y="2067"/>
                  </a:lnTo>
                  <a:lnTo>
                    <a:pt x="3708" y="2069"/>
                  </a:lnTo>
                  <a:lnTo>
                    <a:pt x="3708" y="2069"/>
                  </a:lnTo>
                  <a:lnTo>
                    <a:pt x="3708" y="2069"/>
                  </a:lnTo>
                  <a:lnTo>
                    <a:pt x="3711" y="2069"/>
                  </a:lnTo>
                  <a:lnTo>
                    <a:pt x="3711" y="2069"/>
                  </a:lnTo>
                  <a:lnTo>
                    <a:pt x="3711" y="2069"/>
                  </a:lnTo>
                  <a:lnTo>
                    <a:pt x="3711" y="2069"/>
                  </a:lnTo>
                  <a:lnTo>
                    <a:pt x="3713" y="2069"/>
                  </a:lnTo>
                  <a:lnTo>
                    <a:pt x="3713" y="2072"/>
                  </a:lnTo>
                  <a:lnTo>
                    <a:pt x="3713" y="2072"/>
                  </a:lnTo>
                  <a:lnTo>
                    <a:pt x="3713" y="2072"/>
                  </a:lnTo>
                  <a:lnTo>
                    <a:pt x="3713" y="2072"/>
                  </a:lnTo>
                  <a:lnTo>
                    <a:pt x="3715" y="2074"/>
                  </a:lnTo>
                  <a:lnTo>
                    <a:pt x="3715" y="2074"/>
                  </a:lnTo>
                  <a:lnTo>
                    <a:pt x="3715" y="2074"/>
                  </a:lnTo>
                  <a:lnTo>
                    <a:pt x="3715" y="2074"/>
                  </a:lnTo>
                  <a:lnTo>
                    <a:pt x="3715" y="2074"/>
                  </a:lnTo>
                  <a:lnTo>
                    <a:pt x="3715" y="2074"/>
                  </a:lnTo>
                  <a:lnTo>
                    <a:pt x="3718" y="2072"/>
                  </a:lnTo>
                  <a:lnTo>
                    <a:pt x="3718" y="2072"/>
                  </a:lnTo>
                  <a:lnTo>
                    <a:pt x="3718" y="2072"/>
                  </a:lnTo>
                  <a:lnTo>
                    <a:pt x="3720" y="2072"/>
                  </a:lnTo>
                  <a:lnTo>
                    <a:pt x="3720" y="2072"/>
                  </a:lnTo>
                  <a:lnTo>
                    <a:pt x="3720" y="2072"/>
                  </a:lnTo>
                  <a:lnTo>
                    <a:pt x="3720" y="2072"/>
                  </a:lnTo>
                  <a:lnTo>
                    <a:pt x="3720" y="2072"/>
                  </a:lnTo>
                  <a:lnTo>
                    <a:pt x="3720" y="2072"/>
                  </a:lnTo>
                  <a:lnTo>
                    <a:pt x="3720" y="2072"/>
                  </a:lnTo>
                  <a:lnTo>
                    <a:pt x="3722" y="2072"/>
                  </a:lnTo>
                  <a:lnTo>
                    <a:pt x="3722" y="2072"/>
                  </a:lnTo>
                  <a:lnTo>
                    <a:pt x="3722" y="2072"/>
                  </a:lnTo>
                  <a:lnTo>
                    <a:pt x="3725" y="2072"/>
                  </a:lnTo>
                  <a:lnTo>
                    <a:pt x="3725" y="2072"/>
                  </a:lnTo>
                  <a:lnTo>
                    <a:pt x="3725" y="2074"/>
                  </a:lnTo>
                  <a:lnTo>
                    <a:pt x="3725" y="2077"/>
                  </a:lnTo>
                  <a:lnTo>
                    <a:pt x="3725" y="2081"/>
                  </a:lnTo>
                  <a:lnTo>
                    <a:pt x="3725" y="2081"/>
                  </a:lnTo>
                  <a:lnTo>
                    <a:pt x="3725" y="2081"/>
                  </a:lnTo>
                  <a:lnTo>
                    <a:pt x="3725" y="2084"/>
                  </a:lnTo>
                  <a:lnTo>
                    <a:pt x="3725" y="2084"/>
                  </a:lnTo>
                  <a:lnTo>
                    <a:pt x="3725" y="2084"/>
                  </a:lnTo>
                  <a:lnTo>
                    <a:pt x="3725" y="2084"/>
                  </a:lnTo>
                  <a:lnTo>
                    <a:pt x="3725" y="2086"/>
                  </a:lnTo>
                  <a:lnTo>
                    <a:pt x="3727" y="2086"/>
                  </a:lnTo>
                  <a:lnTo>
                    <a:pt x="3727" y="2086"/>
                  </a:lnTo>
                  <a:lnTo>
                    <a:pt x="3729" y="2084"/>
                  </a:lnTo>
                  <a:lnTo>
                    <a:pt x="3729" y="2081"/>
                  </a:lnTo>
                  <a:lnTo>
                    <a:pt x="3732" y="2081"/>
                  </a:lnTo>
                  <a:lnTo>
                    <a:pt x="3732" y="2079"/>
                  </a:lnTo>
                  <a:lnTo>
                    <a:pt x="3732" y="2079"/>
                  </a:lnTo>
                  <a:lnTo>
                    <a:pt x="3732" y="2079"/>
                  </a:lnTo>
                  <a:lnTo>
                    <a:pt x="3732" y="2079"/>
                  </a:lnTo>
                  <a:lnTo>
                    <a:pt x="3732" y="2077"/>
                  </a:lnTo>
                  <a:lnTo>
                    <a:pt x="3732" y="2077"/>
                  </a:lnTo>
                  <a:lnTo>
                    <a:pt x="3732" y="2077"/>
                  </a:lnTo>
                  <a:lnTo>
                    <a:pt x="3732" y="2077"/>
                  </a:lnTo>
                  <a:lnTo>
                    <a:pt x="3734" y="2074"/>
                  </a:lnTo>
                  <a:lnTo>
                    <a:pt x="3734" y="2074"/>
                  </a:lnTo>
                  <a:lnTo>
                    <a:pt x="3734" y="2074"/>
                  </a:lnTo>
                  <a:lnTo>
                    <a:pt x="3732" y="2074"/>
                  </a:lnTo>
                  <a:lnTo>
                    <a:pt x="3732" y="2074"/>
                  </a:lnTo>
                  <a:lnTo>
                    <a:pt x="3732" y="2074"/>
                  </a:lnTo>
                  <a:lnTo>
                    <a:pt x="3732" y="2074"/>
                  </a:lnTo>
                  <a:lnTo>
                    <a:pt x="3732" y="2074"/>
                  </a:lnTo>
                  <a:lnTo>
                    <a:pt x="3732" y="2074"/>
                  </a:lnTo>
                  <a:lnTo>
                    <a:pt x="3732" y="2074"/>
                  </a:lnTo>
                  <a:lnTo>
                    <a:pt x="3732" y="2074"/>
                  </a:lnTo>
                  <a:lnTo>
                    <a:pt x="3732" y="2072"/>
                  </a:lnTo>
                  <a:lnTo>
                    <a:pt x="3732" y="2072"/>
                  </a:lnTo>
                  <a:lnTo>
                    <a:pt x="3734" y="2072"/>
                  </a:lnTo>
                  <a:lnTo>
                    <a:pt x="3734" y="2069"/>
                  </a:lnTo>
                  <a:lnTo>
                    <a:pt x="3734" y="2067"/>
                  </a:lnTo>
                  <a:lnTo>
                    <a:pt x="3734" y="2067"/>
                  </a:lnTo>
                  <a:lnTo>
                    <a:pt x="3737" y="2065"/>
                  </a:lnTo>
                  <a:lnTo>
                    <a:pt x="3737" y="2065"/>
                  </a:lnTo>
                  <a:lnTo>
                    <a:pt x="3737" y="2062"/>
                  </a:lnTo>
                  <a:lnTo>
                    <a:pt x="3734" y="2065"/>
                  </a:lnTo>
                  <a:lnTo>
                    <a:pt x="3734" y="2065"/>
                  </a:lnTo>
                  <a:lnTo>
                    <a:pt x="3734" y="2065"/>
                  </a:lnTo>
                  <a:lnTo>
                    <a:pt x="3734" y="2065"/>
                  </a:lnTo>
                  <a:lnTo>
                    <a:pt x="3732" y="2065"/>
                  </a:lnTo>
                  <a:lnTo>
                    <a:pt x="3734" y="2062"/>
                  </a:lnTo>
                  <a:lnTo>
                    <a:pt x="3734" y="2062"/>
                  </a:lnTo>
                  <a:lnTo>
                    <a:pt x="3737" y="2062"/>
                  </a:lnTo>
                  <a:lnTo>
                    <a:pt x="3737" y="2062"/>
                  </a:lnTo>
                  <a:lnTo>
                    <a:pt x="3737" y="2062"/>
                  </a:lnTo>
                  <a:lnTo>
                    <a:pt x="3737" y="2060"/>
                  </a:lnTo>
                  <a:lnTo>
                    <a:pt x="3737" y="2058"/>
                  </a:lnTo>
                  <a:lnTo>
                    <a:pt x="3739" y="2060"/>
                  </a:lnTo>
                  <a:lnTo>
                    <a:pt x="3739" y="2060"/>
                  </a:lnTo>
                  <a:lnTo>
                    <a:pt x="3739" y="2060"/>
                  </a:lnTo>
                  <a:lnTo>
                    <a:pt x="3737" y="2062"/>
                  </a:lnTo>
                  <a:lnTo>
                    <a:pt x="3737" y="2062"/>
                  </a:lnTo>
                  <a:lnTo>
                    <a:pt x="3739" y="2062"/>
                  </a:lnTo>
                  <a:lnTo>
                    <a:pt x="3741" y="2060"/>
                  </a:lnTo>
                  <a:lnTo>
                    <a:pt x="3741" y="2058"/>
                  </a:lnTo>
                  <a:lnTo>
                    <a:pt x="3741" y="2058"/>
                  </a:lnTo>
                  <a:lnTo>
                    <a:pt x="3741" y="2058"/>
                  </a:lnTo>
                  <a:lnTo>
                    <a:pt x="3739" y="2058"/>
                  </a:lnTo>
                  <a:lnTo>
                    <a:pt x="3739" y="2058"/>
                  </a:lnTo>
                  <a:lnTo>
                    <a:pt x="3739" y="2058"/>
                  </a:lnTo>
                  <a:lnTo>
                    <a:pt x="3739" y="2055"/>
                  </a:lnTo>
                  <a:lnTo>
                    <a:pt x="3739" y="2055"/>
                  </a:lnTo>
                  <a:lnTo>
                    <a:pt x="3739" y="2055"/>
                  </a:lnTo>
                  <a:lnTo>
                    <a:pt x="3739" y="2053"/>
                  </a:lnTo>
                  <a:lnTo>
                    <a:pt x="3741" y="2053"/>
                  </a:lnTo>
                  <a:lnTo>
                    <a:pt x="3741" y="2055"/>
                  </a:lnTo>
                  <a:lnTo>
                    <a:pt x="3741" y="2055"/>
                  </a:lnTo>
                  <a:lnTo>
                    <a:pt x="3741" y="2053"/>
                  </a:lnTo>
                  <a:lnTo>
                    <a:pt x="3741" y="2053"/>
                  </a:lnTo>
                  <a:lnTo>
                    <a:pt x="3741" y="2053"/>
                  </a:lnTo>
                  <a:lnTo>
                    <a:pt x="3741" y="2051"/>
                  </a:lnTo>
                  <a:lnTo>
                    <a:pt x="3739" y="2051"/>
                  </a:lnTo>
                  <a:lnTo>
                    <a:pt x="3739" y="2048"/>
                  </a:lnTo>
                  <a:lnTo>
                    <a:pt x="3739" y="2048"/>
                  </a:lnTo>
                  <a:lnTo>
                    <a:pt x="3741" y="2048"/>
                  </a:lnTo>
                  <a:lnTo>
                    <a:pt x="3741" y="2048"/>
                  </a:lnTo>
                  <a:lnTo>
                    <a:pt x="3741" y="2048"/>
                  </a:lnTo>
                  <a:lnTo>
                    <a:pt x="3744" y="2051"/>
                  </a:lnTo>
                  <a:lnTo>
                    <a:pt x="3744" y="2051"/>
                  </a:lnTo>
                  <a:lnTo>
                    <a:pt x="3744" y="2051"/>
                  </a:lnTo>
                  <a:lnTo>
                    <a:pt x="3744" y="2051"/>
                  </a:lnTo>
                  <a:lnTo>
                    <a:pt x="3744" y="2051"/>
                  </a:lnTo>
                  <a:lnTo>
                    <a:pt x="3744" y="2051"/>
                  </a:lnTo>
                  <a:lnTo>
                    <a:pt x="3744" y="2048"/>
                  </a:lnTo>
                  <a:lnTo>
                    <a:pt x="3741" y="2048"/>
                  </a:lnTo>
                  <a:lnTo>
                    <a:pt x="3741" y="2048"/>
                  </a:lnTo>
                  <a:lnTo>
                    <a:pt x="3744" y="2046"/>
                  </a:lnTo>
                  <a:lnTo>
                    <a:pt x="3744" y="2046"/>
                  </a:lnTo>
                  <a:lnTo>
                    <a:pt x="3744" y="2046"/>
                  </a:lnTo>
                  <a:lnTo>
                    <a:pt x="3744" y="2046"/>
                  </a:lnTo>
                  <a:lnTo>
                    <a:pt x="3746" y="2043"/>
                  </a:lnTo>
                  <a:lnTo>
                    <a:pt x="3744" y="2043"/>
                  </a:lnTo>
                  <a:lnTo>
                    <a:pt x="3744" y="2043"/>
                  </a:lnTo>
                  <a:lnTo>
                    <a:pt x="3746" y="2043"/>
                  </a:lnTo>
                  <a:lnTo>
                    <a:pt x="3746" y="2041"/>
                  </a:lnTo>
                  <a:lnTo>
                    <a:pt x="3746" y="2041"/>
                  </a:lnTo>
                  <a:lnTo>
                    <a:pt x="3746" y="2039"/>
                  </a:lnTo>
                  <a:lnTo>
                    <a:pt x="3746" y="2039"/>
                  </a:lnTo>
                  <a:lnTo>
                    <a:pt x="3746" y="2039"/>
                  </a:lnTo>
                  <a:lnTo>
                    <a:pt x="3746" y="2039"/>
                  </a:lnTo>
                  <a:lnTo>
                    <a:pt x="3746" y="2039"/>
                  </a:lnTo>
                  <a:lnTo>
                    <a:pt x="3746" y="2036"/>
                  </a:lnTo>
                  <a:lnTo>
                    <a:pt x="3746" y="2034"/>
                  </a:lnTo>
                  <a:lnTo>
                    <a:pt x="3746" y="2034"/>
                  </a:lnTo>
                  <a:lnTo>
                    <a:pt x="3746" y="2032"/>
                  </a:lnTo>
                  <a:lnTo>
                    <a:pt x="3746" y="2032"/>
                  </a:lnTo>
                  <a:lnTo>
                    <a:pt x="3746" y="2032"/>
                  </a:lnTo>
                  <a:lnTo>
                    <a:pt x="3746" y="2029"/>
                  </a:lnTo>
                  <a:lnTo>
                    <a:pt x="3746" y="2029"/>
                  </a:lnTo>
                  <a:lnTo>
                    <a:pt x="3746" y="2027"/>
                  </a:lnTo>
                  <a:lnTo>
                    <a:pt x="3746" y="2027"/>
                  </a:lnTo>
                  <a:lnTo>
                    <a:pt x="3746" y="2027"/>
                  </a:lnTo>
                  <a:lnTo>
                    <a:pt x="3746" y="2027"/>
                  </a:lnTo>
                  <a:lnTo>
                    <a:pt x="3746" y="2024"/>
                  </a:lnTo>
                  <a:lnTo>
                    <a:pt x="3746" y="2024"/>
                  </a:lnTo>
                  <a:lnTo>
                    <a:pt x="3746" y="2024"/>
                  </a:lnTo>
                  <a:lnTo>
                    <a:pt x="3746" y="2024"/>
                  </a:lnTo>
                  <a:lnTo>
                    <a:pt x="3746" y="2024"/>
                  </a:lnTo>
                  <a:lnTo>
                    <a:pt x="3746" y="2022"/>
                  </a:lnTo>
                  <a:lnTo>
                    <a:pt x="3746" y="2022"/>
                  </a:lnTo>
                  <a:lnTo>
                    <a:pt x="3746" y="2022"/>
                  </a:lnTo>
                  <a:lnTo>
                    <a:pt x="3746" y="2022"/>
                  </a:lnTo>
                  <a:lnTo>
                    <a:pt x="3746" y="2022"/>
                  </a:lnTo>
                  <a:lnTo>
                    <a:pt x="3746" y="2022"/>
                  </a:lnTo>
                  <a:lnTo>
                    <a:pt x="3746" y="2022"/>
                  </a:lnTo>
                  <a:lnTo>
                    <a:pt x="3746" y="2020"/>
                  </a:lnTo>
                  <a:lnTo>
                    <a:pt x="3748" y="2020"/>
                  </a:lnTo>
                  <a:lnTo>
                    <a:pt x="3748" y="2022"/>
                  </a:lnTo>
                  <a:lnTo>
                    <a:pt x="3748" y="2022"/>
                  </a:lnTo>
                  <a:lnTo>
                    <a:pt x="3748" y="2024"/>
                  </a:lnTo>
                  <a:lnTo>
                    <a:pt x="3748" y="2024"/>
                  </a:lnTo>
                  <a:lnTo>
                    <a:pt x="3748" y="2027"/>
                  </a:lnTo>
                  <a:lnTo>
                    <a:pt x="3748" y="2034"/>
                  </a:lnTo>
                  <a:lnTo>
                    <a:pt x="3748" y="2034"/>
                  </a:lnTo>
                  <a:lnTo>
                    <a:pt x="3748" y="2029"/>
                  </a:lnTo>
                  <a:lnTo>
                    <a:pt x="3748" y="2029"/>
                  </a:lnTo>
                  <a:lnTo>
                    <a:pt x="3748" y="2027"/>
                  </a:lnTo>
                  <a:lnTo>
                    <a:pt x="3748" y="2027"/>
                  </a:lnTo>
                  <a:lnTo>
                    <a:pt x="3748" y="2024"/>
                  </a:lnTo>
                  <a:lnTo>
                    <a:pt x="3748" y="2022"/>
                  </a:lnTo>
                  <a:lnTo>
                    <a:pt x="3748" y="2022"/>
                  </a:lnTo>
                  <a:lnTo>
                    <a:pt x="3748" y="2020"/>
                  </a:lnTo>
                  <a:lnTo>
                    <a:pt x="3748" y="2017"/>
                  </a:lnTo>
                  <a:lnTo>
                    <a:pt x="3748" y="2015"/>
                  </a:lnTo>
                  <a:lnTo>
                    <a:pt x="3748" y="2015"/>
                  </a:lnTo>
                  <a:lnTo>
                    <a:pt x="3748" y="2013"/>
                  </a:lnTo>
                  <a:lnTo>
                    <a:pt x="3748" y="2008"/>
                  </a:lnTo>
                  <a:lnTo>
                    <a:pt x="3746" y="2006"/>
                  </a:lnTo>
                  <a:lnTo>
                    <a:pt x="3746" y="2003"/>
                  </a:lnTo>
                  <a:lnTo>
                    <a:pt x="3746" y="2001"/>
                  </a:lnTo>
                  <a:lnTo>
                    <a:pt x="3746" y="2001"/>
                  </a:lnTo>
                  <a:lnTo>
                    <a:pt x="3744" y="1998"/>
                  </a:lnTo>
                  <a:lnTo>
                    <a:pt x="3744" y="1998"/>
                  </a:lnTo>
                  <a:lnTo>
                    <a:pt x="3744" y="2001"/>
                  </a:lnTo>
                  <a:lnTo>
                    <a:pt x="3746" y="2001"/>
                  </a:lnTo>
                  <a:lnTo>
                    <a:pt x="3746" y="2003"/>
                  </a:lnTo>
                  <a:lnTo>
                    <a:pt x="3746" y="2003"/>
                  </a:lnTo>
                  <a:lnTo>
                    <a:pt x="3744" y="2003"/>
                  </a:lnTo>
                  <a:lnTo>
                    <a:pt x="3739" y="2001"/>
                  </a:lnTo>
                  <a:lnTo>
                    <a:pt x="3739" y="2003"/>
                  </a:lnTo>
                  <a:lnTo>
                    <a:pt x="3737" y="2003"/>
                  </a:lnTo>
                  <a:lnTo>
                    <a:pt x="3737" y="2003"/>
                  </a:lnTo>
                  <a:lnTo>
                    <a:pt x="3737" y="2003"/>
                  </a:lnTo>
                  <a:lnTo>
                    <a:pt x="3734" y="2003"/>
                  </a:lnTo>
                  <a:lnTo>
                    <a:pt x="3734" y="2001"/>
                  </a:lnTo>
                  <a:lnTo>
                    <a:pt x="3734" y="2001"/>
                  </a:lnTo>
                  <a:lnTo>
                    <a:pt x="3734" y="2001"/>
                  </a:lnTo>
                  <a:lnTo>
                    <a:pt x="3734" y="2001"/>
                  </a:lnTo>
                  <a:lnTo>
                    <a:pt x="3734" y="1998"/>
                  </a:lnTo>
                  <a:lnTo>
                    <a:pt x="3734" y="1998"/>
                  </a:lnTo>
                  <a:lnTo>
                    <a:pt x="3734" y="1996"/>
                  </a:lnTo>
                  <a:lnTo>
                    <a:pt x="3734" y="1996"/>
                  </a:lnTo>
                  <a:lnTo>
                    <a:pt x="3734" y="1996"/>
                  </a:lnTo>
                  <a:lnTo>
                    <a:pt x="3734" y="1996"/>
                  </a:lnTo>
                  <a:lnTo>
                    <a:pt x="3734" y="1994"/>
                  </a:lnTo>
                  <a:lnTo>
                    <a:pt x="3734" y="1991"/>
                  </a:lnTo>
                  <a:lnTo>
                    <a:pt x="3734" y="1991"/>
                  </a:lnTo>
                  <a:lnTo>
                    <a:pt x="3737" y="1991"/>
                  </a:lnTo>
                  <a:lnTo>
                    <a:pt x="3737" y="1991"/>
                  </a:lnTo>
                  <a:lnTo>
                    <a:pt x="3737" y="1991"/>
                  </a:lnTo>
                  <a:lnTo>
                    <a:pt x="3737" y="1989"/>
                  </a:lnTo>
                  <a:lnTo>
                    <a:pt x="3737" y="1989"/>
                  </a:lnTo>
                  <a:lnTo>
                    <a:pt x="3737" y="1989"/>
                  </a:lnTo>
                  <a:lnTo>
                    <a:pt x="3737" y="1989"/>
                  </a:lnTo>
                  <a:lnTo>
                    <a:pt x="3737" y="1991"/>
                  </a:lnTo>
                  <a:lnTo>
                    <a:pt x="3737" y="1991"/>
                  </a:lnTo>
                  <a:lnTo>
                    <a:pt x="3737" y="1991"/>
                  </a:lnTo>
                  <a:lnTo>
                    <a:pt x="3739" y="1991"/>
                  </a:lnTo>
                  <a:lnTo>
                    <a:pt x="3739" y="1991"/>
                  </a:lnTo>
                  <a:lnTo>
                    <a:pt x="3739" y="1991"/>
                  </a:lnTo>
                  <a:lnTo>
                    <a:pt x="3739" y="1989"/>
                  </a:lnTo>
                  <a:lnTo>
                    <a:pt x="3739" y="1989"/>
                  </a:lnTo>
                  <a:lnTo>
                    <a:pt x="3741" y="1987"/>
                  </a:lnTo>
                  <a:lnTo>
                    <a:pt x="3741" y="1987"/>
                  </a:lnTo>
                  <a:lnTo>
                    <a:pt x="3741" y="1987"/>
                  </a:lnTo>
                  <a:lnTo>
                    <a:pt x="3741" y="1987"/>
                  </a:lnTo>
                  <a:lnTo>
                    <a:pt x="3741" y="1984"/>
                  </a:lnTo>
                  <a:lnTo>
                    <a:pt x="3741" y="1984"/>
                  </a:lnTo>
                  <a:lnTo>
                    <a:pt x="3741" y="1984"/>
                  </a:lnTo>
                  <a:lnTo>
                    <a:pt x="3741" y="1980"/>
                  </a:lnTo>
                  <a:lnTo>
                    <a:pt x="3741" y="1975"/>
                  </a:lnTo>
                  <a:lnTo>
                    <a:pt x="3741" y="1975"/>
                  </a:lnTo>
                  <a:lnTo>
                    <a:pt x="3741" y="1972"/>
                  </a:lnTo>
                  <a:lnTo>
                    <a:pt x="3741" y="1972"/>
                  </a:lnTo>
                  <a:lnTo>
                    <a:pt x="3739" y="1968"/>
                  </a:lnTo>
                  <a:lnTo>
                    <a:pt x="3739" y="1965"/>
                  </a:lnTo>
                  <a:lnTo>
                    <a:pt x="3739" y="1965"/>
                  </a:lnTo>
                  <a:lnTo>
                    <a:pt x="3739" y="1963"/>
                  </a:lnTo>
                  <a:lnTo>
                    <a:pt x="3737" y="1963"/>
                  </a:lnTo>
                  <a:lnTo>
                    <a:pt x="3737" y="1963"/>
                  </a:lnTo>
                  <a:lnTo>
                    <a:pt x="3737" y="1963"/>
                  </a:lnTo>
                  <a:lnTo>
                    <a:pt x="3737" y="1961"/>
                  </a:lnTo>
                  <a:lnTo>
                    <a:pt x="3737" y="1961"/>
                  </a:lnTo>
                  <a:lnTo>
                    <a:pt x="3734" y="1961"/>
                  </a:lnTo>
                  <a:lnTo>
                    <a:pt x="3734" y="1958"/>
                  </a:lnTo>
                  <a:lnTo>
                    <a:pt x="3734" y="1958"/>
                  </a:lnTo>
                  <a:lnTo>
                    <a:pt x="3737" y="1958"/>
                  </a:lnTo>
                  <a:lnTo>
                    <a:pt x="3737" y="1958"/>
                  </a:lnTo>
                  <a:lnTo>
                    <a:pt x="3737" y="1958"/>
                  </a:lnTo>
                  <a:lnTo>
                    <a:pt x="3737" y="1958"/>
                  </a:lnTo>
                  <a:lnTo>
                    <a:pt x="3737" y="1961"/>
                  </a:lnTo>
                  <a:lnTo>
                    <a:pt x="3737" y="1961"/>
                  </a:lnTo>
                  <a:lnTo>
                    <a:pt x="3739" y="1961"/>
                  </a:lnTo>
                  <a:lnTo>
                    <a:pt x="3739" y="1963"/>
                  </a:lnTo>
                  <a:lnTo>
                    <a:pt x="3739" y="1963"/>
                  </a:lnTo>
                  <a:lnTo>
                    <a:pt x="3741" y="1965"/>
                  </a:lnTo>
                  <a:lnTo>
                    <a:pt x="3741" y="1965"/>
                  </a:lnTo>
                  <a:lnTo>
                    <a:pt x="3741" y="1970"/>
                  </a:lnTo>
                  <a:lnTo>
                    <a:pt x="3741" y="1972"/>
                  </a:lnTo>
                  <a:lnTo>
                    <a:pt x="3741" y="1972"/>
                  </a:lnTo>
                  <a:lnTo>
                    <a:pt x="3744" y="1975"/>
                  </a:lnTo>
                  <a:lnTo>
                    <a:pt x="3741" y="1977"/>
                  </a:lnTo>
                  <a:lnTo>
                    <a:pt x="3744" y="1977"/>
                  </a:lnTo>
                  <a:lnTo>
                    <a:pt x="3744" y="1980"/>
                  </a:lnTo>
                  <a:lnTo>
                    <a:pt x="3744" y="1980"/>
                  </a:lnTo>
                  <a:lnTo>
                    <a:pt x="3744" y="1980"/>
                  </a:lnTo>
                  <a:lnTo>
                    <a:pt x="3744" y="1982"/>
                  </a:lnTo>
                  <a:lnTo>
                    <a:pt x="3744" y="1982"/>
                  </a:lnTo>
                  <a:lnTo>
                    <a:pt x="3744" y="1982"/>
                  </a:lnTo>
                  <a:lnTo>
                    <a:pt x="3744" y="1982"/>
                  </a:lnTo>
                  <a:lnTo>
                    <a:pt x="3746" y="1982"/>
                  </a:lnTo>
                  <a:lnTo>
                    <a:pt x="3746" y="1982"/>
                  </a:lnTo>
                  <a:lnTo>
                    <a:pt x="3748" y="1980"/>
                  </a:lnTo>
                  <a:lnTo>
                    <a:pt x="3748" y="1980"/>
                  </a:lnTo>
                  <a:lnTo>
                    <a:pt x="3746" y="1980"/>
                  </a:lnTo>
                  <a:lnTo>
                    <a:pt x="3746" y="1980"/>
                  </a:lnTo>
                  <a:lnTo>
                    <a:pt x="3746" y="1977"/>
                  </a:lnTo>
                  <a:lnTo>
                    <a:pt x="3746" y="1977"/>
                  </a:lnTo>
                  <a:lnTo>
                    <a:pt x="3748" y="1977"/>
                  </a:lnTo>
                  <a:lnTo>
                    <a:pt x="3748" y="1977"/>
                  </a:lnTo>
                  <a:lnTo>
                    <a:pt x="3748" y="1977"/>
                  </a:lnTo>
                  <a:lnTo>
                    <a:pt x="3748" y="1975"/>
                  </a:lnTo>
                  <a:lnTo>
                    <a:pt x="3748" y="1972"/>
                  </a:lnTo>
                  <a:lnTo>
                    <a:pt x="3748" y="1972"/>
                  </a:lnTo>
                  <a:lnTo>
                    <a:pt x="3751" y="1972"/>
                  </a:lnTo>
                  <a:lnTo>
                    <a:pt x="3751" y="1972"/>
                  </a:lnTo>
                  <a:lnTo>
                    <a:pt x="3751" y="1972"/>
                  </a:lnTo>
                  <a:lnTo>
                    <a:pt x="3751" y="1970"/>
                  </a:lnTo>
                  <a:lnTo>
                    <a:pt x="3751" y="1970"/>
                  </a:lnTo>
                  <a:lnTo>
                    <a:pt x="3751" y="1970"/>
                  </a:lnTo>
                  <a:lnTo>
                    <a:pt x="3751" y="1970"/>
                  </a:lnTo>
                  <a:lnTo>
                    <a:pt x="3751" y="1970"/>
                  </a:lnTo>
                  <a:lnTo>
                    <a:pt x="3753" y="1970"/>
                  </a:lnTo>
                  <a:lnTo>
                    <a:pt x="3753" y="1970"/>
                  </a:lnTo>
                  <a:lnTo>
                    <a:pt x="3753" y="1968"/>
                  </a:lnTo>
                  <a:lnTo>
                    <a:pt x="3753" y="1968"/>
                  </a:lnTo>
                  <a:lnTo>
                    <a:pt x="3753" y="1968"/>
                  </a:lnTo>
                  <a:lnTo>
                    <a:pt x="3753" y="1968"/>
                  </a:lnTo>
                  <a:lnTo>
                    <a:pt x="3756" y="1968"/>
                  </a:lnTo>
                  <a:lnTo>
                    <a:pt x="3756" y="1968"/>
                  </a:lnTo>
                  <a:lnTo>
                    <a:pt x="3756" y="1968"/>
                  </a:lnTo>
                  <a:lnTo>
                    <a:pt x="3756" y="1965"/>
                  </a:lnTo>
                  <a:lnTo>
                    <a:pt x="3758" y="1965"/>
                  </a:lnTo>
                  <a:lnTo>
                    <a:pt x="3758" y="1965"/>
                  </a:lnTo>
                  <a:lnTo>
                    <a:pt x="3758" y="1965"/>
                  </a:lnTo>
                  <a:lnTo>
                    <a:pt x="3758" y="1963"/>
                  </a:lnTo>
                  <a:lnTo>
                    <a:pt x="3760" y="1963"/>
                  </a:lnTo>
                  <a:lnTo>
                    <a:pt x="3760" y="1963"/>
                  </a:lnTo>
                  <a:lnTo>
                    <a:pt x="3760" y="1963"/>
                  </a:lnTo>
                  <a:lnTo>
                    <a:pt x="3760" y="1963"/>
                  </a:lnTo>
                  <a:lnTo>
                    <a:pt x="3763" y="1961"/>
                  </a:lnTo>
                  <a:lnTo>
                    <a:pt x="3763" y="1961"/>
                  </a:lnTo>
                  <a:lnTo>
                    <a:pt x="3763" y="1961"/>
                  </a:lnTo>
                  <a:lnTo>
                    <a:pt x="3763" y="1961"/>
                  </a:lnTo>
                  <a:lnTo>
                    <a:pt x="3763" y="1961"/>
                  </a:lnTo>
                  <a:lnTo>
                    <a:pt x="3763" y="1961"/>
                  </a:lnTo>
                  <a:lnTo>
                    <a:pt x="3765" y="1961"/>
                  </a:lnTo>
                  <a:lnTo>
                    <a:pt x="3765" y="1961"/>
                  </a:lnTo>
                  <a:lnTo>
                    <a:pt x="3765" y="1961"/>
                  </a:lnTo>
                  <a:lnTo>
                    <a:pt x="3765" y="1958"/>
                  </a:lnTo>
                  <a:lnTo>
                    <a:pt x="3765" y="1958"/>
                  </a:lnTo>
                  <a:lnTo>
                    <a:pt x="3765" y="1958"/>
                  </a:lnTo>
                  <a:lnTo>
                    <a:pt x="3765" y="1958"/>
                  </a:lnTo>
                  <a:lnTo>
                    <a:pt x="3765" y="1958"/>
                  </a:lnTo>
                  <a:lnTo>
                    <a:pt x="3765" y="1958"/>
                  </a:lnTo>
                  <a:lnTo>
                    <a:pt x="3765" y="1958"/>
                  </a:lnTo>
                  <a:lnTo>
                    <a:pt x="3765" y="1958"/>
                  </a:lnTo>
                  <a:lnTo>
                    <a:pt x="3767" y="1958"/>
                  </a:lnTo>
                  <a:lnTo>
                    <a:pt x="3767" y="1956"/>
                  </a:lnTo>
                  <a:lnTo>
                    <a:pt x="3767" y="1956"/>
                  </a:lnTo>
                  <a:lnTo>
                    <a:pt x="3767" y="1958"/>
                  </a:lnTo>
                  <a:lnTo>
                    <a:pt x="3767" y="1958"/>
                  </a:lnTo>
                  <a:lnTo>
                    <a:pt x="3770" y="1958"/>
                  </a:lnTo>
                  <a:lnTo>
                    <a:pt x="3770" y="1958"/>
                  </a:lnTo>
                  <a:lnTo>
                    <a:pt x="3770" y="1956"/>
                  </a:lnTo>
                  <a:lnTo>
                    <a:pt x="3770" y="1956"/>
                  </a:lnTo>
                  <a:lnTo>
                    <a:pt x="3770" y="1956"/>
                  </a:lnTo>
                  <a:lnTo>
                    <a:pt x="3770" y="1956"/>
                  </a:lnTo>
                  <a:lnTo>
                    <a:pt x="3770" y="1956"/>
                  </a:lnTo>
                  <a:lnTo>
                    <a:pt x="3770" y="1954"/>
                  </a:lnTo>
                  <a:lnTo>
                    <a:pt x="3772" y="1954"/>
                  </a:lnTo>
                  <a:lnTo>
                    <a:pt x="3772" y="1954"/>
                  </a:lnTo>
                  <a:lnTo>
                    <a:pt x="3772" y="1954"/>
                  </a:lnTo>
                  <a:lnTo>
                    <a:pt x="3772" y="1954"/>
                  </a:lnTo>
                  <a:lnTo>
                    <a:pt x="3772" y="1954"/>
                  </a:lnTo>
                  <a:lnTo>
                    <a:pt x="3774" y="1951"/>
                  </a:lnTo>
                  <a:lnTo>
                    <a:pt x="3774" y="1949"/>
                  </a:lnTo>
                  <a:lnTo>
                    <a:pt x="3774" y="1949"/>
                  </a:lnTo>
                  <a:lnTo>
                    <a:pt x="3774" y="1949"/>
                  </a:lnTo>
                  <a:lnTo>
                    <a:pt x="3774" y="1949"/>
                  </a:lnTo>
                  <a:lnTo>
                    <a:pt x="3774" y="1949"/>
                  </a:lnTo>
                  <a:lnTo>
                    <a:pt x="3777" y="1949"/>
                  </a:lnTo>
                  <a:lnTo>
                    <a:pt x="3777" y="1949"/>
                  </a:lnTo>
                  <a:lnTo>
                    <a:pt x="3777" y="1951"/>
                  </a:lnTo>
                  <a:lnTo>
                    <a:pt x="3777" y="1951"/>
                  </a:lnTo>
                  <a:lnTo>
                    <a:pt x="3779" y="1951"/>
                  </a:lnTo>
                  <a:lnTo>
                    <a:pt x="3779" y="1949"/>
                  </a:lnTo>
                  <a:lnTo>
                    <a:pt x="3779" y="1949"/>
                  </a:lnTo>
                  <a:lnTo>
                    <a:pt x="3779" y="1949"/>
                  </a:lnTo>
                  <a:lnTo>
                    <a:pt x="3779" y="1949"/>
                  </a:lnTo>
                  <a:lnTo>
                    <a:pt x="3779" y="1949"/>
                  </a:lnTo>
                  <a:lnTo>
                    <a:pt x="3782" y="1949"/>
                  </a:lnTo>
                  <a:lnTo>
                    <a:pt x="3782" y="1949"/>
                  </a:lnTo>
                  <a:lnTo>
                    <a:pt x="3782" y="1949"/>
                  </a:lnTo>
                  <a:lnTo>
                    <a:pt x="3784" y="1949"/>
                  </a:lnTo>
                  <a:lnTo>
                    <a:pt x="3784" y="1949"/>
                  </a:lnTo>
                  <a:lnTo>
                    <a:pt x="3784" y="1949"/>
                  </a:lnTo>
                  <a:lnTo>
                    <a:pt x="3784" y="1949"/>
                  </a:lnTo>
                  <a:lnTo>
                    <a:pt x="3784" y="1949"/>
                  </a:lnTo>
                  <a:lnTo>
                    <a:pt x="3784" y="1946"/>
                  </a:lnTo>
                  <a:lnTo>
                    <a:pt x="3784" y="1946"/>
                  </a:lnTo>
                  <a:lnTo>
                    <a:pt x="3786" y="1946"/>
                  </a:lnTo>
                  <a:lnTo>
                    <a:pt x="3789" y="1946"/>
                  </a:lnTo>
                  <a:lnTo>
                    <a:pt x="3789" y="1946"/>
                  </a:lnTo>
                  <a:lnTo>
                    <a:pt x="3791" y="1946"/>
                  </a:lnTo>
                  <a:lnTo>
                    <a:pt x="3791" y="1946"/>
                  </a:lnTo>
                  <a:lnTo>
                    <a:pt x="3791" y="1946"/>
                  </a:lnTo>
                  <a:lnTo>
                    <a:pt x="3791" y="1946"/>
                  </a:lnTo>
                  <a:lnTo>
                    <a:pt x="3791" y="1946"/>
                  </a:lnTo>
                  <a:lnTo>
                    <a:pt x="3791" y="1946"/>
                  </a:lnTo>
                  <a:lnTo>
                    <a:pt x="3791" y="1946"/>
                  </a:lnTo>
                  <a:lnTo>
                    <a:pt x="3791" y="1944"/>
                  </a:lnTo>
                  <a:lnTo>
                    <a:pt x="3793" y="1944"/>
                  </a:lnTo>
                  <a:lnTo>
                    <a:pt x="3793" y="1944"/>
                  </a:lnTo>
                  <a:lnTo>
                    <a:pt x="3796" y="1944"/>
                  </a:lnTo>
                  <a:lnTo>
                    <a:pt x="3796" y="1944"/>
                  </a:lnTo>
                  <a:lnTo>
                    <a:pt x="3796" y="1944"/>
                  </a:lnTo>
                  <a:lnTo>
                    <a:pt x="3796" y="1944"/>
                  </a:lnTo>
                  <a:lnTo>
                    <a:pt x="3796" y="1944"/>
                  </a:lnTo>
                  <a:lnTo>
                    <a:pt x="3796" y="1942"/>
                  </a:lnTo>
                  <a:lnTo>
                    <a:pt x="3796" y="1942"/>
                  </a:lnTo>
                  <a:lnTo>
                    <a:pt x="3796" y="1942"/>
                  </a:lnTo>
                  <a:lnTo>
                    <a:pt x="3793" y="1939"/>
                  </a:lnTo>
                  <a:lnTo>
                    <a:pt x="3796" y="1939"/>
                  </a:lnTo>
                  <a:lnTo>
                    <a:pt x="3796" y="1939"/>
                  </a:lnTo>
                  <a:lnTo>
                    <a:pt x="3796" y="1939"/>
                  </a:lnTo>
                  <a:lnTo>
                    <a:pt x="3796" y="1942"/>
                  </a:lnTo>
                  <a:lnTo>
                    <a:pt x="3796" y="1942"/>
                  </a:lnTo>
                  <a:lnTo>
                    <a:pt x="3796" y="1942"/>
                  </a:lnTo>
                  <a:lnTo>
                    <a:pt x="3796" y="1942"/>
                  </a:lnTo>
                  <a:lnTo>
                    <a:pt x="3796" y="1942"/>
                  </a:lnTo>
                  <a:lnTo>
                    <a:pt x="3796" y="1942"/>
                  </a:lnTo>
                  <a:lnTo>
                    <a:pt x="3798" y="1942"/>
                  </a:lnTo>
                  <a:lnTo>
                    <a:pt x="3798" y="1942"/>
                  </a:lnTo>
                  <a:lnTo>
                    <a:pt x="3798" y="1944"/>
                  </a:lnTo>
                  <a:lnTo>
                    <a:pt x="3800" y="1942"/>
                  </a:lnTo>
                  <a:lnTo>
                    <a:pt x="3803" y="1942"/>
                  </a:lnTo>
                  <a:lnTo>
                    <a:pt x="3803" y="1939"/>
                  </a:lnTo>
                  <a:lnTo>
                    <a:pt x="3803" y="1939"/>
                  </a:lnTo>
                  <a:lnTo>
                    <a:pt x="3805" y="1939"/>
                  </a:lnTo>
                  <a:lnTo>
                    <a:pt x="3805" y="1939"/>
                  </a:lnTo>
                  <a:lnTo>
                    <a:pt x="3805" y="1939"/>
                  </a:lnTo>
                  <a:lnTo>
                    <a:pt x="3805" y="1937"/>
                  </a:lnTo>
                  <a:lnTo>
                    <a:pt x="3805" y="1937"/>
                  </a:lnTo>
                  <a:lnTo>
                    <a:pt x="3808" y="1939"/>
                  </a:lnTo>
                  <a:lnTo>
                    <a:pt x="3810" y="1937"/>
                  </a:lnTo>
                  <a:lnTo>
                    <a:pt x="3810" y="1937"/>
                  </a:lnTo>
                  <a:lnTo>
                    <a:pt x="3812" y="1937"/>
                  </a:lnTo>
                  <a:lnTo>
                    <a:pt x="3812" y="1937"/>
                  </a:lnTo>
                  <a:lnTo>
                    <a:pt x="3815" y="1937"/>
                  </a:lnTo>
                  <a:lnTo>
                    <a:pt x="3815" y="1937"/>
                  </a:lnTo>
                  <a:lnTo>
                    <a:pt x="3815" y="1937"/>
                  </a:lnTo>
                  <a:lnTo>
                    <a:pt x="3815" y="1937"/>
                  </a:lnTo>
                  <a:lnTo>
                    <a:pt x="3815" y="1937"/>
                  </a:lnTo>
                  <a:lnTo>
                    <a:pt x="3815" y="1937"/>
                  </a:lnTo>
                  <a:lnTo>
                    <a:pt x="3819" y="1935"/>
                  </a:lnTo>
                  <a:lnTo>
                    <a:pt x="3824" y="1932"/>
                  </a:lnTo>
                  <a:lnTo>
                    <a:pt x="3824" y="1932"/>
                  </a:lnTo>
                  <a:lnTo>
                    <a:pt x="3827" y="1930"/>
                  </a:lnTo>
                  <a:lnTo>
                    <a:pt x="3827" y="1932"/>
                  </a:lnTo>
                  <a:lnTo>
                    <a:pt x="3827" y="1932"/>
                  </a:lnTo>
                  <a:lnTo>
                    <a:pt x="3829" y="1930"/>
                  </a:lnTo>
                  <a:lnTo>
                    <a:pt x="3829" y="1930"/>
                  </a:lnTo>
                  <a:lnTo>
                    <a:pt x="3829" y="1930"/>
                  </a:lnTo>
                  <a:lnTo>
                    <a:pt x="3829" y="1930"/>
                  </a:lnTo>
                  <a:lnTo>
                    <a:pt x="3829" y="1925"/>
                  </a:lnTo>
                  <a:lnTo>
                    <a:pt x="3829" y="1925"/>
                  </a:lnTo>
                  <a:lnTo>
                    <a:pt x="3829" y="1923"/>
                  </a:lnTo>
                  <a:lnTo>
                    <a:pt x="3827" y="1920"/>
                  </a:lnTo>
                  <a:lnTo>
                    <a:pt x="3827" y="1920"/>
                  </a:lnTo>
                  <a:lnTo>
                    <a:pt x="3827" y="1920"/>
                  </a:lnTo>
                  <a:lnTo>
                    <a:pt x="3827" y="1918"/>
                  </a:lnTo>
                  <a:lnTo>
                    <a:pt x="3827" y="1918"/>
                  </a:lnTo>
                  <a:lnTo>
                    <a:pt x="3827" y="1918"/>
                  </a:lnTo>
                  <a:lnTo>
                    <a:pt x="3827" y="1916"/>
                  </a:lnTo>
                  <a:lnTo>
                    <a:pt x="3827" y="1916"/>
                  </a:lnTo>
                  <a:lnTo>
                    <a:pt x="3827" y="1916"/>
                  </a:lnTo>
                  <a:lnTo>
                    <a:pt x="3827" y="1916"/>
                  </a:lnTo>
                  <a:lnTo>
                    <a:pt x="3827" y="1913"/>
                  </a:lnTo>
                  <a:lnTo>
                    <a:pt x="3827" y="1913"/>
                  </a:lnTo>
                  <a:lnTo>
                    <a:pt x="3827" y="1913"/>
                  </a:lnTo>
                  <a:lnTo>
                    <a:pt x="3827" y="1913"/>
                  </a:lnTo>
                  <a:lnTo>
                    <a:pt x="3827" y="1913"/>
                  </a:lnTo>
                  <a:lnTo>
                    <a:pt x="3829" y="1916"/>
                  </a:lnTo>
                  <a:lnTo>
                    <a:pt x="3829" y="1913"/>
                  </a:lnTo>
                  <a:lnTo>
                    <a:pt x="3829" y="1913"/>
                  </a:lnTo>
                  <a:lnTo>
                    <a:pt x="3829" y="1913"/>
                  </a:lnTo>
                  <a:lnTo>
                    <a:pt x="3829" y="1911"/>
                  </a:lnTo>
                  <a:lnTo>
                    <a:pt x="3827" y="1911"/>
                  </a:lnTo>
                  <a:lnTo>
                    <a:pt x="3827" y="1911"/>
                  </a:lnTo>
                  <a:lnTo>
                    <a:pt x="3827" y="1911"/>
                  </a:lnTo>
                  <a:lnTo>
                    <a:pt x="3827" y="1911"/>
                  </a:lnTo>
                  <a:lnTo>
                    <a:pt x="3827" y="1909"/>
                  </a:lnTo>
                  <a:lnTo>
                    <a:pt x="3827" y="1909"/>
                  </a:lnTo>
                  <a:lnTo>
                    <a:pt x="3827" y="1909"/>
                  </a:lnTo>
                  <a:lnTo>
                    <a:pt x="3827" y="1909"/>
                  </a:lnTo>
                  <a:lnTo>
                    <a:pt x="3827" y="1909"/>
                  </a:lnTo>
                  <a:lnTo>
                    <a:pt x="3827" y="1909"/>
                  </a:lnTo>
                  <a:lnTo>
                    <a:pt x="3827" y="1911"/>
                  </a:lnTo>
                  <a:lnTo>
                    <a:pt x="3829" y="1911"/>
                  </a:lnTo>
                  <a:lnTo>
                    <a:pt x="3829" y="1911"/>
                  </a:lnTo>
                  <a:lnTo>
                    <a:pt x="3829" y="1911"/>
                  </a:lnTo>
                  <a:lnTo>
                    <a:pt x="3829" y="1911"/>
                  </a:lnTo>
                  <a:lnTo>
                    <a:pt x="3829" y="1911"/>
                  </a:lnTo>
                  <a:lnTo>
                    <a:pt x="3829" y="1911"/>
                  </a:lnTo>
                  <a:lnTo>
                    <a:pt x="3829" y="1911"/>
                  </a:lnTo>
                  <a:lnTo>
                    <a:pt x="3831" y="1911"/>
                  </a:lnTo>
                  <a:lnTo>
                    <a:pt x="3831" y="1911"/>
                  </a:lnTo>
                  <a:lnTo>
                    <a:pt x="3831" y="1911"/>
                  </a:lnTo>
                  <a:lnTo>
                    <a:pt x="3831" y="1911"/>
                  </a:lnTo>
                  <a:lnTo>
                    <a:pt x="3831" y="1913"/>
                  </a:lnTo>
                  <a:lnTo>
                    <a:pt x="3831" y="1913"/>
                  </a:lnTo>
                  <a:lnTo>
                    <a:pt x="3831" y="1913"/>
                  </a:lnTo>
                  <a:lnTo>
                    <a:pt x="3831" y="1916"/>
                  </a:lnTo>
                  <a:lnTo>
                    <a:pt x="3831" y="1913"/>
                  </a:lnTo>
                  <a:lnTo>
                    <a:pt x="3834" y="1916"/>
                  </a:lnTo>
                  <a:lnTo>
                    <a:pt x="3834" y="1913"/>
                  </a:lnTo>
                  <a:lnTo>
                    <a:pt x="3834" y="1913"/>
                  </a:lnTo>
                  <a:lnTo>
                    <a:pt x="3834" y="1913"/>
                  </a:lnTo>
                  <a:lnTo>
                    <a:pt x="3834" y="1911"/>
                  </a:lnTo>
                  <a:lnTo>
                    <a:pt x="3834" y="1911"/>
                  </a:lnTo>
                  <a:lnTo>
                    <a:pt x="3834" y="1911"/>
                  </a:lnTo>
                  <a:lnTo>
                    <a:pt x="3834" y="1911"/>
                  </a:lnTo>
                  <a:lnTo>
                    <a:pt x="3834" y="1911"/>
                  </a:lnTo>
                  <a:lnTo>
                    <a:pt x="3834" y="1911"/>
                  </a:lnTo>
                  <a:lnTo>
                    <a:pt x="3834" y="1911"/>
                  </a:lnTo>
                  <a:lnTo>
                    <a:pt x="3834" y="1911"/>
                  </a:lnTo>
                  <a:lnTo>
                    <a:pt x="3836" y="1911"/>
                  </a:lnTo>
                  <a:lnTo>
                    <a:pt x="3836" y="1909"/>
                  </a:lnTo>
                  <a:lnTo>
                    <a:pt x="3836" y="1906"/>
                  </a:lnTo>
                  <a:lnTo>
                    <a:pt x="3836" y="1906"/>
                  </a:lnTo>
                  <a:lnTo>
                    <a:pt x="3836" y="1906"/>
                  </a:lnTo>
                  <a:lnTo>
                    <a:pt x="3836" y="1909"/>
                  </a:lnTo>
                  <a:lnTo>
                    <a:pt x="3836" y="1913"/>
                  </a:lnTo>
                  <a:lnTo>
                    <a:pt x="3836" y="1913"/>
                  </a:lnTo>
                  <a:lnTo>
                    <a:pt x="3834" y="1913"/>
                  </a:lnTo>
                  <a:lnTo>
                    <a:pt x="3836" y="1916"/>
                  </a:lnTo>
                  <a:lnTo>
                    <a:pt x="3836" y="1916"/>
                  </a:lnTo>
                  <a:lnTo>
                    <a:pt x="3836" y="1918"/>
                  </a:lnTo>
                  <a:lnTo>
                    <a:pt x="3836" y="1920"/>
                  </a:lnTo>
                  <a:lnTo>
                    <a:pt x="3836" y="1920"/>
                  </a:lnTo>
                  <a:lnTo>
                    <a:pt x="3836" y="1920"/>
                  </a:lnTo>
                  <a:lnTo>
                    <a:pt x="3836" y="1923"/>
                  </a:lnTo>
                  <a:lnTo>
                    <a:pt x="3838" y="1923"/>
                  </a:lnTo>
                  <a:lnTo>
                    <a:pt x="3841" y="1920"/>
                  </a:lnTo>
                  <a:lnTo>
                    <a:pt x="3841" y="1920"/>
                  </a:lnTo>
                  <a:lnTo>
                    <a:pt x="3841" y="1918"/>
                  </a:lnTo>
                  <a:lnTo>
                    <a:pt x="3841" y="1918"/>
                  </a:lnTo>
                  <a:lnTo>
                    <a:pt x="3841" y="1918"/>
                  </a:lnTo>
                  <a:lnTo>
                    <a:pt x="3841" y="1918"/>
                  </a:lnTo>
                  <a:lnTo>
                    <a:pt x="3841" y="1918"/>
                  </a:lnTo>
                  <a:lnTo>
                    <a:pt x="3841" y="1918"/>
                  </a:lnTo>
                  <a:lnTo>
                    <a:pt x="3843" y="1918"/>
                  </a:lnTo>
                  <a:lnTo>
                    <a:pt x="3843" y="1918"/>
                  </a:lnTo>
                  <a:lnTo>
                    <a:pt x="3841" y="1920"/>
                  </a:lnTo>
                  <a:lnTo>
                    <a:pt x="3843" y="1920"/>
                  </a:lnTo>
                  <a:lnTo>
                    <a:pt x="3843" y="1918"/>
                  </a:lnTo>
                  <a:lnTo>
                    <a:pt x="3845" y="1918"/>
                  </a:lnTo>
                  <a:lnTo>
                    <a:pt x="3845" y="1918"/>
                  </a:lnTo>
                  <a:lnTo>
                    <a:pt x="3845" y="1918"/>
                  </a:lnTo>
                  <a:lnTo>
                    <a:pt x="3845" y="1918"/>
                  </a:lnTo>
                  <a:lnTo>
                    <a:pt x="3845" y="1918"/>
                  </a:lnTo>
                  <a:lnTo>
                    <a:pt x="3845" y="1916"/>
                  </a:lnTo>
                  <a:lnTo>
                    <a:pt x="3845" y="1916"/>
                  </a:lnTo>
                  <a:lnTo>
                    <a:pt x="3845" y="1913"/>
                  </a:lnTo>
                  <a:lnTo>
                    <a:pt x="3845" y="1913"/>
                  </a:lnTo>
                  <a:lnTo>
                    <a:pt x="3845" y="1911"/>
                  </a:lnTo>
                  <a:lnTo>
                    <a:pt x="3848" y="1911"/>
                  </a:lnTo>
                  <a:lnTo>
                    <a:pt x="3848" y="1913"/>
                  </a:lnTo>
                  <a:lnTo>
                    <a:pt x="3848" y="1913"/>
                  </a:lnTo>
                  <a:lnTo>
                    <a:pt x="3848" y="1913"/>
                  </a:lnTo>
                  <a:lnTo>
                    <a:pt x="3848" y="1913"/>
                  </a:lnTo>
                  <a:lnTo>
                    <a:pt x="3848" y="1913"/>
                  </a:lnTo>
                  <a:lnTo>
                    <a:pt x="3848" y="1913"/>
                  </a:lnTo>
                  <a:lnTo>
                    <a:pt x="3848" y="1911"/>
                  </a:lnTo>
                  <a:lnTo>
                    <a:pt x="3848" y="1911"/>
                  </a:lnTo>
                  <a:lnTo>
                    <a:pt x="3850" y="1911"/>
                  </a:lnTo>
                  <a:lnTo>
                    <a:pt x="3850" y="1911"/>
                  </a:lnTo>
                  <a:lnTo>
                    <a:pt x="3850" y="1911"/>
                  </a:lnTo>
                  <a:lnTo>
                    <a:pt x="3850" y="1911"/>
                  </a:lnTo>
                  <a:lnTo>
                    <a:pt x="3850" y="1909"/>
                  </a:lnTo>
                  <a:lnTo>
                    <a:pt x="3850" y="1909"/>
                  </a:lnTo>
                  <a:lnTo>
                    <a:pt x="3850" y="1911"/>
                  </a:lnTo>
                  <a:lnTo>
                    <a:pt x="3850" y="1909"/>
                  </a:lnTo>
                  <a:lnTo>
                    <a:pt x="3853" y="1909"/>
                  </a:lnTo>
                  <a:lnTo>
                    <a:pt x="3853" y="1909"/>
                  </a:lnTo>
                  <a:lnTo>
                    <a:pt x="3853" y="1906"/>
                  </a:lnTo>
                  <a:lnTo>
                    <a:pt x="3853" y="1906"/>
                  </a:lnTo>
                  <a:lnTo>
                    <a:pt x="3853" y="1906"/>
                  </a:lnTo>
                  <a:lnTo>
                    <a:pt x="3853" y="1904"/>
                  </a:lnTo>
                  <a:lnTo>
                    <a:pt x="3853" y="1904"/>
                  </a:lnTo>
                  <a:lnTo>
                    <a:pt x="3853" y="1904"/>
                  </a:lnTo>
                  <a:lnTo>
                    <a:pt x="3855" y="1906"/>
                  </a:lnTo>
                  <a:lnTo>
                    <a:pt x="3855" y="1904"/>
                  </a:lnTo>
                  <a:lnTo>
                    <a:pt x="3855" y="1904"/>
                  </a:lnTo>
                  <a:lnTo>
                    <a:pt x="3855" y="1904"/>
                  </a:lnTo>
                  <a:lnTo>
                    <a:pt x="3855" y="1904"/>
                  </a:lnTo>
                  <a:lnTo>
                    <a:pt x="3855" y="1904"/>
                  </a:lnTo>
                  <a:lnTo>
                    <a:pt x="3855" y="1904"/>
                  </a:lnTo>
                  <a:lnTo>
                    <a:pt x="3855" y="1904"/>
                  </a:lnTo>
                  <a:lnTo>
                    <a:pt x="3855" y="1906"/>
                  </a:lnTo>
                  <a:lnTo>
                    <a:pt x="3855" y="1906"/>
                  </a:lnTo>
                  <a:lnTo>
                    <a:pt x="3855" y="1906"/>
                  </a:lnTo>
                  <a:lnTo>
                    <a:pt x="3855" y="1906"/>
                  </a:lnTo>
                  <a:lnTo>
                    <a:pt x="3855" y="1909"/>
                  </a:lnTo>
                  <a:lnTo>
                    <a:pt x="3855" y="1909"/>
                  </a:lnTo>
                  <a:lnTo>
                    <a:pt x="3857" y="1913"/>
                  </a:lnTo>
                  <a:lnTo>
                    <a:pt x="3857" y="1913"/>
                  </a:lnTo>
                  <a:lnTo>
                    <a:pt x="3855" y="1916"/>
                  </a:lnTo>
                  <a:lnTo>
                    <a:pt x="3857" y="1916"/>
                  </a:lnTo>
                  <a:lnTo>
                    <a:pt x="3860" y="1913"/>
                  </a:lnTo>
                  <a:lnTo>
                    <a:pt x="3860" y="1913"/>
                  </a:lnTo>
                  <a:lnTo>
                    <a:pt x="3862" y="1911"/>
                  </a:lnTo>
                  <a:lnTo>
                    <a:pt x="3862" y="1911"/>
                  </a:lnTo>
                  <a:lnTo>
                    <a:pt x="3862" y="1911"/>
                  </a:lnTo>
                  <a:lnTo>
                    <a:pt x="3864" y="1909"/>
                  </a:lnTo>
                  <a:lnTo>
                    <a:pt x="3864" y="1906"/>
                  </a:lnTo>
                  <a:lnTo>
                    <a:pt x="3864" y="1906"/>
                  </a:lnTo>
                  <a:lnTo>
                    <a:pt x="3864" y="1906"/>
                  </a:lnTo>
                  <a:lnTo>
                    <a:pt x="3864" y="1909"/>
                  </a:lnTo>
                  <a:lnTo>
                    <a:pt x="3867" y="1906"/>
                  </a:lnTo>
                  <a:lnTo>
                    <a:pt x="3867" y="1906"/>
                  </a:lnTo>
                  <a:lnTo>
                    <a:pt x="3867" y="1906"/>
                  </a:lnTo>
                  <a:lnTo>
                    <a:pt x="3869" y="1906"/>
                  </a:lnTo>
                  <a:lnTo>
                    <a:pt x="3869" y="1906"/>
                  </a:lnTo>
                  <a:lnTo>
                    <a:pt x="3869" y="1906"/>
                  </a:lnTo>
                  <a:lnTo>
                    <a:pt x="3869" y="1904"/>
                  </a:lnTo>
                  <a:lnTo>
                    <a:pt x="3869" y="1906"/>
                  </a:lnTo>
                  <a:lnTo>
                    <a:pt x="3869" y="1906"/>
                  </a:lnTo>
                  <a:lnTo>
                    <a:pt x="3871" y="1906"/>
                  </a:lnTo>
                  <a:lnTo>
                    <a:pt x="3871" y="1906"/>
                  </a:lnTo>
                  <a:lnTo>
                    <a:pt x="3871" y="1904"/>
                  </a:lnTo>
                  <a:lnTo>
                    <a:pt x="3871" y="1904"/>
                  </a:lnTo>
                  <a:lnTo>
                    <a:pt x="3871" y="1904"/>
                  </a:lnTo>
                  <a:lnTo>
                    <a:pt x="3871" y="1904"/>
                  </a:lnTo>
                  <a:lnTo>
                    <a:pt x="3874" y="1904"/>
                  </a:lnTo>
                  <a:lnTo>
                    <a:pt x="3881" y="1899"/>
                  </a:lnTo>
                  <a:lnTo>
                    <a:pt x="3881" y="1899"/>
                  </a:lnTo>
                  <a:lnTo>
                    <a:pt x="3881" y="1897"/>
                  </a:lnTo>
                  <a:lnTo>
                    <a:pt x="3881" y="1894"/>
                  </a:lnTo>
                  <a:lnTo>
                    <a:pt x="3879" y="1894"/>
                  </a:lnTo>
                  <a:lnTo>
                    <a:pt x="3879" y="1894"/>
                  </a:lnTo>
                  <a:lnTo>
                    <a:pt x="3879" y="1894"/>
                  </a:lnTo>
                  <a:lnTo>
                    <a:pt x="3879" y="1894"/>
                  </a:lnTo>
                  <a:lnTo>
                    <a:pt x="3879" y="1892"/>
                  </a:lnTo>
                  <a:lnTo>
                    <a:pt x="3879" y="1892"/>
                  </a:lnTo>
                  <a:lnTo>
                    <a:pt x="3879" y="1892"/>
                  </a:lnTo>
                  <a:lnTo>
                    <a:pt x="3879" y="1892"/>
                  </a:lnTo>
                  <a:lnTo>
                    <a:pt x="3879" y="1892"/>
                  </a:lnTo>
                  <a:lnTo>
                    <a:pt x="3879" y="1892"/>
                  </a:lnTo>
                  <a:lnTo>
                    <a:pt x="3881" y="1892"/>
                  </a:lnTo>
                  <a:lnTo>
                    <a:pt x="3881" y="1892"/>
                  </a:lnTo>
                  <a:lnTo>
                    <a:pt x="3879" y="1892"/>
                  </a:lnTo>
                  <a:lnTo>
                    <a:pt x="3876" y="1887"/>
                  </a:lnTo>
                  <a:lnTo>
                    <a:pt x="3874" y="1885"/>
                  </a:lnTo>
                  <a:lnTo>
                    <a:pt x="3871" y="1883"/>
                  </a:lnTo>
                  <a:lnTo>
                    <a:pt x="3871" y="1883"/>
                  </a:lnTo>
                  <a:lnTo>
                    <a:pt x="3869" y="1883"/>
                  </a:lnTo>
                  <a:lnTo>
                    <a:pt x="3869" y="1883"/>
                  </a:lnTo>
                  <a:lnTo>
                    <a:pt x="3867" y="1883"/>
                  </a:lnTo>
                  <a:lnTo>
                    <a:pt x="3867" y="1883"/>
                  </a:lnTo>
                  <a:lnTo>
                    <a:pt x="3867" y="1883"/>
                  </a:lnTo>
                  <a:lnTo>
                    <a:pt x="3864" y="1883"/>
                  </a:lnTo>
                  <a:lnTo>
                    <a:pt x="3864" y="1883"/>
                  </a:lnTo>
                  <a:lnTo>
                    <a:pt x="3864" y="1883"/>
                  </a:lnTo>
                  <a:lnTo>
                    <a:pt x="3864" y="1885"/>
                  </a:lnTo>
                  <a:lnTo>
                    <a:pt x="3864" y="1885"/>
                  </a:lnTo>
                  <a:lnTo>
                    <a:pt x="3864" y="1885"/>
                  </a:lnTo>
                  <a:lnTo>
                    <a:pt x="3867" y="1885"/>
                  </a:lnTo>
                  <a:lnTo>
                    <a:pt x="3867" y="1885"/>
                  </a:lnTo>
                  <a:lnTo>
                    <a:pt x="3867" y="1885"/>
                  </a:lnTo>
                  <a:lnTo>
                    <a:pt x="3869" y="1885"/>
                  </a:lnTo>
                  <a:lnTo>
                    <a:pt x="3869" y="1885"/>
                  </a:lnTo>
                  <a:lnTo>
                    <a:pt x="3867" y="1885"/>
                  </a:lnTo>
                  <a:lnTo>
                    <a:pt x="3867" y="1885"/>
                  </a:lnTo>
                  <a:lnTo>
                    <a:pt x="3867" y="1885"/>
                  </a:lnTo>
                  <a:lnTo>
                    <a:pt x="3867" y="1883"/>
                  </a:lnTo>
                  <a:lnTo>
                    <a:pt x="3869" y="1883"/>
                  </a:lnTo>
                  <a:lnTo>
                    <a:pt x="3871" y="1883"/>
                  </a:lnTo>
                  <a:lnTo>
                    <a:pt x="3871" y="1885"/>
                  </a:lnTo>
                  <a:lnTo>
                    <a:pt x="3871" y="1885"/>
                  </a:lnTo>
                  <a:lnTo>
                    <a:pt x="3874" y="1887"/>
                  </a:lnTo>
                  <a:lnTo>
                    <a:pt x="3874" y="1890"/>
                  </a:lnTo>
                  <a:lnTo>
                    <a:pt x="3874" y="1890"/>
                  </a:lnTo>
                  <a:lnTo>
                    <a:pt x="3874" y="1890"/>
                  </a:lnTo>
                  <a:lnTo>
                    <a:pt x="3874" y="1887"/>
                  </a:lnTo>
                  <a:lnTo>
                    <a:pt x="3874" y="1887"/>
                  </a:lnTo>
                  <a:lnTo>
                    <a:pt x="3874" y="1887"/>
                  </a:lnTo>
                  <a:lnTo>
                    <a:pt x="3876" y="1887"/>
                  </a:lnTo>
                  <a:lnTo>
                    <a:pt x="3876" y="1887"/>
                  </a:lnTo>
                  <a:lnTo>
                    <a:pt x="3876" y="1887"/>
                  </a:lnTo>
                  <a:lnTo>
                    <a:pt x="3876" y="1890"/>
                  </a:lnTo>
                  <a:lnTo>
                    <a:pt x="3876" y="1890"/>
                  </a:lnTo>
                  <a:lnTo>
                    <a:pt x="3876" y="1890"/>
                  </a:lnTo>
                  <a:lnTo>
                    <a:pt x="3876" y="1890"/>
                  </a:lnTo>
                  <a:lnTo>
                    <a:pt x="3876" y="1890"/>
                  </a:lnTo>
                  <a:lnTo>
                    <a:pt x="3876" y="1892"/>
                  </a:lnTo>
                  <a:lnTo>
                    <a:pt x="3876" y="1894"/>
                  </a:lnTo>
                  <a:lnTo>
                    <a:pt x="3876" y="1894"/>
                  </a:lnTo>
                  <a:lnTo>
                    <a:pt x="3876" y="1894"/>
                  </a:lnTo>
                  <a:lnTo>
                    <a:pt x="3876" y="1897"/>
                  </a:lnTo>
                  <a:lnTo>
                    <a:pt x="3874" y="1897"/>
                  </a:lnTo>
                  <a:lnTo>
                    <a:pt x="3871" y="1899"/>
                  </a:lnTo>
                  <a:lnTo>
                    <a:pt x="3869" y="1901"/>
                  </a:lnTo>
                  <a:lnTo>
                    <a:pt x="3869" y="1901"/>
                  </a:lnTo>
                  <a:lnTo>
                    <a:pt x="3867" y="1901"/>
                  </a:lnTo>
                  <a:lnTo>
                    <a:pt x="3867" y="1901"/>
                  </a:lnTo>
                  <a:lnTo>
                    <a:pt x="3867" y="1901"/>
                  </a:lnTo>
                  <a:lnTo>
                    <a:pt x="3867" y="1901"/>
                  </a:lnTo>
                  <a:lnTo>
                    <a:pt x="3867" y="1901"/>
                  </a:lnTo>
                  <a:lnTo>
                    <a:pt x="3869" y="1901"/>
                  </a:lnTo>
                  <a:lnTo>
                    <a:pt x="3864" y="1901"/>
                  </a:lnTo>
                  <a:lnTo>
                    <a:pt x="3862" y="1901"/>
                  </a:lnTo>
                  <a:lnTo>
                    <a:pt x="3860" y="1899"/>
                  </a:lnTo>
                  <a:lnTo>
                    <a:pt x="3857" y="1899"/>
                  </a:lnTo>
                  <a:lnTo>
                    <a:pt x="3857" y="1897"/>
                  </a:lnTo>
                  <a:lnTo>
                    <a:pt x="3857" y="1897"/>
                  </a:lnTo>
                  <a:lnTo>
                    <a:pt x="3857" y="1894"/>
                  </a:lnTo>
                  <a:lnTo>
                    <a:pt x="3855" y="1892"/>
                  </a:lnTo>
                  <a:lnTo>
                    <a:pt x="3855" y="1892"/>
                  </a:lnTo>
                  <a:lnTo>
                    <a:pt x="3853" y="1892"/>
                  </a:lnTo>
                  <a:lnTo>
                    <a:pt x="3853" y="1892"/>
                  </a:lnTo>
                  <a:lnTo>
                    <a:pt x="3850" y="1894"/>
                  </a:lnTo>
                  <a:lnTo>
                    <a:pt x="3848" y="1892"/>
                  </a:lnTo>
                  <a:lnTo>
                    <a:pt x="3850" y="1892"/>
                  </a:lnTo>
                  <a:lnTo>
                    <a:pt x="3850" y="1890"/>
                  </a:lnTo>
                  <a:lnTo>
                    <a:pt x="3850" y="1890"/>
                  </a:lnTo>
                  <a:lnTo>
                    <a:pt x="3850" y="1890"/>
                  </a:lnTo>
                  <a:lnTo>
                    <a:pt x="3850" y="1887"/>
                  </a:lnTo>
                  <a:lnTo>
                    <a:pt x="3850" y="1887"/>
                  </a:lnTo>
                  <a:lnTo>
                    <a:pt x="3850" y="1887"/>
                  </a:lnTo>
                  <a:lnTo>
                    <a:pt x="3850" y="1890"/>
                  </a:lnTo>
                  <a:lnTo>
                    <a:pt x="3853" y="1890"/>
                  </a:lnTo>
                  <a:lnTo>
                    <a:pt x="3853" y="1890"/>
                  </a:lnTo>
                  <a:lnTo>
                    <a:pt x="3850" y="1890"/>
                  </a:lnTo>
                  <a:lnTo>
                    <a:pt x="3850" y="1890"/>
                  </a:lnTo>
                  <a:lnTo>
                    <a:pt x="3853" y="1890"/>
                  </a:lnTo>
                  <a:lnTo>
                    <a:pt x="3853" y="1890"/>
                  </a:lnTo>
                  <a:lnTo>
                    <a:pt x="3853" y="1890"/>
                  </a:lnTo>
                  <a:lnTo>
                    <a:pt x="3853" y="1890"/>
                  </a:lnTo>
                  <a:lnTo>
                    <a:pt x="3853" y="1890"/>
                  </a:lnTo>
                  <a:lnTo>
                    <a:pt x="3853" y="1890"/>
                  </a:lnTo>
                  <a:lnTo>
                    <a:pt x="3853" y="1890"/>
                  </a:lnTo>
                  <a:lnTo>
                    <a:pt x="3850" y="1887"/>
                  </a:lnTo>
                  <a:lnTo>
                    <a:pt x="3850" y="1887"/>
                  </a:lnTo>
                  <a:lnTo>
                    <a:pt x="3850" y="1887"/>
                  </a:lnTo>
                  <a:lnTo>
                    <a:pt x="3850" y="1885"/>
                  </a:lnTo>
                  <a:lnTo>
                    <a:pt x="3848" y="1885"/>
                  </a:lnTo>
                  <a:lnTo>
                    <a:pt x="3848" y="1883"/>
                  </a:lnTo>
                  <a:lnTo>
                    <a:pt x="3845" y="1883"/>
                  </a:lnTo>
                  <a:lnTo>
                    <a:pt x="3845" y="1883"/>
                  </a:lnTo>
                  <a:lnTo>
                    <a:pt x="3845" y="1883"/>
                  </a:lnTo>
                  <a:lnTo>
                    <a:pt x="3845" y="1883"/>
                  </a:lnTo>
                  <a:lnTo>
                    <a:pt x="3845" y="1880"/>
                  </a:lnTo>
                  <a:lnTo>
                    <a:pt x="3843" y="1880"/>
                  </a:lnTo>
                  <a:lnTo>
                    <a:pt x="3843" y="1880"/>
                  </a:lnTo>
                  <a:lnTo>
                    <a:pt x="3843" y="1880"/>
                  </a:lnTo>
                  <a:lnTo>
                    <a:pt x="3841" y="1880"/>
                  </a:lnTo>
                  <a:lnTo>
                    <a:pt x="3838" y="1880"/>
                  </a:lnTo>
                  <a:lnTo>
                    <a:pt x="3838" y="1878"/>
                  </a:lnTo>
                  <a:lnTo>
                    <a:pt x="3838" y="1878"/>
                  </a:lnTo>
                  <a:lnTo>
                    <a:pt x="3838" y="1880"/>
                  </a:lnTo>
                  <a:lnTo>
                    <a:pt x="3838" y="1880"/>
                  </a:lnTo>
                  <a:lnTo>
                    <a:pt x="3838" y="1880"/>
                  </a:lnTo>
                  <a:lnTo>
                    <a:pt x="3838" y="1880"/>
                  </a:lnTo>
                  <a:lnTo>
                    <a:pt x="3838" y="1880"/>
                  </a:lnTo>
                  <a:lnTo>
                    <a:pt x="3838" y="1880"/>
                  </a:lnTo>
                  <a:lnTo>
                    <a:pt x="3838" y="1880"/>
                  </a:lnTo>
                  <a:lnTo>
                    <a:pt x="3838" y="1880"/>
                  </a:lnTo>
                  <a:lnTo>
                    <a:pt x="3836" y="1883"/>
                  </a:lnTo>
                  <a:lnTo>
                    <a:pt x="3836" y="1883"/>
                  </a:lnTo>
                  <a:lnTo>
                    <a:pt x="3836" y="1883"/>
                  </a:lnTo>
                  <a:lnTo>
                    <a:pt x="3836" y="1883"/>
                  </a:lnTo>
                  <a:lnTo>
                    <a:pt x="3836" y="1883"/>
                  </a:lnTo>
                  <a:lnTo>
                    <a:pt x="3836" y="1883"/>
                  </a:lnTo>
                  <a:lnTo>
                    <a:pt x="3836" y="1883"/>
                  </a:lnTo>
                  <a:lnTo>
                    <a:pt x="3836" y="1883"/>
                  </a:lnTo>
                  <a:lnTo>
                    <a:pt x="3836" y="1880"/>
                  </a:lnTo>
                  <a:lnTo>
                    <a:pt x="3836" y="1880"/>
                  </a:lnTo>
                  <a:lnTo>
                    <a:pt x="3836" y="1880"/>
                  </a:lnTo>
                  <a:lnTo>
                    <a:pt x="3834" y="1880"/>
                  </a:lnTo>
                  <a:lnTo>
                    <a:pt x="3834" y="1880"/>
                  </a:lnTo>
                  <a:lnTo>
                    <a:pt x="3834" y="1880"/>
                  </a:lnTo>
                  <a:lnTo>
                    <a:pt x="3834" y="1880"/>
                  </a:lnTo>
                  <a:lnTo>
                    <a:pt x="3834" y="1880"/>
                  </a:lnTo>
                  <a:lnTo>
                    <a:pt x="3831" y="1880"/>
                  </a:lnTo>
                  <a:lnTo>
                    <a:pt x="3831" y="1880"/>
                  </a:lnTo>
                  <a:lnTo>
                    <a:pt x="3831" y="1878"/>
                  </a:lnTo>
                  <a:lnTo>
                    <a:pt x="3831" y="1878"/>
                  </a:lnTo>
                  <a:lnTo>
                    <a:pt x="3834" y="1878"/>
                  </a:lnTo>
                  <a:lnTo>
                    <a:pt x="3831" y="1878"/>
                  </a:lnTo>
                  <a:lnTo>
                    <a:pt x="3831" y="1878"/>
                  </a:lnTo>
                  <a:lnTo>
                    <a:pt x="3831" y="1878"/>
                  </a:lnTo>
                  <a:lnTo>
                    <a:pt x="3831" y="1878"/>
                  </a:lnTo>
                  <a:lnTo>
                    <a:pt x="3831" y="1875"/>
                  </a:lnTo>
                  <a:lnTo>
                    <a:pt x="3831" y="1878"/>
                  </a:lnTo>
                  <a:lnTo>
                    <a:pt x="3834" y="1878"/>
                  </a:lnTo>
                  <a:lnTo>
                    <a:pt x="3834" y="1878"/>
                  </a:lnTo>
                  <a:lnTo>
                    <a:pt x="3834" y="1875"/>
                  </a:lnTo>
                  <a:lnTo>
                    <a:pt x="3834" y="1875"/>
                  </a:lnTo>
                  <a:lnTo>
                    <a:pt x="3831" y="1875"/>
                  </a:lnTo>
                  <a:lnTo>
                    <a:pt x="3834" y="1875"/>
                  </a:lnTo>
                  <a:lnTo>
                    <a:pt x="3834" y="1875"/>
                  </a:lnTo>
                  <a:lnTo>
                    <a:pt x="3834" y="1875"/>
                  </a:lnTo>
                  <a:lnTo>
                    <a:pt x="3834" y="1875"/>
                  </a:lnTo>
                  <a:lnTo>
                    <a:pt x="3834" y="1875"/>
                  </a:lnTo>
                  <a:lnTo>
                    <a:pt x="3834" y="1875"/>
                  </a:lnTo>
                  <a:lnTo>
                    <a:pt x="3834" y="1875"/>
                  </a:lnTo>
                  <a:lnTo>
                    <a:pt x="3834" y="1873"/>
                  </a:lnTo>
                  <a:lnTo>
                    <a:pt x="3834" y="1873"/>
                  </a:lnTo>
                  <a:lnTo>
                    <a:pt x="3834" y="1873"/>
                  </a:lnTo>
                  <a:lnTo>
                    <a:pt x="3834" y="1871"/>
                  </a:lnTo>
                  <a:lnTo>
                    <a:pt x="3836" y="1873"/>
                  </a:lnTo>
                  <a:lnTo>
                    <a:pt x="3836" y="1873"/>
                  </a:lnTo>
                  <a:lnTo>
                    <a:pt x="3836" y="1873"/>
                  </a:lnTo>
                  <a:lnTo>
                    <a:pt x="3836" y="1871"/>
                  </a:lnTo>
                  <a:lnTo>
                    <a:pt x="3834" y="1871"/>
                  </a:lnTo>
                  <a:lnTo>
                    <a:pt x="3834" y="1871"/>
                  </a:lnTo>
                  <a:lnTo>
                    <a:pt x="3834" y="1871"/>
                  </a:lnTo>
                  <a:lnTo>
                    <a:pt x="3836" y="1871"/>
                  </a:lnTo>
                  <a:lnTo>
                    <a:pt x="3836" y="1871"/>
                  </a:lnTo>
                  <a:lnTo>
                    <a:pt x="3836" y="1871"/>
                  </a:lnTo>
                  <a:lnTo>
                    <a:pt x="3836" y="1868"/>
                  </a:lnTo>
                  <a:lnTo>
                    <a:pt x="3836" y="1868"/>
                  </a:lnTo>
                  <a:lnTo>
                    <a:pt x="3836" y="1868"/>
                  </a:lnTo>
                  <a:lnTo>
                    <a:pt x="3836" y="1868"/>
                  </a:lnTo>
                  <a:lnTo>
                    <a:pt x="3836" y="1868"/>
                  </a:lnTo>
                  <a:lnTo>
                    <a:pt x="3836" y="1868"/>
                  </a:lnTo>
                  <a:lnTo>
                    <a:pt x="3836" y="1868"/>
                  </a:lnTo>
                  <a:lnTo>
                    <a:pt x="3836" y="1866"/>
                  </a:lnTo>
                  <a:lnTo>
                    <a:pt x="3836" y="1868"/>
                  </a:lnTo>
                  <a:lnTo>
                    <a:pt x="3836" y="1868"/>
                  </a:lnTo>
                  <a:lnTo>
                    <a:pt x="3836" y="1868"/>
                  </a:lnTo>
                  <a:lnTo>
                    <a:pt x="3836" y="1868"/>
                  </a:lnTo>
                  <a:lnTo>
                    <a:pt x="3836" y="1868"/>
                  </a:lnTo>
                  <a:lnTo>
                    <a:pt x="3836" y="1868"/>
                  </a:lnTo>
                  <a:lnTo>
                    <a:pt x="3836" y="1866"/>
                  </a:lnTo>
                  <a:lnTo>
                    <a:pt x="3836" y="1866"/>
                  </a:lnTo>
                  <a:lnTo>
                    <a:pt x="3836" y="1866"/>
                  </a:lnTo>
                  <a:lnTo>
                    <a:pt x="3838" y="1864"/>
                  </a:lnTo>
                  <a:lnTo>
                    <a:pt x="3841" y="1864"/>
                  </a:lnTo>
                  <a:lnTo>
                    <a:pt x="3841" y="1861"/>
                  </a:lnTo>
                  <a:lnTo>
                    <a:pt x="3841" y="1861"/>
                  </a:lnTo>
                  <a:lnTo>
                    <a:pt x="3841" y="1861"/>
                  </a:lnTo>
                  <a:lnTo>
                    <a:pt x="3841" y="1861"/>
                  </a:lnTo>
                  <a:lnTo>
                    <a:pt x="3841" y="1861"/>
                  </a:lnTo>
                  <a:lnTo>
                    <a:pt x="3841" y="1861"/>
                  </a:lnTo>
                  <a:lnTo>
                    <a:pt x="3843" y="1861"/>
                  </a:lnTo>
                  <a:lnTo>
                    <a:pt x="3843" y="1861"/>
                  </a:lnTo>
                  <a:lnTo>
                    <a:pt x="3843" y="1861"/>
                  </a:lnTo>
                  <a:lnTo>
                    <a:pt x="3843" y="1861"/>
                  </a:lnTo>
                  <a:lnTo>
                    <a:pt x="3843" y="1859"/>
                  </a:lnTo>
                  <a:lnTo>
                    <a:pt x="3843" y="1859"/>
                  </a:lnTo>
                  <a:lnTo>
                    <a:pt x="3843" y="1859"/>
                  </a:lnTo>
                  <a:lnTo>
                    <a:pt x="3843" y="1859"/>
                  </a:lnTo>
                  <a:lnTo>
                    <a:pt x="3843" y="1859"/>
                  </a:lnTo>
                  <a:lnTo>
                    <a:pt x="3843" y="1859"/>
                  </a:lnTo>
                  <a:lnTo>
                    <a:pt x="3843" y="1859"/>
                  </a:lnTo>
                  <a:lnTo>
                    <a:pt x="3843" y="1857"/>
                  </a:lnTo>
                  <a:lnTo>
                    <a:pt x="3843" y="1857"/>
                  </a:lnTo>
                  <a:lnTo>
                    <a:pt x="3843" y="1857"/>
                  </a:lnTo>
                  <a:lnTo>
                    <a:pt x="3843" y="1857"/>
                  </a:lnTo>
                  <a:lnTo>
                    <a:pt x="3843" y="1857"/>
                  </a:lnTo>
                  <a:lnTo>
                    <a:pt x="3843" y="1857"/>
                  </a:lnTo>
                  <a:lnTo>
                    <a:pt x="3841" y="1857"/>
                  </a:lnTo>
                  <a:lnTo>
                    <a:pt x="3841" y="1857"/>
                  </a:lnTo>
                  <a:lnTo>
                    <a:pt x="3841" y="1859"/>
                  </a:lnTo>
                  <a:lnTo>
                    <a:pt x="3841" y="1859"/>
                  </a:lnTo>
                  <a:lnTo>
                    <a:pt x="3841" y="1859"/>
                  </a:lnTo>
                  <a:lnTo>
                    <a:pt x="3841" y="1859"/>
                  </a:lnTo>
                  <a:lnTo>
                    <a:pt x="3841" y="1859"/>
                  </a:lnTo>
                  <a:lnTo>
                    <a:pt x="3838" y="1859"/>
                  </a:lnTo>
                  <a:lnTo>
                    <a:pt x="3836" y="1859"/>
                  </a:lnTo>
                  <a:lnTo>
                    <a:pt x="3838" y="1859"/>
                  </a:lnTo>
                  <a:lnTo>
                    <a:pt x="3838" y="1859"/>
                  </a:lnTo>
                  <a:lnTo>
                    <a:pt x="3838" y="1859"/>
                  </a:lnTo>
                  <a:lnTo>
                    <a:pt x="3836" y="1857"/>
                  </a:lnTo>
                  <a:lnTo>
                    <a:pt x="3834" y="1857"/>
                  </a:lnTo>
                  <a:lnTo>
                    <a:pt x="3834" y="1857"/>
                  </a:lnTo>
                  <a:lnTo>
                    <a:pt x="3834" y="1857"/>
                  </a:lnTo>
                  <a:lnTo>
                    <a:pt x="3836" y="1857"/>
                  </a:lnTo>
                  <a:lnTo>
                    <a:pt x="3836" y="1857"/>
                  </a:lnTo>
                  <a:lnTo>
                    <a:pt x="3834" y="1854"/>
                  </a:lnTo>
                  <a:lnTo>
                    <a:pt x="3834" y="1854"/>
                  </a:lnTo>
                  <a:lnTo>
                    <a:pt x="3834" y="1852"/>
                  </a:lnTo>
                  <a:lnTo>
                    <a:pt x="3834" y="1852"/>
                  </a:lnTo>
                  <a:lnTo>
                    <a:pt x="3834" y="1852"/>
                  </a:lnTo>
                  <a:lnTo>
                    <a:pt x="3834" y="1852"/>
                  </a:lnTo>
                  <a:lnTo>
                    <a:pt x="3834" y="1852"/>
                  </a:lnTo>
                  <a:lnTo>
                    <a:pt x="3834" y="1852"/>
                  </a:lnTo>
                  <a:lnTo>
                    <a:pt x="3831" y="1852"/>
                  </a:lnTo>
                  <a:lnTo>
                    <a:pt x="3831" y="1852"/>
                  </a:lnTo>
                  <a:lnTo>
                    <a:pt x="3834" y="1852"/>
                  </a:lnTo>
                  <a:lnTo>
                    <a:pt x="3834" y="1852"/>
                  </a:lnTo>
                  <a:lnTo>
                    <a:pt x="3834" y="1852"/>
                  </a:lnTo>
                  <a:lnTo>
                    <a:pt x="3834" y="1849"/>
                  </a:lnTo>
                  <a:lnTo>
                    <a:pt x="3834" y="1849"/>
                  </a:lnTo>
                  <a:lnTo>
                    <a:pt x="3834" y="1849"/>
                  </a:lnTo>
                  <a:lnTo>
                    <a:pt x="3834" y="1847"/>
                  </a:lnTo>
                  <a:lnTo>
                    <a:pt x="3834" y="1845"/>
                  </a:lnTo>
                  <a:lnTo>
                    <a:pt x="3834" y="1842"/>
                  </a:lnTo>
                  <a:lnTo>
                    <a:pt x="3834" y="1840"/>
                  </a:lnTo>
                  <a:lnTo>
                    <a:pt x="3834" y="1840"/>
                  </a:lnTo>
                  <a:lnTo>
                    <a:pt x="3834" y="1840"/>
                  </a:lnTo>
                  <a:lnTo>
                    <a:pt x="3834" y="1840"/>
                  </a:lnTo>
                  <a:lnTo>
                    <a:pt x="3834" y="1838"/>
                  </a:lnTo>
                  <a:lnTo>
                    <a:pt x="3834" y="1840"/>
                  </a:lnTo>
                  <a:lnTo>
                    <a:pt x="3834" y="1840"/>
                  </a:lnTo>
                  <a:lnTo>
                    <a:pt x="3834" y="1838"/>
                  </a:lnTo>
                  <a:lnTo>
                    <a:pt x="3834" y="1838"/>
                  </a:lnTo>
                  <a:lnTo>
                    <a:pt x="3834" y="1838"/>
                  </a:lnTo>
                  <a:lnTo>
                    <a:pt x="3834" y="1835"/>
                  </a:lnTo>
                  <a:lnTo>
                    <a:pt x="3834" y="1835"/>
                  </a:lnTo>
                  <a:lnTo>
                    <a:pt x="3834" y="1838"/>
                  </a:lnTo>
                  <a:lnTo>
                    <a:pt x="3834" y="1838"/>
                  </a:lnTo>
                  <a:lnTo>
                    <a:pt x="3836" y="1838"/>
                  </a:lnTo>
                  <a:lnTo>
                    <a:pt x="3836" y="1838"/>
                  </a:lnTo>
                  <a:lnTo>
                    <a:pt x="3836" y="1833"/>
                  </a:lnTo>
                  <a:lnTo>
                    <a:pt x="3836" y="1833"/>
                  </a:lnTo>
                  <a:lnTo>
                    <a:pt x="3836" y="1833"/>
                  </a:lnTo>
                  <a:lnTo>
                    <a:pt x="3836" y="1831"/>
                  </a:lnTo>
                  <a:lnTo>
                    <a:pt x="3836" y="1831"/>
                  </a:lnTo>
                  <a:lnTo>
                    <a:pt x="3836" y="1831"/>
                  </a:lnTo>
                  <a:lnTo>
                    <a:pt x="3836" y="1828"/>
                  </a:lnTo>
                  <a:lnTo>
                    <a:pt x="3836" y="1828"/>
                  </a:lnTo>
                  <a:lnTo>
                    <a:pt x="3836" y="1826"/>
                  </a:lnTo>
                  <a:lnTo>
                    <a:pt x="3836" y="1826"/>
                  </a:lnTo>
                  <a:lnTo>
                    <a:pt x="3836" y="1826"/>
                  </a:lnTo>
                  <a:lnTo>
                    <a:pt x="3836" y="1823"/>
                  </a:lnTo>
                  <a:lnTo>
                    <a:pt x="3838" y="1823"/>
                  </a:lnTo>
                  <a:lnTo>
                    <a:pt x="3838" y="1823"/>
                  </a:lnTo>
                  <a:lnTo>
                    <a:pt x="3838" y="1823"/>
                  </a:lnTo>
                  <a:lnTo>
                    <a:pt x="3838" y="1821"/>
                  </a:lnTo>
                  <a:lnTo>
                    <a:pt x="3841" y="1821"/>
                  </a:lnTo>
                  <a:lnTo>
                    <a:pt x="3841" y="1821"/>
                  </a:lnTo>
                  <a:lnTo>
                    <a:pt x="3841" y="1819"/>
                  </a:lnTo>
                  <a:lnTo>
                    <a:pt x="3841" y="1819"/>
                  </a:lnTo>
                  <a:lnTo>
                    <a:pt x="3841" y="1819"/>
                  </a:lnTo>
                  <a:lnTo>
                    <a:pt x="3841" y="1819"/>
                  </a:lnTo>
                  <a:lnTo>
                    <a:pt x="3841" y="1819"/>
                  </a:lnTo>
                  <a:lnTo>
                    <a:pt x="3841" y="1819"/>
                  </a:lnTo>
                  <a:lnTo>
                    <a:pt x="3841" y="1816"/>
                  </a:lnTo>
                  <a:lnTo>
                    <a:pt x="3843" y="1816"/>
                  </a:lnTo>
                  <a:lnTo>
                    <a:pt x="3843" y="1816"/>
                  </a:lnTo>
                  <a:lnTo>
                    <a:pt x="3843" y="1816"/>
                  </a:lnTo>
                  <a:lnTo>
                    <a:pt x="3843" y="1816"/>
                  </a:lnTo>
                  <a:lnTo>
                    <a:pt x="3843" y="1816"/>
                  </a:lnTo>
                  <a:lnTo>
                    <a:pt x="3843" y="1816"/>
                  </a:lnTo>
                  <a:lnTo>
                    <a:pt x="3841" y="1816"/>
                  </a:lnTo>
                  <a:lnTo>
                    <a:pt x="3841" y="1816"/>
                  </a:lnTo>
                  <a:lnTo>
                    <a:pt x="3841" y="1814"/>
                  </a:lnTo>
                  <a:lnTo>
                    <a:pt x="3841" y="1814"/>
                  </a:lnTo>
                  <a:lnTo>
                    <a:pt x="3841" y="1812"/>
                  </a:lnTo>
                  <a:lnTo>
                    <a:pt x="3841" y="1812"/>
                  </a:lnTo>
                  <a:lnTo>
                    <a:pt x="3841" y="1812"/>
                  </a:lnTo>
                  <a:lnTo>
                    <a:pt x="3843" y="1812"/>
                  </a:lnTo>
                  <a:lnTo>
                    <a:pt x="3843" y="1812"/>
                  </a:lnTo>
                  <a:lnTo>
                    <a:pt x="3843" y="1812"/>
                  </a:lnTo>
                  <a:lnTo>
                    <a:pt x="3843" y="1809"/>
                  </a:lnTo>
                  <a:lnTo>
                    <a:pt x="3843" y="1809"/>
                  </a:lnTo>
                  <a:lnTo>
                    <a:pt x="3843" y="1809"/>
                  </a:lnTo>
                  <a:lnTo>
                    <a:pt x="3843" y="1809"/>
                  </a:lnTo>
                  <a:lnTo>
                    <a:pt x="3845" y="1809"/>
                  </a:lnTo>
                  <a:lnTo>
                    <a:pt x="3845" y="1809"/>
                  </a:lnTo>
                  <a:lnTo>
                    <a:pt x="3845" y="1809"/>
                  </a:lnTo>
                  <a:lnTo>
                    <a:pt x="3845" y="1809"/>
                  </a:lnTo>
                  <a:lnTo>
                    <a:pt x="3845" y="1807"/>
                  </a:lnTo>
                  <a:lnTo>
                    <a:pt x="3845" y="1807"/>
                  </a:lnTo>
                  <a:lnTo>
                    <a:pt x="3845" y="1805"/>
                  </a:lnTo>
                  <a:lnTo>
                    <a:pt x="3843" y="1805"/>
                  </a:lnTo>
                  <a:lnTo>
                    <a:pt x="3843" y="1805"/>
                  </a:lnTo>
                  <a:lnTo>
                    <a:pt x="3841" y="1805"/>
                  </a:lnTo>
                  <a:lnTo>
                    <a:pt x="3841" y="1805"/>
                  </a:lnTo>
                  <a:lnTo>
                    <a:pt x="3843" y="1805"/>
                  </a:lnTo>
                  <a:lnTo>
                    <a:pt x="3843" y="1805"/>
                  </a:lnTo>
                  <a:lnTo>
                    <a:pt x="3843" y="1805"/>
                  </a:lnTo>
                  <a:lnTo>
                    <a:pt x="3843" y="1805"/>
                  </a:lnTo>
                  <a:lnTo>
                    <a:pt x="3843" y="1802"/>
                  </a:lnTo>
                  <a:lnTo>
                    <a:pt x="3843" y="1802"/>
                  </a:lnTo>
                  <a:lnTo>
                    <a:pt x="3843" y="1802"/>
                  </a:lnTo>
                  <a:lnTo>
                    <a:pt x="3843" y="1800"/>
                  </a:lnTo>
                  <a:lnTo>
                    <a:pt x="3845" y="1797"/>
                  </a:lnTo>
                  <a:lnTo>
                    <a:pt x="3845" y="1795"/>
                  </a:lnTo>
                  <a:lnTo>
                    <a:pt x="3845" y="1795"/>
                  </a:lnTo>
                  <a:lnTo>
                    <a:pt x="3845" y="1795"/>
                  </a:lnTo>
                  <a:lnTo>
                    <a:pt x="3848" y="1795"/>
                  </a:lnTo>
                  <a:lnTo>
                    <a:pt x="3848" y="1795"/>
                  </a:lnTo>
                  <a:lnTo>
                    <a:pt x="3848" y="1793"/>
                  </a:lnTo>
                  <a:lnTo>
                    <a:pt x="3848" y="1793"/>
                  </a:lnTo>
                  <a:lnTo>
                    <a:pt x="3848" y="1793"/>
                  </a:lnTo>
                  <a:lnTo>
                    <a:pt x="3848" y="1793"/>
                  </a:lnTo>
                  <a:lnTo>
                    <a:pt x="3850" y="1793"/>
                  </a:lnTo>
                  <a:lnTo>
                    <a:pt x="3850" y="1793"/>
                  </a:lnTo>
                  <a:lnTo>
                    <a:pt x="3850" y="1793"/>
                  </a:lnTo>
                  <a:lnTo>
                    <a:pt x="3848" y="1793"/>
                  </a:lnTo>
                  <a:lnTo>
                    <a:pt x="3848" y="1793"/>
                  </a:lnTo>
                  <a:lnTo>
                    <a:pt x="3850" y="1793"/>
                  </a:lnTo>
                  <a:lnTo>
                    <a:pt x="3850" y="1793"/>
                  </a:lnTo>
                  <a:lnTo>
                    <a:pt x="3850" y="1793"/>
                  </a:lnTo>
                  <a:lnTo>
                    <a:pt x="3850" y="1793"/>
                  </a:lnTo>
                  <a:lnTo>
                    <a:pt x="3850" y="1797"/>
                  </a:lnTo>
                  <a:lnTo>
                    <a:pt x="3850" y="1797"/>
                  </a:lnTo>
                  <a:lnTo>
                    <a:pt x="3850" y="1797"/>
                  </a:lnTo>
                  <a:lnTo>
                    <a:pt x="3850" y="1797"/>
                  </a:lnTo>
                  <a:lnTo>
                    <a:pt x="3850" y="1797"/>
                  </a:lnTo>
                  <a:lnTo>
                    <a:pt x="3850" y="1795"/>
                  </a:lnTo>
                  <a:lnTo>
                    <a:pt x="3850" y="1795"/>
                  </a:lnTo>
                  <a:lnTo>
                    <a:pt x="3850" y="1793"/>
                  </a:lnTo>
                  <a:lnTo>
                    <a:pt x="3850" y="1793"/>
                  </a:lnTo>
                  <a:lnTo>
                    <a:pt x="3853" y="1793"/>
                  </a:lnTo>
                  <a:lnTo>
                    <a:pt x="3853" y="1793"/>
                  </a:lnTo>
                  <a:lnTo>
                    <a:pt x="3850" y="1797"/>
                  </a:lnTo>
                  <a:lnTo>
                    <a:pt x="3853" y="1797"/>
                  </a:lnTo>
                  <a:lnTo>
                    <a:pt x="3853" y="1797"/>
                  </a:lnTo>
                  <a:lnTo>
                    <a:pt x="3853" y="1797"/>
                  </a:lnTo>
                  <a:lnTo>
                    <a:pt x="3853" y="1797"/>
                  </a:lnTo>
                  <a:lnTo>
                    <a:pt x="3853" y="1797"/>
                  </a:lnTo>
                  <a:lnTo>
                    <a:pt x="3853" y="1797"/>
                  </a:lnTo>
                  <a:lnTo>
                    <a:pt x="3853" y="1797"/>
                  </a:lnTo>
                  <a:lnTo>
                    <a:pt x="3853" y="1795"/>
                  </a:lnTo>
                  <a:lnTo>
                    <a:pt x="3853" y="1795"/>
                  </a:lnTo>
                  <a:lnTo>
                    <a:pt x="3855" y="1795"/>
                  </a:lnTo>
                  <a:lnTo>
                    <a:pt x="3855" y="1793"/>
                  </a:lnTo>
                  <a:lnTo>
                    <a:pt x="3855" y="1793"/>
                  </a:lnTo>
                  <a:lnTo>
                    <a:pt x="3855" y="1793"/>
                  </a:lnTo>
                  <a:lnTo>
                    <a:pt x="3853" y="1790"/>
                  </a:lnTo>
                  <a:lnTo>
                    <a:pt x="3853" y="1790"/>
                  </a:lnTo>
                  <a:lnTo>
                    <a:pt x="3853" y="1790"/>
                  </a:lnTo>
                  <a:lnTo>
                    <a:pt x="3853" y="1790"/>
                  </a:lnTo>
                  <a:lnTo>
                    <a:pt x="3853" y="1790"/>
                  </a:lnTo>
                  <a:lnTo>
                    <a:pt x="3853" y="1790"/>
                  </a:lnTo>
                  <a:lnTo>
                    <a:pt x="3853" y="1790"/>
                  </a:lnTo>
                  <a:lnTo>
                    <a:pt x="3855" y="1790"/>
                  </a:lnTo>
                  <a:lnTo>
                    <a:pt x="3855" y="1790"/>
                  </a:lnTo>
                  <a:lnTo>
                    <a:pt x="3855" y="1790"/>
                  </a:lnTo>
                  <a:lnTo>
                    <a:pt x="3855" y="1790"/>
                  </a:lnTo>
                  <a:lnTo>
                    <a:pt x="3855" y="1793"/>
                  </a:lnTo>
                  <a:lnTo>
                    <a:pt x="3855" y="1793"/>
                  </a:lnTo>
                  <a:lnTo>
                    <a:pt x="3855" y="1793"/>
                  </a:lnTo>
                  <a:lnTo>
                    <a:pt x="3855" y="1793"/>
                  </a:lnTo>
                  <a:lnTo>
                    <a:pt x="3855" y="1793"/>
                  </a:lnTo>
                  <a:lnTo>
                    <a:pt x="3855" y="1793"/>
                  </a:lnTo>
                  <a:lnTo>
                    <a:pt x="3855" y="1793"/>
                  </a:lnTo>
                  <a:lnTo>
                    <a:pt x="3855" y="1795"/>
                  </a:lnTo>
                  <a:lnTo>
                    <a:pt x="3855" y="1795"/>
                  </a:lnTo>
                  <a:lnTo>
                    <a:pt x="3855" y="1795"/>
                  </a:lnTo>
                  <a:lnTo>
                    <a:pt x="3857" y="1797"/>
                  </a:lnTo>
                  <a:lnTo>
                    <a:pt x="3857" y="1797"/>
                  </a:lnTo>
                  <a:lnTo>
                    <a:pt x="3857" y="1797"/>
                  </a:lnTo>
                  <a:lnTo>
                    <a:pt x="3857" y="1797"/>
                  </a:lnTo>
                  <a:lnTo>
                    <a:pt x="3857" y="1797"/>
                  </a:lnTo>
                  <a:lnTo>
                    <a:pt x="3857" y="1797"/>
                  </a:lnTo>
                  <a:lnTo>
                    <a:pt x="3857" y="1795"/>
                  </a:lnTo>
                  <a:lnTo>
                    <a:pt x="3857" y="1795"/>
                  </a:lnTo>
                  <a:lnTo>
                    <a:pt x="3857" y="1795"/>
                  </a:lnTo>
                  <a:lnTo>
                    <a:pt x="3857" y="1795"/>
                  </a:lnTo>
                  <a:lnTo>
                    <a:pt x="3857" y="1793"/>
                  </a:lnTo>
                  <a:lnTo>
                    <a:pt x="3857" y="1793"/>
                  </a:lnTo>
                  <a:lnTo>
                    <a:pt x="3857" y="1790"/>
                  </a:lnTo>
                  <a:lnTo>
                    <a:pt x="3855" y="1786"/>
                  </a:lnTo>
                  <a:lnTo>
                    <a:pt x="3855" y="1786"/>
                  </a:lnTo>
                  <a:lnTo>
                    <a:pt x="3855" y="1786"/>
                  </a:lnTo>
                  <a:lnTo>
                    <a:pt x="3853" y="1786"/>
                  </a:lnTo>
                  <a:lnTo>
                    <a:pt x="3853" y="1786"/>
                  </a:lnTo>
                  <a:lnTo>
                    <a:pt x="3853" y="1786"/>
                  </a:lnTo>
                  <a:lnTo>
                    <a:pt x="3853" y="1786"/>
                  </a:lnTo>
                  <a:lnTo>
                    <a:pt x="3853" y="1786"/>
                  </a:lnTo>
                  <a:lnTo>
                    <a:pt x="3853" y="1786"/>
                  </a:lnTo>
                  <a:lnTo>
                    <a:pt x="3853" y="1783"/>
                  </a:lnTo>
                  <a:lnTo>
                    <a:pt x="3853" y="1783"/>
                  </a:lnTo>
                  <a:lnTo>
                    <a:pt x="3853" y="1783"/>
                  </a:lnTo>
                  <a:lnTo>
                    <a:pt x="3853" y="1781"/>
                  </a:lnTo>
                  <a:lnTo>
                    <a:pt x="3853" y="1781"/>
                  </a:lnTo>
                  <a:lnTo>
                    <a:pt x="3855" y="1781"/>
                  </a:lnTo>
                  <a:lnTo>
                    <a:pt x="3855" y="1781"/>
                  </a:lnTo>
                  <a:lnTo>
                    <a:pt x="3855" y="1778"/>
                  </a:lnTo>
                  <a:lnTo>
                    <a:pt x="3855" y="1778"/>
                  </a:lnTo>
                  <a:lnTo>
                    <a:pt x="3855" y="1781"/>
                  </a:lnTo>
                  <a:lnTo>
                    <a:pt x="3855" y="1781"/>
                  </a:lnTo>
                  <a:lnTo>
                    <a:pt x="3855" y="1781"/>
                  </a:lnTo>
                  <a:lnTo>
                    <a:pt x="3855" y="1781"/>
                  </a:lnTo>
                  <a:lnTo>
                    <a:pt x="3855" y="1783"/>
                  </a:lnTo>
                  <a:lnTo>
                    <a:pt x="3855" y="1783"/>
                  </a:lnTo>
                  <a:lnTo>
                    <a:pt x="3855" y="1783"/>
                  </a:lnTo>
                  <a:lnTo>
                    <a:pt x="3855" y="1786"/>
                  </a:lnTo>
                  <a:lnTo>
                    <a:pt x="3855" y="1786"/>
                  </a:lnTo>
                  <a:lnTo>
                    <a:pt x="3855" y="1786"/>
                  </a:lnTo>
                  <a:lnTo>
                    <a:pt x="3855" y="1786"/>
                  </a:lnTo>
                  <a:lnTo>
                    <a:pt x="3855" y="1788"/>
                  </a:lnTo>
                  <a:lnTo>
                    <a:pt x="3855" y="1788"/>
                  </a:lnTo>
                  <a:lnTo>
                    <a:pt x="3857" y="1788"/>
                  </a:lnTo>
                  <a:lnTo>
                    <a:pt x="3857" y="1788"/>
                  </a:lnTo>
                  <a:lnTo>
                    <a:pt x="3857" y="1790"/>
                  </a:lnTo>
                  <a:lnTo>
                    <a:pt x="3857" y="1793"/>
                  </a:lnTo>
                  <a:lnTo>
                    <a:pt x="3857" y="1793"/>
                  </a:lnTo>
                  <a:lnTo>
                    <a:pt x="3857" y="1793"/>
                  </a:lnTo>
                  <a:lnTo>
                    <a:pt x="3857" y="1793"/>
                  </a:lnTo>
                  <a:lnTo>
                    <a:pt x="3860" y="1793"/>
                  </a:lnTo>
                  <a:lnTo>
                    <a:pt x="3860" y="1793"/>
                  </a:lnTo>
                  <a:lnTo>
                    <a:pt x="3857" y="1793"/>
                  </a:lnTo>
                  <a:lnTo>
                    <a:pt x="3857" y="1793"/>
                  </a:lnTo>
                  <a:lnTo>
                    <a:pt x="3857" y="1793"/>
                  </a:lnTo>
                  <a:lnTo>
                    <a:pt x="3860" y="1795"/>
                  </a:lnTo>
                  <a:lnTo>
                    <a:pt x="3860" y="1795"/>
                  </a:lnTo>
                  <a:lnTo>
                    <a:pt x="3860" y="1793"/>
                  </a:lnTo>
                  <a:lnTo>
                    <a:pt x="3860" y="1790"/>
                  </a:lnTo>
                  <a:lnTo>
                    <a:pt x="3860" y="1790"/>
                  </a:lnTo>
                  <a:lnTo>
                    <a:pt x="3860" y="1790"/>
                  </a:lnTo>
                  <a:lnTo>
                    <a:pt x="3860" y="1790"/>
                  </a:lnTo>
                  <a:lnTo>
                    <a:pt x="3860" y="1790"/>
                  </a:lnTo>
                  <a:lnTo>
                    <a:pt x="3860" y="1793"/>
                  </a:lnTo>
                  <a:lnTo>
                    <a:pt x="3860" y="1790"/>
                  </a:lnTo>
                  <a:lnTo>
                    <a:pt x="3860" y="1790"/>
                  </a:lnTo>
                  <a:lnTo>
                    <a:pt x="3860" y="1788"/>
                  </a:lnTo>
                  <a:lnTo>
                    <a:pt x="3857" y="1788"/>
                  </a:lnTo>
                  <a:lnTo>
                    <a:pt x="3857" y="1788"/>
                  </a:lnTo>
                  <a:lnTo>
                    <a:pt x="3857" y="1788"/>
                  </a:lnTo>
                  <a:lnTo>
                    <a:pt x="3857" y="1788"/>
                  </a:lnTo>
                  <a:lnTo>
                    <a:pt x="3860" y="1781"/>
                  </a:lnTo>
                  <a:lnTo>
                    <a:pt x="3860" y="1781"/>
                  </a:lnTo>
                  <a:lnTo>
                    <a:pt x="3860" y="1781"/>
                  </a:lnTo>
                  <a:lnTo>
                    <a:pt x="3860" y="1781"/>
                  </a:lnTo>
                  <a:lnTo>
                    <a:pt x="3860" y="1781"/>
                  </a:lnTo>
                  <a:lnTo>
                    <a:pt x="3860" y="1781"/>
                  </a:lnTo>
                  <a:lnTo>
                    <a:pt x="3860" y="1781"/>
                  </a:lnTo>
                  <a:lnTo>
                    <a:pt x="3860" y="1783"/>
                  </a:lnTo>
                  <a:lnTo>
                    <a:pt x="3860" y="1783"/>
                  </a:lnTo>
                  <a:lnTo>
                    <a:pt x="3860" y="1786"/>
                  </a:lnTo>
                  <a:lnTo>
                    <a:pt x="3862" y="1786"/>
                  </a:lnTo>
                  <a:lnTo>
                    <a:pt x="3862" y="1786"/>
                  </a:lnTo>
                  <a:lnTo>
                    <a:pt x="3862" y="1786"/>
                  </a:lnTo>
                  <a:lnTo>
                    <a:pt x="3862" y="1786"/>
                  </a:lnTo>
                  <a:lnTo>
                    <a:pt x="3862" y="1786"/>
                  </a:lnTo>
                  <a:lnTo>
                    <a:pt x="3860" y="1786"/>
                  </a:lnTo>
                  <a:lnTo>
                    <a:pt x="3860" y="1786"/>
                  </a:lnTo>
                  <a:lnTo>
                    <a:pt x="3860" y="1786"/>
                  </a:lnTo>
                  <a:lnTo>
                    <a:pt x="3862" y="1786"/>
                  </a:lnTo>
                  <a:lnTo>
                    <a:pt x="3862" y="1786"/>
                  </a:lnTo>
                  <a:lnTo>
                    <a:pt x="3860" y="1788"/>
                  </a:lnTo>
                  <a:lnTo>
                    <a:pt x="3862" y="1788"/>
                  </a:lnTo>
                  <a:lnTo>
                    <a:pt x="3862" y="1788"/>
                  </a:lnTo>
                  <a:lnTo>
                    <a:pt x="3862" y="1788"/>
                  </a:lnTo>
                  <a:lnTo>
                    <a:pt x="3862" y="1790"/>
                  </a:lnTo>
                  <a:lnTo>
                    <a:pt x="3864" y="1788"/>
                  </a:lnTo>
                  <a:lnTo>
                    <a:pt x="3864" y="1788"/>
                  </a:lnTo>
                  <a:lnTo>
                    <a:pt x="3864" y="1790"/>
                  </a:lnTo>
                  <a:lnTo>
                    <a:pt x="3864" y="1790"/>
                  </a:lnTo>
                  <a:lnTo>
                    <a:pt x="3864" y="1790"/>
                  </a:lnTo>
                  <a:lnTo>
                    <a:pt x="3864" y="1788"/>
                  </a:lnTo>
                  <a:lnTo>
                    <a:pt x="3864" y="1788"/>
                  </a:lnTo>
                  <a:lnTo>
                    <a:pt x="3864" y="1788"/>
                  </a:lnTo>
                  <a:lnTo>
                    <a:pt x="3864" y="1786"/>
                  </a:lnTo>
                  <a:lnTo>
                    <a:pt x="3864" y="1786"/>
                  </a:lnTo>
                  <a:lnTo>
                    <a:pt x="3864" y="1786"/>
                  </a:lnTo>
                  <a:lnTo>
                    <a:pt x="3864" y="1786"/>
                  </a:lnTo>
                  <a:lnTo>
                    <a:pt x="3862" y="1786"/>
                  </a:lnTo>
                  <a:lnTo>
                    <a:pt x="3862" y="1786"/>
                  </a:lnTo>
                  <a:lnTo>
                    <a:pt x="3862" y="1783"/>
                  </a:lnTo>
                  <a:lnTo>
                    <a:pt x="3862" y="1783"/>
                  </a:lnTo>
                  <a:lnTo>
                    <a:pt x="3862" y="1783"/>
                  </a:lnTo>
                  <a:lnTo>
                    <a:pt x="3862" y="1783"/>
                  </a:lnTo>
                  <a:lnTo>
                    <a:pt x="3862" y="1783"/>
                  </a:lnTo>
                  <a:lnTo>
                    <a:pt x="3862" y="1781"/>
                  </a:lnTo>
                  <a:lnTo>
                    <a:pt x="3862" y="1781"/>
                  </a:lnTo>
                  <a:lnTo>
                    <a:pt x="3864" y="1778"/>
                  </a:lnTo>
                  <a:lnTo>
                    <a:pt x="3864" y="1778"/>
                  </a:lnTo>
                  <a:lnTo>
                    <a:pt x="3864" y="1781"/>
                  </a:lnTo>
                  <a:lnTo>
                    <a:pt x="3864" y="1783"/>
                  </a:lnTo>
                  <a:lnTo>
                    <a:pt x="3864" y="1783"/>
                  </a:lnTo>
                  <a:lnTo>
                    <a:pt x="3864" y="1783"/>
                  </a:lnTo>
                  <a:lnTo>
                    <a:pt x="3864" y="1783"/>
                  </a:lnTo>
                  <a:lnTo>
                    <a:pt x="3864" y="1783"/>
                  </a:lnTo>
                  <a:lnTo>
                    <a:pt x="3864" y="1786"/>
                  </a:lnTo>
                  <a:lnTo>
                    <a:pt x="3864" y="1786"/>
                  </a:lnTo>
                  <a:lnTo>
                    <a:pt x="3864" y="1786"/>
                  </a:lnTo>
                  <a:lnTo>
                    <a:pt x="3864" y="1786"/>
                  </a:lnTo>
                  <a:lnTo>
                    <a:pt x="3864" y="1786"/>
                  </a:lnTo>
                  <a:lnTo>
                    <a:pt x="3864" y="1788"/>
                  </a:lnTo>
                  <a:lnTo>
                    <a:pt x="3864" y="1788"/>
                  </a:lnTo>
                  <a:lnTo>
                    <a:pt x="3864" y="1788"/>
                  </a:lnTo>
                  <a:lnTo>
                    <a:pt x="3867" y="1788"/>
                  </a:lnTo>
                  <a:lnTo>
                    <a:pt x="3864" y="1788"/>
                  </a:lnTo>
                  <a:lnTo>
                    <a:pt x="3864" y="1786"/>
                  </a:lnTo>
                  <a:lnTo>
                    <a:pt x="3864" y="1786"/>
                  </a:lnTo>
                  <a:lnTo>
                    <a:pt x="3864" y="1786"/>
                  </a:lnTo>
                  <a:lnTo>
                    <a:pt x="3867" y="1786"/>
                  </a:lnTo>
                  <a:lnTo>
                    <a:pt x="3867" y="1786"/>
                  </a:lnTo>
                  <a:lnTo>
                    <a:pt x="3867" y="1788"/>
                  </a:lnTo>
                  <a:lnTo>
                    <a:pt x="3867" y="1788"/>
                  </a:lnTo>
                  <a:lnTo>
                    <a:pt x="3867" y="1788"/>
                  </a:lnTo>
                  <a:lnTo>
                    <a:pt x="3867" y="1786"/>
                  </a:lnTo>
                  <a:lnTo>
                    <a:pt x="3867" y="1781"/>
                  </a:lnTo>
                  <a:lnTo>
                    <a:pt x="3867" y="1781"/>
                  </a:lnTo>
                  <a:lnTo>
                    <a:pt x="3867" y="1778"/>
                  </a:lnTo>
                  <a:lnTo>
                    <a:pt x="3869" y="1778"/>
                  </a:lnTo>
                  <a:lnTo>
                    <a:pt x="3869" y="1778"/>
                  </a:lnTo>
                  <a:lnTo>
                    <a:pt x="3869" y="1778"/>
                  </a:lnTo>
                  <a:lnTo>
                    <a:pt x="3869" y="1778"/>
                  </a:lnTo>
                  <a:lnTo>
                    <a:pt x="3869" y="1776"/>
                  </a:lnTo>
                  <a:lnTo>
                    <a:pt x="3869" y="1776"/>
                  </a:lnTo>
                  <a:lnTo>
                    <a:pt x="3869" y="1776"/>
                  </a:lnTo>
                  <a:lnTo>
                    <a:pt x="3869" y="1776"/>
                  </a:lnTo>
                  <a:lnTo>
                    <a:pt x="3869" y="1776"/>
                  </a:lnTo>
                  <a:lnTo>
                    <a:pt x="3869" y="1776"/>
                  </a:lnTo>
                  <a:lnTo>
                    <a:pt x="3869" y="1776"/>
                  </a:lnTo>
                  <a:lnTo>
                    <a:pt x="3869" y="1778"/>
                  </a:lnTo>
                  <a:lnTo>
                    <a:pt x="3869" y="1778"/>
                  </a:lnTo>
                  <a:lnTo>
                    <a:pt x="3869" y="1778"/>
                  </a:lnTo>
                  <a:lnTo>
                    <a:pt x="3871" y="1778"/>
                  </a:lnTo>
                  <a:lnTo>
                    <a:pt x="3871" y="1778"/>
                  </a:lnTo>
                  <a:lnTo>
                    <a:pt x="3869" y="1781"/>
                  </a:lnTo>
                  <a:lnTo>
                    <a:pt x="3871" y="1778"/>
                  </a:lnTo>
                  <a:lnTo>
                    <a:pt x="3871" y="1778"/>
                  </a:lnTo>
                  <a:lnTo>
                    <a:pt x="3871" y="1778"/>
                  </a:lnTo>
                  <a:lnTo>
                    <a:pt x="3871" y="1778"/>
                  </a:lnTo>
                  <a:lnTo>
                    <a:pt x="3871" y="1781"/>
                  </a:lnTo>
                  <a:lnTo>
                    <a:pt x="3874" y="1781"/>
                  </a:lnTo>
                  <a:lnTo>
                    <a:pt x="3874" y="1781"/>
                  </a:lnTo>
                  <a:lnTo>
                    <a:pt x="3874" y="1776"/>
                  </a:lnTo>
                  <a:lnTo>
                    <a:pt x="3876" y="1776"/>
                  </a:lnTo>
                  <a:lnTo>
                    <a:pt x="3874" y="1778"/>
                  </a:lnTo>
                  <a:lnTo>
                    <a:pt x="3874" y="1778"/>
                  </a:lnTo>
                  <a:lnTo>
                    <a:pt x="3874" y="1781"/>
                  </a:lnTo>
                  <a:lnTo>
                    <a:pt x="3874" y="1781"/>
                  </a:lnTo>
                  <a:lnTo>
                    <a:pt x="3876" y="1781"/>
                  </a:lnTo>
                  <a:lnTo>
                    <a:pt x="3876" y="1781"/>
                  </a:lnTo>
                  <a:lnTo>
                    <a:pt x="3876" y="1778"/>
                  </a:lnTo>
                  <a:lnTo>
                    <a:pt x="3876" y="1778"/>
                  </a:lnTo>
                  <a:lnTo>
                    <a:pt x="3876" y="1778"/>
                  </a:lnTo>
                  <a:lnTo>
                    <a:pt x="3876" y="1778"/>
                  </a:lnTo>
                  <a:lnTo>
                    <a:pt x="3876" y="1776"/>
                  </a:lnTo>
                  <a:lnTo>
                    <a:pt x="3876" y="1776"/>
                  </a:lnTo>
                  <a:lnTo>
                    <a:pt x="3876" y="1776"/>
                  </a:lnTo>
                  <a:lnTo>
                    <a:pt x="3876" y="1776"/>
                  </a:lnTo>
                  <a:lnTo>
                    <a:pt x="3876" y="1776"/>
                  </a:lnTo>
                  <a:lnTo>
                    <a:pt x="3879" y="1776"/>
                  </a:lnTo>
                  <a:lnTo>
                    <a:pt x="3879" y="1776"/>
                  </a:lnTo>
                  <a:lnTo>
                    <a:pt x="3879" y="1774"/>
                  </a:lnTo>
                  <a:lnTo>
                    <a:pt x="3879" y="1774"/>
                  </a:lnTo>
                  <a:lnTo>
                    <a:pt x="3879" y="1774"/>
                  </a:lnTo>
                  <a:lnTo>
                    <a:pt x="3879" y="1774"/>
                  </a:lnTo>
                  <a:lnTo>
                    <a:pt x="3881" y="1771"/>
                  </a:lnTo>
                  <a:lnTo>
                    <a:pt x="3881" y="1771"/>
                  </a:lnTo>
                  <a:lnTo>
                    <a:pt x="3879" y="1771"/>
                  </a:lnTo>
                  <a:lnTo>
                    <a:pt x="3879" y="1771"/>
                  </a:lnTo>
                  <a:lnTo>
                    <a:pt x="3879" y="1769"/>
                  </a:lnTo>
                  <a:lnTo>
                    <a:pt x="3879" y="1769"/>
                  </a:lnTo>
                  <a:lnTo>
                    <a:pt x="3879" y="1769"/>
                  </a:lnTo>
                  <a:lnTo>
                    <a:pt x="3879" y="1769"/>
                  </a:lnTo>
                  <a:lnTo>
                    <a:pt x="3879" y="1767"/>
                  </a:lnTo>
                  <a:lnTo>
                    <a:pt x="3879" y="1767"/>
                  </a:lnTo>
                  <a:lnTo>
                    <a:pt x="3879" y="1764"/>
                  </a:lnTo>
                  <a:lnTo>
                    <a:pt x="3879" y="1762"/>
                  </a:lnTo>
                  <a:lnTo>
                    <a:pt x="3879" y="1760"/>
                  </a:lnTo>
                  <a:lnTo>
                    <a:pt x="3879" y="1760"/>
                  </a:lnTo>
                  <a:lnTo>
                    <a:pt x="3881" y="1760"/>
                  </a:lnTo>
                  <a:lnTo>
                    <a:pt x="3881" y="1757"/>
                  </a:lnTo>
                  <a:lnTo>
                    <a:pt x="3881" y="1757"/>
                  </a:lnTo>
                  <a:lnTo>
                    <a:pt x="3881" y="1757"/>
                  </a:lnTo>
                  <a:lnTo>
                    <a:pt x="3879" y="1755"/>
                  </a:lnTo>
                  <a:lnTo>
                    <a:pt x="3879" y="1755"/>
                  </a:lnTo>
                  <a:lnTo>
                    <a:pt x="3879" y="1755"/>
                  </a:lnTo>
                  <a:lnTo>
                    <a:pt x="3879" y="1755"/>
                  </a:lnTo>
                  <a:lnTo>
                    <a:pt x="3879" y="1752"/>
                  </a:lnTo>
                  <a:lnTo>
                    <a:pt x="3879" y="1752"/>
                  </a:lnTo>
                  <a:lnTo>
                    <a:pt x="3879" y="1752"/>
                  </a:lnTo>
                  <a:lnTo>
                    <a:pt x="3881" y="1750"/>
                  </a:lnTo>
                  <a:lnTo>
                    <a:pt x="3881" y="1750"/>
                  </a:lnTo>
                  <a:lnTo>
                    <a:pt x="3881" y="1750"/>
                  </a:lnTo>
                  <a:lnTo>
                    <a:pt x="3881" y="1750"/>
                  </a:lnTo>
                  <a:lnTo>
                    <a:pt x="3881" y="1750"/>
                  </a:lnTo>
                  <a:lnTo>
                    <a:pt x="3883" y="1750"/>
                  </a:lnTo>
                  <a:lnTo>
                    <a:pt x="3883" y="1750"/>
                  </a:lnTo>
                  <a:lnTo>
                    <a:pt x="3883" y="1750"/>
                  </a:lnTo>
                  <a:lnTo>
                    <a:pt x="3883" y="1748"/>
                  </a:lnTo>
                  <a:lnTo>
                    <a:pt x="3883" y="1748"/>
                  </a:lnTo>
                  <a:lnTo>
                    <a:pt x="3883" y="1745"/>
                  </a:lnTo>
                  <a:lnTo>
                    <a:pt x="3883" y="1745"/>
                  </a:lnTo>
                  <a:lnTo>
                    <a:pt x="3883" y="1745"/>
                  </a:lnTo>
                  <a:lnTo>
                    <a:pt x="3883" y="1745"/>
                  </a:lnTo>
                  <a:lnTo>
                    <a:pt x="3883" y="1745"/>
                  </a:lnTo>
                  <a:lnTo>
                    <a:pt x="3886" y="1745"/>
                  </a:lnTo>
                  <a:lnTo>
                    <a:pt x="3883" y="1748"/>
                  </a:lnTo>
                  <a:lnTo>
                    <a:pt x="3883" y="1748"/>
                  </a:lnTo>
                  <a:lnTo>
                    <a:pt x="3883" y="1750"/>
                  </a:lnTo>
                  <a:lnTo>
                    <a:pt x="3883" y="1750"/>
                  </a:lnTo>
                  <a:lnTo>
                    <a:pt x="3883" y="1750"/>
                  </a:lnTo>
                  <a:lnTo>
                    <a:pt x="3883" y="1750"/>
                  </a:lnTo>
                  <a:lnTo>
                    <a:pt x="3883" y="1750"/>
                  </a:lnTo>
                  <a:lnTo>
                    <a:pt x="3883" y="1750"/>
                  </a:lnTo>
                  <a:lnTo>
                    <a:pt x="3883" y="1752"/>
                  </a:lnTo>
                  <a:lnTo>
                    <a:pt x="3883" y="1752"/>
                  </a:lnTo>
                  <a:lnTo>
                    <a:pt x="3883" y="1752"/>
                  </a:lnTo>
                  <a:lnTo>
                    <a:pt x="3886" y="1752"/>
                  </a:lnTo>
                  <a:lnTo>
                    <a:pt x="3886" y="1752"/>
                  </a:lnTo>
                  <a:lnTo>
                    <a:pt x="3886" y="1750"/>
                  </a:lnTo>
                  <a:lnTo>
                    <a:pt x="3886" y="1750"/>
                  </a:lnTo>
                  <a:lnTo>
                    <a:pt x="3886" y="1750"/>
                  </a:lnTo>
                  <a:lnTo>
                    <a:pt x="3888" y="1750"/>
                  </a:lnTo>
                  <a:lnTo>
                    <a:pt x="3888" y="1750"/>
                  </a:lnTo>
                  <a:lnTo>
                    <a:pt x="3888" y="1752"/>
                  </a:lnTo>
                  <a:lnTo>
                    <a:pt x="3888" y="1752"/>
                  </a:lnTo>
                  <a:lnTo>
                    <a:pt x="3886" y="1750"/>
                  </a:lnTo>
                  <a:lnTo>
                    <a:pt x="3886" y="1750"/>
                  </a:lnTo>
                  <a:lnTo>
                    <a:pt x="3886" y="1752"/>
                  </a:lnTo>
                  <a:lnTo>
                    <a:pt x="3886" y="1752"/>
                  </a:lnTo>
                  <a:lnTo>
                    <a:pt x="3886" y="1752"/>
                  </a:lnTo>
                  <a:lnTo>
                    <a:pt x="3886" y="1752"/>
                  </a:lnTo>
                  <a:lnTo>
                    <a:pt x="3886" y="1755"/>
                  </a:lnTo>
                  <a:lnTo>
                    <a:pt x="3886" y="1755"/>
                  </a:lnTo>
                  <a:lnTo>
                    <a:pt x="3886" y="1755"/>
                  </a:lnTo>
                  <a:lnTo>
                    <a:pt x="3886" y="1752"/>
                  </a:lnTo>
                  <a:lnTo>
                    <a:pt x="3886" y="1752"/>
                  </a:lnTo>
                  <a:lnTo>
                    <a:pt x="3886" y="1755"/>
                  </a:lnTo>
                  <a:lnTo>
                    <a:pt x="3886" y="1755"/>
                  </a:lnTo>
                  <a:lnTo>
                    <a:pt x="3886" y="1757"/>
                  </a:lnTo>
                  <a:lnTo>
                    <a:pt x="3886" y="1757"/>
                  </a:lnTo>
                  <a:lnTo>
                    <a:pt x="3888" y="1755"/>
                  </a:lnTo>
                  <a:lnTo>
                    <a:pt x="3888" y="1755"/>
                  </a:lnTo>
                  <a:lnTo>
                    <a:pt x="3890" y="1757"/>
                  </a:lnTo>
                  <a:lnTo>
                    <a:pt x="3890" y="1757"/>
                  </a:lnTo>
                  <a:lnTo>
                    <a:pt x="3890" y="1757"/>
                  </a:lnTo>
                  <a:lnTo>
                    <a:pt x="3893" y="1757"/>
                  </a:lnTo>
                  <a:lnTo>
                    <a:pt x="3895" y="1757"/>
                  </a:lnTo>
                  <a:lnTo>
                    <a:pt x="3898" y="1757"/>
                  </a:lnTo>
                  <a:lnTo>
                    <a:pt x="3898" y="1757"/>
                  </a:lnTo>
                  <a:lnTo>
                    <a:pt x="3895" y="1757"/>
                  </a:lnTo>
                  <a:lnTo>
                    <a:pt x="3895" y="1757"/>
                  </a:lnTo>
                  <a:lnTo>
                    <a:pt x="3895" y="1757"/>
                  </a:lnTo>
                  <a:lnTo>
                    <a:pt x="3895" y="1757"/>
                  </a:lnTo>
                  <a:lnTo>
                    <a:pt x="3898" y="1757"/>
                  </a:lnTo>
                  <a:lnTo>
                    <a:pt x="3895" y="1755"/>
                  </a:lnTo>
                  <a:lnTo>
                    <a:pt x="3895" y="1755"/>
                  </a:lnTo>
                  <a:lnTo>
                    <a:pt x="3895" y="1755"/>
                  </a:lnTo>
                  <a:lnTo>
                    <a:pt x="3895" y="1755"/>
                  </a:lnTo>
                  <a:lnTo>
                    <a:pt x="3895" y="1755"/>
                  </a:lnTo>
                  <a:lnTo>
                    <a:pt x="3895" y="1755"/>
                  </a:lnTo>
                  <a:lnTo>
                    <a:pt x="3895" y="1752"/>
                  </a:lnTo>
                  <a:lnTo>
                    <a:pt x="3895" y="1752"/>
                  </a:lnTo>
                  <a:lnTo>
                    <a:pt x="3895" y="1752"/>
                  </a:lnTo>
                  <a:lnTo>
                    <a:pt x="3893" y="1750"/>
                  </a:lnTo>
                  <a:lnTo>
                    <a:pt x="3893" y="1750"/>
                  </a:lnTo>
                  <a:lnTo>
                    <a:pt x="3893" y="1750"/>
                  </a:lnTo>
                  <a:lnTo>
                    <a:pt x="3893" y="1750"/>
                  </a:lnTo>
                  <a:lnTo>
                    <a:pt x="3895" y="1750"/>
                  </a:lnTo>
                  <a:lnTo>
                    <a:pt x="3895" y="1748"/>
                  </a:lnTo>
                  <a:lnTo>
                    <a:pt x="3895" y="1748"/>
                  </a:lnTo>
                  <a:lnTo>
                    <a:pt x="3895" y="1748"/>
                  </a:lnTo>
                  <a:lnTo>
                    <a:pt x="3895" y="1748"/>
                  </a:lnTo>
                  <a:lnTo>
                    <a:pt x="3895" y="1750"/>
                  </a:lnTo>
                  <a:lnTo>
                    <a:pt x="3898" y="1750"/>
                  </a:lnTo>
                  <a:lnTo>
                    <a:pt x="3898" y="1750"/>
                  </a:lnTo>
                  <a:lnTo>
                    <a:pt x="3898" y="1748"/>
                  </a:lnTo>
                  <a:lnTo>
                    <a:pt x="3898" y="1748"/>
                  </a:lnTo>
                  <a:lnTo>
                    <a:pt x="3898" y="1748"/>
                  </a:lnTo>
                  <a:lnTo>
                    <a:pt x="3898" y="1748"/>
                  </a:lnTo>
                  <a:lnTo>
                    <a:pt x="3898" y="1748"/>
                  </a:lnTo>
                  <a:lnTo>
                    <a:pt x="3895" y="1748"/>
                  </a:lnTo>
                  <a:lnTo>
                    <a:pt x="3895" y="1748"/>
                  </a:lnTo>
                  <a:lnTo>
                    <a:pt x="3895" y="1748"/>
                  </a:lnTo>
                  <a:lnTo>
                    <a:pt x="3895" y="1748"/>
                  </a:lnTo>
                  <a:lnTo>
                    <a:pt x="3895" y="1748"/>
                  </a:lnTo>
                  <a:lnTo>
                    <a:pt x="3895" y="1745"/>
                  </a:lnTo>
                  <a:lnTo>
                    <a:pt x="3895" y="1745"/>
                  </a:lnTo>
                  <a:lnTo>
                    <a:pt x="3895" y="1745"/>
                  </a:lnTo>
                  <a:lnTo>
                    <a:pt x="3898" y="1745"/>
                  </a:lnTo>
                  <a:lnTo>
                    <a:pt x="3898" y="1745"/>
                  </a:lnTo>
                  <a:lnTo>
                    <a:pt x="3898" y="1748"/>
                  </a:lnTo>
                  <a:lnTo>
                    <a:pt x="3898" y="1748"/>
                  </a:lnTo>
                  <a:lnTo>
                    <a:pt x="3898" y="1748"/>
                  </a:lnTo>
                  <a:lnTo>
                    <a:pt x="3900" y="1748"/>
                  </a:lnTo>
                  <a:lnTo>
                    <a:pt x="3900" y="1748"/>
                  </a:lnTo>
                  <a:lnTo>
                    <a:pt x="3900" y="1745"/>
                  </a:lnTo>
                  <a:lnTo>
                    <a:pt x="3900" y="1745"/>
                  </a:lnTo>
                  <a:lnTo>
                    <a:pt x="3900" y="1745"/>
                  </a:lnTo>
                  <a:lnTo>
                    <a:pt x="3902" y="1745"/>
                  </a:lnTo>
                  <a:lnTo>
                    <a:pt x="3902" y="1745"/>
                  </a:lnTo>
                  <a:lnTo>
                    <a:pt x="3902" y="1745"/>
                  </a:lnTo>
                  <a:lnTo>
                    <a:pt x="3902" y="1743"/>
                  </a:lnTo>
                  <a:lnTo>
                    <a:pt x="3902" y="1743"/>
                  </a:lnTo>
                  <a:lnTo>
                    <a:pt x="3902" y="1743"/>
                  </a:lnTo>
                  <a:lnTo>
                    <a:pt x="3902" y="1743"/>
                  </a:lnTo>
                  <a:lnTo>
                    <a:pt x="3902" y="1743"/>
                  </a:lnTo>
                  <a:lnTo>
                    <a:pt x="3900" y="1743"/>
                  </a:lnTo>
                  <a:lnTo>
                    <a:pt x="3900" y="1741"/>
                  </a:lnTo>
                  <a:lnTo>
                    <a:pt x="3900" y="1741"/>
                  </a:lnTo>
                  <a:lnTo>
                    <a:pt x="3902" y="1741"/>
                  </a:lnTo>
                  <a:lnTo>
                    <a:pt x="3902" y="1741"/>
                  </a:lnTo>
                  <a:lnTo>
                    <a:pt x="3902" y="1741"/>
                  </a:lnTo>
                  <a:lnTo>
                    <a:pt x="3902" y="1743"/>
                  </a:lnTo>
                  <a:lnTo>
                    <a:pt x="3905" y="1743"/>
                  </a:lnTo>
                  <a:lnTo>
                    <a:pt x="3905" y="1743"/>
                  </a:lnTo>
                  <a:lnTo>
                    <a:pt x="3905" y="1743"/>
                  </a:lnTo>
                  <a:lnTo>
                    <a:pt x="3905" y="1741"/>
                  </a:lnTo>
                  <a:lnTo>
                    <a:pt x="3905" y="1741"/>
                  </a:lnTo>
                  <a:lnTo>
                    <a:pt x="3905" y="1741"/>
                  </a:lnTo>
                  <a:lnTo>
                    <a:pt x="3905" y="1741"/>
                  </a:lnTo>
                  <a:lnTo>
                    <a:pt x="3905" y="1743"/>
                  </a:lnTo>
                  <a:lnTo>
                    <a:pt x="3905" y="1743"/>
                  </a:lnTo>
                  <a:lnTo>
                    <a:pt x="3907" y="1743"/>
                  </a:lnTo>
                  <a:lnTo>
                    <a:pt x="3907" y="1743"/>
                  </a:lnTo>
                  <a:lnTo>
                    <a:pt x="3907" y="1743"/>
                  </a:lnTo>
                  <a:lnTo>
                    <a:pt x="3907" y="1743"/>
                  </a:lnTo>
                  <a:lnTo>
                    <a:pt x="3907" y="1743"/>
                  </a:lnTo>
                  <a:lnTo>
                    <a:pt x="3907" y="1743"/>
                  </a:lnTo>
                  <a:lnTo>
                    <a:pt x="3907" y="1741"/>
                  </a:lnTo>
                  <a:lnTo>
                    <a:pt x="3907" y="1741"/>
                  </a:lnTo>
                  <a:lnTo>
                    <a:pt x="3907" y="1741"/>
                  </a:lnTo>
                  <a:lnTo>
                    <a:pt x="3907" y="1741"/>
                  </a:lnTo>
                  <a:lnTo>
                    <a:pt x="3907" y="1741"/>
                  </a:lnTo>
                  <a:lnTo>
                    <a:pt x="3907" y="1741"/>
                  </a:lnTo>
                  <a:lnTo>
                    <a:pt x="3907" y="1741"/>
                  </a:lnTo>
                  <a:lnTo>
                    <a:pt x="3907" y="1741"/>
                  </a:lnTo>
                  <a:lnTo>
                    <a:pt x="3907" y="1741"/>
                  </a:lnTo>
                  <a:lnTo>
                    <a:pt x="3909" y="1743"/>
                  </a:lnTo>
                  <a:lnTo>
                    <a:pt x="3909" y="1743"/>
                  </a:lnTo>
                  <a:lnTo>
                    <a:pt x="3909" y="1745"/>
                  </a:lnTo>
                  <a:lnTo>
                    <a:pt x="3909" y="1745"/>
                  </a:lnTo>
                  <a:lnTo>
                    <a:pt x="3909" y="1748"/>
                  </a:lnTo>
                  <a:lnTo>
                    <a:pt x="3912" y="1745"/>
                  </a:lnTo>
                  <a:lnTo>
                    <a:pt x="3912" y="1745"/>
                  </a:lnTo>
                  <a:lnTo>
                    <a:pt x="3912" y="1748"/>
                  </a:lnTo>
                  <a:lnTo>
                    <a:pt x="3912" y="1748"/>
                  </a:lnTo>
                  <a:lnTo>
                    <a:pt x="3912" y="1748"/>
                  </a:lnTo>
                  <a:lnTo>
                    <a:pt x="3912" y="1748"/>
                  </a:lnTo>
                  <a:lnTo>
                    <a:pt x="3912" y="1748"/>
                  </a:lnTo>
                  <a:lnTo>
                    <a:pt x="3912" y="1745"/>
                  </a:lnTo>
                  <a:lnTo>
                    <a:pt x="3914" y="1745"/>
                  </a:lnTo>
                  <a:lnTo>
                    <a:pt x="3912" y="1745"/>
                  </a:lnTo>
                  <a:lnTo>
                    <a:pt x="3912" y="1745"/>
                  </a:lnTo>
                  <a:lnTo>
                    <a:pt x="3914" y="1745"/>
                  </a:lnTo>
                  <a:lnTo>
                    <a:pt x="3914" y="1745"/>
                  </a:lnTo>
                  <a:lnTo>
                    <a:pt x="3914" y="1745"/>
                  </a:lnTo>
                  <a:lnTo>
                    <a:pt x="3914" y="1745"/>
                  </a:lnTo>
                  <a:lnTo>
                    <a:pt x="3914" y="1745"/>
                  </a:lnTo>
                  <a:lnTo>
                    <a:pt x="3914" y="1745"/>
                  </a:lnTo>
                  <a:lnTo>
                    <a:pt x="3914" y="1743"/>
                  </a:lnTo>
                  <a:lnTo>
                    <a:pt x="3914" y="1743"/>
                  </a:lnTo>
                  <a:lnTo>
                    <a:pt x="3914" y="1743"/>
                  </a:lnTo>
                  <a:lnTo>
                    <a:pt x="3914" y="1743"/>
                  </a:lnTo>
                  <a:lnTo>
                    <a:pt x="3914" y="1743"/>
                  </a:lnTo>
                  <a:lnTo>
                    <a:pt x="3914" y="1741"/>
                  </a:lnTo>
                  <a:lnTo>
                    <a:pt x="3912" y="1741"/>
                  </a:lnTo>
                  <a:lnTo>
                    <a:pt x="3912" y="1741"/>
                  </a:lnTo>
                  <a:lnTo>
                    <a:pt x="3912" y="1741"/>
                  </a:lnTo>
                  <a:lnTo>
                    <a:pt x="3912" y="1741"/>
                  </a:lnTo>
                  <a:lnTo>
                    <a:pt x="3912" y="1741"/>
                  </a:lnTo>
                  <a:lnTo>
                    <a:pt x="3912" y="1741"/>
                  </a:lnTo>
                  <a:lnTo>
                    <a:pt x="3912" y="1741"/>
                  </a:lnTo>
                  <a:lnTo>
                    <a:pt x="3912" y="1738"/>
                  </a:lnTo>
                  <a:lnTo>
                    <a:pt x="3912" y="1738"/>
                  </a:lnTo>
                  <a:lnTo>
                    <a:pt x="3912" y="1738"/>
                  </a:lnTo>
                  <a:lnTo>
                    <a:pt x="3914" y="1743"/>
                  </a:lnTo>
                  <a:lnTo>
                    <a:pt x="3914" y="1743"/>
                  </a:lnTo>
                  <a:lnTo>
                    <a:pt x="3914" y="1743"/>
                  </a:lnTo>
                  <a:lnTo>
                    <a:pt x="3914" y="1743"/>
                  </a:lnTo>
                  <a:lnTo>
                    <a:pt x="3914" y="1743"/>
                  </a:lnTo>
                  <a:lnTo>
                    <a:pt x="3916" y="1743"/>
                  </a:lnTo>
                  <a:lnTo>
                    <a:pt x="3916" y="1743"/>
                  </a:lnTo>
                  <a:lnTo>
                    <a:pt x="3914" y="1741"/>
                  </a:lnTo>
                  <a:lnTo>
                    <a:pt x="3914" y="1741"/>
                  </a:lnTo>
                  <a:lnTo>
                    <a:pt x="3914" y="1741"/>
                  </a:lnTo>
                  <a:lnTo>
                    <a:pt x="3914" y="1738"/>
                  </a:lnTo>
                  <a:lnTo>
                    <a:pt x="3916" y="1738"/>
                  </a:lnTo>
                  <a:lnTo>
                    <a:pt x="3914" y="1741"/>
                  </a:lnTo>
                  <a:lnTo>
                    <a:pt x="3916" y="1741"/>
                  </a:lnTo>
                  <a:lnTo>
                    <a:pt x="3916" y="1743"/>
                  </a:lnTo>
                  <a:lnTo>
                    <a:pt x="3916" y="1743"/>
                  </a:lnTo>
                  <a:lnTo>
                    <a:pt x="3916" y="1743"/>
                  </a:lnTo>
                  <a:lnTo>
                    <a:pt x="3916" y="1741"/>
                  </a:lnTo>
                  <a:lnTo>
                    <a:pt x="3916" y="1738"/>
                  </a:lnTo>
                  <a:lnTo>
                    <a:pt x="3916" y="1738"/>
                  </a:lnTo>
                  <a:lnTo>
                    <a:pt x="3916" y="1738"/>
                  </a:lnTo>
                  <a:lnTo>
                    <a:pt x="3916" y="1738"/>
                  </a:lnTo>
                  <a:lnTo>
                    <a:pt x="3916" y="1738"/>
                  </a:lnTo>
                  <a:lnTo>
                    <a:pt x="3916" y="1738"/>
                  </a:lnTo>
                  <a:lnTo>
                    <a:pt x="3916" y="1736"/>
                  </a:lnTo>
                  <a:lnTo>
                    <a:pt x="3916" y="1736"/>
                  </a:lnTo>
                  <a:lnTo>
                    <a:pt x="3916" y="1736"/>
                  </a:lnTo>
                  <a:lnTo>
                    <a:pt x="3916" y="1736"/>
                  </a:lnTo>
                  <a:lnTo>
                    <a:pt x="3916" y="1736"/>
                  </a:lnTo>
                  <a:lnTo>
                    <a:pt x="3916" y="1734"/>
                  </a:lnTo>
                  <a:lnTo>
                    <a:pt x="3916" y="1734"/>
                  </a:lnTo>
                  <a:lnTo>
                    <a:pt x="3916" y="1734"/>
                  </a:lnTo>
                  <a:lnTo>
                    <a:pt x="3916" y="1734"/>
                  </a:lnTo>
                  <a:lnTo>
                    <a:pt x="3916" y="1734"/>
                  </a:lnTo>
                  <a:lnTo>
                    <a:pt x="3919" y="1731"/>
                  </a:lnTo>
                  <a:lnTo>
                    <a:pt x="3919" y="1731"/>
                  </a:lnTo>
                  <a:lnTo>
                    <a:pt x="3919" y="1734"/>
                  </a:lnTo>
                  <a:lnTo>
                    <a:pt x="3919" y="1734"/>
                  </a:lnTo>
                  <a:lnTo>
                    <a:pt x="3919" y="1734"/>
                  </a:lnTo>
                  <a:lnTo>
                    <a:pt x="3919" y="1736"/>
                  </a:lnTo>
                  <a:lnTo>
                    <a:pt x="3919" y="1736"/>
                  </a:lnTo>
                  <a:lnTo>
                    <a:pt x="3919" y="1736"/>
                  </a:lnTo>
                  <a:lnTo>
                    <a:pt x="3919" y="1736"/>
                  </a:lnTo>
                  <a:lnTo>
                    <a:pt x="3919" y="1736"/>
                  </a:lnTo>
                  <a:lnTo>
                    <a:pt x="3919" y="1731"/>
                  </a:lnTo>
                  <a:lnTo>
                    <a:pt x="3919" y="1731"/>
                  </a:lnTo>
                  <a:lnTo>
                    <a:pt x="3919" y="1731"/>
                  </a:lnTo>
                  <a:lnTo>
                    <a:pt x="3919" y="1734"/>
                  </a:lnTo>
                  <a:lnTo>
                    <a:pt x="3921" y="1736"/>
                  </a:lnTo>
                  <a:lnTo>
                    <a:pt x="3921" y="1736"/>
                  </a:lnTo>
                  <a:lnTo>
                    <a:pt x="3921" y="1736"/>
                  </a:lnTo>
                  <a:lnTo>
                    <a:pt x="3921" y="1736"/>
                  </a:lnTo>
                  <a:lnTo>
                    <a:pt x="3921" y="1734"/>
                  </a:lnTo>
                  <a:lnTo>
                    <a:pt x="3924" y="1734"/>
                  </a:lnTo>
                  <a:lnTo>
                    <a:pt x="3924" y="1731"/>
                  </a:lnTo>
                  <a:lnTo>
                    <a:pt x="3924" y="1731"/>
                  </a:lnTo>
                  <a:lnTo>
                    <a:pt x="3924" y="1731"/>
                  </a:lnTo>
                  <a:lnTo>
                    <a:pt x="3924" y="1734"/>
                  </a:lnTo>
                  <a:lnTo>
                    <a:pt x="3924" y="1734"/>
                  </a:lnTo>
                  <a:lnTo>
                    <a:pt x="3924" y="1734"/>
                  </a:lnTo>
                  <a:lnTo>
                    <a:pt x="3924" y="1734"/>
                  </a:lnTo>
                  <a:lnTo>
                    <a:pt x="3924" y="1734"/>
                  </a:lnTo>
                  <a:lnTo>
                    <a:pt x="3924" y="1734"/>
                  </a:lnTo>
                  <a:lnTo>
                    <a:pt x="3926" y="1734"/>
                  </a:lnTo>
                  <a:lnTo>
                    <a:pt x="3926" y="1734"/>
                  </a:lnTo>
                  <a:lnTo>
                    <a:pt x="3926" y="1734"/>
                  </a:lnTo>
                  <a:lnTo>
                    <a:pt x="3926" y="1734"/>
                  </a:lnTo>
                  <a:lnTo>
                    <a:pt x="3926" y="1734"/>
                  </a:lnTo>
                  <a:lnTo>
                    <a:pt x="3926" y="1734"/>
                  </a:lnTo>
                  <a:lnTo>
                    <a:pt x="3926" y="1734"/>
                  </a:lnTo>
                  <a:lnTo>
                    <a:pt x="3926" y="1731"/>
                  </a:lnTo>
                  <a:lnTo>
                    <a:pt x="3926" y="1731"/>
                  </a:lnTo>
                  <a:lnTo>
                    <a:pt x="3926" y="1731"/>
                  </a:lnTo>
                  <a:lnTo>
                    <a:pt x="3926" y="1731"/>
                  </a:lnTo>
                  <a:lnTo>
                    <a:pt x="3926" y="1731"/>
                  </a:lnTo>
                  <a:lnTo>
                    <a:pt x="3926" y="1729"/>
                  </a:lnTo>
                  <a:lnTo>
                    <a:pt x="3926" y="1729"/>
                  </a:lnTo>
                  <a:lnTo>
                    <a:pt x="3924" y="1729"/>
                  </a:lnTo>
                  <a:lnTo>
                    <a:pt x="3926" y="1726"/>
                  </a:lnTo>
                  <a:lnTo>
                    <a:pt x="3926" y="1726"/>
                  </a:lnTo>
                  <a:lnTo>
                    <a:pt x="3926" y="1729"/>
                  </a:lnTo>
                  <a:lnTo>
                    <a:pt x="3926" y="1729"/>
                  </a:lnTo>
                  <a:lnTo>
                    <a:pt x="3926" y="1726"/>
                  </a:lnTo>
                  <a:lnTo>
                    <a:pt x="3928" y="1726"/>
                  </a:lnTo>
                  <a:lnTo>
                    <a:pt x="3928" y="1726"/>
                  </a:lnTo>
                  <a:lnTo>
                    <a:pt x="3928" y="1729"/>
                  </a:lnTo>
                  <a:lnTo>
                    <a:pt x="3928" y="1729"/>
                  </a:lnTo>
                  <a:lnTo>
                    <a:pt x="3928" y="1729"/>
                  </a:lnTo>
                  <a:lnTo>
                    <a:pt x="3931" y="1729"/>
                  </a:lnTo>
                  <a:lnTo>
                    <a:pt x="3931" y="1729"/>
                  </a:lnTo>
                  <a:lnTo>
                    <a:pt x="3931" y="1726"/>
                  </a:lnTo>
                  <a:lnTo>
                    <a:pt x="3928" y="1726"/>
                  </a:lnTo>
                  <a:lnTo>
                    <a:pt x="3928" y="1726"/>
                  </a:lnTo>
                  <a:lnTo>
                    <a:pt x="3928" y="1724"/>
                  </a:lnTo>
                  <a:lnTo>
                    <a:pt x="3931" y="1724"/>
                  </a:lnTo>
                  <a:lnTo>
                    <a:pt x="3931" y="1726"/>
                  </a:lnTo>
                  <a:lnTo>
                    <a:pt x="3931" y="1726"/>
                  </a:lnTo>
                  <a:lnTo>
                    <a:pt x="3931" y="1729"/>
                  </a:lnTo>
                  <a:lnTo>
                    <a:pt x="3931" y="1726"/>
                  </a:lnTo>
                  <a:lnTo>
                    <a:pt x="3931" y="1726"/>
                  </a:lnTo>
                  <a:lnTo>
                    <a:pt x="3933" y="1726"/>
                  </a:lnTo>
                  <a:lnTo>
                    <a:pt x="3933" y="1726"/>
                  </a:lnTo>
                  <a:lnTo>
                    <a:pt x="3933" y="1726"/>
                  </a:lnTo>
                  <a:lnTo>
                    <a:pt x="3933" y="1726"/>
                  </a:lnTo>
                  <a:lnTo>
                    <a:pt x="3931" y="1726"/>
                  </a:lnTo>
                  <a:lnTo>
                    <a:pt x="3931" y="1724"/>
                  </a:lnTo>
                  <a:lnTo>
                    <a:pt x="3931" y="1724"/>
                  </a:lnTo>
                  <a:lnTo>
                    <a:pt x="3931" y="1724"/>
                  </a:lnTo>
                  <a:lnTo>
                    <a:pt x="3931" y="1722"/>
                  </a:lnTo>
                  <a:lnTo>
                    <a:pt x="3931" y="1724"/>
                  </a:lnTo>
                  <a:lnTo>
                    <a:pt x="3931" y="1724"/>
                  </a:lnTo>
                  <a:lnTo>
                    <a:pt x="3931" y="1724"/>
                  </a:lnTo>
                  <a:lnTo>
                    <a:pt x="3933" y="1722"/>
                  </a:lnTo>
                  <a:lnTo>
                    <a:pt x="3931" y="1722"/>
                  </a:lnTo>
                  <a:lnTo>
                    <a:pt x="3933" y="1722"/>
                  </a:lnTo>
                  <a:lnTo>
                    <a:pt x="3933" y="1722"/>
                  </a:lnTo>
                  <a:lnTo>
                    <a:pt x="3933" y="1722"/>
                  </a:lnTo>
                  <a:lnTo>
                    <a:pt x="3933" y="1724"/>
                  </a:lnTo>
                  <a:lnTo>
                    <a:pt x="3933" y="1724"/>
                  </a:lnTo>
                  <a:lnTo>
                    <a:pt x="3933" y="1724"/>
                  </a:lnTo>
                  <a:lnTo>
                    <a:pt x="3935" y="1724"/>
                  </a:lnTo>
                  <a:lnTo>
                    <a:pt x="3935" y="1724"/>
                  </a:lnTo>
                  <a:lnTo>
                    <a:pt x="3935" y="1724"/>
                  </a:lnTo>
                  <a:lnTo>
                    <a:pt x="3935" y="1724"/>
                  </a:lnTo>
                  <a:lnTo>
                    <a:pt x="3935" y="1724"/>
                  </a:lnTo>
                  <a:lnTo>
                    <a:pt x="3935" y="1724"/>
                  </a:lnTo>
                  <a:lnTo>
                    <a:pt x="3935" y="1724"/>
                  </a:lnTo>
                  <a:lnTo>
                    <a:pt x="3935" y="1724"/>
                  </a:lnTo>
                  <a:lnTo>
                    <a:pt x="3938" y="1724"/>
                  </a:lnTo>
                  <a:lnTo>
                    <a:pt x="3938" y="1724"/>
                  </a:lnTo>
                  <a:lnTo>
                    <a:pt x="3938" y="1724"/>
                  </a:lnTo>
                  <a:lnTo>
                    <a:pt x="3938" y="1722"/>
                  </a:lnTo>
                  <a:lnTo>
                    <a:pt x="3938" y="1722"/>
                  </a:lnTo>
                  <a:lnTo>
                    <a:pt x="3938" y="1722"/>
                  </a:lnTo>
                  <a:lnTo>
                    <a:pt x="3938" y="1722"/>
                  </a:lnTo>
                  <a:lnTo>
                    <a:pt x="3938" y="1722"/>
                  </a:lnTo>
                  <a:lnTo>
                    <a:pt x="3940" y="1719"/>
                  </a:lnTo>
                  <a:lnTo>
                    <a:pt x="3940" y="1717"/>
                  </a:lnTo>
                  <a:lnTo>
                    <a:pt x="3940" y="1717"/>
                  </a:lnTo>
                  <a:lnTo>
                    <a:pt x="3940" y="1717"/>
                  </a:lnTo>
                  <a:lnTo>
                    <a:pt x="3940" y="1717"/>
                  </a:lnTo>
                  <a:lnTo>
                    <a:pt x="3940" y="1717"/>
                  </a:lnTo>
                  <a:lnTo>
                    <a:pt x="3940" y="1717"/>
                  </a:lnTo>
                  <a:lnTo>
                    <a:pt x="3940" y="1715"/>
                  </a:lnTo>
                  <a:lnTo>
                    <a:pt x="3942" y="1715"/>
                  </a:lnTo>
                  <a:lnTo>
                    <a:pt x="3942" y="1715"/>
                  </a:lnTo>
                  <a:lnTo>
                    <a:pt x="3942" y="1715"/>
                  </a:lnTo>
                  <a:lnTo>
                    <a:pt x="3942" y="1712"/>
                  </a:lnTo>
                  <a:lnTo>
                    <a:pt x="3942" y="1712"/>
                  </a:lnTo>
                  <a:lnTo>
                    <a:pt x="3942" y="1712"/>
                  </a:lnTo>
                  <a:lnTo>
                    <a:pt x="3942" y="1712"/>
                  </a:lnTo>
                  <a:close/>
                  <a:moveTo>
                    <a:pt x="2272" y="2069"/>
                  </a:moveTo>
                  <a:lnTo>
                    <a:pt x="2272" y="2069"/>
                  </a:lnTo>
                  <a:lnTo>
                    <a:pt x="2272" y="2069"/>
                  </a:lnTo>
                  <a:lnTo>
                    <a:pt x="2267" y="2072"/>
                  </a:lnTo>
                  <a:lnTo>
                    <a:pt x="2267" y="2072"/>
                  </a:lnTo>
                  <a:lnTo>
                    <a:pt x="2267" y="2072"/>
                  </a:lnTo>
                  <a:lnTo>
                    <a:pt x="2267" y="2072"/>
                  </a:lnTo>
                  <a:lnTo>
                    <a:pt x="2265" y="2072"/>
                  </a:lnTo>
                  <a:lnTo>
                    <a:pt x="2265" y="2072"/>
                  </a:lnTo>
                  <a:lnTo>
                    <a:pt x="2265" y="2072"/>
                  </a:lnTo>
                  <a:lnTo>
                    <a:pt x="2265" y="2072"/>
                  </a:lnTo>
                  <a:lnTo>
                    <a:pt x="2262" y="2072"/>
                  </a:lnTo>
                  <a:lnTo>
                    <a:pt x="2262" y="2074"/>
                  </a:lnTo>
                  <a:lnTo>
                    <a:pt x="2262" y="2074"/>
                  </a:lnTo>
                  <a:lnTo>
                    <a:pt x="2262" y="2074"/>
                  </a:lnTo>
                  <a:lnTo>
                    <a:pt x="2262" y="2074"/>
                  </a:lnTo>
                  <a:lnTo>
                    <a:pt x="2262" y="2074"/>
                  </a:lnTo>
                  <a:lnTo>
                    <a:pt x="2262" y="2077"/>
                  </a:lnTo>
                  <a:lnTo>
                    <a:pt x="2260" y="2077"/>
                  </a:lnTo>
                  <a:lnTo>
                    <a:pt x="2258" y="2079"/>
                  </a:lnTo>
                  <a:lnTo>
                    <a:pt x="2258" y="2079"/>
                  </a:lnTo>
                  <a:lnTo>
                    <a:pt x="2255" y="2081"/>
                  </a:lnTo>
                  <a:lnTo>
                    <a:pt x="2253" y="2081"/>
                  </a:lnTo>
                  <a:lnTo>
                    <a:pt x="2253" y="2081"/>
                  </a:lnTo>
                  <a:lnTo>
                    <a:pt x="2253" y="2081"/>
                  </a:lnTo>
                  <a:lnTo>
                    <a:pt x="2253" y="2079"/>
                  </a:lnTo>
                  <a:lnTo>
                    <a:pt x="2253" y="2079"/>
                  </a:lnTo>
                  <a:lnTo>
                    <a:pt x="2253" y="2079"/>
                  </a:lnTo>
                  <a:lnTo>
                    <a:pt x="2253" y="2079"/>
                  </a:lnTo>
                  <a:lnTo>
                    <a:pt x="2253" y="2079"/>
                  </a:lnTo>
                  <a:lnTo>
                    <a:pt x="2253" y="2079"/>
                  </a:lnTo>
                  <a:lnTo>
                    <a:pt x="2253" y="2079"/>
                  </a:lnTo>
                  <a:lnTo>
                    <a:pt x="2253" y="2077"/>
                  </a:lnTo>
                  <a:lnTo>
                    <a:pt x="2253" y="2077"/>
                  </a:lnTo>
                  <a:lnTo>
                    <a:pt x="2253" y="2077"/>
                  </a:lnTo>
                  <a:lnTo>
                    <a:pt x="2253" y="2077"/>
                  </a:lnTo>
                  <a:lnTo>
                    <a:pt x="2250" y="2074"/>
                  </a:lnTo>
                  <a:lnTo>
                    <a:pt x="2250" y="2074"/>
                  </a:lnTo>
                  <a:lnTo>
                    <a:pt x="2250" y="2074"/>
                  </a:lnTo>
                  <a:lnTo>
                    <a:pt x="2250" y="2072"/>
                  </a:lnTo>
                  <a:lnTo>
                    <a:pt x="2250" y="2072"/>
                  </a:lnTo>
                  <a:lnTo>
                    <a:pt x="2250" y="2072"/>
                  </a:lnTo>
                  <a:lnTo>
                    <a:pt x="2250" y="2069"/>
                  </a:lnTo>
                  <a:lnTo>
                    <a:pt x="2250" y="2069"/>
                  </a:lnTo>
                  <a:lnTo>
                    <a:pt x="2250" y="2067"/>
                  </a:lnTo>
                  <a:lnTo>
                    <a:pt x="2250" y="2067"/>
                  </a:lnTo>
                  <a:lnTo>
                    <a:pt x="2250" y="2067"/>
                  </a:lnTo>
                  <a:lnTo>
                    <a:pt x="2250" y="2067"/>
                  </a:lnTo>
                  <a:lnTo>
                    <a:pt x="2248" y="2067"/>
                  </a:lnTo>
                  <a:lnTo>
                    <a:pt x="2248" y="2069"/>
                  </a:lnTo>
                  <a:lnTo>
                    <a:pt x="2248" y="2069"/>
                  </a:lnTo>
                  <a:lnTo>
                    <a:pt x="2248" y="2069"/>
                  </a:lnTo>
                  <a:lnTo>
                    <a:pt x="2248" y="2072"/>
                  </a:lnTo>
                  <a:lnTo>
                    <a:pt x="2248" y="2072"/>
                  </a:lnTo>
                  <a:lnTo>
                    <a:pt x="2248" y="2072"/>
                  </a:lnTo>
                  <a:lnTo>
                    <a:pt x="2248" y="2072"/>
                  </a:lnTo>
                  <a:lnTo>
                    <a:pt x="2246" y="2072"/>
                  </a:lnTo>
                  <a:lnTo>
                    <a:pt x="2246" y="2072"/>
                  </a:lnTo>
                  <a:lnTo>
                    <a:pt x="2246" y="2072"/>
                  </a:lnTo>
                  <a:lnTo>
                    <a:pt x="2246" y="2069"/>
                  </a:lnTo>
                  <a:lnTo>
                    <a:pt x="2246" y="2069"/>
                  </a:lnTo>
                  <a:lnTo>
                    <a:pt x="2246" y="2069"/>
                  </a:lnTo>
                  <a:lnTo>
                    <a:pt x="2243" y="2069"/>
                  </a:lnTo>
                  <a:lnTo>
                    <a:pt x="2243" y="2069"/>
                  </a:lnTo>
                  <a:lnTo>
                    <a:pt x="2243" y="2067"/>
                  </a:lnTo>
                  <a:lnTo>
                    <a:pt x="2243" y="2067"/>
                  </a:lnTo>
                  <a:lnTo>
                    <a:pt x="2243" y="2067"/>
                  </a:lnTo>
                  <a:lnTo>
                    <a:pt x="2243" y="2067"/>
                  </a:lnTo>
                  <a:lnTo>
                    <a:pt x="2243" y="2067"/>
                  </a:lnTo>
                  <a:lnTo>
                    <a:pt x="2243" y="2067"/>
                  </a:lnTo>
                  <a:lnTo>
                    <a:pt x="2243" y="2067"/>
                  </a:lnTo>
                  <a:lnTo>
                    <a:pt x="2243" y="2067"/>
                  </a:lnTo>
                  <a:lnTo>
                    <a:pt x="2243" y="2067"/>
                  </a:lnTo>
                  <a:lnTo>
                    <a:pt x="2243" y="2067"/>
                  </a:lnTo>
                  <a:lnTo>
                    <a:pt x="2243" y="2067"/>
                  </a:lnTo>
                  <a:lnTo>
                    <a:pt x="2243" y="2065"/>
                  </a:lnTo>
                  <a:lnTo>
                    <a:pt x="2243" y="2065"/>
                  </a:lnTo>
                  <a:lnTo>
                    <a:pt x="2241" y="2065"/>
                  </a:lnTo>
                  <a:lnTo>
                    <a:pt x="2241" y="2065"/>
                  </a:lnTo>
                  <a:lnTo>
                    <a:pt x="2241" y="2062"/>
                  </a:lnTo>
                  <a:lnTo>
                    <a:pt x="2241" y="2062"/>
                  </a:lnTo>
                  <a:lnTo>
                    <a:pt x="2241" y="2062"/>
                  </a:lnTo>
                  <a:lnTo>
                    <a:pt x="2241" y="2062"/>
                  </a:lnTo>
                  <a:lnTo>
                    <a:pt x="2241" y="2062"/>
                  </a:lnTo>
                  <a:lnTo>
                    <a:pt x="2241" y="2062"/>
                  </a:lnTo>
                  <a:lnTo>
                    <a:pt x="2239" y="2062"/>
                  </a:lnTo>
                  <a:lnTo>
                    <a:pt x="2239" y="2060"/>
                  </a:lnTo>
                  <a:lnTo>
                    <a:pt x="2239" y="2060"/>
                  </a:lnTo>
                  <a:lnTo>
                    <a:pt x="2239" y="2060"/>
                  </a:lnTo>
                  <a:lnTo>
                    <a:pt x="2239" y="2060"/>
                  </a:lnTo>
                  <a:lnTo>
                    <a:pt x="2241" y="2060"/>
                  </a:lnTo>
                  <a:lnTo>
                    <a:pt x="2241" y="2060"/>
                  </a:lnTo>
                  <a:lnTo>
                    <a:pt x="2241" y="2060"/>
                  </a:lnTo>
                  <a:lnTo>
                    <a:pt x="2241" y="2060"/>
                  </a:lnTo>
                  <a:lnTo>
                    <a:pt x="2241" y="2060"/>
                  </a:lnTo>
                  <a:lnTo>
                    <a:pt x="2241" y="2060"/>
                  </a:lnTo>
                  <a:lnTo>
                    <a:pt x="2241" y="2058"/>
                  </a:lnTo>
                  <a:lnTo>
                    <a:pt x="2241" y="2058"/>
                  </a:lnTo>
                  <a:lnTo>
                    <a:pt x="2241" y="2058"/>
                  </a:lnTo>
                  <a:lnTo>
                    <a:pt x="2241" y="2058"/>
                  </a:lnTo>
                  <a:lnTo>
                    <a:pt x="2241" y="2058"/>
                  </a:lnTo>
                  <a:lnTo>
                    <a:pt x="2241" y="2058"/>
                  </a:lnTo>
                  <a:lnTo>
                    <a:pt x="2241" y="2055"/>
                  </a:lnTo>
                  <a:lnTo>
                    <a:pt x="2239" y="2055"/>
                  </a:lnTo>
                  <a:lnTo>
                    <a:pt x="2239" y="2055"/>
                  </a:lnTo>
                  <a:lnTo>
                    <a:pt x="2241" y="2055"/>
                  </a:lnTo>
                  <a:lnTo>
                    <a:pt x="2241" y="2055"/>
                  </a:lnTo>
                  <a:lnTo>
                    <a:pt x="2241" y="2055"/>
                  </a:lnTo>
                  <a:lnTo>
                    <a:pt x="2241" y="2053"/>
                  </a:lnTo>
                  <a:lnTo>
                    <a:pt x="2241" y="2053"/>
                  </a:lnTo>
                  <a:lnTo>
                    <a:pt x="2241" y="2053"/>
                  </a:lnTo>
                  <a:lnTo>
                    <a:pt x="2241" y="2053"/>
                  </a:lnTo>
                  <a:lnTo>
                    <a:pt x="2239" y="2051"/>
                  </a:lnTo>
                  <a:lnTo>
                    <a:pt x="2239" y="2051"/>
                  </a:lnTo>
                  <a:lnTo>
                    <a:pt x="2239" y="2048"/>
                  </a:lnTo>
                  <a:lnTo>
                    <a:pt x="2239" y="2048"/>
                  </a:lnTo>
                  <a:lnTo>
                    <a:pt x="2236" y="2048"/>
                  </a:lnTo>
                  <a:lnTo>
                    <a:pt x="2236" y="2046"/>
                  </a:lnTo>
                  <a:lnTo>
                    <a:pt x="2236" y="2046"/>
                  </a:lnTo>
                  <a:lnTo>
                    <a:pt x="2236" y="2046"/>
                  </a:lnTo>
                  <a:lnTo>
                    <a:pt x="2234" y="2046"/>
                  </a:lnTo>
                  <a:lnTo>
                    <a:pt x="2234" y="2046"/>
                  </a:lnTo>
                  <a:lnTo>
                    <a:pt x="2234" y="2048"/>
                  </a:lnTo>
                  <a:lnTo>
                    <a:pt x="2234" y="2048"/>
                  </a:lnTo>
                  <a:lnTo>
                    <a:pt x="2234" y="2048"/>
                  </a:lnTo>
                  <a:lnTo>
                    <a:pt x="2234" y="2048"/>
                  </a:lnTo>
                  <a:lnTo>
                    <a:pt x="2232" y="2048"/>
                  </a:lnTo>
                  <a:lnTo>
                    <a:pt x="2232" y="2048"/>
                  </a:lnTo>
                  <a:lnTo>
                    <a:pt x="2232" y="2048"/>
                  </a:lnTo>
                  <a:lnTo>
                    <a:pt x="2232" y="2048"/>
                  </a:lnTo>
                  <a:lnTo>
                    <a:pt x="2232" y="2048"/>
                  </a:lnTo>
                  <a:lnTo>
                    <a:pt x="2232" y="2046"/>
                  </a:lnTo>
                  <a:lnTo>
                    <a:pt x="2232" y="2046"/>
                  </a:lnTo>
                  <a:lnTo>
                    <a:pt x="2234" y="2046"/>
                  </a:lnTo>
                  <a:lnTo>
                    <a:pt x="2234" y="2046"/>
                  </a:lnTo>
                  <a:lnTo>
                    <a:pt x="2234" y="2046"/>
                  </a:lnTo>
                  <a:lnTo>
                    <a:pt x="2234" y="2046"/>
                  </a:lnTo>
                  <a:lnTo>
                    <a:pt x="2234" y="2046"/>
                  </a:lnTo>
                  <a:lnTo>
                    <a:pt x="2234" y="2046"/>
                  </a:lnTo>
                  <a:lnTo>
                    <a:pt x="2234" y="2043"/>
                  </a:lnTo>
                  <a:lnTo>
                    <a:pt x="2234" y="2041"/>
                  </a:lnTo>
                  <a:lnTo>
                    <a:pt x="2234" y="2039"/>
                  </a:lnTo>
                  <a:lnTo>
                    <a:pt x="2232" y="2036"/>
                  </a:lnTo>
                  <a:lnTo>
                    <a:pt x="2232" y="2036"/>
                  </a:lnTo>
                  <a:lnTo>
                    <a:pt x="2234" y="2034"/>
                  </a:lnTo>
                  <a:lnTo>
                    <a:pt x="2234" y="2036"/>
                  </a:lnTo>
                  <a:lnTo>
                    <a:pt x="2234" y="2036"/>
                  </a:lnTo>
                  <a:lnTo>
                    <a:pt x="2234" y="2034"/>
                  </a:lnTo>
                  <a:lnTo>
                    <a:pt x="2234" y="2034"/>
                  </a:lnTo>
                  <a:lnTo>
                    <a:pt x="2234" y="2034"/>
                  </a:lnTo>
                  <a:lnTo>
                    <a:pt x="2234" y="2034"/>
                  </a:lnTo>
                  <a:lnTo>
                    <a:pt x="2234" y="2034"/>
                  </a:lnTo>
                  <a:lnTo>
                    <a:pt x="2234" y="2034"/>
                  </a:lnTo>
                  <a:lnTo>
                    <a:pt x="2234" y="2034"/>
                  </a:lnTo>
                  <a:lnTo>
                    <a:pt x="2234" y="2034"/>
                  </a:lnTo>
                  <a:lnTo>
                    <a:pt x="2234" y="2034"/>
                  </a:lnTo>
                  <a:lnTo>
                    <a:pt x="2234" y="2034"/>
                  </a:lnTo>
                  <a:lnTo>
                    <a:pt x="2234" y="2034"/>
                  </a:lnTo>
                  <a:lnTo>
                    <a:pt x="2234" y="2032"/>
                  </a:lnTo>
                  <a:lnTo>
                    <a:pt x="2234" y="2032"/>
                  </a:lnTo>
                  <a:lnTo>
                    <a:pt x="2234" y="2032"/>
                  </a:lnTo>
                  <a:lnTo>
                    <a:pt x="2234" y="2032"/>
                  </a:lnTo>
                  <a:lnTo>
                    <a:pt x="2234" y="2032"/>
                  </a:lnTo>
                  <a:lnTo>
                    <a:pt x="2234" y="2032"/>
                  </a:lnTo>
                  <a:lnTo>
                    <a:pt x="2234" y="2032"/>
                  </a:lnTo>
                  <a:lnTo>
                    <a:pt x="2234" y="2032"/>
                  </a:lnTo>
                  <a:lnTo>
                    <a:pt x="2234" y="2032"/>
                  </a:lnTo>
                  <a:lnTo>
                    <a:pt x="2234" y="2032"/>
                  </a:lnTo>
                  <a:lnTo>
                    <a:pt x="2236" y="2029"/>
                  </a:lnTo>
                  <a:lnTo>
                    <a:pt x="2236" y="2029"/>
                  </a:lnTo>
                  <a:lnTo>
                    <a:pt x="2236" y="2029"/>
                  </a:lnTo>
                  <a:lnTo>
                    <a:pt x="2239" y="2029"/>
                  </a:lnTo>
                  <a:lnTo>
                    <a:pt x="2239" y="2029"/>
                  </a:lnTo>
                  <a:lnTo>
                    <a:pt x="2239" y="2029"/>
                  </a:lnTo>
                  <a:lnTo>
                    <a:pt x="2241" y="2029"/>
                  </a:lnTo>
                  <a:lnTo>
                    <a:pt x="2241" y="2029"/>
                  </a:lnTo>
                  <a:lnTo>
                    <a:pt x="2241" y="2029"/>
                  </a:lnTo>
                  <a:lnTo>
                    <a:pt x="2241" y="2029"/>
                  </a:lnTo>
                  <a:lnTo>
                    <a:pt x="2241" y="2029"/>
                  </a:lnTo>
                  <a:lnTo>
                    <a:pt x="2241" y="2029"/>
                  </a:lnTo>
                  <a:lnTo>
                    <a:pt x="2241" y="2029"/>
                  </a:lnTo>
                  <a:lnTo>
                    <a:pt x="2241" y="2029"/>
                  </a:lnTo>
                  <a:lnTo>
                    <a:pt x="2241" y="2029"/>
                  </a:lnTo>
                  <a:lnTo>
                    <a:pt x="2243" y="2029"/>
                  </a:lnTo>
                  <a:lnTo>
                    <a:pt x="2243" y="2029"/>
                  </a:lnTo>
                  <a:lnTo>
                    <a:pt x="2243" y="2029"/>
                  </a:lnTo>
                  <a:lnTo>
                    <a:pt x="2243" y="2029"/>
                  </a:lnTo>
                  <a:lnTo>
                    <a:pt x="2246" y="2029"/>
                  </a:lnTo>
                  <a:lnTo>
                    <a:pt x="2246" y="2029"/>
                  </a:lnTo>
                  <a:lnTo>
                    <a:pt x="2246" y="2029"/>
                  </a:lnTo>
                  <a:lnTo>
                    <a:pt x="2246" y="2029"/>
                  </a:lnTo>
                  <a:lnTo>
                    <a:pt x="2246" y="2029"/>
                  </a:lnTo>
                  <a:lnTo>
                    <a:pt x="2246" y="2032"/>
                  </a:lnTo>
                  <a:lnTo>
                    <a:pt x="2246" y="2032"/>
                  </a:lnTo>
                  <a:lnTo>
                    <a:pt x="2246" y="2032"/>
                  </a:lnTo>
                  <a:lnTo>
                    <a:pt x="2246" y="2032"/>
                  </a:lnTo>
                  <a:lnTo>
                    <a:pt x="2246" y="2032"/>
                  </a:lnTo>
                  <a:lnTo>
                    <a:pt x="2246" y="2032"/>
                  </a:lnTo>
                  <a:lnTo>
                    <a:pt x="2246" y="2034"/>
                  </a:lnTo>
                  <a:lnTo>
                    <a:pt x="2246" y="2034"/>
                  </a:lnTo>
                  <a:lnTo>
                    <a:pt x="2246" y="2034"/>
                  </a:lnTo>
                  <a:lnTo>
                    <a:pt x="2243" y="2034"/>
                  </a:lnTo>
                  <a:lnTo>
                    <a:pt x="2243" y="2034"/>
                  </a:lnTo>
                  <a:lnTo>
                    <a:pt x="2243" y="2034"/>
                  </a:lnTo>
                  <a:lnTo>
                    <a:pt x="2243" y="2036"/>
                  </a:lnTo>
                  <a:lnTo>
                    <a:pt x="2243" y="2036"/>
                  </a:lnTo>
                  <a:lnTo>
                    <a:pt x="2243" y="2036"/>
                  </a:lnTo>
                  <a:lnTo>
                    <a:pt x="2243" y="2036"/>
                  </a:lnTo>
                  <a:lnTo>
                    <a:pt x="2243" y="2036"/>
                  </a:lnTo>
                  <a:lnTo>
                    <a:pt x="2243" y="2036"/>
                  </a:lnTo>
                  <a:lnTo>
                    <a:pt x="2243" y="2039"/>
                  </a:lnTo>
                  <a:lnTo>
                    <a:pt x="2243" y="2039"/>
                  </a:lnTo>
                  <a:lnTo>
                    <a:pt x="2243" y="2039"/>
                  </a:lnTo>
                  <a:lnTo>
                    <a:pt x="2246" y="2039"/>
                  </a:lnTo>
                  <a:lnTo>
                    <a:pt x="2246" y="2039"/>
                  </a:lnTo>
                  <a:lnTo>
                    <a:pt x="2246" y="2039"/>
                  </a:lnTo>
                  <a:lnTo>
                    <a:pt x="2246" y="2041"/>
                  </a:lnTo>
                  <a:lnTo>
                    <a:pt x="2246" y="2041"/>
                  </a:lnTo>
                  <a:lnTo>
                    <a:pt x="2248" y="2041"/>
                  </a:lnTo>
                  <a:lnTo>
                    <a:pt x="2248" y="2041"/>
                  </a:lnTo>
                  <a:lnTo>
                    <a:pt x="2248" y="2041"/>
                  </a:lnTo>
                  <a:lnTo>
                    <a:pt x="2248" y="2041"/>
                  </a:lnTo>
                  <a:lnTo>
                    <a:pt x="2248" y="2041"/>
                  </a:lnTo>
                  <a:lnTo>
                    <a:pt x="2248" y="2041"/>
                  </a:lnTo>
                  <a:lnTo>
                    <a:pt x="2248" y="2041"/>
                  </a:lnTo>
                  <a:lnTo>
                    <a:pt x="2250" y="2041"/>
                  </a:lnTo>
                  <a:lnTo>
                    <a:pt x="2250" y="2041"/>
                  </a:lnTo>
                  <a:lnTo>
                    <a:pt x="2250" y="2041"/>
                  </a:lnTo>
                  <a:lnTo>
                    <a:pt x="2250" y="2041"/>
                  </a:lnTo>
                  <a:lnTo>
                    <a:pt x="2250" y="2043"/>
                  </a:lnTo>
                  <a:lnTo>
                    <a:pt x="2250" y="2043"/>
                  </a:lnTo>
                  <a:lnTo>
                    <a:pt x="2250" y="2043"/>
                  </a:lnTo>
                  <a:lnTo>
                    <a:pt x="2250" y="2043"/>
                  </a:lnTo>
                  <a:lnTo>
                    <a:pt x="2253" y="2043"/>
                  </a:lnTo>
                  <a:lnTo>
                    <a:pt x="2250" y="2046"/>
                  </a:lnTo>
                  <a:lnTo>
                    <a:pt x="2250" y="2046"/>
                  </a:lnTo>
                  <a:lnTo>
                    <a:pt x="2253" y="2048"/>
                  </a:lnTo>
                  <a:lnTo>
                    <a:pt x="2253" y="2048"/>
                  </a:lnTo>
                  <a:lnTo>
                    <a:pt x="2253" y="2048"/>
                  </a:lnTo>
                  <a:lnTo>
                    <a:pt x="2253" y="2048"/>
                  </a:lnTo>
                  <a:lnTo>
                    <a:pt x="2253" y="2048"/>
                  </a:lnTo>
                  <a:lnTo>
                    <a:pt x="2253" y="2048"/>
                  </a:lnTo>
                  <a:lnTo>
                    <a:pt x="2253" y="2048"/>
                  </a:lnTo>
                  <a:lnTo>
                    <a:pt x="2253" y="2048"/>
                  </a:lnTo>
                  <a:lnTo>
                    <a:pt x="2253" y="2051"/>
                  </a:lnTo>
                  <a:lnTo>
                    <a:pt x="2253" y="2051"/>
                  </a:lnTo>
                  <a:lnTo>
                    <a:pt x="2253" y="2051"/>
                  </a:lnTo>
                  <a:lnTo>
                    <a:pt x="2253" y="2051"/>
                  </a:lnTo>
                  <a:lnTo>
                    <a:pt x="2253" y="2051"/>
                  </a:lnTo>
                  <a:lnTo>
                    <a:pt x="2253" y="2053"/>
                  </a:lnTo>
                  <a:lnTo>
                    <a:pt x="2253" y="2053"/>
                  </a:lnTo>
                  <a:lnTo>
                    <a:pt x="2253" y="2053"/>
                  </a:lnTo>
                  <a:lnTo>
                    <a:pt x="2253" y="2053"/>
                  </a:lnTo>
                  <a:lnTo>
                    <a:pt x="2253" y="2053"/>
                  </a:lnTo>
                  <a:lnTo>
                    <a:pt x="2255" y="2055"/>
                  </a:lnTo>
                  <a:lnTo>
                    <a:pt x="2255" y="2055"/>
                  </a:lnTo>
                  <a:lnTo>
                    <a:pt x="2255" y="2053"/>
                  </a:lnTo>
                  <a:lnTo>
                    <a:pt x="2255" y="2053"/>
                  </a:lnTo>
                  <a:lnTo>
                    <a:pt x="2255" y="2053"/>
                  </a:lnTo>
                  <a:lnTo>
                    <a:pt x="2258" y="2053"/>
                  </a:lnTo>
                  <a:lnTo>
                    <a:pt x="2258" y="2051"/>
                  </a:lnTo>
                  <a:lnTo>
                    <a:pt x="2258" y="2051"/>
                  </a:lnTo>
                  <a:lnTo>
                    <a:pt x="2255" y="2051"/>
                  </a:lnTo>
                  <a:lnTo>
                    <a:pt x="2255" y="2048"/>
                  </a:lnTo>
                  <a:lnTo>
                    <a:pt x="2255" y="2048"/>
                  </a:lnTo>
                  <a:lnTo>
                    <a:pt x="2255" y="2048"/>
                  </a:lnTo>
                  <a:lnTo>
                    <a:pt x="2255" y="2046"/>
                  </a:lnTo>
                  <a:lnTo>
                    <a:pt x="2255" y="2046"/>
                  </a:lnTo>
                  <a:lnTo>
                    <a:pt x="2255" y="2046"/>
                  </a:lnTo>
                  <a:lnTo>
                    <a:pt x="2255" y="2046"/>
                  </a:lnTo>
                  <a:lnTo>
                    <a:pt x="2255" y="2046"/>
                  </a:lnTo>
                  <a:lnTo>
                    <a:pt x="2258" y="2046"/>
                  </a:lnTo>
                  <a:lnTo>
                    <a:pt x="2258" y="2046"/>
                  </a:lnTo>
                  <a:lnTo>
                    <a:pt x="2258" y="2046"/>
                  </a:lnTo>
                  <a:lnTo>
                    <a:pt x="2258" y="2046"/>
                  </a:lnTo>
                  <a:lnTo>
                    <a:pt x="2255" y="2043"/>
                  </a:lnTo>
                  <a:lnTo>
                    <a:pt x="2255" y="2043"/>
                  </a:lnTo>
                  <a:lnTo>
                    <a:pt x="2255" y="2043"/>
                  </a:lnTo>
                  <a:lnTo>
                    <a:pt x="2255" y="2043"/>
                  </a:lnTo>
                  <a:lnTo>
                    <a:pt x="2255" y="2043"/>
                  </a:lnTo>
                  <a:lnTo>
                    <a:pt x="2255" y="2041"/>
                  </a:lnTo>
                  <a:lnTo>
                    <a:pt x="2255" y="2041"/>
                  </a:lnTo>
                  <a:lnTo>
                    <a:pt x="2258" y="2041"/>
                  </a:lnTo>
                  <a:lnTo>
                    <a:pt x="2258" y="2041"/>
                  </a:lnTo>
                  <a:lnTo>
                    <a:pt x="2258" y="2041"/>
                  </a:lnTo>
                  <a:lnTo>
                    <a:pt x="2258" y="2041"/>
                  </a:lnTo>
                  <a:lnTo>
                    <a:pt x="2258" y="2041"/>
                  </a:lnTo>
                  <a:lnTo>
                    <a:pt x="2258" y="2041"/>
                  </a:lnTo>
                  <a:lnTo>
                    <a:pt x="2260" y="2041"/>
                  </a:lnTo>
                  <a:lnTo>
                    <a:pt x="2260" y="2041"/>
                  </a:lnTo>
                  <a:lnTo>
                    <a:pt x="2260" y="2041"/>
                  </a:lnTo>
                  <a:lnTo>
                    <a:pt x="2260" y="2041"/>
                  </a:lnTo>
                  <a:lnTo>
                    <a:pt x="2260" y="2041"/>
                  </a:lnTo>
                  <a:lnTo>
                    <a:pt x="2260" y="2041"/>
                  </a:lnTo>
                  <a:lnTo>
                    <a:pt x="2260" y="2041"/>
                  </a:lnTo>
                  <a:lnTo>
                    <a:pt x="2260" y="2043"/>
                  </a:lnTo>
                  <a:lnTo>
                    <a:pt x="2260" y="2043"/>
                  </a:lnTo>
                  <a:lnTo>
                    <a:pt x="2260" y="2043"/>
                  </a:lnTo>
                  <a:lnTo>
                    <a:pt x="2260" y="2043"/>
                  </a:lnTo>
                  <a:lnTo>
                    <a:pt x="2260" y="2043"/>
                  </a:lnTo>
                  <a:lnTo>
                    <a:pt x="2260" y="2043"/>
                  </a:lnTo>
                  <a:lnTo>
                    <a:pt x="2260" y="2043"/>
                  </a:lnTo>
                  <a:lnTo>
                    <a:pt x="2260" y="2043"/>
                  </a:lnTo>
                  <a:lnTo>
                    <a:pt x="2260" y="2043"/>
                  </a:lnTo>
                  <a:lnTo>
                    <a:pt x="2260" y="2046"/>
                  </a:lnTo>
                  <a:lnTo>
                    <a:pt x="2260" y="2046"/>
                  </a:lnTo>
                  <a:lnTo>
                    <a:pt x="2260" y="2046"/>
                  </a:lnTo>
                  <a:lnTo>
                    <a:pt x="2262" y="2046"/>
                  </a:lnTo>
                  <a:lnTo>
                    <a:pt x="2262" y="2046"/>
                  </a:lnTo>
                  <a:lnTo>
                    <a:pt x="2262" y="2046"/>
                  </a:lnTo>
                  <a:lnTo>
                    <a:pt x="2262" y="2046"/>
                  </a:lnTo>
                  <a:lnTo>
                    <a:pt x="2262" y="2046"/>
                  </a:lnTo>
                  <a:lnTo>
                    <a:pt x="2262" y="2046"/>
                  </a:lnTo>
                  <a:lnTo>
                    <a:pt x="2265" y="2046"/>
                  </a:lnTo>
                  <a:lnTo>
                    <a:pt x="2265" y="2046"/>
                  </a:lnTo>
                  <a:lnTo>
                    <a:pt x="2265" y="2046"/>
                  </a:lnTo>
                  <a:lnTo>
                    <a:pt x="2265" y="2046"/>
                  </a:lnTo>
                  <a:lnTo>
                    <a:pt x="2267" y="2046"/>
                  </a:lnTo>
                  <a:lnTo>
                    <a:pt x="2269" y="2046"/>
                  </a:lnTo>
                  <a:lnTo>
                    <a:pt x="2269" y="2046"/>
                  </a:lnTo>
                  <a:lnTo>
                    <a:pt x="2269" y="2046"/>
                  </a:lnTo>
                  <a:lnTo>
                    <a:pt x="2269" y="2048"/>
                  </a:lnTo>
                  <a:lnTo>
                    <a:pt x="2267" y="2048"/>
                  </a:lnTo>
                  <a:lnTo>
                    <a:pt x="2267" y="2048"/>
                  </a:lnTo>
                  <a:lnTo>
                    <a:pt x="2267" y="2048"/>
                  </a:lnTo>
                  <a:lnTo>
                    <a:pt x="2265" y="2048"/>
                  </a:lnTo>
                  <a:lnTo>
                    <a:pt x="2265" y="2048"/>
                  </a:lnTo>
                  <a:lnTo>
                    <a:pt x="2265" y="2048"/>
                  </a:lnTo>
                  <a:lnTo>
                    <a:pt x="2265" y="2048"/>
                  </a:lnTo>
                  <a:lnTo>
                    <a:pt x="2265" y="2048"/>
                  </a:lnTo>
                  <a:lnTo>
                    <a:pt x="2262" y="2048"/>
                  </a:lnTo>
                  <a:lnTo>
                    <a:pt x="2262" y="2048"/>
                  </a:lnTo>
                  <a:lnTo>
                    <a:pt x="2260" y="2048"/>
                  </a:lnTo>
                  <a:lnTo>
                    <a:pt x="2258" y="2051"/>
                  </a:lnTo>
                  <a:lnTo>
                    <a:pt x="2260" y="2051"/>
                  </a:lnTo>
                  <a:lnTo>
                    <a:pt x="2260" y="2053"/>
                  </a:lnTo>
                  <a:lnTo>
                    <a:pt x="2260" y="2053"/>
                  </a:lnTo>
                  <a:lnTo>
                    <a:pt x="2260" y="2053"/>
                  </a:lnTo>
                  <a:lnTo>
                    <a:pt x="2260" y="2053"/>
                  </a:lnTo>
                  <a:lnTo>
                    <a:pt x="2262" y="2055"/>
                  </a:lnTo>
                  <a:lnTo>
                    <a:pt x="2262" y="2055"/>
                  </a:lnTo>
                  <a:lnTo>
                    <a:pt x="2262" y="2055"/>
                  </a:lnTo>
                  <a:lnTo>
                    <a:pt x="2262" y="2058"/>
                  </a:lnTo>
                  <a:lnTo>
                    <a:pt x="2262" y="2058"/>
                  </a:lnTo>
                  <a:lnTo>
                    <a:pt x="2262" y="2058"/>
                  </a:lnTo>
                  <a:lnTo>
                    <a:pt x="2265" y="2060"/>
                  </a:lnTo>
                  <a:lnTo>
                    <a:pt x="2265" y="2060"/>
                  </a:lnTo>
                  <a:lnTo>
                    <a:pt x="2265" y="2060"/>
                  </a:lnTo>
                  <a:lnTo>
                    <a:pt x="2265" y="2060"/>
                  </a:lnTo>
                  <a:lnTo>
                    <a:pt x="2265" y="2060"/>
                  </a:lnTo>
                  <a:lnTo>
                    <a:pt x="2265" y="2062"/>
                  </a:lnTo>
                  <a:lnTo>
                    <a:pt x="2265" y="2062"/>
                  </a:lnTo>
                  <a:lnTo>
                    <a:pt x="2265" y="2062"/>
                  </a:lnTo>
                  <a:lnTo>
                    <a:pt x="2265" y="2062"/>
                  </a:lnTo>
                  <a:lnTo>
                    <a:pt x="2267" y="2065"/>
                  </a:lnTo>
                  <a:lnTo>
                    <a:pt x="2269" y="2065"/>
                  </a:lnTo>
                  <a:lnTo>
                    <a:pt x="2269" y="2065"/>
                  </a:lnTo>
                  <a:lnTo>
                    <a:pt x="2269" y="2065"/>
                  </a:lnTo>
                  <a:lnTo>
                    <a:pt x="2269" y="2067"/>
                  </a:lnTo>
                  <a:lnTo>
                    <a:pt x="2272" y="2067"/>
                  </a:lnTo>
                  <a:lnTo>
                    <a:pt x="2272" y="2067"/>
                  </a:lnTo>
                  <a:lnTo>
                    <a:pt x="2272" y="2069"/>
                  </a:lnTo>
                  <a:lnTo>
                    <a:pt x="2272" y="2069"/>
                  </a:lnTo>
                  <a:lnTo>
                    <a:pt x="2272" y="2069"/>
                  </a:lnTo>
                  <a:close/>
                  <a:moveTo>
                    <a:pt x="3741" y="2055"/>
                  </a:moveTo>
                  <a:lnTo>
                    <a:pt x="3741" y="2058"/>
                  </a:lnTo>
                  <a:lnTo>
                    <a:pt x="3741" y="2055"/>
                  </a:lnTo>
                  <a:lnTo>
                    <a:pt x="3741" y="2055"/>
                  </a:lnTo>
                  <a:lnTo>
                    <a:pt x="3741" y="2055"/>
                  </a:lnTo>
                  <a:lnTo>
                    <a:pt x="3739" y="2055"/>
                  </a:lnTo>
                  <a:lnTo>
                    <a:pt x="3741" y="2058"/>
                  </a:lnTo>
                  <a:lnTo>
                    <a:pt x="3741" y="2058"/>
                  </a:lnTo>
                  <a:lnTo>
                    <a:pt x="3744" y="2055"/>
                  </a:lnTo>
                  <a:lnTo>
                    <a:pt x="3744" y="2055"/>
                  </a:lnTo>
                  <a:lnTo>
                    <a:pt x="3744" y="2053"/>
                  </a:lnTo>
                  <a:lnTo>
                    <a:pt x="3744" y="2053"/>
                  </a:lnTo>
                  <a:lnTo>
                    <a:pt x="3744" y="2053"/>
                  </a:lnTo>
                  <a:lnTo>
                    <a:pt x="3744" y="2053"/>
                  </a:lnTo>
                  <a:lnTo>
                    <a:pt x="3744" y="2053"/>
                  </a:lnTo>
                  <a:lnTo>
                    <a:pt x="3741" y="2053"/>
                  </a:lnTo>
                  <a:lnTo>
                    <a:pt x="3744" y="2053"/>
                  </a:lnTo>
                  <a:lnTo>
                    <a:pt x="3741" y="2055"/>
                  </a:lnTo>
                  <a:lnTo>
                    <a:pt x="3741" y="2055"/>
                  </a:lnTo>
                  <a:close/>
                  <a:moveTo>
                    <a:pt x="3798" y="1954"/>
                  </a:moveTo>
                  <a:lnTo>
                    <a:pt x="3798" y="1956"/>
                  </a:lnTo>
                  <a:lnTo>
                    <a:pt x="3800" y="1956"/>
                  </a:lnTo>
                  <a:lnTo>
                    <a:pt x="3800" y="1956"/>
                  </a:lnTo>
                  <a:lnTo>
                    <a:pt x="3800" y="1956"/>
                  </a:lnTo>
                  <a:lnTo>
                    <a:pt x="3803" y="1956"/>
                  </a:lnTo>
                  <a:lnTo>
                    <a:pt x="3803" y="1956"/>
                  </a:lnTo>
                  <a:lnTo>
                    <a:pt x="3803" y="1956"/>
                  </a:lnTo>
                  <a:lnTo>
                    <a:pt x="3803" y="1956"/>
                  </a:lnTo>
                  <a:lnTo>
                    <a:pt x="3803" y="1954"/>
                  </a:lnTo>
                  <a:lnTo>
                    <a:pt x="3803" y="1954"/>
                  </a:lnTo>
                  <a:lnTo>
                    <a:pt x="3803" y="1954"/>
                  </a:lnTo>
                  <a:lnTo>
                    <a:pt x="3803" y="1954"/>
                  </a:lnTo>
                  <a:lnTo>
                    <a:pt x="3800" y="1954"/>
                  </a:lnTo>
                  <a:lnTo>
                    <a:pt x="3800" y="1954"/>
                  </a:lnTo>
                  <a:lnTo>
                    <a:pt x="3800" y="1954"/>
                  </a:lnTo>
                  <a:lnTo>
                    <a:pt x="3800" y="1951"/>
                  </a:lnTo>
                  <a:lnTo>
                    <a:pt x="3800" y="1954"/>
                  </a:lnTo>
                  <a:lnTo>
                    <a:pt x="3800" y="1954"/>
                  </a:lnTo>
                  <a:lnTo>
                    <a:pt x="3798" y="1954"/>
                  </a:lnTo>
                  <a:lnTo>
                    <a:pt x="3798" y="1954"/>
                  </a:lnTo>
                  <a:close/>
                  <a:moveTo>
                    <a:pt x="3831" y="1920"/>
                  </a:moveTo>
                  <a:lnTo>
                    <a:pt x="3831" y="1920"/>
                  </a:lnTo>
                  <a:lnTo>
                    <a:pt x="3831" y="1920"/>
                  </a:lnTo>
                  <a:lnTo>
                    <a:pt x="3829" y="1920"/>
                  </a:lnTo>
                  <a:lnTo>
                    <a:pt x="3829" y="1920"/>
                  </a:lnTo>
                  <a:lnTo>
                    <a:pt x="3829" y="1920"/>
                  </a:lnTo>
                  <a:lnTo>
                    <a:pt x="3829" y="1920"/>
                  </a:lnTo>
                  <a:lnTo>
                    <a:pt x="3829" y="1923"/>
                  </a:lnTo>
                  <a:lnTo>
                    <a:pt x="3829" y="1923"/>
                  </a:lnTo>
                  <a:lnTo>
                    <a:pt x="3829" y="1923"/>
                  </a:lnTo>
                  <a:lnTo>
                    <a:pt x="3829" y="1923"/>
                  </a:lnTo>
                  <a:lnTo>
                    <a:pt x="3829" y="1923"/>
                  </a:lnTo>
                  <a:lnTo>
                    <a:pt x="3829" y="1923"/>
                  </a:lnTo>
                  <a:lnTo>
                    <a:pt x="3829" y="1923"/>
                  </a:lnTo>
                  <a:lnTo>
                    <a:pt x="3829" y="1925"/>
                  </a:lnTo>
                  <a:lnTo>
                    <a:pt x="3829" y="1925"/>
                  </a:lnTo>
                  <a:lnTo>
                    <a:pt x="3831" y="1925"/>
                  </a:lnTo>
                  <a:lnTo>
                    <a:pt x="3831" y="1925"/>
                  </a:lnTo>
                  <a:lnTo>
                    <a:pt x="3831" y="1925"/>
                  </a:lnTo>
                  <a:lnTo>
                    <a:pt x="3831" y="1925"/>
                  </a:lnTo>
                  <a:lnTo>
                    <a:pt x="3831" y="1923"/>
                  </a:lnTo>
                  <a:lnTo>
                    <a:pt x="3831" y="1923"/>
                  </a:lnTo>
                  <a:lnTo>
                    <a:pt x="3831" y="1920"/>
                  </a:lnTo>
                  <a:close/>
                  <a:moveTo>
                    <a:pt x="3810" y="1942"/>
                  </a:moveTo>
                  <a:lnTo>
                    <a:pt x="3810" y="1942"/>
                  </a:lnTo>
                  <a:lnTo>
                    <a:pt x="3810" y="1939"/>
                  </a:lnTo>
                  <a:lnTo>
                    <a:pt x="3812" y="1939"/>
                  </a:lnTo>
                  <a:lnTo>
                    <a:pt x="3812" y="1939"/>
                  </a:lnTo>
                  <a:lnTo>
                    <a:pt x="3812" y="1939"/>
                  </a:lnTo>
                  <a:lnTo>
                    <a:pt x="3812" y="1939"/>
                  </a:lnTo>
                  <a:lnTo>
                    <a:pt x="3812" y="1939"/>
                  </a:lnTo>
                  <a:lnTo>
                    <a:pt x="3810" y="1939"/>
                  </a:lnTo>
                  <a:lnTo>
                    <a:pt x="3810" y="1939"/>
                  </a:lnTo>
                  <a:lnTo>
                    <a:pt x="3810" y="1942"/>
                  </a:lnTo>
                  <a:lnTo>
                    <a:pt x="3810" y="1942"/>
                  </a:lnTo>
                  <a:lnTo>
                    <a:pt x="3810" y="1942"/>
                  </a:lnTo>
                  <a:lnTo>
                    <a:pt x="3810" y="1942"/>
                  </a:lnTo>
                  <a:lnTo>
                    <a:pt x="3810" y="1942"/>
                  </a:lnTo>
                  <a:lnTo>
                    <a:pt x="3808" y="1942"/>
                  </a:lnTo>
                  <a:lnTo>
                    <a:pt x="3810" y="1942"/>
                  </a:lnTo>
                  <a:lnTo>
                    <a:pt x="3810" y="1942"/>
                  </a:lnTo>
                  <a:lnTo>
                    <a:pt x="3810" y="1942"/>
                  </a:lnTo>
                  <a:close/>
                  <a:moveTo>
                    <a:pt x="3827" y="1942"/>
                  </a:moveTo>
                  <a:lnTo>
                    <a:pt x="3827" y="1939"/>
                  </a:lnTo>
                  <a:lnTo>
                    <a:pt x="3827" y="1939"/>
                  </a:lnTo>
                  <a:lnTo>
                    <a:pt x="3827" y="1939"/>
                  </a:lnTo>
                  <a:lnTo>
                    <a:pt x="3827" y="1939"/>
                  </a:lnTo>
                  <a:lnTo>
                    <a:pt x="3827" y="1939"/>
                  </a:lnTo>
                  <a:lnTo>
                    <a:pt x="3827" y="1939"/>
                  </a:lnTo>
                  <a:lnTo>
                    <a:pt x="3827" y="1939"/>
                  </a:lnTo>
                  <a:lnTo>
                    <a:pt x="3827" y="1939"/>
                  </a:lnTo>
                  <a:lnTo>
                    <a:pt x="3827" y="1939"/>
                  </a:lnTo>
                  <a:lnTo>
                    <a:pt x="3827" y="1942"/>
                  </a:lnTo>
                  <a:lnTo>
                    <a:pt x="3827" y="1942"/>
                  </a:lnTo>
                  <a:lnTo>
                    <a:pt x="3827" y="1942"/>
                  </a:lnTo>
                  <a:lnTo>
                    <a:pt x="3827" y="1942"/>
                  </a:lnTo>
                  <a:lnTo>
                    <a:pt x="3827" y="1944"/>
                  </a:lnTo>
                  <a:lnTo>
                    <a:pt x="3827" y="1942"/>
                  </a:lnTo>
                  <a:lnTo>
                    <a:pt x="3829" y="1942"/>
                  </a:lnTo>
                  <a:lnTo>
                    <a:pt x="3829" y="1942"/>
                  </a:lnTo>
                  <a:lnTo>
                    <a:pt x="3829" y="1942"/>
                  </a:lnTo>
                  <a:lnTo>
                    <a:pt x="3827" y="1942"/>
                  </a:lnTo>
                  <a:close/>
                  <a:moveTo>
                    <a:pt x="3744" y="1980"/>
                  </a:moveTo>
                  <a:lnTo>
                    <a:pt x="3744" y="1980"/>
                  </a:lnTo>
                  <a:lnTo>
                    <a:pt x="3741" y="1980"/>
                  </a:lnTo>
                  <a:lnTo>
                    <a:pt x="3741" y="1980"/>
                  </a:lnTo>
                  <a:lnTo>
                    <a:pt x="3741" y="1980"/>
                  </a:lnTo>
                  <a:lnTo>
                    <a:pt x="3741" y="1984"/>
                  </a:lnTo>
                  <a:lnTo>
                    <a:pt x="3741" y="1984"/>
                  </a:lnTo>
                  <a:lnTo>
                    <a:pt x="3741" y="1987"/>
                  </a:lnTo>
                  <a:lnTo>
                    <a:pt x="3741" y="1989"/>
                  </a:lnTo>
                  <a:lnTo>
                    <a:pt x="3741" y="1989"/>
                  </a:lnTo>
                  <a:lnTo>
                    <a:pt x="3741" y="1987"/>
                  </a:lnTo>
                  <a:lnTo>
                    <a:pt x="3741" y="1987"/>
                  </a:lnTo>
                  <a:lnTo>
                    <a:pt x="3741" y="1987"/>
                  </a:lnTo>
                  <a:lnTo>
                    <a:pt x="3744" y="1984"/>
                  </a:lnTo>
                  <a:lnTo>
                    <a:pt x="3744" y="1982"/>
                  </a:lnTo>
                  <a:lnTo>
                    <a:pt x="3741" y="1982"/>
                  </a:lnTo>
                  <a:lnTo>
                    <a:pt x="3741" y="1982"/>
                  </a:lnTo>
                  <a:lnTo>
                    <a:pt x="3741" y="1980"/>
                  </a:lnTo>
                  <a:lnTo>
                    <a:pt x="3744" y="1980"/>
                  </a:lnTo>
                  <a:close/>
                  <a:moveTo>
                    <a:pt x="3808" y="1951"/>
                  </a:moveTo>
                  <a:lnTo>
                    <a:pt x="3808" y="1951"/>
                  </a:lnTo>
                  <a:lnTo>
                    <a:pt x="3808" y="1951"/>
                  </a:lnTo>
                  <a:lnTo>
                    <a:pt x="3808" y="1951"/>
                  </a:lnTo>
                  <a:lnTo>
                    <a:pt x="3808" y="1951"/>
                  </a:lnTo>
                  <a:lnTo>
                    <a:pt x="3810" y="1951"/>
                  </a:lnTo>
                  <a:lnTo>
                    <a:pt x="3810" y="1954"/>
                  </a:lnTo>
                  <a:lnTo>
                    <a:pt x="3810" y="1951"/>
                  </a:lnTo>
                  <a:lnTo>
                    <a:pt x="3810" y="1951"/>
                  </a:lnTo>
                  <a:lnTo>
                    <a:pt x="3810" y="1951"/>
                  </a:lnTo>
                  <a:lnTo>
                    <a:pt x="3810" y="1951"/>
                  </a:lnTo>
                  <a:lnTo>
                    <a:pt x="3810" y="1951"/>
                  </a:lnTo>
                  <a:lnTo>
                    <a:pt x="3810" y="1951"/>
                  </a:lnTo>
                  <a:lnTo>
                    <a:pt x="3810" y="1951"/>
                  </a:lnTo>
                  <a:lnTo>
                    <a:pt x="3808" y="1951"/>
                  </a:lnTo>
                  <a:lnTo>
                    <a:pt x="3808" y="1951"/>
                  </a:lnTo>
                  <a:lnTo>
                    <a:pt x="3808" y="1949"/>
                  </a:lnTo>
                  <a:lnTo>
                    <a:pt x="3808" y="1951"/>
                  </a:lnTo>
                  <a:lnTo>
                    <a:pt x="3808" y="1951"/>
                  </a:lnTo>
                  <a:lnTo>
                    <a:pt x="3808" y="1951"/>
                  </a:lnTo>
                  <a:close/>
                  <a:moveTo>
                    <a:pt x="3817" y="1949"/>
                  </a:moveTo>
                  <a:lnTo>
                    <a:pt x="3815" y="1949"/>
                  </a:lnTo>
                  <a:lnTo>
                    <a:pt x="3815" y="1951"/>
                  </a:lnTo>
                  <a:lnTo>
                    <a:pt x="3815" y="1951"/>
                  </a:lnTo>
                  <a:lnTo>
                    <a:pt x="3815" y="1951"/>
                  </a:lnTo>
                  <a:lnTo>
                    <a:pt x="3815" y="1951"/>
                  </a:lnTo>
                  <a:lnTo>
                    <a:pt x="3815" y="1951"/>
                  </a:lnTo>
                  <a:lnTo>
                    <a:pt x="3815" y="1951"/>
                  </a:lnTo>
                  <a:lnTo>
                    <a:pt x="3815" y="1951"/>
                  </a:lnTo>
                  <a:lnTo>
                    <a:pt x="3812" y="1951"/>
                  </a:lnTo>
                  <a:lnTo>
                    <a:pt x="3812" y="1951"/>
                  </a:lnTo>
                  <a:lnTo>
                    <a:pt x="3812" y="1954"/>
                  </a:lnTo>
                  <a:lnTo>
                    <a:pt x="3810" y="1956"/>
                  </a:lnTo>
                  <a:lnTo>
                    <a:pt x="3810" y="1956"/>
                  </a:lnTo>
                  <a:lnTo>
                    <a:pt x="3810" y="1956"/>
                  </a:lnTo>
                  <a:lnTo>
                    <a:pt x="3808" y="1954"/>
                  </a:lnTo>
                  <a:lnTo>
                    <a:pt x="3808" y="1954"/>
                  </a:lnTo>
                  <a:lnTo>
                    <a:pt x="3808" y="1954"/>
                  </a:lnTo>
                  <a:lnTo>
                    <a:pt x="3805" y="1954"/>
                  </a:lnTo>
                  <a:lnTo>
                    <a:pt x="3805" y="1956"/>
                  </a:lnTo>
                  <a:lnTo>
                    <a:pt x="3805" y="1956"/>
                  </a:lnTo>
                  <a:lnTo>
                    <a:pt x="3805" y="1954"/>
                  </a:lnTo>
                  <a:lnTo>
                    <a:pt x="3805" y="1954"/>
                  </a:lnTo>
                  <a:lnTo>
                    <a:pt x="3803" y="1956"/>
                  </a:lnTo>
                  <a:lnTo>
                    <a:pt x="3803" y="1956"/>
                  </a:lnTo>
                  <a:lnTo>
                    <a:pt x="3803" y="1956"/>
                  </a:lnTo>
                  <a:lnTo>
                    <a:pt x="3803" y="1956"/>
                  </a:lnTo>
                  <a:lnTo>
                    <a:pt x="3803" y="1956"/>
                  </a:lnTo>
                  <a:lnTo>
                    <a:pt x="3803" y="1956"/>
                  </a:lnTo>
                  <a:lnTo>
                    <a:pt x="3803" y="1956"/>
                  </a:lnTo>
                  <a:lnTo>
                    <a:pt x="3800" y="1956"/>
                  </a:lnTo>
                  <a:lnTo>
                    <a:pt x="3800" y="1956"/>
                  </a:lnTo>
                  <a:lnTo>
                    <a:pt x="3800" y="1956"/>
                  </a:lnTo>
                  <a:lnTo>
                    <a:pt x="3800" y="1958"/>
                  </a:lnTo>
                  <a:lnTo>
                    <a:pt x="3800" y="1958"/>
                  </a:lnTo>
                  <a:lnTo>
                    <a:pt x="3800" y="1958"/>
                  </a:lnTo>
                  <a:lnTo>
                    <a:pt x="3800" y="1958"/>
                  </a:lnTo>
                  <a:lnTo>
                    <a:pt x="3798" y="1961"/>
                  </a:lnTo>
                  <a:lnTo>
                    <a:pt x="3798" y="1961"/>
                  </a:lnTo>
                  <a:lnTo>
                    <a:pt x="3798" y="1961"/>
                  </a:lnTo>
                  <a:lnTo>
                    <a:pt x="3798" y="1961"/>
                  </a:lnTo>
                  <a:lnTo>
                    <a:pt x="3798" y="1963"/>
                  </a:lnTo>
                  <a:lnTo>
                    <a:pt x="3798" y="1963"/>
                  </a:lnTo>
                  <a:lnTo>
                    <a:pt x="3798" y="1963"/>
                  </a:lnTo>
                  <a:lnTo>
                    <a:pt x="3796" y="1963"/>
                  </a:lnTo>
                  <a:lnTo>
                    <a:pt x="3796" y="1965"/>
                  </a:lnTo>
                  <a:lnTo>
                    <a:pt x="3796" y="1965"/>
                  </a:lnTo>
                  <a:lnTo>
                    <a:pt x="3793" y="1963"/>
                  </a:lnTo>
                  <a:lnTo>
                    <a:pt x="3793" y="1963"/>
                  </a:lnTo>
                  <a:lnTo>
                    <a:pt x="3793" y="1965"/>
                  </a:lnTo>
                  <a:lnTo>
                    <a:pt x="3793" y="1965"/>
                  </a:lnTo>
                  <a:lnTo>
                    <a:pt x="3791" y="1965"/>
                  </a:lnTo>
                  <a:lnTo>
                    <a:pt x="3791" y="1965"/>
                  </a:lnTo>
                  <a:lnTo>
                    <a:pt x="3791" y="1965"/>
                  </a:lnTo>
                  <a:lnTo>
                    <a:pt x="3791" y="1963"/>
                  </a:lnTo>
                  <a:lnTo>
                    <a:pt x="3791" y="1963"/>
                  </a:lnTo>
                  <a:lnTo>
                    <a:pt x="3793" y="1963"/>
                  </a:lnTo>
                  <a:lnTo>
                    <a:pt x="3793" y="1963"/>
                  </a:lnTo>
                  <a:lnTo>
                    <a:pt x="3793" y="1961"/>
                  </a:lnTo>
                  <a:lnTo>
                    <a:pt x="3793" y="1961"/>
                  </a:lnTo>
                  <a:lnTo>
                    <a:pt x="3793" y="1961"/>
                  </a:lnTo>
                  <a:lnTo>
                    <a:pt x="3793" y="1961"/>
                  </a:lnTo>
                  <a:lnTo>
                    <a:pt x="3793" y="1961"/>
                  </a:lnTo>
                  <a:lnTo>
                    <a:pt x="3796" y="1961"/>
                  </a:lnTo>
                  <a:lnTo>
                    <a:pt x="3796" y="1961"/>
                  </a:lnTo>
                  <a:lnTo>
                    <a:pt x="3796" y="1958"/>
                  </a:lnTo>
                  <a:lnTo>
                    <a:pt x="3796" y="1958"/>
                  </a:lnTo>
                  <a:lnTo>
                    <a:pt x="3796" y="1958"/>
                  </a:lnTo>
                  <a:lnTo>
                    <a:pt x="3796" y="1958"/>
                  </a:lnTo>
                  <a:lnTo>
                    <a:pt x="3798" y="1958"/>
                  </a:lnTo>
                  <a:lnTo>
                    <a:pt x="3798" y="1958"/>
                  </a:lnTo>
                  <a:lnTo>
                    <a:pt x="3798" y="1958"/>
                  </a:lnTo>
                  <a:lnTo>
                    <a:pt x="3796" y="1958"/>
                  </a:lnTo>
                  <a:lnTo>
                    <a:pt x="3796" y="1958"/>
                  </a:lnTo>
                  <a:lnTo>
                    <a:pt x="3796" y="1956"/>
                  </a:lnTo>
                  <a:lnTo>
                    <a:pt x="3798" y="1956"/>
                  </a:lnTo>
                  <a:lnTo>
                    <a:pt x="3798" y="1956"/>
                  </a:lnTo>
                  <a:lnTo>
                    <a:pt x="3798" y="1956"/>
                  </a:lnTo>
                  <a:lnTo>
                    <a:pt x="3798" y="1956"/>
                  </a:lnTo>
                  <a:lnTo>
                    <a:pt x="3798" y="1956"/>
                  </a:lnTo>
                  <a:lnTo>
                    <a:pt x="3798" y="1956"/>
                  </a:lnTo>
                  <a:lnTo>
                    <a:pt x="3798" y="1956"/>
                  </a:lnTo>
                  <a:lnTo>
                    <a:pt x="3798" y="1951"/>
                  </a:lnTo>
                  <a:lnTo>
                    <a:pt x="3800" y="1951"/>
                  </a:lnTo>
                  <a:lnTo>
                    <a:pt x="3800" y="1951"/>
                  </a:lnTo>
                  <a:lnTo>
                    <a:pt x="3800" y="1951"/>
                  </a:lnTo>
                  <a:lnTo>
                    <a:pt x="3803" y="1951"/>
                  </a:lnTo>
                  <a:lnTo>
                    <a:pt x="3803" y="1951"/>
                  </a:lnTo>
                  <a:lnTo>
                    <a:pt x="3803" y="1949"/>
                  </a:lnTo>
                  <a:lnTo>
                    <a:pt x="3803" y="1949"/>
                  </a:lnTo>
                  <a:lnTo>
                    <a:pt x="3800" y="1949"/>
                  </a:lnTo>
                  <a:lnTo>
                    <a:pt x="3800" y="1949"/>
                  </a:lnTo>
                  <a:lnTo>
                    <a:pt x="3800" y="1949"/>
                  </a:lnTo>
                  <a:lnTo>
                    <a:pt x="3798" y="1951"/>
                  </a:lnTo>
                  <a:lnTo>
                    <a:pt x="3798" y="1951"/>
                  </a:lnTo>
                  <a:lnTo>
                    <a:pt x="3798" y="1954"/>
                  </a:lnTo>
                  <a:lnTo>
                    <a:pt x="3796" y="1954"/>
                  </a:lnTo>
                  <a:lnTo>
                    <a:pt x="3796" y="1954"/>
                  </a:lnTo>
                  <a:lnTo>
                    <a:pt x="3796" y="1956"/>
                  </a:lnTo>
                  <a:lnTo>
                    <a:pt x="3796" y="1956"/>
                  </a:lnTo>
                  <a:lnTo>
                    <a:pt x="3793" y="1958"/>
                  </a:lnTo>
                  <a:lnTo>
                    <a:pt x="3791" y="1961"/>
                  </a:lnTo>
                  <a:lnTo>
                    <a:pt x="3791" y="1961"/>
                  </a:lnTo>
                  <a:lnTo>
                    <a:pt x="3786" y="1963"/>
                  </a:lnTo>
                  <a:lnTo>
                    <a:pt x="3784" y="1963"/>
                  </a:lnTo>
                  <a:lnTo>
                    <a:pt x="3782" y="1963"/>
                  </a:lnTo>
                  <a:lnTo>
                    <a:pt x="3779" y="1965"/>
                  </a:lnTo>
                  <a:lnTo>
                    <a:pt x="3777" y="1965"/>
                  </a:lnTo>
                  <a:lnTo>
                    <a:pt x="3774" y="1965"/>
                  </a:lnTo>
                  <a:lnTo>
                    <a:pt x="3772" y="1965"/>
                  </a:lnTo>
                  <a:lnTo>
                    <a:pt x="3772" y="1965"/>
                  </a:lnTo>
                  <a:lnTo>
                    <a:pt x="3772" y="1968"/>
                  </a:lnTo>
                  <a:lnTo>
                    <a:pt x="3772" y="1968"/>
                  </a:lnTo>
                  <a:lnTo>
                    <a:pt x="3772" y="1968"/>
                  </a:lnTo>
                  <a:lnTo>
                    <a:pt x="3772" y="1968"/>
                  </a:lnTo>
                  <a:lnTo>
                    <a:pt x="3772" y="1965"/>
                  </a:lnTo>
                  <a:lnTo>
                    <a:pt x="3772" y="1965"/>
                  </a:lnTo>
                  <a:lnTo>
                    <a:pt x="3772" y="1968"/>
                  </a:lnTo>
                  <a:lnTo>
                    <a:pt x="3770" y="1968"/>
                  </a:lnTo>
                  <a:lnTo>
                    <a:pt x="3770" y="1968"/>
                  </a:lnTo>
                  <a:lnTo>
                    <a:pt x="3770" y="1968"/>
                  </a:lnTo>
                  <a:lnTo>
                    <a:pt x="3770" y="1970"/>
                  </a:lnTo>
                  <a:lnTo>
                    <a:pt x="3767" y="1970"/>
                  </a:lnTo>
                  <a:lnTo>
                    <a:pt x="3767" y="1970"/>
                  </a:lnTo>
                  <a:lnTo>
                    <a:pt x="3767" y="1970"/>
                  </a:lnTo>
                  <a:lnTo>
                    <a:pt x="3767" y="1970"/>
                  </a:lnTo>
                  <a:lnTo>
                    <a:pt x="3765" y="1970"/>
                  </a:lnTo>
                  <a:lnTo>
                    <a:pt x="3765" y="1970"/>
                  </a:lnTo>
                  <a:lnTo>
                    <a:pt x="3763" y="1970"/>
                  </a:lnTo>
                  <a:lnTo>
                    <a:pt x="3763" y="1970"/>
                  </a:lnTo>
                  <a:lnTo>
                    <a:pt x="3763" y="1970"/>
                  </a:lnTo>
                  <a:lnTo>
                    <a:pt x="3760" y="1970"/>
                  </a:lnTo>
                  <a:lnTo>
                    <a:pt x="3760" y="1970"/>
                  </a:lnTo>
                  <a:lnTo>
                    <a:pt x="3760" y="1970"/>
                  </a:lnTo>
                  <a:lnTo>
                    <a:pt x="3760" y="1970"/>
                  </a:lnTo>
                  <a:lnTo>
                    <a:pt x="3763" y="1972"/>
                  </a:lnTo>
                  <a:lnTo>
                    <a:pt x="3763" y="1970"/>
                  </a:lnTo>
                  <a:lnTo>
                    <a:pt x="3763" y="1970"/>
                  </a:lnTo>
                  <a:lnTo>
                    <a:pt x="3763" y="1972"/>
                  </a:lnTo>
                  <a:lnTo>
                    <a:pt x="3763" y="1972"/>
                  </a:lnTo>
                  <a:lnTo>
                    <a:pt x="3763" y="1972"/>
                  </a:lnTo>
                  <a:lnTo>
                    <a:pt x="3763" y="1972"/>
                  </a:lnTo>
                  <a:lnTo>
                    <a:pt x="3763" y="1972"/>
                  </a:lnTo>
                  <a:lnTo>
                    <a:pt x="3760" y="1972"/>
                  </a:lnTo>
                  <a:lnTo>
                    <a:pt x="3760" y="1972"/>
                  </a:lnTo>
                  <a:lnTo>
                    <a:pt x="3760" y="1972"/>
                  </a:lnTo>
                  <a:lnTo>
                    <a:pt x="3760" y="1972"/>
                  </a:lnTo>
                  <a:lnTo>
                    <a:pt x="3760" y="1972"/>
                  </a:lnTo>
                  <a:lnTo>
                    <a:pt x="3758" y="1970"/>
                  </a:lnTo>
                  <a:lnTo>
                    <a:pt x="3758" y="1972"/>
                  </a:lnTo>
                  <a:lnTo>
                    <a:pt x="3758" y="1972"/>
                  </a:lnTo>
                  <a:lnTo>
                    <a:pt x="3760" y="1972"/>
                  </a:lnTo>
                  <a:lnTo>
                    <a:pt x="3760" y="1972"/>
                  </a:lnTo>
                  <a:lnTo>
                    <a:pt x="3760" y="1975"/>
                  </a:lnTo>
                  <a:lnTo>
                    <a:pt x="3760" y="1975"/>
                  </a:lnTo>
                  <a:lnTo>
                    <a:pt x="3760" y="1975"/>
                  </a:lnTo>
                  <a:lnTo>
                    <a:pt x="3758" y="1975"/>
                  </a:lnTo>
                  <a:lnTo>
                    <a:pt x="3758" y="1975"/>
                  </a:lnTo>
                  <a:lnTo>
                    <a:pt x="3758" y="1975"/>
                  </a:lnTo>
                  <a:lnTo>
                    <a:pt x="3758" y="1975"/>
                  </a:lnTo>
                  <a:lnTo>
                    <a:pt x="3758" y="1975"/>
                  </a:lnTo>
                  <a:lnTo>
                    <a:pt x="3758" y="1975"/>
                  </a:lnTo>
                  <a:lnTo>
                    <a:pt x="3756" y="1975"/>
                  </a:lnTo>
                  <a:lnTo>
                    <a:pt x="3756" y="1975"/>
                  </a:lnTo>
                  <a:lnTo>
                    <a:pt x="3758" y="1975"/>
                  </a:lnTo>
                  <a:lnTo>
                    <a:pt x="3758" y="1975"/>
                  </a:lnTo>
                  <a:lnTo>
                    <a:pt x="3758" y="1972"/>
                  </a:lnTo>
                  <a:lnTo>
                    <a:pt x="3758" y="1972"/>
                  </a:lnTo>
                  <a:lnTo>
                    <a:pt x="3756" y="1972"/>
                  </a:lnTo>
                  <a:lnTo>
                    <a:pt x="3753" y="1975"/>
                  </a:lnTo>
                  <a:lnTo>
                    <a:pt x="3753" y="1977"/>
                  </a:lnTo>
                  <a:lnTo>
                    <a:pt x="3753" y="1980"/>
                  </a:lnTo>
                  <a:lnTo>
                    <a:pt x="3753" y="1980"/>
                  </a:lnTo>
                  <a:lnTo>
                    <a:pt x="3753" y="1977"/>
                  </a:lnTo>
                  <a:lnTo>
                    <a:pt x="3753" y="1977"/>
                  </a:lnTo>
                  <a:lnTo>
                    <a:pt x="3751" y="1977"/>
                  </a:lnTo>
                  <a:lnTo>
                    <a:pt x="3751" y="1977"/>
                  </a:lnTo>
                  <a:lnTo>
                    <a:pt x="3751" y="1977"/>
                  </a:lnTo>
                  <a:lnTo>
                    <a:pt x="3751" y="1980"/>
                  </a:lnTo>
                  <a:lnTo>
                    <a:pt x="3751" y="1980"/>
                  </a:lnTo>
                  <a:lnTo>
                    <a:pt x="3751" y="1980"/>
                  </a:lnTo>
                  <a:lnTo>
                    <a:pt x="3751" y="1980"/>
                  </a:lnTo>
                  <a:lnTo>
                    <a:pt x="3751" y="1980"/>
                  </a:lnTo>
                  <a:lnTo>
                    <a:pt x="3751" y="1980"/>
                  </a:lnTo>
                  <a:lnTo>
                    <a:pt x="3751" y="1980"/>
                  </a:lnTo>
                  <a:lnTo>
                    <a:pt x="3751" y="1980"/>
                  </a:lnTo>
                  <a:lnTo>
                    <a:pt x="3748" y="1980"/>
                  </a:lnTo>
                  <a:lnTo>
                    <a:pt x="3748" y="1980"/>
                  </a:lnTo>
                  <a:lnTo>
                    <a:pt x="3751" y="1982"/>
                  </a:lnTo>
                  <a:lnTo>
                    <a:pt x="3751" y="1982"/>
                  </a:lnTo>
                  <a:lnTo>
                    <a:pt x="3748" y="1982"/>
                  </a:lnTo>
                  <a:lnTo>
                    <a:pt x="3746" y="1982"/>
                  </a:lnTo>
                  <a:lnTo>
                    <a:pt x="3746" y="1982"/>
                  </a:lnTo>
                  <a:lnTo>
                    <a:pt x="3746" y="1982"/>
                  </a:lnTo>
                  <a:lnTo>
                    <a:pt x="3744" y="1984"/>
                  </a:lnTo>
                  <a:lnTo>
                    <a:pt x="3744" y="1982"/>
                  </a:lnTo>
                  <a:lnTo>
                    <a:pt x="3744" y="1984"/>
                  </a:lnTo>
                  <a:lnTo>
                    <a:pt x="3744" y="1987"/>
                  </a:lnTo>
                  <a:lnTo>
                    <a:pt x="3744" y="1987"/>
                  </a:lnTo>
                  <a:lnTo>
                    <a:pt x="3744" y="1987"/>
                  </a:lnTo>
                  <a:lnTo>
                    <a:pt x="3741" y="1987"/>
                  </a:lnTo>
                  <a:lnTo>
                    <a:pt x="3741" y="1989"/>
                  </a:lnTo>
                  <a:lnTo>
                    <a:pt x="3741" y="1989"/>
                  </a:lnTo>
                  <a:lnTo>
                    <a:pt x="3741" y="1989"/>
                  </a:lnTo>
                  <a:lnTo>
                    <a:pt x="3741" y="1989"/>
                  </a:lnTo>
                  <a:lnTo>
                    <a:pt x="3741" y="1989"/>
                  </a:lnTo>
                  <a:lnTo>
                    <a:pt x="3741" y="1991"/>
                  </a:lnTo>
                  <a:lnTo>
                    <a:pt x="3741" y="1991"/>
                  </a:lnTo>
                  <a:lnTo>
                    <a:pt x="3741" y="1991"/>
                  </a:lnTo>
                  <a:lnTo>
                    <a:pt x="3741" y="1994"/>
                  </a:lnTo>
                  <a:lnTo>
                    <a:pt x="3744" y="1994"/>
                  </a:lnTo>
                  <a:lnTo>
                    <a:pt x="3744" y="1994"/>
                  </a:lnTo>
                  <a:lnTo>
                    <a:pt x="3744" y="1994"/>
                  </a:lnTo>
                  <a:lnTo>
                    <a:pt x="3744" y="1994"/>
                  </a:lnTo>
                  <a:lnTo>
                    <a:pt x="3744" y="1994"/>
                  </a:lnTo>
                  <a:lnTo>
                    <a:pt x="3744" y="1994"/>
                  </a:lnTo>
                  <a:lnTo>
                    <a:pt x="3746" y="1994"/>
                  </a:lnTo>
                  <a:lnTo>
                    <a:pt x="3746" y="1994"/>
                  </a:lnTo>
                  <a:lnTo>
                    <a:pt x="3746" y="1994"/>
                  </a:lnTo>
                  <a:lnTo>
                    <a:pt x="3746" y="1994"/>
                  </a:lnTo>
                  <a:lnTo>
                    <a:pt x="3746" y="1994"/>
                  </a:lnTo>
                  <a:lnTo>
                    <a:pt x="3746" y="1994"/>
                  </a:lnTo>
                  <a:lnTo>
                    <a:pt x="3748" y="1994"/>
                  </a:lnTo>
                  <a:lnTo>
                    <a:pt x="3746" y="1991"/>
                  </a:lnTo>
                  <a:lnTo>
                    <a:pt x="3746" y="1991"/>
                  </a:lnTo>
                  <a:lnTo>
                    <a:pt x="3746" y="1991"/>
                  </a:lnTo>
                  <a:lnTo>
                    <a:pt x="3746" y="1991"/>
                  </a:lnTo>
                  <a:lnTo>
                    <a:pt x="3746" y="1991"/>
                  </a:lnTo>
                  <a:lnTo>
                    <a:pt x="3748" y="1989"/>
                  </a:lnTo>
                  <a:lnTo>
                    <a:pt x="3748" y="1989"/>
                  </a:lnTo>
                  <a:lnTo>
                    <a:pt x="3748" y="1989"/>
                  </a:lnTo>
                  <a:lnTo>
                    <a:pt x="3748" y="1989"/>
                  </a:lnTo>
                  <a:lnTo>
                    <a:pt x="3751" y="1989"/>
                  </a:lnTo>
                  <a:lnTo>
                    <a:pt x="3751" y="1989"/>
                  </a:lnTo>
                  <a:lnTo>
                    <a:pt x="3751" y="1989"/>
                  </a:lnTo>
                  <a:lnTo>
                    <a:pt x="3751" y="1989"/>
                  </a:lnTo>
                  <a:lnTo>
                    <a:pt x="3751" y="1991"/>
                  </a:lnTo>
                  <a:lnTo>
                    <a:pt x="3751" y="1991"/>
                  </a:lnTo>
                  <a:lnTo>
                    <a:pt x="3748" y="1994"/>
                  </a:lnTo>
                  <a:lnTo>
                    <a:pt x="3746" y="1994"/>
                  </a:lnTo>
                  <a:lnTo>
                    <a:pt x="3746" y="1996"/>
                  </a:lnTo>
                  <a:lnTo>
                    <a:pt x="3746" y="1994"/>
                  </a:lnTo>
                  <a:lnTo>
                    <a:pt x="3751" y="1991"/>
                  </a:lnTo>
                  <a:lnTo>
                    <a:pt x="3751" y="1991"/>
                  </a:lnTo>
                  <a:lnTo>
                    <a:pt x="3753" y="1991"/>
                  </a:lnTo>
                  <a:lnTo>
                    <a:pt x="3753" y="1991"/>
                  </a:lnTo>
                  <a:lnTo>
                    <a:pt x="3758" y="1989"/>
                  </a:lnTo>
                  <a:lnTo>
                    <a:pt x="3758" y="1989"/>
                  </a:lnTo>
                  <a:lnTo>
                    <a:pt x="3758" y="1989"/>
                  </a:lnTo>
                  <a:lnTo>
                    <a:pt x="3753" y="1991"/>
                  </a:lnTo>
                  <a:lnTo>
                    <a:pt x="3753" y="1989"/>
                  </a:lnTo>
                  <a:lnTo>
                    <a:pt x="3753" y="1989"/>
                  </a:lnTo>
                  <a:lnTo>
                    <a:pt x="3756" y="1989"/>
                  </a:lnTo>
                  <a:lnTo>
                    <a:pt x="3756" y="1989"/>
                  </a:lnTo>
                  <a:lnTo>
                    <a:pt x="3756" y="1989"/>
                  </a:lnTo>
                  <a:lnTo>
                    <a:pt x="3756" y="1989"/>
                  </a:lnTo>
                  <a:lnTo>
                    <a:pt x="3756" y="1989"/>
                  </a:lnTo>
                  <a:lnTo>
                    <a:pt x="3756" y="1989"/>
                  </a:lnTo>
                  <a:lnTo>
                    <a:pt x="3758" y="1989"/>
                  </a:lnTo>
                  <a:lnTo>
                    <a:pt x="3758" y="1987"/>
                  </a:lnTo>
                  <a:lnTo>
                    <a:pt x="3760" y="1987"/>
                  </a:lnTo>
                  <a:lnTo>
                    <a:pt x="3765" y="1984"/>
                  </a:lnTo>
                  <a:lnTo>
                    <a:pt x="3765" y="1984"/>
                  </a:lnTo>
                  <a:lnTo>
                    <a:pt x="3767" y="1982"/>
                  </a:lnTo>
                  <a:lnTo>
                    <a:pt x="3770" y="1982"/>
                  </a:lnTo>
                  <a:lnTo>
                    <a:pt x="3770" y="1982"/>
                  </a:lnTo>
                  <a:lnTo>
                    <a:pt x="3770" y="1982"/>
                  </a:lnTo>
                  <a:lnTo>
                    <a:pt x="3770" y="1980"/>
                  </a:lnTo>
                  <a:lnTo>
                    <a:pt x="3772" y="1980"/>
                  </a:lnTo>
                  <a:lnTo>
                    <a:pt x="3772" y="1980"/>
                  </a:lnTo>
                  <a:lnTo>
                    <a:pt x="3774" y="1980"/>
                  </a:lnTo>
                  <a:lnTo>
                    <a:pt x="3774" y="1980"/>
                  </a:lnTo>
                  <a:lnTo>
                    <a:pt x="3774" y="1980"/>
                  </a:lnTo>
                  <a:lnTo>
                    <a:pt x="3774" y="1980"/>
                  </a:lnTo>
                  <a:lnTo>
                    <a:pt x="3774" y="1980"/>
                  </a:lnTo>
                  <a:lnTo>
                    <a:pt x="3774" y="1980"/>
                  </a:lnTo>
                  <a:lnTo>
                    <a:pt x="3774" y="1980"/>
                  </a:lnTo>
                  <a:lnTo>
                    <a:pt x="3777" y="1980"/>
                  </a:lnTo>
                  <a:lnTo>
                    <a:pt x="3777" y="1977"/>
                  </a:lnTo>
                  <a:lnTo>
                    <a:pt x="3777" y="1977"/>
                  </a:lnTo>
                  <a:lnTo>
                    <a:pt x="3779" y="1977"/>
                  </a:lnTo>
                  <a:lnTo>
                    <a:pt x="3779" y="1977"/>
                  </a:lnTo>
                  <a:lnTo>
                    <a:pt x="3782" y="1977"/>
                  </a:lnTo>
                  <a:lnTo>
                    <a:pt x="3782" y="1975"/>
                  </a:lnTo>
                  <a:lnTo>
                    <a:pt x="3782" y="1975"/>
                  </a:lnTo>
                  <a:lnTo>
                    <a:pt x="3784" y="1975"/>
                  </a:lnTo>
                  <a:lnTo>
                    <a:pt x="3784" y="1975"/>
                  </a:lnTo>
                  <a:lnTo>
                    <a:pt x="3784" y="1975"/>
                  </a:lnTo>
                  <a:lnTo>
                    <a:pt x="3784" y="1975"/>
                  </a:lnTo>
                  <a:lnTo>
                    <a:pt x="3786" y="1975"/>
                  </a:lnTo>
                  <a:lnTo>
                    <a:pt x="3786" y="1972"/>
                  </a:lnTo>
                  <a:lnTo>
                    <a:pt x="3784" y="1972"/>
                  </a:lnTo>
                  <a:lnTo>
                    <a:pt x="3786" y="1972"/>
                  </a:lnTo>
                  <a:lnTo>
                    <a:pt x="3786" y="1972"/>
                  </a:lnTo>
                  <a:lnTo>
                    <a:pt x="3789" y="1972"/>
                  </a:lnTo>
                  <a:lnTo>
                    <a:pt x="3789" y="1970"/>
                  </a:lnTo>
                  <a:lnTo>
                    <a:pt x="3789" y="1970"/>
                  </a:lnTo>
                  <a:lnTo>
                    <a:pt x="3791" y="1970"/>
                  </a:lnTo>
                  <a:lnTo>
                    <a:pt x="3791" y="1970"/>
                  </a:lnTo>
                  <a:lnTo>
                    <a:pt x="3791" y="1970"/>
                  </a:lnTo>
                  <a:lnTo>
                    <a:pt x="3791" y="1972"/>
                  </a:lnTo>
                  <a:lnTo>
                    <a:pt x="3789" y="1972"/>
                  </a:lnTo>
                  <a:lnTo>
                    <a:pt x="3789" y="1972"/>
                  </a:lnTo>
                  <a:lnTo>
                    <a:pt x="3789" y="1972"/>
                  </a:lnTo>
                  <a:lnTo>
                    <a:pt x="3789" y="1972"/>
                  </a:lnTo>
                  <a:lnTo>
                    <a:pt x="3789" y="1972"/>
                  </a:lnTo>
                  <a:lnTo>
                    <a:pt x="3789" y="1972"/>
                  </a:lnTo>
                  <a:lnTo>
                    <a:pt x="3793" y="1970"/>
                  </a:lnTo>
                  <a:lnTo>
                    <a:pt x="3796" y="1968"/>
                  </a:lnTo>
                  <a:lnTo>
                    <a:pt x="3796" y="1968"/>
                  </a:lnTo>
                  <a:lnTo>
                    <a:pt x="3796" y="1968"/>
                  </a:lnTo>
                  <a:lnTo>
                    <a:pt x="3796" y="1965"/>
                  </a:lnTo>
                  <a:lnTo>
                    <a:pt x="3796" y="1965"/>
                  </a:lnTo>
                  <a:lnTo>
                    <a:pt x="3796" y="1965"/>
                  </a:lnTo>
                  <a:lnTo>
                    <a:pt x="3796" y="1965"/>
                  </a:lnTo>
                  <a:lnTo>
                    <a:pt x="3796" y="1965"/>
                  </a:lnTo>
                  <a:lnTo>
                    <a:pt x="3798" y="1965"/>
                  </a:lnTo>
                  <a:lnTo>
                    <a:pt x="3798" y="1965"/>
                  </a:lnTo>
                  <a:lnTo>
                    <a:pt x="3798" y="1965"/>
                  </a:lnTo>
                  <a:lnTo>
                    <a:pt x="3798" y="1965"/>
                  </a:lnTo>
                  <a:lnTo>
                    <a:pt x="3798" y="1965"/>
                  </a:lnTo>
                  <a:lnTo>
                    <a:pt x="3800" y="1965"/>
                  </a:lnTo>
                  <a:lnTo>
                    <a:pt x="3800" y="1963"/>
                  </a:lnTo>
                  <a:lnTo>
                    <a:pt x="3803" y="1963"/>
                  </a:lnTo>
                  <a:lnTo>
                    <a:pt x="3805" y="1961"/>
                  </a:lnTo>
                  <a:lnTo>
                    <a:pt x="3808" y="1958"/>
                  </a:lnTo>
                  <a:lnTo>
                    <a:pt x="3810" y="1956"/>
                  </a:lnTo>
                  <a:lnTo>
                    <a:pt x="3812" y="1954"/>
                  </a:lnTo>
                  <a:lnTo>
                    <a:pt x="3815" y="1951"/>
                  </a:lnTo>
                  <a:lnTo>
                    <a:pt x="3817" y="1951"/>
                  </a:lnTo>
                  <a:lnTo>
                    <a:pt x="3817" y="1949"/>
                  </a:lnTo>
                  <a:lnTo>
                    <a:pt x="3817" y="1949"/>
                  </a:lnTo>
                  <a:lnTo>
                    <a:pt x="3817" y="1949"/>
                  </a:lnTo>
                  <a:lnTo>
                    <a:pt x="3817" y="1949"/>
                  </a:lnTo>
                  <a:close/>
                  <a:moveTo>
                    <a:pt x="3748" y="2036"/>
                  </a:moveTo>
                  <a:lnTo>
                    <a:pt x="3748" y="2036"/>
                  </a:lnTo>
                  <a:lnTo>
                    <a:pt x="3748" y="2039"/>
                  </a:lnTo>
                  <a:lnTo>
                    <a:pt x="3748" y="2041"/>
                  </a:lnTo>
                  <a:lnTo>
                    <a:pt x="3746" y="2046"/>
                  </a:lnTo>
                  <a:lnTo>
                    <a:pt x="3746" y="2048"/>
                  </a:lnTo>
                  <a:lnTo>
                    <a:pt x="3746" y="2048"/>
                  </a:lnTo>
                  <a:lnTo>
                    <a:pt x="3746" y="2048"/>
                  </a:lnTo>
                  <a:lnTo>
                    <a:pt x="3746" y="2048"/>
                  </a:lnTo>
                  <a:lnTo>
                    <a:pt x="3746" y="2048"/>
                  </a:lnTo>
                  <a:lnTo>
                    <a:pt x="3748" y="2043"/>
                  </a:lnTo>
                  <a:lnTo>
                    <a:pt x="3748" y="2041"/>
                  </a:lnTo>
                  <a:lnTo>
                    <a:pt x="3748" y="2039"/>
                  </a:lnTo>
                  <a:lnTo>
                    <a:pt x="3748" y="2036"/>
                  </a:lnTo>
                  <a:lnTo>
                    <a:pt x="3748" y="2036"/>
                  </a:lnTo>
                  <a:lnTo>
                    <a:pt x="3748" y="2036"/>
                  </a:lnTo>
                  <a:close/>
                  <a:moveTo>
                    <a:pt x="3881" y="1757"/>
                  </a:moveTo>
                  <a:lnTo>
                    <a:pt x="3883" y="1757"/>
                  </a:lnTo>
                  <a:lnTo>
                    <a:pt x="3883" y="1755"/>
                  </a:lnTo>
                  <a:lnTo>
                    <a:pt x="3883" y="1755"/>
                  </a:lnTo>
                  <a:lnTo>
                    <a:pt x="3883" y="1755"/>
                  </a:lnTo>
                  <a:lnTo>
                    <a:pt x="3881" y="1755"/>
                  </a:lnTo>
                  <a:lnTo>
                    <a:pt x="3881" y="1755"/>
                  </a:lnTo>
                  <a:lnTo>
                    <a:pt x="3881" y="1755"/>
                  </a:lnTo>
                  <a:lnTo>
                    <a:pt x="3881" y="1757"/>
                  </a:lnTo>
                  <a:lnTo>
                    <a:pt x="3881" y="1757"/>
                  </a:lnTo>
                  <a:lnTo>
                    <a:pt x="3881" y="1757"/>
                  </a:lnTo>
                  <a:close/>
                  <a:moveTo>
                    <a:pt x="3786" y="1972"/>
                  </a:moveTo>
                  <a:lnTo>
                    <a:pt x="3786" y="1975"/>
                  </a:lnTo>
                  <a:lnTo>
                    <a:pt x="3784" y="1977"/>
                  </a:lnTo>
                  <a:lnTo>
                    <a:pt x="3782" y="1977"/>
                  </a:lnTo>
                  <a:lnTo>
                    <a:pt x="3782" y="1977"/>
                  </a:lnTo>
                  <a:lnTo>
                    <a:pt x="3779" y="1980"/>
                  </a:lnTo>
                  <a:lnTo>
                    <a:pt x="3779" y="1980"/>
                  </a:lnTo>
                  <a:lnTo>
                    <a:pt x="3777" y="1982"/>
                  </a:lnTo>
                  <a:lnTo>
                    <a:pt x="3774" y="1982"/>
                  </a:lnTo>
                  <a:lnTo>
                    <a:pt x="3772" y="1984"/>
                  </a:lnTo>
                  <a:lnTo>
                    <a:pt x="3770" y="1984"/>
                  </a:lnTo>
                  <a:lnTo>
                    <a:pt x="3770" y="1984"/>
                  </a:lnTo>
                  <a:lnTo>
                    <a:pt x="3770" y="1987"/>
                  </a:lnTo>
                  <a:lnTo>
                    <a:pt x="3772" y="1984"/>
                  </a:lnTo>
                  <a:lnTo>
                    <a:pt x="3774" y="1982"/>
                  </a:lnTo>
                  <a:lnTo>
                    <a:pt x="3779" y="1980"/>
                  </a:lnTo>
                  <a:lnTo>
                    <a:pt x="3779" y="1980"/>
                  </a:lnTo>
                  <a:lnTo>
                    <a:pt x="3782" y="1977"/>
                  </a:lnTo>
                  <a:lnTo>
                    <a:pt x="3786" y="1975"/>
                  </a:lnTo>
                  <a:lnTo>
                    <a:pt x="3786" y="1975"/>
                  </a:lnTo>
                  <a:lnTo>
                    <a:pt x="3789" y="1972"/>
                  </a:lnTo>
                  <a:lnTo>
                    <a:pt x="3789" y="1972"/>
                  </a:lnTo>
                  <a:lnTo>
                    <a:pt x="3786" y="1972"/>
                  </a:lnTo>
                  <a:close/>
                  <a:moveTo>
                    <a:pt x="3770" y="1984"/>
                  </a:moveTo>
                  <a:lnTo>
                    <a:pt x="3770" y="1984"/>
                  </a:lnTo>
                  <a:lnTo>
                    <a:pt x="3767" y="1984"/>
                  </a:lnTo>
                  <a:lnTo>
                    <a:pt x="3767" y="1984"/>
                  </a:lnTo>
                  <a:lnTo>
                    <a:pt x="3767" y="1984"/>
                  </a:lnTo>
                  <a:lnTo>
                    <a:pt x="3765" y="1987"/>
                  </a:lnTo>
                  <a:lnTo>
                    <a:pt x="3765" y="1987"/>
                  </a:lnTo>
                  <a:lnTo>
                    <a:pt x="3763" y="1987"/>
                  </a:lnTo>
                  <a:lnTo>
                    <a:pt x="3760" y="1989"/>
                  </a:lnTo>
                  <a:lnTo>
                    <a:pt x="3760" y="1991"/>
                  </a:lnTo>
                  <a:lnTo>
                    <a:pt x="3765" y="1987"/>
                  </a:lnTo>
                  <a:lnTo>
                    <a:pt x="3767" y="1984"/>
                  </a:lnTo>
                  <a:lnTo>
                    <a:pt x="3770" y="1984"/>
                  </a:lnTo>
                  <a:lnTo>
                    <a:pt x="3770" y="1984"/>
                  </a:lnTo>
                  <a:close/>
                  <a:moveTo>
                    <a:pt x="3611" y="2412"/>
                  </a:moveTo>
                  <a:lnTo>
                    <a:pt x="3611" y="2412"/>
                  </a:lnTo>
                  <a:lnTo>
                    <a:pt x="3609" y="2412"/>
                  </a:lnTo>
                  <a:lnTo>
                    <a:pt x="3609" y="2415"/>
                  </a:lnTo>
                  <a:lnTo>
                    <a:pt x="3609" y="2415"/>
                  </a:lnTo>
                  <a:lnTo>
                    <a:pt x="3609" y="2415"/>
                  </a:lnTo>
                  <a:lnTo>
                    <a:pt x="3609" y="2417"/>
                  </a:lnTo>
                  <a:lnTo>
                    <a:pt x="3609" y="2417"/>
                  </a:lnTo>
                  <a:lnTo>
                    <a:pt x="3611" y="2415"/>
                  </a:lnTo>
                  <a:lnTo>
                    <a:pt x="3609" y="2412"/>
                  </a:lnTo>
                  <a:lnTo>
                    <a:pt x="3611" y="2412"/>
                  </a:lnTo>
                  <a:lnTo>
                    <a:pt x="3611" y="2412"/>
                  </a:lnTo>
                  <a:close/>
                  <a:moveTo>
                    <a:pt x="3867" y="1918"/>
                  </a:moveTo>
                  <a:lnTo>
                    <a:pt x="3867" y="1918"/>
                  </a:lnTo>
                  <a:lnTo>
                    <a:pt x="3864" y="1918"/>
                  </a:lnTo>
                  <a:lnTo>
                    <a:pt x="3864" y="1918"/>
                  </a:lnTo>
                  <a:lnTo>
                    <a:pt x="3864" y="1920"/>
                  </a:lnTo>
                  <a:lnTo>
                    <a:pt x="3864" y="1920"/>
                  </a:lnTo>
                  <a:lnTo>
                    <a:pt x="3867" y="1920"/>
                  </a:lnTo>
                  <a:lnTo>
                    <a:pt x="3867" y="1920"/>
                  </a:lnTo>
                  <a:lnTo>
                    <a:pt x="3867" y="1920"/>
                  </a:lnTo>
                  <a:lnTo>
                    <a:pt x="3867" y="1920"/>
                  </a:lnTo>
                  <a:lnTo>
                    <a:pt x="3867" y="1920"/>
                  </a:lnTo>
                  <a:lnTo>
                    <a:pt x="3867" y="1918"/>
                  </a:lnTo>
                  <a:close/>
                  <a:moveTo>
                    <a:pt x="3886" y="1918"/>
                  </a:moveTo>
                  <a:lnTo>
                    <a:pt x="3883" y="1918"/>
                  </a:lnTo>
                  <a:lnTo>
                    <a:pt x="3883" y="1916"/>
                  </a:lnTo>
                  <a:lnTo>
                    <a:pt x="3883" y="1916"/>
                  </a:lnTo>
                  <a:lnTo>
                    <a:pt x="3881" y="1916"/>
                  </a:lnTo>
                  <a:lnTo>
                    <a:pt x="3881" y="1916"/>
                  </a:lnTo>
                  <a:lnTo>
                    <a:pt x="3881" y="1916"/>
                  </a:lnTo>
                  <a:lnTo>
                    <a:pt x="3881" y="1916"/>
                  </a:lnTo>
                  <a:lnTo>
                    <a:pt x="3883" y="1918"/>
                  </a:lnTo>
                  <a:lnTo>
                    <a:pt x="3881" y="1920"/>
                  </a:lnTo>
                  <a:lnTo>
                    <a:pt x="3881" y="1918"/>
                  </a:lnTo>
                  <a:lnTo>
                    <a:pt x="3883" y="1918"/>
                  </a:lnTo>
                  <a:lnTo>
                    <a:pt x="3883" y="1918"/>
                  </a:lnTo>
                  <a:lnTo>
                    <a:pt x="3883" y="1918"/>
                  </a:lnTo>
                  <a:lnTo>
                    <a:pt x="3883" y="1918"/>
                  </a:lnTo>
                  <a:lnTo>
                    <a:pt x="3883" y="1920"/>
                  </a:lnTo>
                  <a:lnTo>
                    <a:pt x="3881" y="1920"/>
                  </a:lnTo>
                  <a:lnTo>
                    <a:pt x="3881" y="1920"/>
                  </a:lnTo>
                  <a:lnTo>
                    <a:pt x="3881" y="1920"/>
                  </a:lnTo>
                  <a:lnTo>
                    <a:pt x="3881" y="1920"/>
                  </a:lnTo>
                  <a:lnTo>
                    <a:pt x="3881" y="1920"/>
                  </a:lnTo>
                  <a:lnTo>
                    <a:pt x="3881" y="1920"/>
                  </a:lnTo>
                  <a:lnTo>
                    <a:pt x="3879" y="1920"/>
                  </a:lnTo>
                  <a:lnTo>
                    <a:pt x="3876" y="1923"/>
                  </a:lnTo>
                  <a:lnTo>
                    <a:pt x="3876" y="1923"/>
                  </a:lnTo>
                  <a:lnTo>
                    <a:pt x="3874" y="1920"/>
                  </a:lnTo>
                  <a:lnTo>
                    <a:pt x="3874" y="1920"/>
                  </a:lnTo>
                  <a:lnTo>
                    <a:pt x="3874" y="1923"/>
                  </a:lnTo>
                  <a:lnTo>
                    <a:pt x="3874" y="1923"/>
                  </a:lnTo>
                  <a:lnTo>
                    <a:pt x="3876" y="1923"/>
                  </a:lnTo>
                  <a:lnTo>
                    <a:pt x="3881" y="1923"/>
                  </a:lnTo>
                  <a:lnTo>
                    <a:pt x="3881" y="1923"/>
                  </a:lnTo>
                  <a:lnTo>
                    <a:pt x="3883" y="1923"/>
                  </a:lnTo>
                  <a:lnTo>
                    <a:pt x="3886" y="1923"/>
                  </a:lnTo>
                  <a:lnTo>
                    <a:pt x="3886" y="1920"/>
                  </a:lnTo>
                  <a:lnTo>
                    <a:pt x="3886" y="1920"/>
                  </a:lnTo>
                  <a:lnTo>
                    <a:pt x="3886" y="1918"/>
                  </a:lnTo>
                  <a:close/>
                  <a:moveTo>
                    <a:pt x="3881" y="1760"/>
                  </a:moveTo>
                  <a:lnTo>
                    <a:pt x="3881" y="1760"/>
                  </a:lnTo>
                  <a:lnTo>
                    <a:pt x="3881" y="1760"/>
                  </a:lnTo>
                  <a:lnTo>
                    <a:pt x="3881" y="1762"/>
                  </a:lnTo>
                  <a:lnTo>
                    <a:pt x="3881" y="1762"/>
                  </a:lnTo>
                  <a:lnTo>
                    <a:pt x="3883" y="1762"/>
                  </a:lnTo>
                  <a:lnTo>
                    <a:pt x="3883" y="1760"/>
                  </a:lnTo>
                  <a:lnTo>
                    <a:pt x="3883" y="1760"/>
                  </a:lnTo>
                  <a:lnTo>
                    <a:pt x="3883" y="1757"/>
                  </a:lnTo>
                  <a:lnTo>
                    <a:pt x="3881" y="1760"/>
                  </a:lnTo>
                  <a:lnTo>
                    <a:pt x="3881" y="1760"/>
                  </a:lnTo>
                  <a:lnTo>
                    <a:pt x="3881" y="1760"/>
                  </a:lnTo>
                  <a:close/>
                  <a:moveTo>
                    <a:pt x="3862" y="1920"/>
                  </a:moveTo>
                  <a:lnTo>
                    <a:pt x="3862" y="1918"/>
                  </a:lnTo>
                  <a:lnTo>
                    <a:pt x="3862" y="1918"/>
                  </a:lnTo>
                  <a:lnTo>
                    <a:pt x="3862" y="1918"/>
                  </a:lnTo>
                  <a:lnTo>
                    <a:pt x="3862" y="1918"/>
                  </a:lnTo>
                  <a:lnTo>
                    <a:pt x="3862" y="1918"/>
                  </a:lnTo>
                  <a:lnTo>
                    <a:pt x="3862" y="1916"/>
                  </a:lnTo>
                  <a:lnTo>
                    <a:pt x="3860" y="1916"/>
                  </a:lnTo>
                  <a:lnTo>
                    <a:pt x="3860" y="1918"/>
                  </a:lnTo>
                  <a:lnTo>
                    <a:pt x="3860" y="1918"/>
                  </a:lnTo>
                  <a:lnTo>
                    <a:pt x="3860" y="1918"/>
                  </a:lnTo>
                  <a:lnTo>
                    <a:pt x="3860" y="1916"/>
                  </a:lnTo>
                  <a:lnTo>
                    <a:pt x="3860" y="1916"/>
                  </a:lnTo>
                  <a:lnTo>
                    <a:pt x="3857" y="1918"/>
                  </a:lnTo>
                  <a:lnTo>
                    <a:pt x="3857" y="1920"/>
                  </a:lnTo>
                  <a:lnTo>
                    <a:pt x="3857" y="1920"/>
                  </a:lnTo>
                  <a:lnTo>
                    <a:pt x="3857" y="1920"/>
                  </a:lnTo>
                  <a:lnTo>
                    <a:pt x="3855" y="1923"/>
                  </a:lnTo>
                  <a:lnTo>
                    <a:pt x="3855" y="1923"/>
                  </a:lnTo>
                  <a:lnTo>
                    <a:pt x="3855" y="1925"/>
                  </a:lnTo>
                  <a:lnTo>
                    <a:pt x="3853" y="1925"/>
                  </a:lnTo>
                  <a:lnTo>
                    <a:pt x="3853" y="1925"/>
                  </a:lnTo>
                  <a:lnTo>
                    <a:pt x="3853" y="1925"/>
                  </a:lnTo>
                  <a:lnTo>
                    <a:pt x="3855" y="1928"/>
                  </a:lnTo>
                  <a:lnTo>
                    <a:pt x="3855" y="1928"/>
                  </a:lnTo>
                  <a:lnTo>
                    <a:pt x="3855" y="1928"/>
                  </a:lnTo>
                  <a:lnTo>
                    <a:pt x="3855" y="1928"/>
                  </a:lnTo>
                  <a:lnTo>
                    <a:pt x="3857" y="1925"/>
                  </a:lnTo>
                  <a:lnTo>
                    <a:pt x="3857" y="1925"/>
                  </a:lnTo>
                  <a:lnTo>
                    <a:pt x="3857" y="1923"/>
                  </a:lnTo>
                  <a:lnTo>
                    <a:pt x="3860" y="1923"/>
                  </a:lnTo>
                  <a:lnTo>
                    <a:pt x="3864" y="1923"/>
                  </a:lnTo>
                  <a:lnTo>
                    <a:pt x="3864" y="1920"/>
                  </a:lnTo>
                  <a:lnTo>
                    <a:pt x="3864" y="1918"/>
                  </a:lnTo>
                  <a:lnTo>
                    <a:pt x="3862" y="1920"/>
                  </a:lnTo>
                  <a:close/>
                  <a:moveTo>
                    <a:pt x="3881" y="1906"/>
                  </a:moveTo>
                  <a:lnTo>
                    <a:pt x="3881" y="1904"/>
                  </a:lnTo>
                  <a:lnTo>
                    <a:pt x="3881" y="1901"/>
                  </a:lnTo>
                  <a:lnTo>
                    <a:pt x="3881" y="1901"/>
                  </a:lnTo>
                  <a:lnTo>
                    <a:pt x="3881" y="1901"/>
                  </a:lnTo>
                  <a:lnTo>
                    <a:pt x="3881" y="1901"/>
                  </a:lnTo>
                  <a:lnTo>
                    <a:pt x="3881" y="1901"/>
                  </a:lnTo>
                  <a:lnTo>
                    <a:pt x="3881" y="1904"/>
                  </a:lnTo>
                  <a:lnTo>
                    <a:pt x="3881" y="1906"/>
                  </a:lnTo>
                  <a:lnTo>
                    <a:pt x="3881" y="1906"/>
                  </a:lnTo>
                  <a:close/>
                  <a:moveTo>
                    <a:pt x="3831" y="1918"/>
                  </a:moveTo>
                  <a:lnTo>
                    <a:pt x="3831" y="1916"/>
                  </a:lnTo>
                  <a:lnTo>
                    <a:pt x="3831" y="1916"/>
                  </a:lnTo>
                  <a:lnTo>
                    <a:pt x="3831" y="1916"/>
                  </a:lnTo>
                  <a:lnTo>
                    <a:pt x="3829" y="1916"/>
                  </a:lnTo>
                  <a:lnTo>
                    <a:pt x="3829" y="1916"/>
                  </a:lnTo>
                  <a:lnTo>
                    <a:pt x="3829" y="1916"/>
                  </a:lnTo>
                  <a:lnTo>
                    <a:pt x="3829" y="1916"/>
                  </a:lnTo>
                  <a:lnTo>
                    <a:pt x="3829" y="1916"/>
                  </a:lnTo>
                  <a:lnTo>
                    <a:pt x="3831" y="1916"/>
                  </a:lnTo>
                  <a:lnTo>
                    <a:pt x="3831" y="1918"/>
                  </a:lnTo>
                  <a:lnTo>
                    <a:pt x="3831" y="1918"/>
                  </a:lnTo>
                  <a:lnTo>
                    <a:pt x="3831" y="1918"/>
                  </a:lnTo>
                  <a:lnTo>
                    <a:pt x="3831" y="1918"/>
                  </a:lnTo>
                  <a:lnTo>
                    <a:pt x="3831" y="1918"/>
                  </a:lnTo>
                  <a:lnTo>
                    <a:pt x="3831" y="1918"/>
                  </a:lnTo>
                  <a:close/>
                  <a:moveTo>
                    <a:pt x="3855" y="1930"/>
                  </a:moveTo>
                  <a:lnTo>
                    <a:pt x="3855" y="1930"/>
                  </a:lnTo>
                  <a:lnTo>
                    <a:pt x="3855" y="1930"/>
                  </a:lnTo>
                  <a:lnTo>
                    <a:pt x="3855" y="1930"/>
                  </a:lnTo>
                  <a:lnTo>
                    <a:pt x="3855" y="1930"/>
                  </a:lnTo>
                  <a:lnTo>
                    <a:pt x="3855" y="1930"/>
                  </a:lnTo>
                  <a:lnTo>
                    <a:pt x="3855" y="1930"/>
                  </a:lnTo>
                  <a:lnTo>
                    <a:pt x="3855" y="1930"/>
                  </a:lnTo>
                  <a:lnTo>
                    <a:pt x="3855" y="1930"/>
                  </a:lnTo>
                  <a:lnTo>
                    <a:pt x="3855" y="1930"/>
                  </a:lnTo>
                  <a:close/>
                  <a:moveTo>
                    <a:pt x="3850" y="1920"/>
                  </a:moveTo>
                  <a:lnTo>
                    <a:pt x="3850" y="1920"/>
                  </a:lnTo>
                  <a:lnTo>
                    <a:pt x="3850" y="1923"/>
                  </a:lnTo>
                  <a:lnTo>
                    <a:pt x="3848" y="1923"/>
                  </a:lnTo>
                  <a:lnTo>
                    <a:pt x="3848" y="1923"/>
                  </a:lnTo>
                  <a:lnTo>
                    <a:pt x="3848" y="1923"/>
                  </a:lnTo>
                  <a:lnTo>
                    <a:pt x="3848" y="1923"/>
                  </a:lnTo>
                  <a:lnTo>
                    <a:pt x="3848" y="1923"/>
                  </a:lnTo>
                  <a:lnTo>
                    <a:pt x="3848" y="1923"/>
                  </a:lnTo>
                  <a:lnTo>
                    <a:pt x="3848" y="1923"/>
                  </a:lnTo>
                  <a:lnTo>
                    <a:pt x="3850" y="1923"/>
                  </a:lnTo>
                  <a:lnTo>
                    <a:pt x="3850" y="1923"/>
                  </a:lnTo>
                  <a:lnTo>
                    <a:pt x="3850" y="1923"/>
                  </a:lnTo>
                  <a:lnTo>
                    <a:pt x="3850" y="1920"/>
                  </a:lnTo>
                  <a:lnTo>
                    <a:pt x="3850" y="1920"/>
                  </a:lnTo>
                  <a:lnTo>
                    <a:pt x="3850" y="1920"/>
                  </a:lnTo>
                  <a:close/>
                  <a:moveTo>
                    <a:pt x="3836" y="1920"/>
                  </a:moveTo>
                  <a:lnTo>
                    <a:pt x="3836" y="1920"/>
                  </a:lnTo>
                  <a:lnTo>
                    <a:pt x="3836" y="1920"/>
                  </a:lnTo>
                  <a:lnTo>
                    <a:pt x="3834" y="1916"/>
                  </a:lnTo>
                  <a:lnTo>
                    <a:pt x="3834" y="1916"/>
                  </a:lnTo>
                  <a:lnTo>
                    <a:pt x="3834" y="1913"/>
                  </a:lnTo>
                  <a:lnTo>
                    <a:pt x="3834" y="1913"/>
                  </a:lnTo>
                  <a:lnTo>
                    <a:pt x="3834" y="1916"/>
                  </a:lnTo>
                  <a:lnTo>
                    <a:pt x="3834" y="1916"/>
                  </a:lnTo>
                  <a:lnTo>
                    <a:pt x="3834" y="1916"/>
                  </a:lnTo>
                  <a:lnTo>
                    <a:pt x="3834" y="1918"/>
                  </a:lnTo>
                  <a:lnTo>
                    <a:pt x="3834" y="1918"/>
                  </a:lnTo>
                  <a:lnTo>
                    <a:pt x="3834" y="1918"/>
                  </a:lnTo>
                  <a:lnTo>
                    <a:pt x="3831" y="1918"/>
                  </a:lnTo>
                  <a:lnTo>
                    <a:pt x="3831" y="1920"/>
                  </a:lnTo>
                  <a:lnTo>
                    <a:pt x="3831" y="1920"/>
                  </a:lnTo>
                  <a:lnTo>
                    <a:pt x="3831" y="1920"/>
                  </a:lnTo>
                  <a:lnTo>
                    <a:pt x="3831" y="1920"/>
                  </a:lnTo>
                  <a:lnTo>
                    <a:pt x="3831" y="1920"/>
                  </a:lnTo>
                  <a:lnTo>
                    <a:pt x="3831" y="1923"/>
                  </a:lnTo>
                  <a:lnTo>
                    <a:pt x="3831" y="1923"/>
                  </a:lnTo>
                  <a:lnTo>
                    <a:pt x="3834" y="1923"/>
                  </a:lnTo>
                  <a:lnTo>
                    <a:pt x="3834" y="1923"/>
                  </a:lnTo>
                  <a:lnTo>
                    <a:pt x="3831" y="1925"/>
                  </a:lnTo>
                  <a:lnTo>
                    <a:pt x="3831" y="1925"/>
                  </a:lnTo>
                  <a:lnTo>
                    <a:pt x="3831" y="1925"/>
                  </a:lnTo>
                  <a:lnTo>
                    <a:pt x="3831" y="1925"/>
                  </a:lnTo>
                  <a:lnTo>
                    <a:pt x="3834" y="1925"/>
                  </a:lnTo>
                  <a:lnTo>
                    <a:pt x="3834" y="1925"/>
                  </a:lnTo>
                  <a:lnTo>
                    <a:pt x="3834" y="1925"/>
                  </a:lnTo>
                  <a:lnTo>
                    <a:pt x="3834" y="1923"/>
                  </a:lnTo>
                  <a:lnTo>
                    <a:pt x="3834" y="1923"/>
                  </a:lnTo>
                  <a:lnTo>
                    <a:pt x="3836" y="1923"/>
                  </a:lnTo>
                  <a:lnTo>
                    <a:pt x="3836" y="1923"/>
                  </a:lnTo>
                  <a:lnTo>
                    <a:pt x="3836" y="1920"/>
                  </a:lnTo>
                  <a:close/>
                  <a:moveTo>
                    <a:pt x="3853" y="1920"/>
                  </a:moveTo>
                  <a:lnTo>
                    <a:pt x="3853" y="1920"/>
                  </a:lnTo>
                  <a:lnTo>
                    <a:pt x="3855" y="1918"/>
                  </a:lnTo>
                  <a:lnTo>
                    <a:pt x="3855" y="1918"/>
                  </a:lnTo>
                  <a:lnTo>
                    <a:pt x="3855" y="1918"/>
                  </a:lnTo>
                  <a:lnTo>
                    <a:pt x="3855" y="1918"/>
                  </a:lnTo>
                  <a:lnTo>
                    <a:pt x="3855" y="1916"/>
                  </a:lnTo>
                  <a:lnTo>
                    <a:pt x="3857" y="1916"/>
                  </a:lnTo>
                  <a:lnTo>
                    <a:pt x="3855" y="1916"/>
                  </a:lnTo>
                  <a:lnTo>
                    <a:pt x="3855" y="1916"/>
                  </a:lnTo>
                  <a:lnTo>
                    <a:pt x="3855" y="1916"/>
                  </a:lnTo>
                  <a:lnTo>
                    <a:pt x="3855" y="1918"/>
                  </a:lnTo>
                  <a:lnTo>
                    <a:pt x="3853" y="1918"/>
                  </a:lnTo>
                  <a:lnTo>
                    <a:pt x="3853" y="1920"/>
                  </a:lnTo>
                  <a:lnTo>
                    <a:pt x="3853" y="1920"/>
                  </a:lnTo>
                  <a:lnTo>
                    <a:pt x="3853" y="1920"/>
                  </a:lnTo>
                  <a:lnTo>
                    <a:pt x="3850" y="1920"/>
                  </a:lnTo>
                  <a:lnTo>
                    <a:pt x="3853" y="1920"/>
                  </a:lnTo>
                  <a:lnTo>
                    <a:pt x="3853" y="1920"/>
                  </a:lnTo>
                  <a:lnTo>
                    <a:pt x="3853" y="1920"/>
                  </a:lnTo>
                  <a:close/>
                  <a:moveTo>
                    <a:pt x="3074" y="1774"/>
                  </a:moveTo>
                  <a:lnTo>
                    <a:pt x="3074" y="1774"/>
                  </a:lnTo>
                  <a:lnTo>
                    <a:pt x="3074" y="1774"/>
                  </a:lnTo>
                  <a:lnTo>
                    <a:pt x="3076" y="1774"/>
                  </a:lnTo>
                  <a:lnTo>
                    <a:pt x="3076" y="1774"/>
                  </a:lnTo>
                  <a:lnTo>
                    <a:pt x="3074" y="1771"/>
                  </a:lnTo>
                  <a:lnTo>
                    <a:pt x="3074" y="1771"/>
                  </a:lnTo>
                  <a:lnTo>
                    <a:pt x="3072" y="1774"/>
                  </a:lnTo>
                  <a:lnTo>
                    <a:pt x="3072" y="1774"/>
                  </a:lnTo>
                  <a:lnTo>
                    <a:pt x="3072" y="1774"/>
                  </a:lnTo>
                  <a:lnTo>
                    <a:pt x="3069" y="1776"/>
                  </a:lnTo>
                  <a:lnTo>
                    <a:pt x="3067" y="1778"/>
                  </a:lnTo>
                  <a:lnTo>
                    <a:pt x="3069" y="1778"/>
                  </a:lnTo>
                  <a:lnTo>
                    <a:pt x="3069" y="1778"/>
                  </a:lnTo>
                  <a:lnTo>
                    <a:pt x="3069" y="1778"/>
                  </a:lnTo>
                  <a:lnTo>
                    <a:pt x="3072" y="1776"/>
                  </a:lnTo>
                  <a:lnTo>
                    <a:pt x="3072" y="1776"/>
                  </a:lnTo>
                  <a:lnTo>
                    <a:pt x="3072" y="1776"/>
                  </a:lnTo>
                  <a:lnTo>
                    <a:pt x="3072" y="1776"/>
                  </a:lnTo>
                  <a:lnTo>
                    <a:pt x="3074" y="1774"/>
                  </a:lnTo>
                  <a:close/>
                  <a:moveTo>
                    <a:pt x="3060" y="1767"/>
                  </a:moveTo>
                  <a:lnTo>
                    <a:pt x="3060" y="1767"/>
                  </a:lnTo>
                  <a:lnTo>
                    <a:pt x="3062" y="1769"/>
                  </a:lnTo>
                  <a:lnTo>
                    <a:pt x="3062" y="1769"/>
                  </a:lnTo>
                  <a:lnTo>
                    <a:pt x="3062" y="1767"/>
                  </a:lnTo>
                  <a:lnTo>
                    <a:pt x="3062" y="1767"/>
                  </a:lnTo>
                  <a:lnTo>
                    <a:pt x="3062" y="1767"/>
                  </a:lnTo>
                  <a:lnTo>
                    <a:pt x="3062" y="1767"/>
                  </a:lnTo>
                  <a:lnTo>
                    <a:pt x="3060" y="1767"/>
                  </a:lnTo>
                  <a:close/>
                  <a:moveTo>
                    <a:pt x="3072" y="1769"/>
                  </a:moveTo>
                  <a:lnTo>
                    <a:pt x="3072" y="1769"/>
                  </a:lnTo>
                  <a:lnTo>
                    <a:pt x="3069" y="1769"/>
                  </a:lnTo>
                  <a:lnTo>
                    <a:pt x="3069" y="1767"/>
                  </a:lnTo>
                  <a:lnTo>
                    <a:pt x="3069" y="1767"/>
                  </a:lnTo>
                  <a:lnTo>
                    <a:pt x="3069" y="1767"/>
                  </a:lnTo>
                  <a:lnTo>
                    <a:pt x="3069" y="1767"/>
                  </a:lnTo>
                  <a:lnTo>
                    <a:pt x="3069" y="1769"/>
                  </a:lnTo>
                  <a:lnTo>
                    <a:pt x="3069" y="1769"/>
                  </a:lnTo>
                  <a:lnTo>
                    <a:pt x="3069" y="1769"/>
                  </a:lnTo>
                  <a:lnTo>
                    <a:pt x="3069" y="1769"/>
                  </a:lnTo>
                  <a:lnTo>
                    <a:pt x="3069" y="1769"/>
                  </a:lnTo>
                  <a:lnTo>
                    <a:pt x="3072" y="1769"/>
                  </a:lnTo>
                  <a:lnTo>
                    <a:pt x="3072" y="1769"/>
                  </a:lnTo>
                  <a:close/>
                  <a:moveTo>
                    <a:pt x="1933" y="1665"/>
                  </a:moveTo>
                  <a:lnTo>
                    <a:pt x="1933" y="1665"/>
                  </a:lnTo>
                  <a:lnTo>
                    <a:pt x="1933" y="1665"/>
                  </a:lnTo>
                  <a:lnTo>
                    <a:pt x="1933" y="1667"/>
                  </a:lnTo>
                  <a:lnTo>
                    <a:pt x="1933" y="1667"/>
                  </a:lnTo>
                  <a:lnTo>
                    <a:pt x="1936" y="1667"/>
                  </a:lnTo>
                  <a:lnTo>
                    <a:pt x="1936" y="1667"/>
                  </a:lnTo>
                  <a:lnTo>
                    <a:pt x="1936" y="1667"/>
                  </a:lnTo>
                  <a:lnTo>
                    <a:pt x="1936" y="1667"/>
                  </a:lnTo>
                  <a:lnTo>
                    <a:pt x="1936" y="1667"/>
                  </a:lnTo>
                  <a:lnTo>
                    <a:pt x="1936" y="1667"/>
                  </a:lnTo>
                  <a:lnTo>
                    <a:pt x="1936" y="1665"/>
                  </a:lnTo>
                  <a:lnTo>
                    <a:pt x="1936" y="1665"/>
                  </a:lnTo>
                  <a:lnTo>
                    <a:pt x="1936" y="1665"/>
                  </a:lnTo>
                  <a:lnTo>
                    <a:pt x="1936" y="1665"/>
                  </a:lnTo>
                  <a:lnTo>
                    <a:pt x="1936" y="1665"/>
                  </a:lnTo>
                  <a:lnTo>
                    <a:pt x="1936" y="1665"/>
                  </a:lnTo>
                  <a:lnTo>
                    <a:pt x="1936" y="1665"/>
                  </a:lnTo>
                  <a:lnTo>
                    <a:pt x="1936" y="1665"/>
                  </a:lnTo>
                  <a:lnTo>
                    <a:pt x="1936" y="1663"/>
                  </a:lnTo>
                  <a:lnTo>
                    <a:pt x="1936" y="1660"/>
                  </a:lnTo>
                  <a:lnTo>
                    <a:pt x="1936" y="1660"/>
                  </a:lnTo>
                  <a:lnTo>
                    <a:pt x="1936" y="1660"/>
                  </a:lnTo>
                  <a:lnTo>
                    <a:pt x="1936" y="1660"/>
                  </a:lnTo>
                  <a:lnTo>
                    <a:pt x="1936" y="1660"/>
                  </a:lnTo>
                  <a:lnTo>
                    <a:pt x="1933" y="1660"/>
                  </a:lnTo>
                  <a:lnTo>
                    <a:pt x="1933" y="1660"/>
                  </a:lnTo>
                  <a:lnTo>
                    <a:pt x="1933" y="1660"/>
                  </a:lnTo>
                  <a:lnTo>
                    <a:pt x="1933" y="1663"/>
                  </a:lnTo>
                  <a:lnTo>
                    <a:pt x="1933" y="1663"/>
                  </a:lnTo>
                  <a:lnTo>
                    <a:pt x="1933" y="1663"/>
                  </a:lnTo>
                  <a:lnTo>
                    <a:pt x="1933" y="1663"/>
                  </a:lnTo>
                  <a:lnTo>
                    <a:pt x="1933" y="1665"/>
                  </a:lnTo>
                  <a:lnTo>
                    <a:pt x="1933" y="1665"/>
                  </a:lnTo>
                  <a:lnTo>
                    <a:pt x="1933" y="1665"/>
                  </a:lnTo>
                  <a:lnTo>
                    <a:pt x="1933" y="1665"/>
                  </a:lnTo>
                  <a:close/>
                  <a:moveTo>
                    <a:pt x="3744" y="2256"/>
                  </a:moveTo>
                  <a:lnTo>
                    <a:pt x="3744" y="2254"/>
                  </a:lnTo>
                  <a:lnTo>
                    <a:pt x="3741" y="2252"/>
                  </a:lnTo>
                  <a:lnTo>
                    <a:pt x="3741" y="2249"/>
                  </a:lnTo>
                  <a:lnTo>
                    <a:pt x="3741" y="2249"/>
                  </a:lnTo>
                  <a:lnTo>
                    <a:pt x="3741" y="2247"/>
                  </a:lnTo>
                  <a:lnTo>
                    <a:pt x="3739" y="2247"/>
                  </a:lnTo>
                  <a:lnTo>
                    <a:pt x="3739" y="2247"/>
                  </a:lnTo>
                  <a:lnTo>
                    <a:pt x="3739" y="2247"/>
                  </a:lnTo>
                  <a:lnTo>
                    <a:pt x="3739" y="2247"/>
                  </a:lnTo>
                  <a:lnTo>
                    <a:pt x="3741" y="2249"/>
                  </a:lnTo>
                  <a:lnTo>
                    <a:pt x="3741" y="2249"/>
                  </a:lnTo>
                  <a:lnTo>
                    <a:pt x="3741" y="2254"/>
                  </a:lnTo>
                  <a:lnTo>
                    <a:pt x="3744" y="2256"/>
                  </a:lnTo>
                  <a:lnTo>
                    <a:pt x="3744" y="2256"/>
                  </a:lnTo>
                  <a:lnTo>
                    <a:pt x="3744" y="2256"/>
                  </a:lnTo>
                  <a:lnTo>
                    <a:pt x="3744" y="2259"/>
                  </a:lnTo>
                  <a:lnTo>
                    <a:pt x="3744" y="2259"/>
                  </a:lnTo>
                  <a:lnTo>
                    <a:pt x="3744" y="2259"/>
                  </a:lnTo>
                  <a:lnTo>
                    <a:pt x="3744" y="2261"/>
                  </a:lnTo>
                  <a:lnTo>
                    <a:pt x="3744" y="2261"/>
                  </a:lnTo>
                  <a:lnTo>
                    <a:pt x="3744" y="2261"/>
                  </a:lnTo>
                  <a:lnTo>
                    <a:pt x="3744" y="2263"/>
                  </a:lnTo>
                  <a:lnTo>
                    <a:pt x="3744" y="2266"/>
                  </a:lnTo>
                  <a:lnTo>
                    <a:pt x="3744" y="2268"/>
                  </a:lnTo>
                  <a:lnTo>
                    <a:pt x="3744" y="2268"/>
                  </a:lnTo>
                  <a:lnTo>
                    <a:pt x="3744" y="2271"/>
                  </a:lnTo>
                  <a:lnTo>
                    <a:pt x="3744" y="2271"/>
                  </a:lnTo>
                  <a:lnTo>
                    <a:pt x="3741" y="2273"/>
                  </a:lnTo>
                  <a:lnTo>
                    <a:pt x="3739" y="2275"/>
                  </a:lnTo>
                  <a:lnTo>
                    <a:pt x="3739" y="2275"/>
                  </a:lnTo>
                  <a:lnTo>
                    <a:pt x="3739" y="2275"/>
                  </a:lnTo>
                  <a:lnTo>
                    <a:pt x="3739" y="2275"/>
                  </a:lnTo>
                  <a:lnTo>
                    <a:pt x="3739" y="2275"/>
                  </a:lnTo>
                  <a:lnTo>
                    <a:pt x="3739" y="2275"/>
                  </a:lnTo>
                  <a:lnTo>
                    <a:pt x="3739" y="2275"/>
                  </a:lnTo>
                  <a:lnTo>
                    <a:pt x="3739" y="2275"/>
                  </a:lnTo>
                  <a:lnTo>
                    <a:pt x="3739" y="2275"/>
                  </a:lnTo>
                  <a:lnTo>
                    <a:pt x="3739" y="2275"/>
                  </a:lnTo>
                  <a:lnTo>
                    <a:pt x="3739" y="2275"/>
                  </a:lnTo>
                  <a:lnTo>
                    <a:pt x="3737" y="2275"/>
                  </a:lnTo>
                  <a:lnTo>
                    <a:pt x="3737" y="2278"/>
                  </a:lnTo>
                  <a:lnTo>
                    <a:pt x="3737" y="2278"/>
                  </a:lnTo>
                  <a:lnTo>
                    <a:pt x="3737" y="2278"/>
                  </a:lnTo>
                  <a:lnTo>
                    <a:pt x="3737" y="2278"/>
                  </a:lnTo>
                  <a:lnTo>
                    <a:pt x="3737" y="2278"/>
                  </a:lnTo>
                  <a:lnTo>
                    <a:pt x="3737" y="2278"/>
                  </a:lnTo>
                  <a:lnTo>
                    <a:pt x="3739" y="2278"/>
                  </a:lnTo>
                  <a:lnTo>
                    <a:pt x="3739" y="2278"/>
                  </a:lnTo>
                  <a:lnTo>
                    <a:pt x="3739" y="2275"/>
                  </a:lnTo>
                  <a:lnTo>
                    <a:pt x="3741" y="2275"/>
                  </a:lnTo>
                  <a:lnTo>
                    <a:pt x="3741" y="2275"/>
                  </a:lnTo>
                  <a:lnTo>
                    <a:pt x="3741" y="2273"/>
                  </a:lnTo>
                  <a:lnTo>
                    <a:pt x="3744" y="2273"/>
                  </a:lnTo>
                  <a:lnTo>
                    <a:pt x="3744" y="2273"/>
                  </a:lnTo>
                  <a:lnTo>
                    <a:pt x="3744" y="2273"/>
                  </a:lnTo>
                  <a:lnTo>
                    <a:pt x="3746" y="2273"/>
                  </a:lnTo>
                  <a:lnTo>
                    <a:pt x="3746" y="2268"/>
                  </a:lnTo>
                  <a:lnTo>
                    <a:pt x="3744" y="2259"/>
                  </a:lnTo>
                  <a:lnTo>
                    <a:pt x="3744" y="2256"/>
                  </a:lnTo>
                  <a:close/>
                  <a:moveTo>
                    <a:pt x="3299" y="1802"/>
                  </a:moveTo>
                  <a:lnTo>
                    <a:pt x="3299" y="1802"/>
                  </a:lnTo>
                  <a:lnTo>
                    <a:pt x="3299" y="1805"/>
                  </a:lnTo>
                  <a:lnTo>
                    <a:pt x="3301" y="1805"/>
                  </a:lnTo>
                  <a:lnTo>
                    <a:pt x="3304" y="1807"/>
                  </a:lnTo>
                  <a:lnTo>
                    <a:pt x="3304" y="1807"/>
                  </a:lnTo>
                  <a:lnTo>
                    <a:pt x="3304" y="1807"/>
                  </a:lnTo>
                  <a:lnTo>
                    <a:pt x="3304" y="1807"/>
                  </a:lnTo>
                  <a:lnTo>
                    <a:pt x="3306" y="1807"/>
                  </a:lnTo>
                  <a:lnTo>
                    <a:pt x="3306" y="1807"/>
                  </a:lnTo>
                  <a:lnTo>
                    <a:pt x="3306" y="1805"/>
                  </a:lnTo>
                  <a:lnTo>
                    <a:pt x="3306" y="1805"/>
                  </a:lnTo>
                  <a:lnTo>
                    <a:pt x="3306" y="1802"/>
                  </a:lnTo>
                  <a:lnTo>
                    <a:pt x="3306" y="1802"/>
                  </a:lnTo>
                  <a:lnTo>
                    <a:pt x="3306" y="1802"/>
                  </a:lnTo>
                  <a:lnTo>
                    <a:pt x="3306" y="1802"/>
                  </a:lnTo>
                  <a:lnTo>
                    <a:pt x="3304" y="1802"/>
                  </a:lnTo>
                  <a:lnTo>
                    <a:pt x="3304" y="1802"/>
                  </a:lnTo>
                  <a:lnTo>
                    <a:pt x="3304" y="1802"/>
                  </a:lnTo>
                  <a:lnTo>
                    <a:pt x="3304" y="1802"/>
                  </a:lnTo>
                  <a:lnTo>
                    <a:pt x="3304" y="1802"/>
                  </a:lnTo>
                  <a:lnTo>
                    <a:pt x="3304" y="1802"/>
                  </a:lnTo>
                  <a:lnTo>
                    <a:pt x="3301" y="1802"/>
                  </a:lnTo>
                  <a:lnTo>
                    <a:pt x="3299" y="1802"/>
                  </a:lnTo>
                  <a:close/>
                  <a:moveTo>
                    <a:pt x="1919" y="1681"/>
                  </a:moveTo>
                  <a:lnTo>
                    <a:pt x="1919" y="1679"/>
                  </a:lnTo>
                  <a:lnTo>
                    <a:pt x="1919" y="1679"/>
                  </a:lnTo>
                  <a:lnTo>
                    <a:pt x="1919" y="1679"/>
                  </a:lnTo>
                  <a:lnTo>
                    <a:pt x="1919" y="1679"/>
                  </a:lnTo>
                  <a:lnTo>
                    <a:pt x="1919" y="1679"/>
                  </a:lnTo>
                  <a:lnTo>
                    <a:pt x="1919" y="1679"/>
                  </a:lnTo>
                  <a:lnTo>
                    <a:pt x="1917" y="1679"/>
                  </a:lnTo>
                  <a:lnTo>
                    <a:pt x="1917" y="1679"/>
                  </a:lnTo>
                  <a:lnTo>
                    <a:pt x="1917" y="1681"/>
                  </a:lnTo>
                  <a:lnTo>
                    <a:pt x="1917" y="1681"/>
                  </a:lnTo>
                  <a:lnTo>
                    <a:pt x="1917" y="1681"/>
                  </a:lnTo>
                  <a:lnTo>
                    <a:pt x="1917" y="1681"/>
                  </a:lnTo>
                  <a:lnTo>
                    <a:pt x="1917" y="1684"/>
                  </a:lnTo>
                  <a:lnTo>
                    <a:pt x="1917" y="1684"/>
                  </a:lnTo>
                  <a:lnTo>
                    <a:pt x="1917" y="1684"/>
                  </a:lnTo>
                  <a:lnTo>
                    <a:pt x="1917" y="1684"/>
                  </a:lnTo>
                  <a:lnTo>
                    <a:pt x="1917" y="1686"/>
                  </a:lnTo>
                  <a:lnTo>
                    <a:pt x="1917" y="1686"/>
                  </a:lnTo>
                  <a:lnTo>
                    <a:pt x="1917" y="1686"/>
                  </a:lnTo>
                  <a:lnTo>
                    <a:pt x="1917" y="1686"/>
                  </a:lnTo>
                  <a:lnTo>
                    <a:pt x="1919" y="1684"/>
                  </a:lnTo>
                  <a:lnTo>
                    <a:pt x="1919" y="1684"/>
                  </a:lnTo>
                  <a:lnTo>
                    <a:pt x="1919" y="1684"/>
                  </a:lnTo>
                  <a:lnTo>
                    <a:pt x="1919" y="1684"/>
                  </a:lnTo>
                  <a:lnTo>
                    <a:pt x="1919" y="1681"/>
                  </a:lnTo>
                  <a:lnTo>
                    <a:pt x="1919" y="1681"/>
                  </a:lnTo>
                  <a:lnTo>
                    <a:pt x="1919" y="1681"/>
                  </a:lnTo>
                  <a:close/>
                  <a:moveTo>
                    <a:pt x="1924" y="1686"/>
                  </a:moveTo>
                  <a:lnTo>
                    <a:pt x="1924" y="1686"/>
                  </a:lnTo>
                  <a:lnTo>
                    <a:pt x="1922" y="1686"/>
                  </a:lnTo>
                  <a:lnTo>
                    <a:pt x="1922" y="1686"/>
                  </a:lnTo>
                  <a:lnTo>
                    <a:pt x="1922" y="1689"/>
                  </a:lnTo>
                  <a:lnTo>
                    <a:pt x="1922" y="1689"/>
                  </a:lnTo>
                  <a:lnTo>
                    <a:pt x="1922" y="1689"/>
                  </a:lnTo>
                  <a:lnTo>
                    <a:pt x="1922" y="1689"/>
                  </a:lnTo>
                  <a:lnTo>
                    <a:pt x="1922" y="1689"/>
                  </a:lnTo>
                  <a:lnTo>
                    <a:pt x="1922" y="1689"/>
                  </a:lnTo>
                  <a:lnTo>
                    <a:pt x="1924" y="1689"/>
                  </a:lnTo>
                  <a:lnTo>
                    <a:pt x="1924" y="1689"/>
                  </a:lnTo>
                  <a:lnTo>
                    <a:pt x="1924" y="1689"/>
                  </a:lnTo>
                  <a:lnTo>
                    <a:pt x="1924" y="1689"/>
                  </a:lnTo>
                  <a:lnTo>
                    <a:pt x="1924" y="1689"/>
                  </a:lnTo>
                  <a:lnTo>
                    <a:pt x="1924" y="1689"/>
                  </a:lnTo>
                  <a:lnTo>
                    <a:pt x="1924" y="1686"/>
                  </a:lnTo>
                  <a:lnTo>
                    <a:pt x="1924" y="1686"/>
                  </a:lnTo>
                  <a:lnTo>
                    <a:pt x="1924" y="1686"/>
                  </a:lnTo>
                  <a:close/>
                  <a:moveTo>
                    <a:pt x="3263" y="1812"/>
                  </a:moveTo>
                  <a:lnTo>
                    <a:pt x="3263" y="1814"/>
                  </a:lnTo>
                  <a:lnTo>
                    <a:pt x="3263" y="1814"/>
                  </a:lnTo>
                  <a:lnTo>
                    <a:pt x="3263" y="1814"/>
                  </a:lnTo>
                  <a:lnTo>
                    <a:pt x="3263" y="1816"/>
                  </a:lnTo>
                  <a:lnTo>
                    <a:pt x="3263" y="1816"/>
                  </a:lnTo>
                  <a:lnTo>
                    <a:pt x="3263" y="1819"/>
                  </a:lnTo>
                  <a:lnTo>
                    <a:pt x="3263" y="1819"/>
                  </a:lnTo>
                  <a:lnTo>
                    <a:pt x="3263" y="1819"/>
                  </a:lnTo>
                  <a:lnTo>
                    <a:pt x="3266" y="1819"/>
                  </a:lnTo>
                  <a:lnTo>
                    <a:pt x="3266" y="1819"/>
                  </a:lnTo>
                  <a:lnTo>
                    <a:pt x="3268" y="1816"/>
                  </a:lnTo>
                  <a:lnTo>
                    <a:pt x="3268" y="1816"/>
                  </a:lnTo>
                  <a:lnTo>
                    <a:pt x="3266" y="1814"/>
                  </a:lnTo>
                  <a:lnTo>
                    <a:pt x="3266" y="1814"/>
                  </a:lnTo>
                  <a:lnTo>
                    <a:pt x="3266" y="1814"/>
                  </a:lnTo>
                  <a:lnTo>
                    <a:pt x="3266" y="1812"/>
                  </a:lnTo>
                  <a:lnTo>
                    <a:pt x="3266" y="1812"/>
                  </a:lnTo>
                  <a:lnTo>
                    <a:pt x="3266" y="1812"/>
                  </a:lnTo>
                  <a:lnTo>
                    <a:pt x="3266" y="1812"/>
                  </a:lnTo>
                  <a:lnTo>
                    <a:pt x="3266" y="1812"/>
                  </a:lnTo>
                  <a:lnTo>
                    <a:pt x="3266" y="1809"/>
                  </a:lnTo>
                  <a:lnTo>
                    <a:pt x="3266" y="1809"/>
                  </a:lnTo>
                  <a:lnTo>
                    <a:pt x="3266" y="1809"/>
                  </a:lnTo>
                  <a:lnTo>
                    <a:pt x="3263" y="1809"/>
                  </a:lnTo>
                  <a:lnTo>
                    <a:pt x="3263" y="1809"/>
                  </a:lnTo>
                  <a:lnTo>
                    <a:pt x="3263" y="1809"/>
                  </a:lnTo>
                  <a:lnTo>
                    <a:pt x="3263" y="1812"/>
                  </a:lnTo>
                  <a:lnTo>
                    <a:pt x="3263" y="1812"/>
                  </a:lnTo>
                  <a:lnTo>
                    <a:pt x="3263" y="1812"/>
                  </a:lnTo>
                  <a:close/>
                  <a:moveTo>
                    <a:pt x="3076" y="1769"/>
                  </a:moveTo>
                  <a:lnTo>
                    <a:pt x="3076" y="1767"/>
                  </a:lnTo>
                  <a:lnTo>
                    <a:pt x="3076" y="1767"/>
                  </a:lnTo>
                  <a:lnTo>
                    <a:pt x="3076" y="1767"/>
                  </a:lnTo>
                  <a:lnTo>
                    <a:pt x="3074" y="1767"/>
                  </a:lnTo>
                  <a:lnTo>
                    <a:pt x="3074" y="1769"/>
                  </a:lnTo>
                  <a:lnTo>
                    <a:pt x="3072" y="1769"/>
                  </a:lnTo>
                  <a:lnTo>
                    <a:pt x="3072" y="1769"/>
                  </a:lnTo>
                  <a:lnTo>
                    <a:pt x="3072" y="1769"/>
                  </a:lnTo>
                  <a:lnTo>
                    <a:pt x="3074" y="1769"/>
                  </a:lnTo>
                  <a:lnTo>
                    <a:pt x="3074" y="1769"/>
                  </a:lnTo>
                  <a:lnTo>
                    <a:pt x="3076" y="1769"/>
                  </a:lnTo>
                  <a:lnTo>
                    <a:pt x="3076" y="1769"/>
                  </a:lnTo>
                  <a:lnTo>
                    <a:pt x="3076" y="1769"/>
                  </a:lnTo>
                  <a:lnTo>
                    <a:pt x="3076" y="1769"/>
                  </a:lnTo>
                  <a:lnTo>
                    <a:pt x="3076" y="1769"/>
                  </a:lnTo>
                  <a:close/>
                  <a:moveTo>
                    <a:pt x="1940" y="1608"/>
                  </a:moveTo>
                  <a:lnTo>
                    <a:pt x="1940" y="1611"/>
                  </a:lnTo>
                  <a:lnTo>
                    <a:pt x="1940" y="1611"/>
                  </a:lnTo>
                  <a:lnTo>
                    <a:pt x="1943" y="1611"/>
                  </a:lnTo>
                  <a:lnTo>
                    <a:pt x="1943" y="1611"/>
                  </a:lnTo>
                  <a:lnTo>
                    <a:pt x="1943" y="1611"/>
                  </a:lnTo>
                  <a:lnTo>
                    <a:pt x="1943" y="1611"/>
                  </a:lnTo>
                  <a:lnTo>
                    <a:pt x="1943" y="1611"/>
                  </a:lnTo>
                  <a:lnTo>
                    <a:pt x="1943" y="1611"/>
                  </a:lnTo>
                  <a:lnTo>
                    <a:pt x="1943" y="1608"/>
                  </a:lnTo>
                  <a:lnTo>
                    <a:pt x="1943" y="1608"/>
                  </a:lnTo>
                  <a:lnTo>
                    <a:pt x="1940" y="1608"/>
                  </a:lnTo>
                  <a:lnTo>
                    <a:pt x="1940" y="1608"/>
                  </a:lnTo>
                  <a:lnTo>
                    <a:pt x="1940" y="1606"/>
                  </a:lnTo>
                  <a:lnTo>
                    <a:pt x="1940" y="1606"/>
                  </a:lnTo>
                  <a:lnTo>
                    <a:pt x="1940" y="1606"/>
                  </a:lnTo>
                  <a:lnTo>
                    <a:pt x="1940" y="1606"/>
                  </a:lnTo>
                  <a:lnTo>
                    <a:pt x="1940" y="1608"/>
                  </a:lnTo>
                  <a:lnTo>
                    <a:pt x="1940" y="1608"/>
                  </a:lnTo>
                  <a:close/>
                  <a:moveTo>
                    <a:pt x="3081" y="1762"/>
                  </a:moveTo>
                  <a:lnTo>
                    <a:pt x="3081" y="1762"/>
                  </a:lnTo>
                  <a:lnTo>
                    <a:pt x="3081" y="1760"/>
                  </a:lnTo>
                  <a:lnTo>
                    <a:pt x="3079" y="1760"/>
                  </a:lnTo>
                  <a:lnTo>
                    <a:pt x="3079" y="1762"/>
                  </a:lnTo>
                  <a:lnTo>
                    <a:pt x="3079" y="1764"/>
                  </a:lnTo>
                  <a:lnTo>
                    <a:pt x="3079" y="1764"/>
                  </a:lnTo>
                  <a:lnTo>
                    <a:pt x="3081" y="1764"/>
                  </a:lnTo>
                  <a:lnTo>
                    <a:pt x="3081" y="1762"/>
                  </a:lnTo>
                  <a:lnTo>
                    <a:pt x="3081" y="1762"/>
                  </a:lnTo>
                  <a:lnTo>
                    <a:pt x="3081" y="1762"/>
                  </a:lnTo>
                  <a:lnTo>
                    <a:pt x="3081" y="1762"/>
                  </a:lnTo>
                  <a:close/>
                  <a:moveTo>
                    <a:pt x="3304" y="1793"/>
                  </a:moveTo>
                  <a:lnTo>
                    <a:pt x="3304" y="1793"/>
                  </a:lnTo>
                  <a:lnTo>
                    <a:pt x="3304" y="1793"/>
                  </a:lnTo>
                  <a:lnTo>
                    <a:pt x="3304" y="1793"/>
                  </a:lnTo>
                  <a:lnTo>
                    <a:pt x="3304" y="1793"/>
                  </a:lnTo>
                  <a:lnTo>
                    <a:pt x="3304" y="1793"/>
                  </a:lnTo>
                  <a:lnTo>
                    <a:pt x="3304" y="1793"/>
                  </a:lnTo>
                  <a:lnTo>
                    <a:pt x="3304" y="1793"/>
                  </a:lnTo>
                  <a:lnTo>
                    <a:pt x="3304" y="1793"/>
                  </a:lnTo>
                  <a:lnTo>
                    <a:pt x="3304" y="1795"/>
                  </a:lnTo>
                  <a:lnTo>
                    <a:pt x="3304" y="1795"/>
                  </a:lnTo>
                  <a:lnTo>
                    <a:pt x="3306" y="1795"/>
                  </a:lnTo>
                  <a:lnTo>
                    <a:pt x="3306" y="1795"/>
                  </a:lnTo>
                  <a:lnTo>
                    <a:pt x="3306" y="1793"/>
                  </a:lnTo>
                  <a:lnTo>
                    <a:pt x="3306" y="1793"/>
                  </a:lnTo>
                  <a:lnTo>
                    <a:pt x="3306" y="1793"/>
                  </a:lnTo>
                  <a:lnTo>
                    <a:pt x="3304" y="1793"/>
                  </a:lnTo>
                  <a:lnTo>
                    <a:pt x="3306" y="1793"/>
                  </a:lnTo>
                  <a:lnTo>
                    <a:pt x="3304" y="1793"/>
                  </a:lnTo>
                  <a:close/>
                  <a:moveTo>
                    <a:pt x="3379" y="1982"/>
                  </a:moveTo>
                  <a:lnTo>
                    <a:pt x="3379" y="1984"/>
                  </a:lnTo>
                  <a:lnTo>
                    <a:pt x="3379" y="1987"/>
                  </a:lnTo>
                  <a:lnTo>
                    <a:pt x="3379" y="1987"/>
                  </a:lnTo>
                  <a:lnTo>
                    <a:pt x="3379" y="1987"/>
                  </a:lnTo>
                  <a:lnTo>
                    <a:pt x="3379" y="1984"/>
                  </a:lnTo>
                  <a:lnTo>
                    <a:pt x="3379" y="1982"/>
                  </a:lnTo>
                  <a:lnTo>
                    <a:pt x="3379" y="1982"/>
                  </a:lnTo>
                  <a:close/>
                  <a:moveTo>
                    <a:pt x="3528" y="1913"/>
                  </a:moveTo>
                  <a:lnTo>
                    <a:pt x="3528" y="1913"/>
                  </a:lnTo>
                  <a:lnTo>
                    <a:pt x="3528" y="1913"/>
                  </a:lnTo>
                  <a:lnTo>
                    <a:pt x="3528" y="1913"/>
                  </a:lnTo>
                  <a:lnTo>
                    <a:pt x="3531" y="1913"/>
                  </a:lnTo>
                  <a:lnTo>
                    <a:pt x="3531" y="1911"/>
                  </a:lnTo>
                  <a:lnTo>
                    <a:pt x="3531" y="1911"/>
                  </a:lnTo>
                  <a:lnTo>
                    <a:pt x="3531" y="1909"/>
                  </a:lnTo>
                  <a:lnTo>
                    <a:pt x="3531" y="1909"/>
                  </a:lnTo>
                  <a:lnTo>
                    <a:pt x="3528" y="1909"/>
                  </a:lnTo>
                  <a:lnTo>
                    <a:pt x="3528" y="1909"/>
                  </a:lnTo>
                  <a:lnTo>
                    <a:pt x="3528" y="1909"/>
                  </a:lnTo>
                  <a:lnTo>
                    <a:pt x="3528" y="1911"/>
                  </a:lnTo>
                  <a:lnTo>
                    <a:pt x="3528" y="1911"/>
                  </a:lnTo>
                  <a:lnTo>
                    <a:pt x="3528" y="1913"/>
                  </a:lnTo>
                  <a:lnTo>
                    <a:pt x="3528" y="1913"/>
                  </a:lnTo>
                  <a:close/>
                  <a:moveTo>
                    <a:pt x="3621" y="1842"/>
                  </a:moveTo>
                  <a:lnTo>
                    <a:pt x="3621" y="1840"/>
                  </a:lnTo>
                  <a:lnTo>
                    <a:pt x="3621" y="1840"/>
                  </a:lnTo>
                  <a:lnTo>
                    <a:pt x="3621" y="1840"/>
                  </a:lnTo>
                  <a:lnTo>
                    <a:pt x="3621" y="1840"/>
                  </a:lnTo>
                  <a:lnTo>
                    <a:pt x="3618" y="1840"/>
                  </a:lnTo>
                  <a:lnTo>
                    <a:pt x="3618" y="1840"/>
                  </a:lnTo>
                  <a:lnTo>
                    <a:pt x="3618" y="1840"/>
                  </a:lnTo>
                  <a:lnTo>
                    <a:pt x="3618" y="1842"/>
                  </a:lnTo>
                  <a:lnTo>
                    <a:pt x="3618" y="1842"/>
                  </a:lnTo>
                  <a:lnTo>
                    <a:pt x="3621" y="1842"/>
                  </a:lnTo>
                  <a:close/>
                  <a:moveTo>
                    <a:pt x="3945" y="1710"/>
                  </a:moveTo>
                  <a:lnTo>
                    <a:pt x="3945" y="1710"/>
                  </a:lnTo>
                  <a:lnTo>
                    <a:pt x="3945" y="1708"/>
                  </a:lnTo>
                  <a:lnTo>
                    <a:pt x="3945" y="1708"/>
                  </a:lnTo>
                  <a:lnTo>
                    <a:pt x="3945" y="1708"/>
                  </a:lnTo>
                  <a:lnTo>
                    <a:pt x="3945" y="1705"/>
                  </a:lnTo>
                  <a:lnTo>
                    <a:pt x="3945" y="1705"/>
                  </a:lnTo>
                  <a:lnTo>
                    <a:pt x="3945" y="1705"/>
                  </a:lnTo>
                  <a:lnTo>
                    <a:pt x="3945" y="1705"/>
                  </a:lnTo>
                  <a:lnTo>
                    <a:pt x="3942" y="1705"/>
                  </a:lnTo>
                  <a:lnTo>
                    <a:pt x="3942" y="1705"/>
                  </a:lnTo>
                  <a:lnTo>
                    <a:pt x="3942" y="1708"/>
                  </a:lnTo>
                  <a:lnTo>
                    <a:pt x="3942" y="1708"/>
                  </a:lnTo>
                  <a:lnTo>
                    <a:pt x="3942" y="1708"/>
                  </a:lnTo>
                  <a:lnTo>
                    <a:pt x="3942" y="1708"/>
                  </a:lnTo>
                  <a:lnTo>
                    <a:pt x="3942" y="1710"/>
                  </a:lnTo>
                  <a:lnTo>
                    <a:pt x="3942" y="1710"/>
                  </a:lnTo>
                  <a:lnTo>
                    <a:pt x="3942" y="1710"/>
                  </a:lnTo>
                  <a:lnTo>
                    <a:pt x="3942" y="1710"/>
                  </a:lnTo>
                  <a:lnTo>
                    <a:pt x="3945" y="1710"/>
                  </a:lnTo>
                  <a:lnTo>
                    <a:pt x="3945" y="1710"/>
                  </a:lnTo>
                  <a:lnTo>
                    <a:pt x="3945" y="1710"/>
                  </a:lnTo>
                  <a:close/>
                  <a:moveTo>
                    <a:pt x="3214" y="1845"/>
                  </a:moveTo>
                  <a:lnTo>
                    <a:pt x="3214" y="1845"/>
                  </a:lnTo>
                  <a:lnTo>
                    <a:pt x="3216" y="1845"/>
                  </a:lnTo>
                  <a:lnTo>
                    <a:pt x="3214" y="1842"/>
                  </a:lnTo>
                  <a:lnTo>
                    <a:pt x="3214" y="1842"/>
                  </a:lnTo>
                  <a:lnTo>
                    <a:pt x="3214" y="1842"/>
                  </a:lnTo>
                  <a:lnTo>
                    <a:pt x="3214" y="1842"/>
                  </a:lnTo>
                  <a:lnTo>
                    <a:pt x="3214" y="1842"/>
                  </a:lnTo>
                  <a:lnTo>
                    <a:pt x="3214" y="1840"/>
                  </a:lnTo>
                  <a:lnTo>
                    <a:pt x="3214" y="1842"/>
                  </a:lnTo>
                  <a:lnTo>
                    <a:pt x="3211" y="1842"/>
                  </a:lnTo>
                  <a:lnTo>
                    <a:pt x="3211" y="1842"/>
                  </a:lnTo>
                  <a:lnTo>
                    <a:pt x="3211" y="1840"/>
                  </a:lnTo>
                  <a:lnTo>
                    <a:pt x="3211" y="1842"/>
                  </a:lnTo>
                  <a:lnTo>
                    <a:pt x="3211" y="1842"/>
                  </a:lnTo>
                  <a:lnTo>
                    <a:pt x="3211" y="1842"/>
                  </a:lnTo>
                  <a:lnTo>
                    <a:pt x="3211" y="1842"/>
                  </a:lnTo>
                  <a:lnTo>
                    <a:pt x="3211" y="1842"/>
                  </a:lnTo>
                  <a:lnTo>
                    <a:pt x="3211" y="1842"/>
                  </a:lnTo>
                  <a:lnTo>
                    <a:pt x="3211" y="1842"/>
                  </a:lnTo>
                  <a:lnTo>
                    <a:pt x="3209" y="1842"/>
                  </a:lnTo>
                  <a:lnTo>
                    <a:pt x="3209" y="1845"/>
                  </a:lnTo>
                  <a:lnTo>
                    <a:pt x="3209" y="1847"/>
                  </a:lnTo>
                  <a:lnTo>
                    <a:pt x="3209" y="1847"/>
                  </a:lnTo>
                  <a:lnTo>
                    <a:pt x="3209" y="1847"/>
                  </a:lnTo>
                  <a:lnTo>
                    <a:pt x="3209" y="1847"/>
                  </a:lnTo>
                  <a:lnTo>
                    <a:pt x="3209" y="1849"/>
                  </a:lnTo>
                  <a:lnTo>
                    <a:pt x="3207" y="1849"/>
                  </a:lnTo>
                  <a:lnTo>
                    <a:pt x="3207" y="1849"/>
                  </a:lnTo>
                  <a:lnTo>
                    <a:pt x="3207" y="1849"/>
                  </a:lnTo>
                  <a:lnTo>
                    <a:pt x="3207" y="1849"/>
                  </a:lnTo>
                  <a:lnTo>
                    <a:pt x="3204" y="1849"/>
                  </a:lnTo>
                  <a:lnTo>
                    <a:pt x="3204" y="1852"/>
                  </a:lnTo>
                  <a:lnTo>
                    <a:pt x="3204" y="1852"/>
                  </a:lnTo>
                  <a:lnTo>
                    <a:pt x="3204" y="1854"/>
                  </a:lnTo>
                  <a:lnTo>
                    <a:pt x="3204" y="1854"/>
                  </a:lnTo>
                  <a:lnTo>
                    <a:pt x="3204" y="1854"/>
                  </a:lnTo>
                  <a:lnTo>
                    <a:pt x="3204" y="1854"/>
                  </a:lnTo>
                  <a:lnTo>
                    <a:pt x="3204" y="1854"/>
                  </a:lnTo>
                  <a:lnTo>
                    <a:pt x="3204" y="1854"/>
                  </a:lnTo>
                  <a:lnTo>
                    <a:pt x="3204" y="1854"/>
                  </a:lnTo>
                  <a:lnTo>
                    <a:pt x="3204" y="1854"/>
                  </a:lnTo>
                  <a:lnTo>
                    <a:pt x="3202" y="1859"/>
                  </a:lnTo>
                  <a:lnTo>
                    <a:pt x="3202" y="1859"/>
                  </a:lnTo>
                  <a:lnTo>
                    <a:pt x="3202" y="1861"/>
                  </a:lnTo>
                  <a:lnTo>
                    <a:pt x="3202" y="1864"/>
                  </a:lnTo>
                  <a:lnTo>
                    <a:pt x="3202" y="1866"/>
                  </a:lnTo>
                  <a:lnTo>
                    <a:pt x="3204" y="1868"/>
                  </a:lnTo>
                  <a:lnTo>
                    <a:pt x="3207" y="1866"/>
                  </a:lnTo>
                  <a:lnTo>
                    <a:pt x="3207" y="1866"/>
                  </a:lnTo>
                  <a:lnTo>
                    <a:pt x="3209" y="1864"/>
                  </a:lnTo>
                  <a:lnTo>
                    <a:pt x="3209" y="1864"/>
                  </a:lnTo>
                  <a:lnTo>
                    <a:pt x="3209" y="1861"/>
                  </a:lnTo>
                  <a:lnTo>
                    <a:pt x="3209" y="1861"/>
                  </a:lnTo>
                  <a:lnTo>
                    <a:pt x="3209" y="1861"/>
                  </a:lnTo>
                  <a:lnTo>
                    <a:pt x="3209" y="1861"/>
                  </a:lnTo>
                  <a:lnTo>
                    <a:pt x="3209" y="1861"/>
                  </a:lnTo>
                  <a:lnTo>
                    <a:pt x="3209" y="1859"/>
                  </a:lnTo>
                  <a:lnTo>
                    <a:pt x="3209" y="1859"/>
                  </a:lnTo>
                  <a:lnTo>
                    <a:pt x="3211" y="1854"/>
                  </a:lnTo>
                  <a:lnTo>
                    <a:pt x="3211" y="1854"/>
                  </a:lnTo>
                  <a:lnTo>
                    <a:pt x="3211" y="1854"/>
                  </a:lnTo>
                  <a:lnTo>
                    <a:pt x="3211" y="1854"/>
                  </a:lnTo>
                  <a:lnTo>
                    <a:pt x="3211" y="1854"/>
                  </a:lnTo>
                  <a:lnTo>
                    <a:pt x="3211" y="1854"/>
                  </a:lnTo>
                  <a:lnTo>
                    <a:pt x="3211" y="1854"/>
                  </a:lnTo>
                  <a:lnTo>
                    <a:pt x="3211" y="1854"/>
                  </a:lnTo>
                  <a:lnTo>
                    <a:pt x="3211" y="1852"/>
                  </a:lnTo>
                  <a:lnTo>
                    <a:pt x="3211" y="1852"/>
                  </a:lnTo>
                  <a:lnTo>
                    <a:pt x="3211" y="1852"/>
                  </a:lnTo>
                  <a:lnTo>
                    <a:pt x="3214" y="1852"/>
                  </a:lnTo>
                  <a:lnTo>
                    <a:pt x="3214" y="1852"/>
                  </a:lnTo>
                  <a:lnTo>
                    <a:pt x="3214" y="1852"/>
                  </a:lnTo>
                  <a:lnTo>
                    <a:pt x="3214" y="1852"/>
                  </a:lnTo>
                  <a:lnTo>
                    <a:pt x="3211" y="1849"/>
                  </a:lnTo>
                  <a:lnTo>
                    <a:pt x="3211" y="1849"/>
                  </a:lnTo>
                  <a:lnTo>
                    <a:pt x="3211" y="1849"/>
                  </a:lnTo>
                  <a:lnTo>
                    <a:pt x="3211" y="1849"/>
                  </a:lnTo>
                  <a:lnTo>
                    <a:pt x="3214" y="1849"/>
                  </a:lnTo>
                  <a:lnTo>
                    <a:pt x="3214" y="1849"/>
                  </a:lnTo>
                  <a:lnTo>
                    <a:pt x="3214" y="1847"/>
                  </a:lnTo>
                  <a:lnTo>
                    <a:pt x="3214" y="1847"/>
                  </a:lnTo>
                  <a:lnTo>
                    <a:pt x="3214" y="1847"/>
                  </a:lnTo>
                  <a:lnTo>
                    <a:pt x="3214" y="1845"/>
                  </a:lnTo>
                  <a:lnTo>
                    <a:pt x="3214" y="1845"/>
                  </a:lnTo>
                  <a:lnTo>
                    <a:pt x="3211" y="1845"/>
                  </a:lnTo>
                  <a:lnTo>
                    <a:pt x="3211" y="1845"/>
                  </a:lnTo>
                  <a:lnTo>
                    <a:pt x="3214" y="1845"/>
                  </a:lnTo>
                  <a:lnTo>
                    <a:pt x="3214" y="1845"/>
                  </a:lnTo>
                  <a:close/>
                  <a:moveTo>
                    <a:pt x="3218" y="1835"/>
                  </a:moveTo>
                  <a:lnTo>
                    <a:pt x="3218" y="1835"/>
                  </a:lnTo>
                  <a:lnTo>
                    <a:pt x="3218" y="1835"/>
                  </a:lnTo>
                  <a:lnTo>
                    <a:pt x="3218" y="1835"/>
                  </a:lnTo>
                  <a:lnTo>
                    <a:pt x="3216" y="1835"/>
                  </a:lnTo>
                  <a:lnTo>
                    <a:pt x="3216" y="1835"/>
                  </a:lnTo>
                  <a:lnTo>
                    <a:pt x="3216" y="1835"/>
                  </a:lnTo>
                  <a:lnTo>
                    <a:pt x="3216" y="1833"/>
                  </a:lnTo>
                  <a:lnTo>
                    <a:pt x="3216" y="1835"/>
                  </a:lnTo>
                  <a:lnTo>
                    <a:pt x="3214" y="1835"/>
                  </a:lnTo>
                  <a:lnTo>
                    <a:pt x="3214" y="1835"/>
                  </a:lnTo>
                  <a:lnTo>
                    <a:pt x="3216" y="1838"/>
                  </a:lnTo>
                  <a:lnTo>
                    <a:pt x="3216" y="1838"/>
                  </a:lnTo>
                  <a:lnTo>
                    <a:pt x="3214" y="1838"/>
                  </a:lnTo>
                  <a:lnTo>
                    <a:pt x="3216" y="1838"/>
                  </a:lnTo>
                  <a:lnTo>
                    <a:pt x="3216" y="1838"/>
                  </a:lnTo>
                  <a:lnTo>
                    <a:pt x="3216" y="1838"/>
                  </a:lnTo>
                  <a:lnTo>
                    <a:pt x="3218" y="1838"/>
                  </a:lnTo>
                  <a:lnTo>
                    <a:pt x="3218" y="1838"/>
                  </a:lnTo>
                  <a:lnTo>
                    <a:pt x="3218" y="1838"/>
                  </a:lnTo>
                  <a:lnTo>
                    <a:pt x="3218" y="1838"/>
                  </a:lnTo>
                  <a:lnTo>
                    <a:pt x="3218" y="1835"/>
                  </a:lnTo>
                  <a:close/>
                  <a:moveTo>
                    <a:pt x="3254" y="1828"/>
                  </a:moveTo>
                  <a:lnTo>
                    <a:pt x="3254" y="1828"/>
                  </a:lnTo>
                  <a:lnTo>
                    <a:pt x="3254" y="1828"/>
                  </a:lnTo>
                  <a:lnTo>
                    <a:pt x="3254" y="1828"/>
                  </a:lnTo>
                  <a:lnTo>
                    <a:pt x="3256" y="1831"/>
                  </a:lnTo>
                  <a:lnTo>
                    <a:pt x="3256" y="1831"/>
                  </a:lnTo>
                  <a:lnTo>
                    <a:pt x="3256" y="1831"/>
                  </a:lnTo>
                  <a:lnTo>
                    <a:pt x="3256" y="1828"/>
                  </a:lnTo>
                  <a:lnTo>
                    <a:pt x="3256" y="1828"/>
                  </a:lnTo>
                  <a:lnTo>
                    <a:pt x="3254" y="1828"/>
                  </a:lnTo>
                  <a:close/>
                  <a:moveTo>
                    <a:pt x="3251" y="1847"/>
                  </a:moveTo>
                  <a:lnTo>
                    <a:pt x="3254" y="1847"/>
                  </a:lnTo>
                  <a:lnTo>
                    <a:pt x="3251" y="1847"/>
                  </a:lnTo>
                  <a:lnTo>
                    <a:pt x="3251" y="1847"/>
                  </a:lnTo>
                  <a:lnTo>
                    <a:pt x="3251" y="1845"/>
                  </a:lnTo>
                  <a:lnTo>
                    <a:pt x="3251" y="1845"/>
                  </a:lnTo>
                  <a:lnTo>
                    <a:pt x="3251" y="1845"/>
                  </a:lnTo>
                  <a:lnTo>
                    <a:pt x="3251" y="1845"/>
                  </a:lnTo>
                  <a:lnTo>
                    <a:pt x="3251" y="1845"/>
                  </a:lnTo>
                  <a:lnTo>
                    <a:pt x="3251" y="1842"/>
                  </a:lnTo>
                  <a:lnTo>
                    <a:pt x="3249" y="1842"/>
                  </a:lnTo>
                  <a:lnTo>
                    <a:pt x="3249" y="1845"/>
                  </a:lnTo>
                  <a:lnTo>
                    <a:pt x="3249" y="1845"/>
                  </a:lnTo>
                  <a:lnTo>
                    <a:pt x="3251" y="1847"/>
                  </a:lnTo>
                  <a:lnTo>
                    <a:pt x="3251" y="1847"/>
                  </a:lnTo>
                  <a:close/>
                  <a:moveTo>
                    <a:pt x="3249" y="1849"/>
                  </a:moveTo>
                  <a:lnTo>
                    <a:pt x="3249" y="1849"/>
                  </a:lnTo>
                  <a:lnTo>
                    <a:pt x="3249" y="1849"/>
                  </a:lnTo>
                  <a:lnTo>
                    <a:pt x="3247" y="1849"/>
                  </a:lnTo>
                  <a:lnTo>
                    <a:pt x="3247" y="1849"/>
                  </a:lnTo>
                  <a:lnTo>
                    <a:pt x="3247" y="1852"/>
                  </a:lnTo>
                  <a:lnTo>
                    <a:pt x="3247" y="1852"/>
                  </a:lnTo>
                  <a:lnTo>
                    <a:pt x="3249" y="1852"/>
                  </a:lnTo>
                  <a:lnTo>
                    <a:pt x="3249" y="1852"/>
                  </a:lnTo>
                  <a:lnTo>
                    <a:pt x="3249" y="1852"/>
                  </a:lnTo>
                  <a:lnTo>
                    <a:pt x="3249" y="1849"/>
                  </a:lnTo>
                  <a:lnTo>
                    <a:pt x="3249" y="1849"/>
                  </a:lnTo>
                  <a:lnTo>
                    <a:pt x="3249" y="1849"/>
                  </a:lnTo>
                  <a:close/>
                  <a:moveTo>
                    <a:pt x="3268" y="1807"/>
                  </a:moveTo>
                  <a:lnTo>
                    <a:pt x="3268" y="1807"/>
                  </a:lnTo>
                  <a:lnTo>
                    <a:pt x="3268" y="1807"/>
                  </a:lnTo>
                  <a:lnTo>
                    <a:pt x="3268" y="1807"/>
                  </a:lnTo>
                  <a:lnTo>
                    <a:pt x="3268" y="1807"/>
                  </a:lnTo>
                  <a:lnTo>
                    <a:pt x="3266" y="1807"/>
                  </a:lnTo>
                  <a:lnTo>
                    <a:pt x="3266" y="1807"/>
                  </a:lnTo>
                  <a:lnTo>
                    <a:pt x="3266" y="1807"/>
                  </a:lnTo>
                  <a:lnTo>
                    <a:pt x="3266" y="1807"/>
                  </a:lnTo>
                  <a:lnTo>
                    <a:pt x="3266" y="1807"/>
                  </a:lnTo>
                  <a:lnTo>
                    <a:pt x="3266" y="1807"/>
                  </a:lnTo>
                  <a:lnTo>
                    <a:pt x="3266" y="1807"/>
                  </a:lnTo>
                  <a:lnTo>
                    <a:pt x="3266" y="1807"/>
                  </a:lnTo>
                  <a:lnTo>
                    <a:pt x="3266" y="1807"/>
                  </a:lnTo>
                  <a:lnTo>
                    <a:pt x="3266" y="1807"/>
                  </a:lnTo>
                  <a:lnTo>
                    <a:pt x="3266" y="1809"/>
                  </a:lnTo>
                  <a:lnTo>
                    <a:pt x="3266" y="1809"/>
                  </a:lnTo>
                  <a:lnTo>
                    <a:pt x="3268" y="1809"/>
                  </a:lnTo>
                  <a:lnTo>
                    <a:pt x="3268" y="1807"/>
                  </a:lnTo>
                  <a:close/>
                  <a:moveTo>
                    <a:pt x="1888" y="1734"/>
                  </a:moveTo>
                  <a:lnTo>
                    <a:pt x="1888" y="1734"/>
                  </a:lnTo>
                  <a:lnTo>
                    <a:pt x="1888" y="1734"/>
                  </a:lnTo>
                  <a:lnTo>
                    <a:pt x="1891" y="1736"/>
                  </a:lnTo>
                  <a:lnTo>
                    <a:pt x="1891" y="1736"/>
                  </a:lnTo>
                  <a:lnTo>
                    <a:pt x="1891" y="1736"/>
                  </a:lnTo>
                  <a:lnTo>
                    <a:pt x="1888" y="1734"/>
                  </a:lnTo>
                  <a:lnTo>
                    <a:pt x="1888" y="1734"/>
                  </a:lnTo>
                  <a:lnTo>
                    <a:pt x="1888" y="1734"/>
                  </a:lnTo>
                  <a:lnTo>
                    <a:pt x="1888" y="1731"/>
                  </a:lnTo>
                  <a:lnTo>
                    <a:pt x="1888" y="1731"/>
                  </a:lnTo>
                  <a:lnTo>
                    <a:pt x="1886" y="1731"/>
                  </a:lnTo>
                  <a:lnTo>
                    <a:pt x="1886" y="1734"/>
                  </a:lnTo>
                  <a:lnTo>
                    <a:pt x="1888" y="1734"/>
                  </a:lnTo>
                  <a:lnTo>
                    <a:pt x="1888" y="1734"/>
                  </a:lnTo>
                  <a:close/>
                  <a:moveTo>
                    <a:pt x="3604" y="2815"/>
                  </a:moveTo>
                  <a:lnTo>
                    <a:pt x="3604" y="2815"/>
                  </a:lnTo>
                  <a:lnTo>
                    <a:pt x="3606" y="2815"/>
                  </a:lnTo>
                  <a:lnTo>
                    <a:pt x="3606" y="2815"/>
                  </a:lnTo>
                  <a:lnTo>
                    <a:pt x="3606" y="2812"/>
                  </a:lnTo>
                  <a:lnTo>
                    <a:pt x="3606" y="2812"/>
                  </a:lnTo>
                  <a:lnTo>
                    <a:pt x="3606" y="2812"/>
                  </a:lnTo>
                  <a:lnTo>
                    <a:pt x="3604" y="2812"/>
                  </a:lnTo>
                  <a:lnTo>
                    <a:pt x="3604" y="2812"/>
                  </a:lnTo>
                  <a:lnTo>
                    <a:pt x="3604" y="2812"/>
                  </a:lnTo>
                  <a:lnTo>
                    <a:pt x="3604" y="2815"/>
                  </a:lnTo>
                  <a:lnTo>
                    <a:pt x="3604" y="2815"/>
                  </a:lnTo>
                  <a:close/>
                  <a:moveTo>
                    <a:pt x="3602" y="2812"/>
                  </a:moveTo>
                  <a:lnTo>
                    <a:pt x="3602" y="2812"/>
                  </a:lnTo>
                  <a:lnTo>
                    <a:pt x="3602" y="2812"/>
                  </a:lnTo>
                  <a:lnTo>
                    <a:pt x="3604" y="2812"/>
                  </a:lnTo>
                  <a:lnTo>
                    <a:pt x="3604" y="2812"/>
                  </a:lnTo>
                  <a:lnTo>
                    <a:pt x="3604" y="2812"/>
                  </a:lnTo>
                  <a:lnTo>
                    <a:pt x="3604" y="2812"/>
                  </a:lnTo>
                  <a:lnTo>
                    <a:pt x="3604" y="2812"/>
                  </a:lnTo>
                  <a:lnTo>
                    <a:pt x="3604" y="2812"/>
                  </a:lnTo>
                  <a:lnTo>
                    <a:pt x="3602" y="2812"/>
                  </a:lnTo>
                  <a:lnTo>
                    <a:pt x="3602" y="2812"/>
                  </a:lnTo>
                  <a:lnTo>
                    <a:pt x="3602" y="2812"/>
                  </a:lnTo>
                  <a:lnTo>
                    <a:pt x="3602" y="2812"/>
                  </a:lnTo>
                  <a:lnTo>
                    <a:pt x="3602" y="2812"/>
                  </a:lnTo>
                  <a:close/>
                  <a:moveTo>
                    <a:pt x="3221" y="2644"/>
                  </a:moveTo>
                  <a:lnTo>
                    <a:pt x="3221" y="2644"/>
                  </a:lnTo>
                  <a:lnTo>
                    <a:pt x="3221" y="2644"/>
                  </a:lnTo>
                  <a:lnTo>
                    <a:pt x="3221" y="2644"/>
                  </a:lnTo>
                  <a:lnTo>
                    <a:pt x="3221" y="2644"/>
                  </a:lnTo>
                  <a:lnTo>
                    <a:pt x="3221" y="2644"/>
                  </a:lnTo>
                  <a:close/>
                  <a:moveTo>
                    <a:pt x="3216" y="2651"/>
                  </a:moveTo>
                  <a:lnTo>
                    <a:pt x="3216" y="2651"/>
                  </a:lnTo>
                  <a:lnTo>
                    <a:pt x="3216" y="2651"/>
                  </a:lnTo>
                  <a:lnTo>
                    <a:pt x="3218" y="2649"/>
                  </a:lnTo>
                  <a:lnTo>
                    <a:pt x="3218" y="2649"/>
                  </a:lnTo>
                  <a:lnTo>
                    <a:pt x="3218" y="2649"/>
                  </a:lnTo>
                  <a:lnTo>
                    <a:pt x="3218" y="2649"/>
                  </a:lnTo>
                  <a:lnTo>
                    <a:pt x="3216" y="2651"/>
                  </a:lnTo>
                  <a:close/>
                  <a:moveTo>
                    <a:pt x="1933" y="1679"/>
                  </a:moveTo>
                  <a:lnTo>
                    <a:pt x="1933" y="1679"/>
                  </a:lnTo>
                  <a:lnTo>
                    <a:pt x="1933" y="1679"/>
                  </a:lnTo>
                  <a:lnTo>
                    <a:pt x="1933" y="1679"/>
                  </a:lnTo>
                  <a:lnTo>
                    <a:pt x="1933" y="1679"/>
                  </a:lnTo>
                  <a:lnTo>
                    <a:pt x="1933" y="1679"/>
                  </a:lnTo>
                  <a:lnTo>
                    <a:pt x="1936" y="1679"/>
                  </a:lnTo>
                  <a:lnTo>
                    <a:pt x="1938" y="1679"/>
                  </a:lnTo>
                  <a:lnTo>
                    <a:pt x="1938" y="1679"/>
                  </a:lnTo>
                  <a:lnTo>
                    <a:pt x="1936" y="1677"/>
                  </a:lnTo>
                  <a:lnTo>
                    <a:pt x="1936" y="1677"/>
                  </a:lnTo>
                  <a:lnTo>
                    <a:pt x="1936" y="1677"/>
                  </a:lnTo>
                  <a:lnTo>
                    <a:pt x="1936" y="1677"/>
                  </a:lnTo>
                  <a:lnTo>
                    <a:pt x="1936" y="1674"/>
                  </a:lnTo>
                  <a:lnTo>
                    <a:pt x="1936" y="1674"/>
                  </a:lnTo>
                  <a:lnTo>
                    <a:pt x="1936" y="1674"/>
                  </a:lnTo>
                  <a:lnTo>
                    <a:pt x="1936" y="1672"/>
                  </a:lnTo>
                  <a:lnTo>
                    <a:pt x="1936" y="1672"/>
                  </a:lnTo>
                  <a:lnTo>
                    <a:pt x="1936" y="1672"/>
                  </a:lnTo>
                  <a:lnTo>
                    <a:pt x="1936" y="1672"/>
                  </a:lnTo>
                  <a:lnTo>
                    <a:pt x="1936" y="1672"/>
                  </a:lnTo>
                  <a:lnTo>
                    <a:pt x="1933" y="1672"/>
                  </a:lnTo>
                  <a:lnTo>
                    <a:pt x="1933" y="1672"/>
                  </a:lnTo>
                  <a:lnTo>
                    <a:pt x="1933" y="1674"/>
                  </a:lnTo>
                  <a:lnTo>
                    <a:pt x="1931" y="1677"/>
                  </a:lnTo>
                  <a:lnTo>
                    <a:pt x="1931" y="1677"/>
                  </a:lnTo>
                  <a:lnTo>
                    <a:pt x="1931" y="1679"/>
                  </a:lnTo>
                  <a:lnTo>
                    <a:pt x="1931" y="1679"/>
                  </a:lnTo>
                  <a:lnTo>
                    <a:pt x="1931" y="1679"/>
                  </a:lnTo>
                  <a:lnTo>
                    <a:pt x="1931" y="1679"/>
                  </a:lnTo>
                  <a:lnTo>
                    <a:pt x="1931" y="1679"/>
                  </a:lnTo>
                  <a:lnTo>
                    <a:pt x="1931" y="1679"/>
                  </a:lnTo>
                  <a:lnTo>
                    <a:pt x="1933" y="1679"/>
                  </a:lnTo>
                  <a:lnTo>
                    <a:pt x="1933" y="1679"/>
                  </a:lnTo>
                  <a:lnTo>
                    <a:pt x="1933" y="1679"/>
                  </a:lnTo>
                  <a:lnTo>
                    <a:pt x="1933" y="1679"/>
                  </a:lnTo>
                  <a:lnTo>
                    <a:pt x="1933" y="1677"/>
                  </a:lnTo>
                  <a:lnTo>
                    <a:pt x="1933" y="1677"/>
                  </a:lnTo>
                  <a:lnTo>
                    <a:pt x="1933" y="1677"/>
                  </a:lnTo>
                  <a:lnTo>
                    <a:pt x="1933" y="1677"/>
                  </a:lnTo>
                  <a:lnTo>
                    <a:pt x="1936" y="1677"/>
                  </a:lnTo>
                  <a:lnTo>
                    <a:pt x="1936" y="1677"/>
                  </a:lnTo>
                  <a:lnTo>
                    <a:pt x="1936" y="1679"/>
                  </a:lnTo>
                  <a:lnTo>
                    <a:pt x="1933" y="1679"/>
                  </a:lnTo>
                  <a:close/>
                  <a:moveTo>
                    <a:pt x="3214" y="2614"/>
                  </a:moveTo>
                  <a:lnTo>
                    <a:pt x="3214" y="2614"/>
                  </a:lnTo>
                  <a:lnTo>
                    <a:pt x="3214" y="2614"/>
                  </a:lnTo>
                  <a:lnTo>
                    <a:pt x="3214" y="2614"/>
                  </a:lnTo>
                  <a:lnTo>
                    <a:pt x="3214" y="2616"/>
                  </a:lnTo>
                  <a:lnTo>
                    <a:pt x="3211" y="2616"/>
                  </a:lnTo>
                  <a:lnTo>
                    <a:pt x="3211" y="2616"/>
                  </a:lnTo>
                  <a:lnTo>
                    <a:pt x="3211" y="2616"/>
                  </a:lnTo>
                  <a:lnTo>
                    <a:pt x="3214" y="2616"/>
                  </a:lnTo>
                  <a:lnTo>
                    <a:pt x="3214" y="2616"/>
                  </a:lnTo>
                  <a:lnTo>
                    <a:pt x="3214" y="2616"/>
                  </a:lnTo>
                  <a:lnTo>
                    <a:pt x="3214" y="2616"/>
                  </a:lnTo>
                  <a:lnTo>
                    <a:pt x="3214" y="2616"/>
                  </a:lnTo>
                  <a:lnTo>
                    <a:pt x="3214" y="2616"/>
                  </a:lnTo>
                  <a:lnTo>
                    <a:pt x="3214" y="2616"/>
                  </a:lnTo>
                  <a:lnTo>
                    <a:pt x="3214" y="2616"/>
                  </a:lnTo>
                  <a:lnTo>
                    <a:pt x="3214" y="2616"/>
                  </a:lnTo>
                  <a:lnTo>
                    <a:pt x="3214" y="2616"/>
                  </a:lnTo>
                  <a:lnTo>
                    <a:pt x="3214" y="2616"/>
                  </a:lnTo>
                  <a:lnTo>
                    <a:pt x="3214" y="2616"/>
                  </a:lnTo>
                  <a:lnTo>
                    <a:pt x="3214" y="2614"/>
                  </a:lnTo>
                  <a:lnTo>
                    <a:pt x="3214" y="2614"/>
                  </a:lnTo>
                  <a:lnTo>
                    <a:pt x="3214" y="2614"/>
                  </a:lnTo>
                  <a:lnTo>
                    <a:pt x="3214" y="2614"/>
                  </a:lnTo>
                  <a:close/>
                  <a:moveTo>
                    <a:pt x="3547" y="2500"/>
                  </a:moveTo>
                  <a:lnTo>
                    <a:pt x="3547" y="2500"/>
                  </a:lnTo>
                  <a:lnTo>
                    <a:pt x="3547" y="2498"/>
                  </a:lnTo>
                  <a:lnTo>
                    <a:pt x="3547" y="2498"/>
                  </a:lnTo>
                  <a:lnTo>
                    <a:pt x="3547" y="2495"/>
                  </a:lnTo>
                  <a:lnTo>
                    <a:pt x="3547" y="2495"/>
                  </a:lnTo>
                  <a:lnTo>
                    <a:pt x="3547" y="2495"/>
                  </a:lnTo>
                  <a:lnTo>
                    <a:pt x="3545" y="2495"/>
                  </a:lnTo>
                  <a:lnTo>
                    <a:pt x="3545" y="2498"/>
                  </a:lnTo>
                  <a:lnTo>
                    <a:pt x="3545" y="2498"/>
                  </a:lnTo>
                  <a:lnTo>
                    <a:pt x="3545" y="2498"/>
                  </a:lnTo>
                  <a:lnTo>
                    <a:pt x="3545" y="2500"/>
                  </a:lnTo>
                  <a:lnTo>
                    <a:pt x="3545" y="2500"/>
                  </a:lnTo>
                  <a:lnTo>
                    <a:pt x="3545" y="2500"/>
                  </a:lnTo>
                  <a:lnTo>
                    <a:pt x="3545" y="2502"/>
                  </a:lnTo>
                  <a:lnTo>
                    <a:pt x="3547" y="2502"/>
                  </a:lnTo>
                  <a:lnTo>
                    <a:pt x="3547" y="2500"/>
                  </a:lnTo>
                  <a:close/>
                  <a:moveTo>
                    <a:pt x="3597" y="2649"/>
                  </a:moveTo>
                  <a:lnTo>
                    <a:pt x="3597" y="2647"/>
                  </a:lnTo>
                  <a:lnTo>
                    <a:pt x="3595" y="2644"/>
                  </a:lnTo>
                  <a:lnTo>
                    <a:pt x="3595" y="2647"/>
                  </a:lnTo>
                  <a:lnTo>
                    <a:pt x="3595" y="2647"/>
                  </a:lnTo>
                  <a:lnTo>
                    <a:pt x="3592" y="2647"/>
                  </a:lnTo>
                  <a:lnTo>
                    <a:pt x="3592" y="2647"/>
                  </a:lnTo>
                  <a:lnTo>
                    <a:pt x="3592" y="2649"/>
                  </a:lnTo>
                  <a:lnTo>
                    <a:pt x="3592" y="2649"/>
                  </a:lnTo>
                  <a:lnTo>
                    <a:pt x="3592" y="2649"/>
                  </a:lnTo>
                  <a:lnTo>
                    <a:pt x="3592" y="2651"/>
                  </a:lnTo>
                  <a:lnTo>
                    <a:pt x="3592" y="2651"/>
                  </a:lnTo>
                  <a:lnTo>
                    <a:pt x="3592" y="2654"/>
                  </a:lnTo>
                  <a:lnTo>
                    <a:pt x="3592" y="2656"/>
                  </a:lnTo>
                  <a:lnTo>
                    <a:pt x="3595" y="2658"/>
                  </a:lnTo>
                  <a:lnTo>
                    <a:pt x="3595" y="2658"/>
                  </a:lnTo>
                  <a:lnTo>
                    <a:pt x="3597" y="2663"/>
                  </a:lnTo>
                  <a:lnTo>
                    <a:pt x="3597" y="2663"/>
                  </a:lnTo>
                  <a:lnTo>
                    <a:pt x="3597" y="2663"/>
                  </a:lnTo>
                  <a:lnTo>
                    <a:pt x="3597" y="2663"/>
                  </a:lnTo>
                  <a:lnTo>
                    <a:pt x="3597" y="2661"/>
                  </a:lnTo>
                  <a:lnTo>
                    <a:pt x="3597" y="2661"/>
                  </a:lnTo>
                  <a:lnTo>
                    <a:pt x="3597" y="2661"/>
                  </a:lnTo>
                  <a:lnTo>
                    <a:pt x="3597" y="2661"/>
                  </a:lnTo>
                  <a:lnTo>
                    <a:pt x="3595" y="2654"/>
                  </a:lnTo>
                  <a:lnTo>
                    <a:pt x="3595" y="2651"/>
                  </a:lnTo>
                  <a:lnTo>
                    <a:pt x="3597" y="2649"/>
                  </a:lnTo>
                  <a:close/>
                  <a:moveTo>
                    <a:pt x="3545" y="2505"/>
                  </a:moveTo>
                  <a:lnTo>
                    <a:pt x="3545" y="2505"/>
                  </a:lnTo>
                  <a:lnTo>
                    <a:pt x="3543" y="2505"/>
                  </a:lnTo>
                  <a:lnTo>
                    <a:pt x="3543" y="2505"/>
                  </a:lnTo>
                  <a:lnTo>
                    <a:pt x="3543" y="2507"/>
                  </a:lnTo>
                  <a:lnTo>
                    <a:pt x="3543" y="2507"/>
                  </a:lnTo>
                  <a:lnTo>
                    <a:pt x="3543" y="2509"/>
                  </a:lnTo>
                  <a:lnTo>
                    <a:pt x="3543" y="2509"/>
                  </a:lnTo>
                  <a:lnTo>
                    <a:pt x="3543" y="2512"/>
                  </a:lnTo>
                  <a:lnTo>
                    <a:pt x="3543" y="2512"/>
                  </a:lnTo>
                  <a:lnTo>
                    <a:pt x="3543" y="2512"/>
                  </a:lnTo>
                  <a:lnTo>
                    <a:pt x="3545" y="2509"/>
                  </a:lnTo>
                  <a:lnTo>
                    <a:pt x="3545" y="2507"/>
                  </a:lnTo>
                  <a:lnTo>
                    <a:pt x="3545" y="2507"/>
                  </a:lnTo>
                  <a:lnTo>
                    <a:pt x="3545" y="2505"/>
                  </a:lnTo>
                  <a:lnTo>
                    <a:pt x="3547" y="2505"/>
                  </a:lnTo>
                  <a:lnTo>
                    <a:pt x="3545" y="2505"/>
                  </a:lnTo>
                  <a:lnTo>
                    <a:pt x="3545" y="2505"/>
                  </a:lnTo>
                  <a:close/>
                  <a:moveTo>
                    <a:pt x="3599" y="2666"/>
                  </a:moveTo>
                  <a:lnTo>
                    <a:pt x="3599" y="2666"/>
                  </a:lnTo>
                  <a:lnTo>
                    <a:pt x="3599" y="2666"/>
                  </a:lnTo>
                  <a:lnTo>
                    <a:pt x="3599" y="2666"/>
                  </a:lnTo>
                  <a:lnTo>
                    <a:pt x="3599" y="2666"/>
                  </a:lnTo>
                  <a:lnTo>
                    <a:pt x="3597" y="2663"/>
                  </a:lnTo>
                  <a:lnTo>
                    <a:pt x="3599" y="2666"/>
                  </a:lnTo>
                  <a:close/>
                  <a:moveTo>
                    <a:pt x="3540" y="2535"/>
                  </a:moveTo>
                  <a:lnTo>
                    <a:pt x="3540" y="2533"/>
                  </a:lnTo>
                  <a:lnTo>
                    <a:pt x="3540" y="2533"/>
                  </a:lnTo>
                  <a:lnTo>
                    <a:pt x="3540" y="2535"/>
                  </a:lnTo>
                  <a:lnTo>
                    <a:pt x="3538" y="2538"/>
                  </a:lnTo>
                  <a:lnTo>
                    <a:pt x="3538" y="2538"/>
                  </a:lnTo>
                  <a:lnTo>
                    <a:pt x="3538" y="2538"/>
                  </a:lnTo>
                  <a:lnTo>
                    <a:pt x="3538" y="2540"/>
                  </a:lnTo>
                  <a:lnTo>
                    <a:pt x="3540" y="2540"/>
                  </a:lnTo>
                  <a:lnTo>
                    <a:pt x="3540" y="2540"/>
                  </a:lnTo>
                  <a:lnTo>
                    <a:pt x="3540" y="2543"/>
                  </a:lnTo>
                  <a:lnTo>
                    <a:pt x="3540" y="2545"/>
                  </a:lnTo>
                  <a:lnTo>
                    <a:pt x="3540" y="2545"/>
                  </a:lnTo>
                  <a:lnTo>
                    <a:pt x="3540" y="2545"/>
                  </a:lnTo>
                  <a:lnTo>
                    <a:pt x="3540" y="2545"/>
                  </a:lnTo>
                  <a:lnTo>
                    <a:pt x="3540" y="2543"/>
                  </a:lnTo>
                  <a:lnTo>
                    <a:pt x="3540" y="2543"/>
                  </a:lnTo>
                  <a:lnTo>
                    <a:pt x="3540" y="2540"/>
                  </a:lnTo>
                  <a:lnTo>
                    <a:pt x="3540" y="2538"/>
                  </a:lnTo>
                  <a:lnTo>
                    <a:pt x="3540" y="2538"/>
                  </a:lnTo>
                  <a:lnTo>
                    <a:pt x="3540" y="2535"/>
                  </a:lnTo>
                  <a:lnTo>
                    <a:pt x="3540" y="2535"/>
                  </a:lnTo>
                  <a:close/>
                  <a:moveTo>
                    <a:pt x="3218" y="2616"/>
                  </a:moveTo>
                  <a:lnTo>
                    <a:pt x="3221" y="2616"/>
                  </a:lnTo>
                  <a:lnTo>
                    <a:pt x="3221" y="2616"/>
                  </a:lnTo>
                  <a:lnTo>
                    <a:pt x="3221" y="2616"/>
                  </a:lnTo>
                  <a:lnTo>
                    <a:pt x="3218" y="2616"/>
                  </a:lnTo>
                  <a:lnTo>
                    <a:pt x="3218" y="2616"/>
                  </a:lnTo>
                  <a:close/>
                  <a:moveTo>
                    <a:pt x="3199" y="2640"/>
                  </a:moveTo>
                  <a:lnTo>
                    <a:pt x="3199" y="2640"/>
                  </a:lnTo>
                  <a:lnTo>
                    <a:pt x="3199" y="2640"/>
                  </a:lnTo>
                  <a:lnTo>
                    <a:pt x="3199" y="2640"/>
                  </a:lnTo>
                  <a:lnTo>
                    <a:pt x="3199" y="2637"/>
                  </a:lnTo>
                  <a:lnTo>
                    <a:pt x="3199" y="2637"/>
                  </a:lnTo>
                  <a:lnTo>
                    <a:pt x="3197" y="2640"/>
                  </a:lnTo>
                  <a:lnTo>
                    <a:pt x="3197" y="2640"/>
                  </a:lnTo>
                  <a:lnTo>
                    <a:pt x="3197" y="2642"/>
                  </a:lnTo>
                  <a:lnTo>
                    <a:pt x="3199" y="2642"/>
                  </a:lnTo>
                  <a:lnTo>
                    <a:pt x="3199" y="2640"/>
                  </a:lnTo>
                  <a:lnTo>
                    <a:pt x="3199" y="2640"/>
                  </a:lnTo>
                  <a:lnTo>
                    <a:pt x="3199" y="2640"/>
                  </a:lnTo>
                  <a:lnTo>
                    <a:pt x="3199" y="2640"/>
                  </a:lnTo>
                  <a:lnTo>
                    <a:pt x="3199" y="2640"/>
                  </a:lnTo>
                  <a:lnTo>
                    <a:pt x="3202" y="2642"/>
                  </a:lnTo>
                  <a:lnTo>
                    <a:pt x="3199" y="2640"/>
                  </a:lnTo>
                  <a:lnTo>
                    <a:pt x="3199" y="2640"/>
                  </a:lnTo>
                  <a:close/>
                  <a:moveTo>
                    <a:pt x="3214" y="2651"/>
                  </a:moveTo>
                  <a:lnTo>
                    <a:pt x="3214" y="2651"/>
                  </a:lnTo>
                  <a:lnTo>
                    <a:pt x="3214" y="2654"/>
                  </a:lnTo>
                  <a:lnTo>
                    <a:pt x="3214" y="2654"/>
                  </a:lnTo>
                  <a:lnTo>
                    <a:pt x="3211" y="2654"/>
                  </a:lnTo>
                  <a:lnTo>
                    <a:pt x="3211" y="2654"/>
                  </a:lnTo>
                  <a:lnTo>
                    <a:pt x="3214" y="2654"/>
                  </a:lnTo>
                  <a:lnTo>
                    <a:pt x="3214" y="2654"/>
                  </a:lnTo>
                  <a:lnTo>
                    <a:pt x="3214" y="2651"/>
                  </a:lnTo>
                  <a:lnTo>
                    <a:pt x="3214" y="2651"/>
                  </a:lnTo>
                  <a:lnTo>
                    <a:pt x="3214" y="2651"/>
                  </a:lnTo>
                  <a:lnTo>
                    <a:pt x="3214" y="2651"/>
                  </a:lnTo>
                  <a:close/>
                  <a:moveTo>
                    <a:pt x="3614" y="2684"/>
                  </a:moveTo>
                  <a:lnTo>
                    <a:pt x="3614" y="2687"/>
                  </a:lnTo>
                  <a:lnTo>
                    <a:pt x="3614" y="2687"/>
                  </a:lnTo>
                  <a:lnTo>
                    <a:pt x="3614" y="2687"/>
                  </a:lnTo>
                  <a:lnTo>
                    <a:pt x="3614" y="2689"/>
                  </a:lnTo>
                  <a:lnTo>
                    <a:pt x="3616" y="2689"/>
                  </a:lnTo>
                  <a:lnTo>
                    <a:pt x="3616" y="2692"/>
                  </a:lnTo>
                  <a:lnTo>
                    <a:pt x="3616" y="2692"/>
                  </a:lnTo>
                  <a:lnTo>
                    <a:pt x="3616" y="2692"/>
                  </a:lnTo>
                  <a:lnTo>
                    <a:pt x="3621" y="2699"/>
                  </a:lnTo>
                  <a:lnTo>
                    <a:pt x="3621" y="2701"/>
                  </a:lnTo>
                  <a:lnTo>
                    <a:pt x="3621" y="2701"/>
                  </a:lnTo>
                  <a:lnTo>
                    <a:pt x="3621" y="2701"/>
                  </a:lnTo>
                  <a:lnTo>
                    <a:pt x="3621" y="2701"/>
                  </a:lnTo>
                  <a:lnTo>
                    <a:pt x="3621" y="2703"/>
                  </a:lnTo>
                  <a:lnTo>
                    <a:pt x="3623" y="2703"/>
                  </a:lnTo>
                  <a:lnTo>
                    <a:pt x="3625" y="2708"/>
                  </a:lnTo>
                  <a:lnTo>
                    <a:pt x="3628" y="2710"/>
                  </a:lnTo>
                  <a:lnTo>
                    <a:pt x="3628" y="2710"/>
                  </a:lnTo>
                  <a:lnTo>
                    <a:pt x="3628" y="2713"/>
                  </a:lnTo>
                  <a:lnTo>
                    <a:pt x="3628" y="2710"/>
                  </a:lnTo>
                  <a:lnTo>
                    <a:pt x="3616" y="2692"/>
                  </a:lnTo>
                  <a:lnTo>
                    <a:pt x="3616" y="2692"/>
                  </a:lnTo>
                  <a:lnTo>
                    <a:pt x="3616" y="2692"/>
                  </a:lnTo>
                  <a:lnTo>
                    <a:pt x="3616" y="2689"/>
                  </a:lnTo>
                  <a:lnTo>
                    <a:pt x="3616" y="2687"/>
                  </a:lnTo>
                  <a:lnTo>
                    <a:pt x="3614" y="2684"/>
                  </a:lnTo>
                  <a:lnTo>
                    <a:pt x="3611" y="2682"/>
                  </a:lnTo>
                  <a:lnTo>
                    <a:pt x="3611" y="2682"/>
                  </a:lnTo>
                  <a:lnTo>
                    <a:pt x="3611" y="2682"/>
                  </a:lnTo>
                  <a:lnTo>
                    <a:pt x="3611" y="2682"/>
                  </a:lnTo>
                  <a:lnTo>
                    <a:pt x="3611" y="2682"/>
                  </a:lnTo>
                  <a:lnTo>
                    <a:pt x="3611" y="2680"/>
                  </a:lnTo>
                  <a:lnTo>
                    <a:pt x="3611" y="2680"/>
                  </a:lnTo>
                  <a:lnTo>
                    <a:pt x="3609" y="2682"/>
                  </a:lnTo>
                  <a:lnTo>
                    <a:pt x="3609" y="2682"/>
                  </a:lnTo>
                  <a:lnTo>
                    <a:pt x="3611" y="2682"/>
                  </a:lnTo>
                  <a:lnTo>
                    <a:pt x="3614" y="2684"/>
                  </a:lnTo>
                  <a:close/>
                  <a:moveTo>
                    <a:pt x="3199" y="2621"/>
                  </a:moveTo>
                  <a:lnTo>
                    <a:pt x="3199" y="2621"/>
                  </a:lnTo>
                  <a:lnTo>
                    <a:pt x="3199" y="2621"/>
                  </a:lnTo>
                  <a:lnTo>
                    <a:pt x="3199" y="2621"/>
                  </a:lnTo>
                  <a:lnTo>
                    <a:pt x="3199" y="2621"/>
                  </a:lnTo>
                  <a:lnTo>
                    <a:pt x="3199" y="2621"/>
                  </a:lnTo>
                  <a:close/>
                  <a:moveTo>
                    <a:pt x="1872" y="1717"/>
                  </a:moveTo>
                  <a:lnTo>
                    <a:pt x="1872" y="1715"/>
                  </a:lnTo>
                  <a:lnTo>
                    <a:pt x="1872" y="1715"/>
                  </a:lnTo>
                  <a:lnTo>
                    <a:pt x="1872" y="1712"/>
                  </a:lnTo>
                  <a:lnTo>
                    <a:pt x="1872" y="1712"/>
                  </a:lnTo>
                  <a:lnTo>
                    <a:pt x="1872" y="1712"/>
                  </a:lnTo>
                  <a:lnTo>
                    <a:pt x="1872" y="1712"/>
                  </a:lnTo>
                  <a:lnTo>
                    <a:pt x="1869" y="1712"/>
                  </a:lnTo>
                  <a:lnTo>
                    <a:pt x="1869" y="1712"/>
                  </a:lnTo>
                  <a:lnTo>
                    <a:pt x="1869" y="1715"/>
                  </a:lnTo>
                  <a:lnTo>
                    <a:pt x="1869" y="1715"/>
                  </a:lnTo>
                  <a:lnTo>
                    <a:pt x="1869" y="1717"/>
                  </a:lnTo>
                  <a:lnTo>
                    <a:pt x="1872" y="1717"/>
                  </a:lnTo>
                  <a:close/>
                  <a:moveTo>
                    <a:pt x="1886" y="1731"/>
                  </a:moveTo>
                  <a:lnTo>
                    <a:pt x="1886" y="1731"/>
                  </a:lnTo>
                  <a:lnTo>
                    <a:pt x="1886" y="1731"/>
                  </a:lnTo>
                  <a:lnTo>
                    <a:pt x="1886" y="1729"/>
                  </a:lnTo>
                  <a:lnTo>
                    <a:pt x="1886" y="1729"/>
                  </a:lnTo>
                  <a:lnTo>
                    <a:pt x="1886" y="1729"/>
                  </a:lnTo>
                  <a:lnTo>
                    <a:pt x="1886" y="1729"/>
                  </a:lnTo>
                  <a:lnTo>
                    <a:pt x="1886" y="1729"/>
                  </a:lnTo>
                  <a:lnTo>
                    <a:pt x="1886" y="1729"/>
                  </a:lnTo>
                  <a:lnTo>
                    <a:pt x="1886" y="1731"/>
                  </a:lnTo>
                  <a:lnTo>
                    <a:pt x="1886" y="1731"/>
                  </a:lnTo>
                  <a:close/>
                  <a:moveTo>
                    <a:pt x="3207" y="2637"/>
                  </a:moveTo>
                  <a:lnTo>
                    <a:pt x="3207" y="2637"/>
                  </a:lnTo>
                  <a:lnTo>
                    <a:pt x="3207" y="2637"/>
                  </a:lnTo>
                  <a:lnTo>
                    <a:pt x="3207" y="2637"/>
                  </a:lnTo>
                  <a:lnTo>
                    <a:pt x="3207" y="2637"/>
                  </a:lnTo>
                  <a:lnTo>
                    <a:pt x="3204" y="2637"/>
                  </a:lnTo>
                  <a:lnTo>
                    <a:pt x="3204" y="2637"/>
                  </a:lnTo>
                  <a:lnTo>
                    <a:pt x="3207" y="2640"/>
                  </a:lnTo>
                  <a:lnTo>
                    <a:pt x="3207" y="2637"/>
                  </a:lnTo>
                  <a:close/>
                  <a:moveTo>
                    <a:pt x="3204" y="2630"/>
                  </a:moveTo>
                  <a:lnTo>
                    <a:pt x="3207" y="2630"/>
                  </a:lnTo>
                  <a:lnTo>
                    <a:pt x="3207" y="2630"/>
                  </a:lnTo>
                  <a:lnTo>
                    <a:pt x="3207" y="2628"/>
                  </a:lnTo>
                  <a:lnTo>
                    <a:pt x="3207" y="2628"/>
                  </a:lnTo>
                  <a:lnTo>
                    <a:pt x="3207" y="2630"/>
                  </a:lnTo>
                  <a:lnTo>
                    <a:pt x="3204" y="2630"/>
                  </a:lnTo>
                  <a:lnTo>
                    <a:pt x="3204" y="2630"/>
                  </a:lnTo>
                  <a:lnTo>
                    <a:pt x="3204" y="2632"/>
                  </a:lnTo>
                  <a:lnTo>
                    <a:pt x="3204" y="2632"/>
                  </a:lnTo>
                  <a:lnTo>
                    <a:pt x="3204" y="2632"/>
                  </a:lnTo>
                  <a:lnTo>
                    <a:pt x="3204" y="2630"/>
                  </a:lnTo>
                  <a:close/>
                  <a:moveTo>
                    <a:pt x="3209" y="2625"/>
                  </a:moveTo>
                  <a:lnTo>
                    <a:pt x="3209" y="2625"/>
                  </a:lnTo>
                  <a:lnTo>
                    <a:pt x="3209" y="2625"/>
                  </a:lnTo>
                  <a:lnTo>
                    <a:pt x="3209" y="2623"/>
                  </a:lnTo>
                  <a:lnTo>
                    <a:pt x="3209" y="2623"/>
                  </a:lnTo>
                  <a:lnTo>
                    <a:pt x="3209" y="2623"/>
                  </a:lnTo>
                  <a:lnTo>
                    <a:pt x="3209" y="2623"/>
                  </a:lnTo>
                  <a:lnTo>
                    <a:pt x="3209" y="2623"/>
                  </a:lnTo>
                  <a:lnTo>
                    <a:pt x="3209" y="2623"/>
                  </a:lnTo>
                  <a:lnTo>
                    <a:pt x="3209" y="2623"/>
                  </a:lnTo>
                  <a:lnTo>
                    <a:pt x="3209" y="2623"/>
                  </a:lnTo>
                  <a:lnTo>
                    <a:pt x="3209" y="2623"/>
                  </a:lnTo>
                  <a:lnTo>
                    <a:pt x="3209" y="2623"/>
                  </a:lnTo>
                  <a:lnTo>
                    <a:pt x="3207" y="2623"/>
                  </a:lnTo>
                  <a:lnTo>
                    <a:pt x="3207" y="2623"/>
                  </a:lnTo>
                  <a:lnTo>
                    <a:pt x="3207" y="2621"/>
                  </a:lnTo>
                  <a:lnTo>
                    <a:pt x="3209" y="2621"/>
                  </a:lnTo>
                  <a:lnTo>
                    <a:pt x="3209" y="2618"/>
                  </a:lnTo>
                  <a:lnTo>
                    <a:pt x="3209" y="2618"/>
                  </a:lnTo>
                  <a:lnTo>
                    <a:pt x="3209" y="2618"/>
                  </a:lnTo>
                  <a:lnTo>
                    <a:pt x="3209" y="2618"/>
                  </a:lnTo>
                  <a:lnTo>
                    <a:pt x="3209" y="2618"/>
                  </a:lnTo>
                  <a:lnTo>
                    <a:pt x="3207" y="2621"/>
                  </a:lnTo>
                  <a:lnTo>
                    <a:pt x="3207" y="2621"/>
                  </a:lnTo>
                  <a:lnTo>
                    <a:pt x="3207" y="2621"/>
                  </a:lnTo>
                  <a:lnTo>
                    <a:pt x="3207" y="2623"/>
                  </a:lnTo>
                  <a:lnTo>
                    <a:pt x="3207" y="2623"/>
                  </a:lnTo>
                  <a:lnTo>
                    <a:pt x="3207" y="2623"/>
                  </a:lnTo>
                  <a:lnTo>
                    <a:pt x="3204" y="2623"/>
                  </a:lnTo>
                  <a:lnTo>
                    <a:pt x="3204" y="2623"/>
                  </a:lnTo>
                  <a:lnTo>
                    <a:pt x="3204" y="2623"/>
                  </a:lnTo>
                  <a:lnTo>
                    <a:pt x="3204" y="2623"/>
                  </a:lnTo>
                  <a:lnTo>
                    <a:pt x="3204" y="2625"/>
                  </a:lnTo>
                  <a:lnTo>
                    <a:pt x="3202" y="2625"/>
                  </a:lnTo>
                  <a:lnTo>
                    <a:pt x="3204" y="2625"/>
                  </a:lnTo>
                  <a:lnTo>
                    <a:pt x="3204" y="2625"/>
                  </a:lnTo>
                  <a:lnTo>
                    <a:pt x="3204" y="2625"/>
                  </a:lnTo>
                  <a:lnTo>
                    <a:pt x="3204" y="2625"/>
                  </a:lnTo>
                  <a:lnTo>
                    <a:pt x="3204" y="2625"/>
                  </a:lnTo>
                  <a:lnTo>
                    <a:pt x="3204" y="2625"/>
                  </a:lnTo>
                  <a:lnTo>
                    <a:pt x="3204" y="2623"/>
                  </a:lnTo>
                  <a:lnTo>
                    <a:pt x="3204" y="2625"/>
                  </a:lnTo>
                  <a:lnTo>
                    <a:pt x="3207" y="2625"/>
                  </a:lnTo>
                  <a:lnTo>
                    <a:pt x="3207" y="2625"/>
                  </a:lnTo>
                  <a:lnTo>
                    <a:pt x="3207" y="2625"/>
                  </a:lnTo>
                  <a:lnTo>
                    <a:pt x="3207" y="2625"/>
                  </a:lnTo>
                  <a:lnTo>
                    <a:pt x="3207" y="2623"/>
                  </a:lnTo>
                  <a:lnTo>
                    <a:pt x="3207" y="2623"/>
                  </a:lnTo>
                  <a:lnTo>
                    <a:pt x="3207" y="2623"/>
                  </a:lnTo>
                  <a:lnTo>
                    <a:pt x="3207" y="2623"/>
                  </a:lnTo>
                  <a:lnTo>
                    <a:pt x="3207" y="2623"/>
                  </a:lnTo>
                  <a:lnTo>
                    <a:pt x="3207" y="2625"/>
                  </a:lnTo>
                  <a:lnTo>
                    <a:pt x="3207" y="2625"/>
                  </a:lnTo>
                  <a:lnTo>
                    <a:pt x="3209" y="2625"/>
                  </a:lnTo>
                  <a:lnTo>
                    <a:pt x="3209" y="2625"/>
                  </a:lnTo>
                  <a:lnTo>
                    <a:pt x="3209" y="2625"/>
                  </a:lnTo>
                  <a:close/>
                  <a:moveTo>
                    <a:pt x="3209" y="2630"/>
                  </a:moveTo>
                  <a:lnTo>
                    <a:pt x="3209" y="2630"/>
                  </a:lnTo>
                  <a:lnTo>
                    <a:pt x="3209" y="2630"/>
                  </a:lnTo>
                  <a:lnTo>
                    <a:pt x="3209" y="2630"/>
                  </a:lnTo>
                  <a:lnTo>
                    <a:pt x="3209" y="2630"/>
                  </a:lnTo>
                  <a:lnTo>
                    <a:pt x="3207" y="2630"/>
                  </a:lnTo>
                  <a:lnTo>
                    <a:pt x="3207" y="2630"/>
                  </a:lnTo>
                  <a:lnTo>
                    <a:pt x="3207" y="2630"/>
                  </a:lnTo>
                  <a:lnTo>
                    <a:pt x="3207" y="2632"/>
                  </a:lnTo>
                  <a:lnTo>
                    <a:pt x="3207" y="2630"/>
                  </a:lnTo>
                  <a:lnTo>
                    <a:pt x="3207" y="2630"/>
                  </a:lnTo>
                  <a:lnTo>
                    <a:pt x="3207" y="2630"/>
                  </a:lnTo>
                  <a:lnTo>
                    <a:pt x="3209" y="2630"/>
                  </a:lnTo>
                  <a:close/>
                  <a:moveTo>
                    <a:pt x="3696" y="2140"/>
                  </a:moveTo>
                  <a:lnTo>
                    <a:pt x="3694" y="2138"/>
                  </a:lnTo>
                  <a:lnTo>
                    <a:pt x="3694" y="2138"/>
                  </a:lnTo>
                  <a:lnTo>
                    <a:pt x="3694" y="2138"/>
                  </a:lnTo>
                  <a:lnTo>
                    <a:pt x="3694" y="2138"/>
                  </a:lnTo>
                  <a:lnTo>
                    <a:pt x="3694" y="2140"/>
                  </a:lnTo>
                  <a:lnTo>
                    <a:pt x="3694" y="2140"/>
                  </a:lnTo>
                  <a:lnTo>
                    <a:pt x="3694" y="2140"/>
                  </a:lnTo>
                  <a:lnTo>
                    <a:pt x="3694" y="2140"/>
                  </a:lnTo>
                  <a:lnTo>
                    <a:pt x="3694" y="2140"/>
                  </a:lnTo>
                  <a:lnTo>
                    <a:pt x="3694" y="2140"/>
                  </a:lnTo>
                  <a:lnTo>
                    <a:pt x="3694" y="2140"/>
                  </a:lnTo>
                  <a:lnTo>
                    <a:pt x="3694" y="2140"/>
                  </a:lnTo>
                  <a:lnTo>
                    <a:pt x="3694" y="2143"/>
                  </a:lnTo>
                  <a:lnTo>
                    <a:pt x="3694" y="2143"/>
                  </a:lnTo>
                  <a:lnTo>
                    <a:pt x="3694" y="2143"/>
                  </a:lnTo>
                  <a:lnTo>
                    <a:pt x="3694" y="2143"/>
                  </a:lnTo>
                  <a:lnTo>
                    <a:pt x="3694" y="2143"/>
                  </a:lnTo>
                  <a:lnTo>
                    <a:pt x="3694" y="2143"/>
                  </a:lnTo>
                  <a:lnTo>
                    <a:pt x="3694" y="2143"/>
                  </a:lnTo>
                  <a:lnTo>
                    <a:pt x="3694" y="2145"/>
                  </a:lnTo>
                  <a:lnTo>
                    <a:pt x="3694" y="2145"/>
                  </a:lnTo>
                  <a:lnTo>
                    <a:pt x="3694" y="2145"/>
                  </a:lnTo>
                  <a:lnTo>
                    <a:pt x="3694" y="2145"/>
                  </a:lnTo>
                  <a:lnTo>
                    <a:pt x="3696" y="2145"/>
                  </a:lnTo>
                  <a:lnTo>
                    <a:pt x="3694" y="2143"/>
                  </a:lnTo>
                  <a:lnTo>
                    <a:pt x="3694" y="2143"/>
                  </a:lnTo>
                  <a:lnTo>
                    <a:pt x="3694" y="2143"/>
                  </a:lnTo>
                  <a:lnTo>
                    <a:pt x="3694" y="2143"/>
                  </a:lnTo>
                  <a:lnTo>
                    <a:pt x="3696" y="2143"/>
                  </a:lnTo>
                  <a:lnTo>
                    <a:pt x="3696" y="2143"/>
                  </a:lnTo>
                  <a:lnTo>
                    <a:pt x="3696" y="2143"/>
                  </a:lnTo>
                  <a:lnTo>
                    <a:pt x="3696" y="2143"/>
                  </a:lnTo>
                  <a:lnTo>
                    <a:pt x="3696" y="2140"/>
                  </a:lnTo>
                  <a:lnTo>
                    <a:pt x="3696" y="2140"/>
                  </a:lnTo>
                  <a:close/>
                  <a:moveTo>
                    <a:pt x="2875" y="2744"/>
                  </a:moveTo>
                  <a:lnTo>
                    <a:pt x="2875" y="2744"/>
                  </a:lnTo>
                  <a:lnTo>
                    <a:pt x="2875" y="2744"/>
                  </a:lnTo>
                  <a:lnTo>
                    <a:pt x="2875" y="2744"/>
                  </a:lnTo>
                  <a:lnTo>
                    <a:pt x="2875" y="2744"/>
                  </a:lnTo>
                  <a:lnTo>
                    <a:pt x="2875" y="2744"/>
                  </a:lnTo>
                  <a:lnTo>
                    <a:pt x="2873" y="2744"/>
                  </a:lnTo>
                  <a:lnTo>
                    <a:pt x="2870" y="2748"/>
                  </a:lnTo>
                  <a:lnTo>
                    <a:pt x="2870" y="2748"/>
                  </a:lnTo>
                  <a:lnTo>
                    <a:pt x="2873" y="2748"/>
                  </a:lnTo>
                  <a:lnTo>
                    <a:pt x="2873" y="2751"/>
                  </a:lnTo>
                  <a:lnTo>
                    <a:pt x="2873" y="2751"/>
                  </a:lnTo>
                  <a:lnTo>
                    <a:pt x="2870" y="2751"/>
                  </a:lnTo>
                  <a:lnTo>
                    <a:pt x="2870" y="2753"/>
                  </a:lnTo>
                  <a:lnTo>
                    <a:pt x="2868" y="2755"/>
                  </a:lnTo>
                  <a:lnTo>
                    <a:pt x="2868" y="2755"/>
                  </a:lnTo>
                  <a:lnTo>
                    <a:pt x="2868" y="2758"/>
                  </a:lnTo>
                  <a:lnTo>
                    <a:pt x="2868" y="2755"/>
                  </a:lnTo>
                  <a:lnTo>
                    <a:pt x="2870" y="2755"/>
                  </a:lnTo>
                  <a:lnTo>
                    <a:pt x="2870" y="2753"/>
                  </a:lnTo>
                  <a:lnTo>
                    <a:pt x="2873" y="2751"/>
                  </a:lnTo>
                  <a:lnTo>
                    <a:pt x="2878" y="2746"/>
                  </a:lnTo>
                  <a:lnTo>
                    <a:pt x="2878" y="2746"/>
                  </a:lnTo>
                  <a:lnTo>
                    <a:pt x="2878" y="2744"/>
                  </a:lnTo>
                  <a:lnTo>
                    <a:pt x="2878" y="2744"/>
                  </a:lnTo>
                  <a:lnTo>
                    <a:pt x="2878" y="2744"/>
                  </a:lnTo>
                  <a:lnTo>
                    <a:pt x="2875" y="2744"/>
                  </a:lnTo>
                  <a:close/>
                  <a:moveTo>
                    <a:pt x="3100" y="2658"/>
                  </a:moveTo>
                  <a:lnTo>
                    <a:pt x="3100" y="2658"/>
                  </a:lnTo>
                  <a:lnTo>
                    <a:pt x="3098" y="2658"/>
                  </a:lnTo>
                  <a:lnTo>
                    <a:pt x="3098" y="2656"/>
                  </a:lnTo>
                  <a:lnTo>
                    <a:pt x="3095" y="2656"/>
                  </a:lnTo>
                  <a:lnTo>
                    <a:pt x="3095" y="2656"/>
                  </a:lnTo>
                  <a:lnTo>
                    <a:pt x="3095" y="2656"/>
                  </a:lnTo>
                  <a:lnTo>
                    <a:pt x="3093" y="2656"/>
                  </a:lnTo>
                  <a:lnTo>
                    <a:pt x="3091" y="2656"/>
                  </a:lnTo>
                  <a:lnTo>
                    <a:pt x="3091" y="2656"/>
                  </a:lnTo>
                  <a:lnTo>
                    <a:pt x="3091" y="2656"/>
                  </a:lnTo>
                  <a:lnTo>
                    <a:pt x="3091" y="2656"/>
                  </a:lnTo>
                  <a:lnTo>
                    <a:pt x="3091" y="2656"/>
                  </a:lnTo>
                  <a:lnTo>
                    <a:pt x="3088" y="2656"/>
                  </a:lnTo>
                  <a:lnTo>
                    <a:pt x="3088" y="2656"/>
                  </a:lnTo>
                  <a:lnTo>
                    <a:pt x="3086" y="2658"/>
                  </a:lnTo>
                  <a:lnTo>
                    <a:pt x="3086" y="2658"/>
                  </a:lnTo>
                  <a:lnTo>
                    <a:pt x="3088" y="2658"/>
                  </a:lnTo>
                  <a:lnTo>
                    <a:pt x="3093" y="2661"/>
                  </a:lnTo>
                  <a:lnTo>
                    <a:pt x="3093" y="2661"/>
                  </a:lnTo>
                  <a:lnTo>
                    <a:pt x="3093" y="2661"/>
                  </a:lnTo>
                  <a:lnTo>
                    <a:pt x="3095" y="2663"/>
                  </a:lnTo>
                  <a:lnTo>
                    <a:pt x="3098" y="2663"/>
                  </a:lnTo>
                  <a:lnTo>
                    <a:pt x="3098" y="2663"/>
                  </a:lnTo>
                  <a:lnTo>
                    <a:pt x="3098" y="2663"/>
                  </a:lnTo>
                  <a:lnTo>
                    <a:pt x="3098" y="2661"/>
                  </a:lnTo>
                  <a:lnTo>
                    <a:pt x="3098" y="2661"/>
                  </a:lnTo>
                  <a:lnTo>
                    <a:pt x="3098" y="2661"/>
                  </a:lnTo>
                  <a:lnTo>
                    <a:pt x="3100" y="2661"/>
                  </a:lnTo>
                  <a:lnTo>
                    <a:pt x="3100" y="2658"/>
                  </a:lnTo>
                  <a:lnTo>
                    <a:pt x="3100" y="2658"/>
                  </a:lnTo>
                  <a:lnTo>
                    <a:pt x="3100" y="2658"/>
                  </a:lnTo>
                  <a:lnTo>
                    <a:pt x="3100" y="2658"/>
                  </a:lnTo>
                  <a:close/>
                  <a:moveTo>
                    <a:pt x="1912" y="2412"/>
                  </a:moveTo>
                  <a:lnTo>
                    <a:pt x="1912" y="2412"/>
                  </a:lnTo>
                  <a:lnTo>
                    <a:pt x="1912" y="2412"/>
                  </a:lnTo>
                  <a:lnTo>
                    <a:pt x="1912" y="2412"/>
                  </a:lnTo>
                  <a:lnTo>
                    <a:pt x="1910" y="2412"/>
                  </a:lnTo>
                  <a:lnTo>
                    <a:pt x="1910" y="2410"/>
                  </a:lnTo>
                  <a:lnTo>
                    <a:pt x="1910" y="2410"/>
                  </a:lnTo>
                  <a:lnTo>
                    <a:pt x="1910" y="2410"/>
                  </a:lnTo>
                  <a:lnTo>
                    <a:pt x="1907" y="2412"/>
                  </a:lnTo>
                  <a:lnTo>
                    <a:pt x="1907" y="2410"/>
                  </a:lnTo>
                  <a:lnTo>
                    <a:pt x="1907" y="2410"/>
                  </a:lnTo>
                  <a:lnTo>
                    <a:pt x="1907" y="2412"/>
                  </a:lnTo>
                  <a:lnTo>
                    <a:pt x="1907" y="2412"/>
                  </a:lnTo>
                  <a:lnTo>
                    <a:pt x="1907" y="2412"/>
                  </a:lnTo>
                  <a:lnTo>
                    <a:pt x="1907" y="2412"/>
                  </a:lnTo>
                  <a:lnTo>
                    <a:pt x="1910" y="2415"/>
                  </a:lnTo>
                  <a:lnTo>
                    <a:pt x="1910" y="2415"/>
                  </a:lnTo>
                  <a:lnTo>
                    <a:pt x="1910" y="2415"/>
                  </a:lnTo>
                  <a:lnTo>
                    <a:pt x="1910" y="2415"/>
                  </a:lnTo>
                  <a:lnTo>
                    <a:pt x="1910" y="2415"/>
                  </a:lnTo>
                  <a:lnTo>
                    <a:pt x="1912" y="2415"/>
                  </a:lnTo>
                  <a:lnTo>
                    <a:pt x="1912" y="2415"/>
                  </a:lnTo>
                  <a:lnTo>
                    <a:pt x="1912" y="2415"/>
                  </a:lnTo>
                  <a:lnTo>
                    <a:pt x="1912" y="2415"/>
                  </a:lnTo>
                  <a:lnTo>
                    <a:pt x="1912" y="2415"/>
                  </a:lnTo>
                  <a:lnTo>
                    <a:pt x="1912" y="2415"/>
                  </a:lnTo>
                  <a:lnTo>
                    <a:pt x="1912" y="2415"/>
                  </a:lnTo>
                  <a:lnTo>
                    <a:pt x="1914" y="2415"/>
                  </a:lnTo>
                  <a:lnTo>
                    <a:pt x="1914" y="2415"/>
                  </a:lnTo>
                  <a:lnTo>
                    <a:pt x="1912" y="2415"/>
                  </a:lnTo>
                  <a:lnTo>
                    <a:pt x="1912" y="2412"/>
                  </a:lnTo>
                  <a:close/>
                  <a:moveTo>
                    <a:pt x="2901" y="2725"/>
                  </a:moveTo>
                  <a:lnTo>
                    <a:pt x="2899" y="2725"/>
                  </a:lnTo>
                  <a:lnTo>
                    <a:pt x="2897" y="2727"/>
                  </a:lnTo>
                  <a:lnTo>
                    <a:pt x="2897" y="2727"/>
                  </a:lnTo>
                  <a:lnTo>
                    <a:pt x="2899" y="2727"/>
                  </a:lnTo>
                  <a:lnTo>
                    <a:pt x="2899" y="2727"/>
                  </a:lnTo>
                  <a:lnTo>
                    <a:pt x="2901" y="2727"/>
                  </a:lnTo>
                  <a:lnTo>
                    <a:pt x="2901" y="2727"/>
                  </a:lnTo>
                  <a:lnTo>
                    <a:pt x="2901" y="2725"/>
                  </a:lnTo>
                  <a:lnTo>
                    <a:pt x="2904" y="2725"/>
                  </a:lnTo>
                  <a:lnTo>
                    <a:pt x="2904" y="2725"/>
                  </a:lnTo>
                  <a:lnTo>
                    <a:pt x="2904" y="2725"/>
                  </a:lnTo>
                  <a:lnTo>
                    <a:pt x="2904" y="2725"/>
                  </a:lnTo>
                  <a:lnTo>
                    <a:pt x="2904" y="2725"/>
                  </a:lnTo>
                  <a:lnTo>
                    <a:pt x="2904" y="2725"/>
                  </a:lnTo>
                  <a:lnTo>
                    <a:pt x="2904" y="2725"/>
                  </a:lnTo>
                  <a:lnTo>
                    <a:pt x="2901" y="2725"/>
                  </a:lnTo>
                  <a:close/>
                  <a:moveTo>
                    <a:pt x="2965" y="2677"/>
                  </a:moveTo>
                  <a:lnTo>
                    <a:pt x="2965" y="2677"/>
                  </a:lnTo>
                  <a:lnTo>
                    <a:pt x="2965" y="2677"/>
                  </a:lnTo>
                  <a:lnTo>
                    <a:pt x="2963" y="2677"/>
                  </a:lnTo>
                  <a:lnTo>
                    <a:pt x="2963" y="2677"/>
                  </a:lnTo>
                  <a:lnTo>
                    <a:pt x="2963" y="2677"/>
                  </a:lnTo>
                  <a:lnTo>
                    <a:pt x="2963" y="2677"/>
                  </a:lnTo>
                  <a:lnTo>
                    <a:pt x="2963" y="2677"/>
                  </a:lnTo>
                  <a:lnTo>
                    <a:pt x="2963" y="2677"/>
                  </a:lnTo>
                  <a:lnTo>
                    <a:pt x="2965" y="2677"/>
                  </a:lnTo>
                  <a:lnTo>
                    <a:pt x="2965" y="2680"/>
                  </a:lnTo>
                  <a:lnTo>
                    <a:pt x="2965" y="2680"/>
                  </a:lnTo>
                  <a:lnTo>
                    <a:pt x="2963" y="2680"/>
                  </a:lnTo>
                  <a:lnTo>
                    <a:pt x="2963" y="2680"/>
                  </a:lnTo>
                  <a:lnTo>
                    <a:pt x="2963" y="2680"/>
                  </a:lnTo>
                  <a:lnTo>
                    <a:pt x="2963" y="2680"/>
                  </a:lnTo>
                  <a:lnTo>
                    <a:pt x="2963" y="2682"/>
                  </a:lnTo>
                  <a:lnTo>
                    <a:pt x="2960" y="2682"/>
                  </a:lnTo>
                  <a:lnTo>
                    <a:pt x="2960" y="2682"/>
                  </a:lnTo>
                  <a:lnTo>
                    <a:pt x="2960" y="2684"/>
                  </a:lnTo>
                  <a:lnTo>
                    <a:pt x="2960" y="2684"/>
                  </a:lnTo>
                  <a:lnTo>
                    <a:pt x="2958" y="2684"/>
                  </a:lnTo>
                  <a:lnTo>
                    <a:pt x="2956" y="2687"/>
                  </a:lnTo>
                  <a:lnTo>
                    <a:pt x="2953" y="2689"/>
                  </a:lnTo>
                  <a:lnTo>
                    <a:pt x="2953" y="2689"/>
                  </a:lnTo>
                  <a:lnTo>
                    <a:pt x="2951" y="2692"/>
                  </a:lnTo>
                  <a:lnTo>
                    <a:pt x="2953" y="2692"/>
                  </a:lnTo>
                  <a:lnTo>
                    <a:pt x="2953" y="2689"/>
                  </a:lnTo>
                  <a:lnTo>
                    <a:pt x="2960" y="2687"/>
                  </a:lnTo>
                  <a:lnTo>
                    <a:pt x="2963" y="2684"/>
                  </a:lnTo>
                  <a:lnTo>
                    <a:pt x="2970" y="2677"/>
                  </a:lnTo>
                  <a:lnTo>
                    <a:pt x="2965" y="2677"/>
                  </a:lnTo>
                  <a:lnTo>
                    <a:pt x="2965" y="2677"/>
                  </a:lnTo>
                  <a:close/>
                  <a:moveTo>
                    <a:pt x="2897" y="2729"/>
                  </a:moveTo>
                  <a:lnTo>
                    <a:pt x="2897" y="2729"/>
                  </a:lnTo>
                  <a:lnTo>
                    <a:pt x="2897" y="2729"/>
                  </a:lnTo>
                  <a:lnTo>
                    <a:pt x="2894" y="2729"/>
                  </a:lnTo>
                  <a:lnTo>
                    <a:pt x="2894" y="2729"/>
                  </a:lnTo>
                  <a:lnTo>
                    <a:pt x="2894" y="2729"/>
                  </a:lnTo>
                  <a:lnTo>
                    <a:pt x="2894" y="2729"/>
                  </a:lnTo>
                  <a:lnTo>
                    <a:pt x="2894" y="2732"/>
                  </a:lnTo>
                  <a:lnTo>
                    <a:pt x="2894" y="2732"/>
                  </a:lnTo>
                  <a:lnTo>
                    <a:pt x="2892" y="2732"/>
                  </a:lnTo>
                  <a:lnTo>
                    <a:pt x="2892" y="2732"/>
                  </a:lnTo>
                  <a:lnTo>
                    <a:pt x="2892" y="2732"/>
                  </a:lnTo>
                  <a:lnTo>
                    <a:pt x="2889" y="2734"/>
                  </a:lnTo>
                  <a:lnTo>
                    <a:pt x="2887" y="2734"/>
                  </a:lnTo>
                  <a:lnTo>
                    <a:pt x="2887" y="2734"/>
                  </a:lnTo>
                  <a:lnTo>
                    <a:pt x="2887" y="2734"/>
                  </a:lnTo>
                  <a:lnTo>
                    <a:pt x="2885" y="2737"/>
                  </a:lnTo>
                  <a:lnTo>
                    <a:pt x="2885" y="2737"/>
                  </a:lnTo>
                  <a:lnTo>
                    <a:pt x="2885" y="2737"/>
                  </a:lnTo>
                  <a:lnTo>
                    <a:pt x="2882" y="2739"/>
                  </a:lnTo>
                  <a:lnTo>
                    <a:pt x="2882" y="2739"/>
                  </a:lnTo>
                  <a:lnTo>
                    <a:pt x="2882" y="2739"/>
                  </a:lnTo>
                  <a:lnTo>
                    <a:pt x="2880" y="2739"/>
                  </a:lnTo>
                  <a:lnTo>
                    <a:pt x="2880" y="2739"/>
                  </a:lnTo>
                  <a:lnTo>
                    <a:pt x="2878" y="2739"/>
                  </a:lnTo>
                  <a:lnTo>
                    <a:pt x="2878" y="2741"/>
                  </a:lnTo>
                  <a:lnTo>
                    <a:pt x="2878" y="2741"/>
                  </a:lnTo>
                  <a:lnTo>
                    <a:pt x="2878" y="2741"/>
                  </a:lnTo>
                  <a:lnTo>
                    <a:pt x="2878" y="2744"/>
                  </a:lnTo>
                  <a:lnTo>
                    <a:pt x="2878" y="2744"/>
                  </a:lnTo>
                  <a:lnTo>
                    <a:pt x="2878" y="2744"/>
                  </a:lnTo>
                  <a:lnTo>
                    <a:pt x="2878" y="2746"/>
                  </a:lnTo>
                  <a:lnTo>
                    <a:pt x="2878" y="2746"/>
                  </a:lnTo>
                  <a:lnTo>
                    <a:pt x="2878" y="2746"/>
                  </a:lnTo>
                  <a:lnTo>
                    <a:pt x="2878" y="2746"/>
                  </a:lnTo>
                  <a:lnTo>
                    <a:pt x="2878" y="2744"/>
                  </a:lnTo>
                  <a:lnTo>
                    <a:pt x="2880" y="2744"/>
                  </a:lnTo>
                  <a:lnTo>
                    <a:pt x="2882" y="2741"/>
                  </a:lnTo>
                  <a:lnTo>
                    <a:pt x="2882" y="2739"/>
                  </a:lnTo>
                  <a:lnTo>
                    <a:pt x="2887" y="2737"/>
                  </a:lnTo>
                  <a:lnTo>
                    <a:pt x="2889" y="2734"/>
                  </a:lnTo>
                  <a:lnTo>
                    <a:pt x="2892" y="2734"/>
                  </a:lnTo>
                  <a:lnTo>
                    <a:pt x="2892" y="2734"/>
                  </a:lnTo>
                  <a:lnTo>
                    <a:pt x="2897" y="2732"/>
                  </a:lnTo>
                  <a:lnTo>
                    <a:pt x="2897" y="2732"/>
                  </a:lnTo>
                  <a:lnTo>
                    <a:pt x="2897" y="2732"/>
                  </a:lnTo>
                  <a:lnTo>
                    <a:pt x="2897" y="2732"/>
                  </a:lnTo>
                  <a:lnTo>
                    <a:pt x="2897" y="2729"/>
                  </a:lnTo>
                  <a:lnTo>
                    <a:pt x="2897" y="2729"/>
                  </a:lnTo>
                  <a:lnTo>
                    <a:pt x="2897" y="2729"/>
                  </a:lnTo>
                  <a:close/>
                  <a:moveTo>
                    <a:pt x="2868" y="2758"/>
                  </a:moveTo>
                  <a:lnTo>
                    <a:pt x="2866" y="2758"/>
                  </a:lnTo>
                  <a:lnTo>
                    <a:pt x="2866" y="2760"/>
                  </a:lnTo>
                  <a:lnTo>
                    <a:pt x="2866" y="2760"/>
                  </a:lnTo>
                  <a:lnTo>
                    <a:pt x="2863" y="2763"/>
                  </a:lnTo>
                  <a:lnTo>
                    <a:pt x="2861" y="2767"/>
                  </a:lnTo>
                  <a:lnTo>
                    <a:pt x="2861" y="2767"/>
                  </a:lnTo>
                  <a:lnTo>
                    <a:pt x="2861" y="2767"/>
                  </a:lnTo>
                  <a:lnTo>
                    <a:pt x="2861" y="2767"/>
                  </a:lnTo>
                  <a:lnTo>
                    <a:pt x="2859" y="2767"/>
                  </a:lnTo>
                  <a:lnTo>
                    <a:pt x="2859" y="2767"/>
                  </a:lnTo>
                  <a:lnTo>
                    <a:pt x="2859" y="2767"/>
                  </a:lnTo>
                  <a:lnTo>
                    <a:pt x="2859" y="2770"/>
                  </a:lnTo>
                  <a:lnTo>
                    <a:pt x="2859" y="2770"/>
                  </a:lnTo>
                  <a:lnTo>
                    <a:pt x="2859" y="2772"/>
                  </a:lnTo>
                  <a:lnTo>
                    <a:pt x="2859" y="2772"/>
                  </a:lnTo>
                  <a:lnTo>
                    <a:pt x="2856" y="2774"/>
                  </a:lnTo>
                  <a:lnTo>
                    <a:pt x="2856" y="2777"/>
                  </a:lnTo>
                  <a:lnTo>
                    <a:pt x="2856" y="2777"/>
                  </a:lnTo>
                  <a:lnTo>
                    <a:pt x="2856" y="2779"/>
                  </a:lnTo>
                  <a:lnTo>
                    <a:pt x="2854" y="2784"/>
                  </a:lnTo>
                  <a:lnTo>
                    <a:pt x="2854" y="2789"/>
                  </a:lnTo>
                  <a:lnTo>
                    <a:pt x="2854" y="2789"/>
                  </a:lnTo>
                  <a:lnTo>
                    <a:pt x="2854" y="2789"/>
                  </a:lnTo>
                  <a:lnTo>
                    <a:pt x="2854" y="2789"/>
                  </a:lnTo>
                  <a:lnTo>
                    <a:pt x="2854" y="2789"/>
                  </a:lnTo>
                  <a:lnTo>
                    <a:pt x="2856" y="2786"/>
                  </a:lnTo>
                  <a:lnTo>
                    <a:pt x="2856" y="2781"/>
                  </a:lnTo>
                  <a:lnTo>
                    <a:pt x="2859" y="2774"/>
                  </a:lnTo>
                  <a:lnTo>
                    <a:pt x="2863" y="2767"/>
                  </a:lnTo>
                  <a:lnTo>
                    <a:pt x="2868" y="2758"/>
                  </a:lnTo>
                  <a:lnTo>
                    <a:pt x="2868" y="2758"/>
                  </a:lnTo>
                  <a:lnTo>
                    <a:pt x="2868" y="2758"/>
                  </a:lnTo>
                  <a:lnTo>
                    <a:pt x="2868" y="2758"/>
                  </a:lnTo>
                  <a:close/>
                  <a:moveTo>
                    <a:pt x="1914" y="2372"/>
                  </a:moveTo>
                  <a:lnTo>
                    <a:pt x="1914" y="2372"/>
                  </a:lnTo>
                  <a:lnTo>
                    <a:pt x="1914" y="2372"/>
                  </a:lnTo>
                  <a:lnTo>
                    <a:pt x="1914" y="2372"/>
                  </a:lnTo>
                  <a:lnTo>
                    <a:pt x="1914" y="2375"/>
                  </a:lnTo>
                  <a:lnTo>
                    <a:pt x="1912" y="2375"/>
                  </a:lnTo>
                  <a:lnTo>
                    <a:pt x="1912" y="2375"/>
                  </a:lnTo>
                  <a:lnTo>
                    <a:pt x="1912" y="2375"/>
                  </a:lnTo>
                  <a:lnTo>
                    <a:pt x="1910" y="2375"/>
                  </a:lnTo>
                  <a:lnTo>
                    <a:pt x="1910" y="2372"/>
                  </a:lnTo>
                  <a:lnTo>
                    <a:pt x="1910" y="2372"/>
                  </a:lnTo>
                  <a:lnTo>
                    <a:pt x="1910" y="2372"/>
                  </a:lnTo>
                  <a:lnTo>
                    <a:pt x="1910" y="2372"/>
                  </a:lnTo>
                  <a:lnTo>
                    <a:pt x="1910" y="2372"/>
                  </a:lnTo>
                  <a:lnTo>
                    <a:pt x="1907" y="2372"/>
                  </a:lnTo>
                  <a:lnTo>
                    <a:pt x="1907" y="2372"/>
                  </a:lnTo>
                  <a:lnTo>
                    <a:pt x="1907" y="2372"/>
                  </a:lnTo>
                  <a:lnTo>
                    <a:pt x="1907" y="2372"/>
                  </a:lnTo>
                  <a:lnTo>
                    <a:pt x="1907" y="2370"/>
                  </a:lnTo>
                  <a:lnTo>
                    <a:pt x="1907" y="2370"/>
                  </a:lnTo>
                  <a:lnTo>
                    <a:pt x="1905" y="2370"/>
                  </a:lnTo>
                  <a:lnTo>
                    <a:pt x="1905" y="2370"/>
                  </a:lnTo>
                  <a:lnTo>
                    <a:pt x="1905" y="2370"/>
                  </a:lnTo>
                  <a:lnTo>
                    <a:pt x="1905" y="2370"/>
                  </a:lnTo>
                  <a:lnTo>
                    <a:pt x="1903" y="2370"/>
                  </a:lnTo>
                  <a:lnTo>
                    <a:pt x="1903" y="2370"/>
                  </a:lnTo>
                  <a:lnTo>
                    <a:pt x="1900" y="2370"/>
                  </a:lnTo>
                  <a:lnTo>
                    <a:pt x="1900" y="2367"/>
                  </a:lnTo>
                  <a:lnTo>
                    <a:pt x="1900" y="2370"/>
                  </a:lnTo>
                  <a:lnTo>
                    <a:pt x="1900" y="2370"/>
                  </a:lnTo>
                  <a:lnTo>
                    <a:pt x="1900" y="2370"/>
                  </a:lnTo>
                  <a:lnTo>
                    <a:pt x="1900" y="2370"/>
                  </a:lnTo>
                  <a:lnTo>
                    <a:pt x="1900" y="2370"/>
                  </a:lnTo>
                  <a:lnTo>
                    <a:pt x="1900" y="2370"/>
                  </a:lnTo>
                  <a:lnTo>
                    <a:pt x="1900" y="2370"/>
                  </a:lnTo>
                  <a:lnTo>
                    <a:pt x="1900" y="2370"/>
                  </a:lnTo>
                  <a:lnTo>
                    <a:pt x="1903" y="2370"/>
                  </a:lnTo>
                  <a:lnTo>
                    <a:pt x="1903" y="2372"/>
                  </a:lnTo>
                  <a:lnTo>
                    <a:pt x="1903" y="2372"/>
                  </a:lnTo>
                  <a:lnTo>
                    <a:pt x="1903" y="2372"/>
                  </a:lnTo>
                  <a:lnTo>
                    <a:pt x="1903" y="2372"/>
                  </a:lnTo>
                  <a:lnTo>
                    <a:pt x="1903" y="2372"/>
                  </a:lnTo>
                  <a:lnTo>
                    <a:pt x="1903" y="2375"/>
                  </a:lnTo>
                  <a:lnTo>
                    <a:pt x="1903" y="2375"/>
                  </a:lnTo>
                  <a:lnTo>
                    <a:pt x="1903" y="2375"/>
                  </a:lnTo>
                  <a:lnTo>
                    <a:pt x="1903" y="2375"/>
                  </a:lnTo>
                  <a:lnTo>
                    <a:pt x="1903" y="2375"/>
                  </a:lnTo>
                  <a:lnTo>
                    <a:pt x="1905" y="2375"/>
                  </a:lnTo>
                  <a:lnTo>
                    <a:pt x="1905" y="2375"/>
                  </a:lnTo>
                  <a:lnTo>
                    <a:pt x="1905" y="2375"/>
                  </a:lnTo>
                  <a:lnTo>
                    <a:pt x="1905" y="2375"/>
                  </a:lnTo>
                  <a:lnTo>
                    <a:pt x="1907" y="2377"/>
                  </a:lnTo>
                  <a:lnTo>
                    <a:pt x="1907" y="2375"/>
                  </a:lnTo>
                  <a:lnTo>
                    <a:pt x="1907" y="2377"/>
                  </a:lnTo>
                  <a:lnTo>
                    <a:pt x="1907" y="2377"/>
                  </a:lnTo>
                  <a:lnTo>
                    <a:pt x="1907" y="2377"/>
                  </a:lnTo>
                  <a:lnTo>
                    <a:pt x="1910" y="2375"/>
                  </a:lnTo>
                  <a:lnTo>
                    <a:pt x="1910" y="2377"/>
                  </a:lnTo>
                  <a:lnTo>
                    <a:pt x="1910" y="2375"/>
                  </a:lnTo>
                  <a:lnTo>
                    <a:pt x="1910" y="2375"/>
                  </a:lnTo>
                  <a:lnTo>
                    <a:pt x="1910" y="2375"/>
                  </a:lnTo>
                  <a:lnTo>
                    <a:pt x="1910" y="2375"/>
                  </a:lnTo>
                  <a:lnTo>
                    <a:pt x="1910" y="2375"/>
                  </a:lnTo>
                  <a:lnTo>
                    <a:pt x="1912" y="2375"/>
                  </a:lnTo>
                  <a:lnTo>
                    <a:pt x="1912" y="2375"/>
                  </a:lnTo>
                  <a:lnTo>
                    <a:pt x="1914" y="2375"/>
                  </a:lnTo>
                  <a:lnTo>
                    <a:pt x="1914" y="2375"/>
                  </a:lnTo>
                  <a:lnTo>
                    <a:pt x="1914" y="2375"/>
                  </a:lnTo>
                  <a:lnTo>
                    <a:pt x="1914" y="2375"/>
                  </a:lnTo>
                  <a:lnTo>
                    <a:pt x="1917" y="2375"/>
                  </a:lnTo>
                  <a:lnTo>
                    <a:pt x="1917" y="2375"/>
                  </a:lnTo>
                  <a:lnTo>
                    <a:pt x="1917" y="2375"/>
                  </a:lnTo>
                  <a:lnTo>
                    <a:pt x="1917" y="2375"/>
                  </a:lnTo>
                  <a:lnTo>
                    <a:pt x="1917" y="2375"/>
                  </a:lnTo>
                  <a:lnTo>
                    <a:pt x="1914" y="2372"/>
                  </a:lnTo>
                  <a:close/>
                  <a:moveTo>
                    <a:pt x="1955" y="2441"/>
                  </a:moveTo>
                  <a:lnTo>
                    <a:pt x="1952" y="2441"/>
                  </a:lnTo>
                  <a:lnTo>
                    <a:pt x="1952" y="2438"/>
                  </a:lnTo>
                  <a:lnTo>
                    <a:pt x="1952" y="2436"/>
                  </a:lnTo>
                  <a:lnTo>
                    <a:pt x="1950" y="2436"/>
                  </a:lnTo>
                  <a:lnTo>
                    <a:pt x="1950" y="2436"/>
                  </a:lnTo>
                  <a:lnTo>
                    <a:pt x="1950" y="2434"/>
                  </a:lnTo>
                  <a:lnTo>
                    <a:pt x="1948" y="2434"/>
                  </a:lnTo>
                  <a:lnTo>
                    <a:pt x="1948" y="2431"/>
                  </a:lnTo>
                  <a:lnTo>
                    <a:pt x="1948" y="2431"/>
                  </a:lnTo>
                  <a:lnTo>
                    <a:pt x="1948" y="2431"/>
                  </a:lnTo>
                  <a:lnTo>
                    <a:pt x="1948" y="2431"/>
                  </a:lnTo>
                  <a:lnTo>
                    <a:pt x="1948" y="2431"/>
                  </a:lnTo>
                  <a:lnTo>
                    <a:pt x="1948" y="2431"/>
                  </a:lnTo>
                  <a:lnTo>
                    <a:pt x="1948" y="2431"/>
                  </a:lnTo>
                  <a:lnTo>
                    <a:pt x="1945" y="2431"/>
                  </a:lnTo>
                  <a:lnTo>
                    <a:pt x="1945" y="2431"/>
                  </a:lnTo>
                  <a:lnTo>
                    <a:pt x="1948" y="2431"/>
                  </a:lnTo>
                  <a:lnTo>
                    <a:pt x="1948" y="2431"/>
                  </a:lnTo>
                  <a:lnTo>
                    <a:pt x="1948" y="2434"/>
                  </a:lnTo>
                  <a:lnTo>
                    <a:pt x="1948" y="2434"/>
                  </a:lnTo>
                  <a:lnTo>
                    <a:pt x="1948" y="2434"/>
                  </a:lnTo>
                  <a:lnTo>
                    <a:pt x="1948" y="2436"/>
                  </a:lnTo>
                  <a:lnTo>
                    <a:pt x="1948" y="2436"/>
                  </a:lnTo>
                  <a:lnTo>
                    <a:pt x="1948" y="2436"/>
                  </a:lnTo>
                  <a:lnTo>
                    <a:pt x="1948" y="2436"/>
                  </a:lnTo>
                  <a:lnTo>
                    <a:pt x="1948" y="2438"/>
                  </a:lnTo>
                  <a:lnTo>
                    <a:pt x="1950" y="2438"/>
                  </a:lnTo>
                  <a:lnTo>
                    <a:pt x="1950" y="2438"/>
                  </a:lnTo>
                  <a:lnTo>
                    <a:pt x="1950" y="2438"/>
                  </a:lnTo>
                  <a:lnTo>
                    <a:pt x="1950" y="2441"/>
                  </a:lnTo>
                  <a:lnTo>
                    <a:pt x="1950" y="2441"/>
                  </a:lnTo>
                  <a:lnTo>
                    <a:pt x="1950" y="2441"/>
                  </a:lnTo>
                  <a:lnTo>
                    <a:pt x="1952" y="2443"/>
                  </a:lnTo>
                  <a:lnTo>
                    <a:pt x="1952" y="2443"/>
                  </a:lnTo>
                  <a:lnTo>
                    <a:pt x="1952" y="2443"/>
                  </a:lnTo>
                  <a:lnTo>
                    <a:pt x="1952" y="2443"/>
                  </a:lnTo>
                  <a:lnTo>
                    <a:pt x="1952" y="2443"/>
                  </a:lnTo>
                  <a:lnTo>
                    <a:pt x="1952" y="2443"/>
                  </a:lnTo>
                  <a:lnTo>
                    <a:pt x="1952" y="2443"/>
                  </a:lnTo>
                  <a:lnTo>
                    <a:pt x="1955" y="2443"/>
                  </a:lnTo>
                  <a:lnTo>
                    <a:pt x="1955" y="2443"/>
                  </a:lnTo>
                  <a:lnTo>
                    <a:pt x="1955" y="2443"/>
                  </a:lnTo>
                  <a:lnTo>
                    <a:pt x="1955" y="2443"/>
                  </a:lnTo>
                  <a:lnTo>
                    <a:pt x="1955" y="2441"/>
                  </a:lnTo>
                  <a:close/>
                  <a:moveTo>
                    <a:pt x="3732" y="2242"/>
                  </a:moveTo>
                  <a:lnTo>
                    <a:pt x="3732" y="2240"/>
                  </a:lnTo>
                  <a:lnTo>
                    <a:pt x="3732" y="2240"/>
                  </a:lnTo>
                  <a:lnTo>
                    <a:pt x="3732" y="2240"/>
                  </a:lnTo>
                  <a:lnTo>
                    <a:pt x="3732" y="2240"/>
                  </a:lnTo>
                  <a:lnTo>
                    <a:pt x="3729" y="2240"/>
                  </a:lnTo>
                  <a:lnTo>
                    <a:pt x="3729" y="2240"/>
                  </a:lnTo>
                  <a:lnTo>
                    <a:pt x="3729" y="2240"/>
                  </a:lnTo>
                  <a:lnTo>
                    <a:pt x="3729" y="2240"/>
                  </a:lnTo>
                  <a:lnTo>
                    <a:pt x="3729" y="2240"/>
                  </a:lnTo>
                  <a:lnTo>
                    <a:pt x="3729" y="2240"/>
                  </a:lnTo>
                  <a:lnTo>
                    <a:pt x="3729" y="2240"/>
                  </a:lnTo>
                  <a:lnTo>
                    <a:pt x="3729" y="2240"/>
                  </a:lnTo>
                  <a:lnTo>
                    <a:pt x="3729" y="2240"/>
                  </a:lnTo>
                  <a:lnTo>
                    <a:pt x="3729" y="2242"/>
                  </a:lnTo>
                  <a:lnTo>
                    <a:pt x="3732" y="2242"/>
                  </a:lnTo>
                  <a:lnTo>
                    <a:pt x="3732" y="2242"/>
                  </a:lnTo>
                  <a:lnTo>
                    <a:pt x="3732" y="2244"/>
                  </a:lnTo>
                  <a:lnTo>
                    <a:pt x="3732" y="2244"/>
                  </a:lnTo>
                  <a:lnTo>
                    <a:pt x="3734" y="2244"/>
                  </a:lnTo>
                  <a:lnTo>
                    <a:pt x="3734" y="2244"/>
                  </a:lnTo>
                  <a:lnTo>
                    <a:pt x="3734" y="2244"/>
                  </a:lnTo>
                  <a:lnTo>
                    <a:pt x="3734" y="2244"/>
                  </a:lnTo>
                  <a:lnTo>
                    <a:pt x="3734" y="2242"/>
                  </a:lnTo>
                  <a:lnTo>
                    <a:pt x="3732" y="2242"/>
                  </a:lnTo>
                  <a:close/>
                  <a:moveTo>
                    <a:pt x="1969" y="2396"/>
                  </a:moveTo>
                  <a:lnTo>
                    <a:pt x="1969" y="2396"/>
                  </a:lnTo>
                  <a:lnTo>
                    <a:pt x="1967" y="2396"/>
                  </a:lnTo>
                  <a:lnTo>
                    <a:pt x="1967" y="2396"/>
                  </a:lnTo>
                  <a:lnTo>
                    <a:pt x="1967" y="2396"/>
                  </a:lnTo>
                  <a:lnTo>
                    <a:pt x="1967" y="2398"/>
                  </a:lnTo>
                  <a:lnTo>
                    <a:pt x="1967" y="2398"/>
                  </a:lnTo>
                  <a:lnTo>
                    <a:pt x="1967" y="2398"/>
                  </a:lnTo>
                  <a:lnTo>
                    <a:pt x="1967" y="2398"/>
                  </a:lnTo>
                  <a:lnTo>
                    <a:pt x="1967" y="2398"/>
                  </a:lnTo>
                  <a:lnTo>
                    <a:pt x="1967" y="2398"/>
                  </a:lnTo>
                  <a:lnTo>
                    <a:pt x="1967" y="2398"/>
                  </a:lnTo>
                  <a:lnTo>
                    <a:pt x="1967" y="2398"/>
                  </a:lnTo>
                  <a:lnTo>
                    <a:pt x="1967" y="2398"/>
                  </a:lnTo>
                  <a:lnTo>
                    <a:pt x="1967" y="2398"/>
                  </a:lnTo>
                  <a:lnTo>
                    <a:pt x="1967" y="2398"/>
                  </a:lnTo>
                  <a:lnTo>
                    <a:pt x="1967" y="2398"/>
                  </a:lnTo>
                  <a:lnTo>
                    <a:pt x="1967" y="2398"/>
                  </a:lnTo>
                  <a:lnTo>
                    <a:pt x="1969" y="2398"/>
                  </a:lnTo>
                  <a:lnTo>
                    <a:pt x="1967" y="2398"/>
                  </a:lnTo>
                  <a:lnTo>
                    <a:pt x="1969" y="2396"/>
                  </a:lnTo>
                  <a:lnTo>
                    <a:pt x="1969" y="2396"/>
                  </a:lnTo>
                  <a:close/>
                  <a:moveTo>
                    <a:pt x="2856" y="2817"/>
                  </a:moveTo>
                  <a:lnTo>
                    <a:pt x="2856" y="2817"/>
                  </a:lnTo>
                  <a:lnTo>
                    <a:pt x="2856" y="2819"/>
                  </a:lnTo>
                  <a:lnTo>
                    <a:pt x="2856" y="2819"/>
                  </a:lnTo>
                  <a:lnTo>
                    <a:pt x="2859" y="2819"/>
                  </a:lnTo>
                  <a:lnTo>
                    <a:pt x="2859" y="2824"/>
                  </a:lnTo>
                  <a:lnTo>
                    <a:pt x="2859" y="2824"/>
                  </a:lnTo>
                  <a:lnTo>
                    <a:pt x="2859" y="2826"/>
                  </a:lnTo>
                  <a:lnTo>
                    <a:pt x="2861" y="2826"/>
                  </a:lnTo>
                  <a:lnTo>
                    <a:pt x="2861" y="2831"/>
                  </a:lnTo>
                  <a:lnTo>
                    <a:pt x="2861" y="2834"/>
                  </a:lnTo>
                  <a:lnTo>
                    <a:pt x="2861" y="2834"/>
                  </a:lnTo>
                  <a:lnTo>
                    <a:pt x="2863" y="2836"/>
                  </a:lnTo>
                  <a:lnTo>
                    <a:pt x="2863" y="2843"/>
                  </a:lnTo>
                  <a:lnTo>
                    <a:pt x="2863" y="2845"/>
                  </a:lnTo>
                  <a:lnTo>
                    <a:pt x="2866" y="2845"/>
                  </a:lnTo>
                  <a:lnTo>
                    <a:pt x="2866" y="2845"/>
                  </a:lnTo>
                  <a:lnTo>
                    <a:pt x="2866" y="2845"/>
                  </a:lnTo>
                  <a:lnTo>
                    <a:pt x="2866" y="2843"/>
                  </a:lnTo>
                  <a:lnTo>
                    <a:pt x="2863" y="2841"/>
                  </a:lnTo>
                  <a:lnTo>
                    <a:pt x="2863" y="2838"/>
                  </a:lnTo>
                  <a:lnTo>
                    <a:pt x="2863" y="2836"/>
                  </a:lnTo>
                  <a:lnTo>
                    <a:pt x="2863" y="2836"/>
                  </a:lnTo>
                  <a:lnTo>
                    <a:pt x="2863" y="2834"/>
                  </a:lnTo>
                  <a:lnTo>
                    <a:pt x="2861" y="2831"/>
                  </a:lnTo>
                  <a:lnTo>
                    <a:pt x="2861" y="2829"/>
                  </a:lnTo>
                  <a:lnTo>
                    <a:pt x="2861" y="2829"/>
                  </a:lnTo>
                  <a:lnTo>
                    <a:pt x="2861" y="2829"/>
                  </a:lnTo>
                  <a:lnTo>
                    <a:pt x="2856" y="2812"/>
                  </a:lnTo>
                  <a:lnTo>
                    <a:pt x="2854" y="2805"/>
                  </a:lnTo>
                  <a:lnTo>
                    <a:pt x="2854" y="2791"/>
                  </a:lnTo>
                  <a:lnTo>
                    <a:pt x="2854" y="2791"/>
                  </a:lnTo>
                  <a:lnTo>
                    <a:pt x="2854" y="2791"/>
                  </a:lnTo>
                  <a:lnTo>
                    <a:pt x="2854" y="2793"/>
                  </a:lnTo>
                  <a:lnTo>
                    <a:pt x="2854" y="2793"/>
                  </a:lnTo>
                  <a:lnTo>
                    <a:pt x="2854" y="2796"/>
                  </a:lnTo>
                  <a:lnTo>
                    <a:pt x="2854" y="2796"/>
                  </a:lnTo>
                  <a:lnTo>
                    <a:pt x="2854" y="2798"/>
                  </a:lnTo>
                  <a:lnTo>
                    <a:pt x="2854" y="2798"/>
                  </a:lnTo>
                  <a:lnTo>
                    <a:pt x="2854" y="2800"/>
                  </a:lnTo>
                  <a:lnTo>
                    <a:pt x="2854" y="2805"/>
                  </a:lnTo>
                  <a:lnTo>
                    <a:pt x="2854" y="2807"/>
                  </a:lnTo>
                  <a:lnTo>
                    <a:pt x="2854" y="2810"/>
                  </a:lnTo>
                  <a:lnTo>
                    <a:pt x="2854" y="2812"/>
                  </a:lnTo>
                  <a:lnTo>
                    <a:pt x="2856" y="2812"/>
                  </a:lnTo>
                  <a:lnTo>
                    <a:pt x="2856" y="2812"/>
                  </a:lnTo>
                  <a:lnTo>
                    <a:pt x="2856" y="2812"/>
                  </a:lnTo>
                  <a:lnTo>
                    <a:pt x="2856" y="2812"/>
                  </a:lnTo>
                  <a:lnTo>
                    <a:pt x="2856" y="2812"/>
                  </a:lnTo>
                  <a:lnTo>
                    <a:pt x="2854" y="2812"/>
                  </a:lnTo>
                  <a:lnTo>
                    <a:pt x="2854" y="2812"/>
                  </a:lnTo>
                  <a:lnTo>
                    <a:pt x="2854" y="2812"/>
                  </a:lnTo>
                  <a:lnTo>
                    <a:pt x="2854" y="2815"/>
                  </a:lnTo>
                  <a:lnTo>
                    <a:pt x="2856" y="2815"/>
                  </a:lnTo>
                  <a:lnTo>
                    <a:pt x="2856" y="2815"/>
                  </a:lnTo>
                  <a:lnTo>
                    <a:pt x="2856" y="2815"/>
                  </a:lnTo>
                  <a:lnTo>
                    <a:pt x="2856" y="2817"/>
                  </a:lnTo>
                  <a:close/>
                  <a:moveTo>
                    <a:pt x="3180" y="2668"/>
                  </a:moveTo>
                  <a:lnTo>
                    <a:pt x="3180" y="2668"/>
                  </a:lnTo>
                  <a:lnTo>
                    <a:pt x="3178" y="2668"/>
                  </a:lnTo>
                  <a:lnTo>
                    <a:pt x="3178" y="2668"/>
                  </a:lnTo>
                  <a:lnTo>
                    <a:pt x="3178" y="2668"/>
                  </a:lnTo>
                  <a:lnTo>
                    <a:pt x="3176" y="2670"/>
                  </a:lnTo>
                  <a:lnTo>
                    <a:pt x="3178" y="2670"/>
                  </a:lnTo>
                  <a:lnTo>
                    <a:pt x="3178" y="2670"/>
                  </a:lnTo>
                  <a:lnTo>
                    <a:pt x="3178" y="2668"/>
                  </a:lnTo>
                  <a:lnTo>
                    <a:pt x="3180" y="2668"/>
                  </a:lnTo>
                  <a:lnTo>
                    <a:pt x="3180" y="2668"/>
                  </a:lnTo>
                  <a:lnTo>
                    <a:pt x="3180" y="2668"/>
                  </a:lnTo>
                  <a:close/>
                  <a:moveTo>
                    <a:pt x="3180" y="2666"/>
                  </a:moveTo>
                  <a:lnTo>
                    <a:pt x="3180" y="2666"/>
                  </a:lnTo>
                  <a:lnTo>
                    <a:pt x="3180" y="2666"/>
                  </a:lnTo>
                  <a:lnTo>
                    <a:pt x="3180" y="2666"/>
                  </a:lnTo>
                  <a:lnTo>
                    <a:pt x="3180" y="2666"/>
                  </a:lnTo>
                  <a:lnTo>
                    <a:pt x="3180" y="2666"/>
                  </a:lnTo>
                  <a:lnTo>
                    <a:pt x="3180" y="2666"/>
                  </a:lnTo>
                  <a:lnTo>
                    <a:pt x="3180" y="2666"/>
                  </a:lnTo>
                  <a:close/>
                  <a:moveTo>
                    <a:pt x="3173" y="2656"/>
                  </a:moveTo>
                  <a:lnTo>
                    <a:pt x="3173" y="2658"/>
                  </a:lnTo>
                  <a:lnTo>
                    <a:pt x="3176" y="2658"/>
                  </a:lnTo>
                  <a:lnTo>
                    <a:pt x="3176" y="2658"/>
                  </a:lnTo>
                  <a:lnTo>
                    <a:pt x="3176" y="2658"/>
                  </a:lnTo>
                  <a:lnTo>
                    <a:pt x="3176" y="2658"/>
                  </a:lnTo>
                  <a:lnTo>
                    <a:pt x="3176" y="2658"/>
                  </a:lnTo>
                  <a:lnTo>
                    <a:pt x="3176" y="2658"/>
                  </a:lnTo>
                  <a:lnTo>
                    <a:pt x="3176" y="2658"/>
                  </a:lnTo>
                  <a:lnTo>
                    <a:pt x="3176" y="2658"/>
                  </a:lnTo>
                  <a:lnTo>
                    <a:pt x="3178" y="2658"/>
                  </a:lnTo>
                  <a:lnTo>
                    <a:pt x="3178" y="2658"/>
                  </a:lnTo>
                  <a:lnTo>
                    <a:pt x="3178" y="2658"/>
                  </a:lnTo>
                  <a:lnTo>
                    <a:pt x="3178" y="2658"/>
                  </a:lnTo>
                  <a:lnTo>
                    <a:pt x="3178" y="2658"/>
                  </a:lnTo>
                  <a:lnTo>
                    <a:pt x="3178" y="2658"/>
                  </a:lnTo>
                  <a:lnTo>
                    <a:pt x="3178" y="2658"/>
                  </a:lnTo>
                  <a:lnTo>
                    <a:pt x="3178" y="2656"/>
                  </a:lnTo>
                  <a:lnTo>
                    <a:pt x="3178" y="2656"/>
                  </a:lnTo>
                  <a:lnTo>
                    <a:pt x="3178" y="2658"/>
                  </a:lnTo>
                  <a:lnTo>
                    <a:pt x="3176" y="2658"/>
                  </a:lnTo>
                  <a:lnTo>
                    <a:pt x="3176" y="2658"/>
                  </a:lnTo>
                  <a:lnTo>
                    <a:pt x="3176" y="2658"/>
                  </a:lnTo>
                  <a:lnTo>
                    <a:pt x="3176" y="2656"/>
                  </a:lnTo>
                  <a:lnTo>
                    <a:pt x="3176" y="2656"/>
                  </a:lnTo>
                  <a:lnTo>
                    <a:pt x="3176" y="2656"/>
                  </a:lnTo>
                  <a:lnTo>
                    <a:pt x="3176" y="2656"/>
                  </a:lnTo>
                  <a:lnTo>
                    <a:pt x="3176" y="2656"/>
                  </a:lnTo>
                  <a:lnTo>
                    <a:pt x="3176" y="2656"/>
                  </a:lnTo>
                  <a:lnTo>
                    <a:pt x="3176" y="2656"/>
                  </a:lnTo>
                  <a:lnTo>
                    <a:pt x="3176" y="2656"/>
                  </a:lnTo>
                  <a:lnTo>
                    <a:pt x="3173" y="2656"/>
                  </a:lnTo>
                  <a:lnTo>
                    <a:pt x="3173" y="2656"/>
                  </a:lnTo>
                  <a:lnTo>
                    <a:pt x="3173" y="2656"/>
                  </a:lnTo>
                  <a:lnTo>
                    <a:pt x="3173" y="2656"/>
                  </a:lnTo>
                  <a:lnTo>
                    <a:pt x="3171" y="2656"/>
                  </a:lnTo>
                  <a:lnTo>
                    <a:pt x="3171" y="2656"/>
                  </a:lnTo>
                  <a:lnTo>
                    <a:pt x="3171" y="2656"/>
                  </a:lnTo>
                  <a:lnTo>
                    <a:pt x="3171" y="2656"/>
                  </a:lnTo>
                  <a:lnTo>
                    <a:pt x="3173" y="2656"/>
                  </a:lnTo>
                  <a:lnTo>
                    <a:pt x="3173" y="2656"/>
                  </a:lnTo>
                  <a:lnTo>
                    <a:pt x="3173" y="2656"/>
                  </a:lnTo>
                  <a:lnTo>
                    <a:pt x="3173" y="2656"/>
                  </a:lnTo>
                  <a:lnTo>
                    <a:pt x="3173" y="2656"/>
                  </a:lnTo>
                  <a:lnTo>
                    <a:pt x="3173" y="2656"/>
                  </a:lnTo>
                  <a:lnTo>
                    <a:pt x="3173" y="2656"/>
                  </a:lnTo>
                  <a:close/>
                  <a:moveTo>
                    <a:pt x="3223" y="2642"/>
                  </a:moveTo>
                  <a:lnTo>
                    <a:pt x="3225" y="2640"/>
                  </a:lnTo>
                  <a:lnTo>
                    <a:pt x="3225" y="2637"/>
                  </a:lnTo>
                  <a:lnTo>
                    <a:pt x="3223" y="2642"/>
                  </a:lnTo>
                  <a:lnTo>
                    <a:pt x="3223" y="2642"/>
                  </a:lnTo>
                  <a:close/>
                  <a:moveTo>
                    <a:pt x="3225" y="2625"/>
                  </a:moveTo>
                  <a:lnTo>
                    <a:pt x="3225" y="2625"/>
                  </a:lnTo>
                  <a:lnTo>
                    <a:pt x="3225" y="2623"/>
                  </a:lnTo>
                  <a:lnTo>
                    <a:pt x="3223" y="2623"/>
                  </a:lnTo>
                  <a:lnTo>
                    <a:pt x="3225" y="2623"/>
                  </a:lnTo>
                  <a:lnTo>
                    <a:pt x="3225" y="2623"/>
                  </a:lnTo>
                  <a:lnTo>
                    <a:pt x="3225" y="2625"/>
                  </a:lnTo>
                  <a:lnTo>
                    <a:pt x="3225" y="2625"/>
                  </a:lnTo>
                  <a:lnTo>
                    <a:pt x="3225" y="2628"/>
                  </a:lnTo>
                  <a:lnTo>
                    <a:pt x="3225" y="2628"/>
                  </a:lnTo>
                  <a:lnTo>
                    <a:pt x="3225" y="2628"/>
                  </a:lnTo>
                  <a:lnTo>
                    <a:pt x="3225" y="2630"/>
                  </a:lnTo>
                  <a:lnTo>
                    <a:pt x="3225" y="2630"/>
                  </a:lnTo>
                  <a:lnTo>
                    <a:pt x="3228" y="2632"/>
                  </a:lnTo>
                  <a:lnTo>
                    <a:pt x="3225" y="2632"/>
                  </a:lnTo>
                  <a:lnTo>
                    <a:pt x="3225" y="2637"/>
                  </a:lnTo>
                  <a:lnTo>
                    <a:pt x="3225" y="2637"/>
                  </a:lnTo>
                  <a:lnTo>
                    <a:pt x="3225" y="2637"/>
                  </a:lnTo>
                  <a:lnTo>
                    <a:pt x="3225" y="2637"/>
                  </a:lnTo>
                  <a:lnTo>
                    <a:pt x="3225" y="2637"/>
                  </a:lnTo>
                  <a:lnTo>
                    <a:pt x="3228" y="2635"/>
                  </a:lnTo>
                  <a:lnTo>
                    <a:pt x="3228" y="2635"/>
                  </a:lnTo>
                  <a:lnTo>
                    <a:pt x="3228" y="2630"/>
                  </a:lnTo>
                  <a:lnTo>
                    <a:pt x="3225" y="2625"/>
                  </a:lnTo>
                  <a:lnTo>
                    <a:pt x="3225" y="2625"/>
                  </a:lnTo>
                  <a:close/>
                  <a:moveTo>
                    <a:pt x="3166" y="2677"/>
                  </a:moveTo>
                  <a:lnTo>
                    <a:pt x="3166" y="2677"/>
                  </a:lnTo>
                  <a:lnTo>
                    <a:pt x="3164" y="2677"/>
                  </a:lnTo>
                  <a:lnTo>
                    <a:pt x="3164" y="2677"/>
                  </a:lnTo>
                  <a:lnTo>
                    <a:pt x="3164" y="2680"/>
                  </a:lnTo>
                  <a:lnTo>
                    <a:pt x="3166" y="2677"/>
                  </a:lnTo>
                  <a:lnTo>
                    <a:pt x="3166" y="2677"/>
                  </a:lnTo>
                  <a:lnTo>
                    <a:pt x="3166" y="2677"/>
                  </a:lnTo>
                  <a:close/>
                  <a:moveTo>
                    <a:pt x="3162" y="2680"/>
                  </a:moveTo>
                  <a:lnTo>
                    <a:pt x="3159" y="2680"/>
                  </a:lnTo>
                  <a:lnTo>
                    <a:pt x="3159" y="2680"/>
                  </a:lnTo>
                  <a:lnTo>
                    <a:pt x="3157" y="2680"/>
                  </a:lnTo>
                  <a:lnTo>
                    <a:pt x="3157" y="2680"/>
                  </a:lnTo>
                  <a:lnTo>
                    <a:pt x="3159" y="2680"/>
                  </a:lnTo>
                  <a:lnTo>
                    <a:pt x="3159" y="2680"/>
                  </a:lnTo>
                  <a:lnTo>
                    <a:pt x="3162" y="2680"/>
                  </a:lnTo>
                  <a:lnTo>
                    <a:pt x="3162" y="2680"/>
                  </a:lnTo>
                  <a:lnTo>
                    <a:pt x="3162" y="2680"/>
                  </a:lnTo>
                  <a:close/>
                  <a:moveTo>
                    <a:pt x="3150" y="2680"/>
                  </a:moveTo>
                  <a:lnTo>
                    <a:pt x="3150" y="2680"/>
                  </a:lnTo>
                  <a:lnTo>
                    <a:pt x="3150" y="2680"/>
                  </a:lnTo>
                  <a:lnTo>
                    <a:pt x="3150" y="2680"/>
                  </a:lnTo>
                  <a:lnTo>
                    <a:pt x="3150" y="2680"/>
                  </a:lnTo>
                  <a:lnTo>
                    <a:pt x="3147" y="2680"/>
                  </a:lnTo>
                  <a:lnTo>
                    <a:pt x="3147" y="2680"/>
                  </a:lnTo>
                  <a:lnTo>
                    <a:pt x="3147" y="2680"/>
                  </a:lnTo>
                  <a:lnTo>
                    <a:pt x="3147" y="2680"/>
                  </a:lnTo>
                  <a:lnTo>
                    <a:pt x="3147" y="2680"/>
                  </a:lnTo>
                  <a:lnTo>
                    <a:pt x="3145" y="2680"/>
                  </a:lnTo>
                  <a:lnTo>
                    <a:pt x="3145" y="2682"/>
                  </a:lnTo>
                  <a:lnTo>
                    <a:pt x="3145" y="2682"/>
                  </a:lnTo>
                  <a:lnTo>
                    <a:pt x="3145" y="2682"/>
                  </a:lnTo>
                  <a:lnTo>
                    <a:pt x="3150" y="2680"/>
                  </a:lnTo>
                  <a:lnTo>
                    <a:pt x="3150" y="2680"/>
                  </a:lnTo>
                  <a:lnTo>
                    <a:pt x="3150" y="2680"/>
                  </a:lnTo>
                  <a:lnTo>
                    <a:pt x="3150" y="2680"/>
                  </a:lnTo>
                  <a:lnTo>
                    <a:pt x="3150" y="2680"/>
                  </a:lnTo>
                  <a:lnTo>
                    <a:pt x="3150" y="2680"/>
                  </a:lnTo>
                  <a:close/>
                  <a:moveTo>
                    <a:pt x="3138" y="2682"/>
                  </a:moveTo>
                  <a:lnTo>
                    <a:pt x="3138" y="2682"/>
                  </a:lnTo>
                  <a:lnTo>
                    <a:pt x="3140" y="2682"/>
                  </a:lnTo>
                  <a:lnTo>
                    <a:pt x="3138" y="2682"/>
                  </a:lnTo>
                  <a:lnTo>
                    <a:pt x="3138" y="2682"/>
                  </a:lnTo>
                  <a:close/>
                  <a:moveTo>
                    <a:pt x="3159" y="2670"/>
                  </a:moveTo>
                  <a:lnTo>
                    <a:pt x="3159" y="2670"/>
                  </a:lnTo>
                  <a:lnTo>
                    <a:pt x="3159" y="2670"/>
                  </a:lnTo>
                  <a:lnTo>
                    <a:pt x="3159" y="2668"/>
                  </a:lnTo>
                  <a:lnTo>
                    <a:pt x="3159" y="2670"/>
                  </a:lnTo>
                  <a:lnTo>
                    <a:pt x="3157" y="2670"/>
                  </a:lnTo>
                  <a:lnTo>
                    <a:pt x="3159" y="2670"/>
                  </a:lnTo>
                  <a:lnTo>
                    <a:pt x="3159" y="2670"/>
                  </a:lnTo>
                  <a:lnTo>
                    <a:pt x="3159" y="2670"/>
                  </a:lnTo>
                  <a:close/>
                  <a:moveTo>
                    <a:pt x="1744" y="1199"/>
                  </a:moveTo>
                  <a:lnTo>
                    <a:pt x="1744" y="1201"/>
                  </a:lnTo>
                  <a:lnTo>
                    <a:pt x="1744" y="1204"/>
                  </a:lnTo>
                  <a:lnTo>
                    <a:pt x="1746" y="1204"/>
                  </a:lnTo>
                  <a:lnTo>
                    <a:pt x="1746" y="1201"/>
                  </a:lnTo>
                  <a:lnTo>
                    <a:pt x="1746" y="1199"/>
                  </a:lnTo>
                  <a:lnTo>
                    <a:pt x="1746" y="1199"/>
                  </a:lnTo>
                  <a:lnTo>
                    <a:pt x="1744" y="1199"/>
                  </a:lnTo>
                  <a:close/>
                  <a:moveTo>
                    <a:pt x="1732" y="1189"/>
                  </a:moveTo>
                  <a:lnTo>
                    <a:pt x="1732" y="1189"/>
                  </a:lnTo>
                  <a:lnTo>
                    <a:pt x="1732" y="1187"/>
                  </a:lnTo>
                  <a:lnTo>
                    <a:pt x="1732" y="1187"/>
                  </a:lnTo>
                  <a:lnTo>
                    <a:pt x="1732" y="1187"/>
                  </a:lnTo>
                  <a:lnTo>
                    <a:pt x="1735" y="1189"/>
                  </a:lnTo>
                  <a:lnTo>
                    <a:pt x="1735" y="1187"/>
                  </a:lnTo>
                  <a:lnTo>
                    <a:pt x="1735" y="1185"/>
                  </a:lnTo>
                  <a:lnTo>
                    <a:pt x="1735" y="1185"/>
                  </a:lnTo>
                  <a:lnTo>
                    <a:pt x="1735" y="1185"/>
                  </a:lnTo>
                  <a:lnTo>
                    <a:pt x="1735" y="1187"/>
                  </a:lnTo>
                  <a:lnTo>
                    <a:pt x="1737" y="1187"/>
                  </a:lnTo>
                  <a:lnTo>
                    <a:pt x="1735" y="1187"/>
                  </a:lnTo>
                  <a:lnTo>
                    <a:pt x="1737" y="1185"/>
                  </a:lnTo>
                  <a:lnTo>
                    <a:pt x="1735" y="1182"/>
                  </a:lnTo>
                  <a:lnTo>
                    <a:pt x="1732" y="1178"/>
                  </a:lnTo>
                  <a:lnTo>
                    <a:pt x="1732" y="1178"/>
                  </a:lnTo>
                  <a:lnTo>
                    <a:pt x="1732" y="1178"/>
                  </a:lnTo>
                  <a:lnTo>
                    <a:pt x="1732" y="1178"/>
                  </a:lnTo>
                  <a:lnTo>
                    <a:pt x="1730" y="1180"/>
                  </a:lnTo>
                  <a:lnTo>
                    <a:pt x="1730" y="1180"/>
                  </a:lnTo>
                  <a:lnTo>
                    <a:pt x="1730" y="1180"/>
                  </a:lnTo>
                  <a:lnTo>
                    <a:pt x="1730" y="1180"/>
                  </a:lnTo>
                  <a:lnTo>
                    <a:pt x="1730" y="1182"/>
                  </a:lnTo>
                  <a:lnTo>
                    <a:pt x="1730" y="1182"/>
                  </a:lnTo>
                  <a:lnTo>
                    <a:pt x="1730" y="1189"/>
                  </a:lnTo>
                  <a:lnTo>
                    <a:pt x="1730" y="1189"/>
                  </a:lnTo>
                  <a:lnTo>
                    <a:pt x="1730" y="1192"/>
                  </a:lnTo>
                  <a:lnTo>
                    <a:pt x="1730" y="1192"/>
                  </a:lnTo>
                  <a:lnTo>
                    <a:pt x="1730" y="1194"/>
                  </a:lnTo>
                  <a:lnTo>
                    <a:pt x="1730" y="1192"/>
                  </a:lnTo>
                  <a:lnTo>
                    <a:pt x="1732" y="1192"/>
                  </a:lnTo>
                  <a:lnTo>
                    <a:pt x="1732" y="1192"/>
                  </a:lnTo>
                  <a:lnTo>
                    <a:pt x="1732" y="1189"/>
                  </a:lnTo>
                  <a:lnTo>
                    <a:pt x="1732" y="1189"/>
                  </a:lnTo>
                  <a:close/>
                  <a:moveTo>
                    <a:pt x="3233" y="2614"/>
                  </a:moveTo>
                  <a:lnTo>
                    <a:pt x="3233" y="2614"/>
                  </a:lnTo>
                  <a:lnTo>
                    <a:pt x="3233" y="2611"/>
                  </a:lnTo>
                  <a:lnTo>
                    <a:pt x="3230" y="2611"/>
                  </a:lnTo>
                  <a:lnTo>
                    <a:pt x="3228" y="2611"/>
                  </a:lnTo>
                  <a:lnTo>
                    <a:pt x="3228" y="2614"/>
                  </a:lnTo>
                  <a:lnTo>
                    <a:pt x="3228" y="2614"/>
                  </a:lnTo>
                  <a:lnTo>
                    <a:pt x="3237" y="2614"/>
                  </a:lnTo>
                  <a:lnTo>
                    <a:pt x="3237" y="2614"/>
                  </a:lnTo>
                  <a:lnTo>
                    <a:pt x="3237" y="2614"/>
                  </a:lnTo>
                  <a:lnTo>
                    <a:pt x="3237" y="2614"/>
                  </a:lnTo>
                  <a:lnTo>
                    <a:pt x="3233" y="2614"/>
                  </a:lnTo>
                  <a:close/>
                  <a:moveTo>
                    <a:pt x="1735" y="1199"/>
                  </a:moveTo>
                  <a:lnTo>
                    <a:pt x="1735" y="1199"/>
                  </a:lnTo>
                  <a:lnTo>
                    <a:pt x="1735" y="1199"/>
                  </a:lnTo>
                  <a:lnTo>
                    <a:pt x="1735" y="1197"/>
                  </a:lnTo>
                  <a:lnTo>
                    <a:pt x="1737" y="1199"/>
                  </a:lnTo>
                  <a:lnTo>
                    <a:pt x="1737" y="1199"/>
                  </a:lnTo>
                  <a:lnTo>
                    <a:pt x="1737" y="1199"/>
                  </a:lnTo>
                  <a:lnTo>
                    <a:pt x="1737" y="1201"/>
                  </a:lnTo>
                  <a:lnTo>
                    <a:pt x="1737" y="1201"/>
                  </a:lnTo>
                  <a:lnTo>
                    <a:pt x="1737" y="1201"/>
                  </a:lnTo>
                  <a:lnTo>
                    <a:pt x="1737" y="1201"/>
                  </a:lnTo>
                  <a:lnTo>
                    <a:pt x="1737" y="1204"/>
                  </a:lnTo>
                  <a:lnTo>
                    <a:pt x="1737" y="1204"/>
                  </a:lnTo>
                  <a:lnTo>
                    <a:pt x="1739" y="1204"/>
                  </a:lnTo>
                  <a:lnTo>
                    <a:pt x="1739" y="1204"/>
                  </a:lnTo>
                  <a:lnTo>
                    <a:pt x="1742" y="1201"/>
                  </a:lnTo>
                  <a:lnTo>
                    <a:pt x="1742" y="1201"/>
                  </a:lnTo>
                  <a:lnTo>
                    <a:pt x="1742" y="1201"/>
                  </a:lnTo>
                  <a:lnTo>
                    <a:pt x="1742" y="1199"/>
                  </a:lnTo>
                  <a:lnTo>
                    <a:pt x="1742" y="1199"/>
                  </a:lnTo>
                  <a:lnTo>
                    <a:pt x="1742" y="1199"/>
                  </a:lnTo>
                  <a:lnTo>
                    <a:pt x="1742" y="1199"/>
                  </a:lnTo>
                  <a:lnTo>
                    <a:pt x="1742" y="1199"/>
                  </a:lnTo>
                  <a:lnTo>
                    <a:pt x="1742" y="1197"/>
                  </a:lnTo>
                  <a:lnTo>
                    <a:pt x="1742" y="1197"/>
                  </a:lnTo>
                  <a:lnTo>
                    <a:pt x="1742" y="1194"/>
                  </a:lnTo>
                  <a:lnTo>
                    <a:pt x="1742" y="1194"/>
                  </a:lnTo>
                  <a:lnTo>
                    <a:pt x="1742" y="1194"/>
                  </a:lnTo>
                  <a:lnTo>
                    <a:pt x="1742" y="1192"/>
                  </a:lnTo>
                  <a:lnTo>
                    <a:pt x="1742" y="1192"/>
                  </a:lnTo>
                  <a:lnTo>
                    <a:pt x="1739" y="1189"/>
                  </a:lnTo>
                  <a:lnTo>
                    <a:pt x="1739" y="1189"/>
                  </a:lnTo>
                  <a:lnTo>
                    <a:pt x="1739" y="1187"/>
                  </a:lnTo>
                  <a:lnTo>
                    <a:pt x="1739" y="1187"/>
                  </a:lnTo>
                  <a:lnTo>
                    <a:pt x="1739" y="1187"/>
                  </a:lnTo>
                  <a:lnTo>
                    <a:pt x="1737" y="1187"/>
                  </a:lnTo>
                  <a:lnTo>
                    <a:pt x="1737" y="1187"/>
                  </a:lnTo>
                  <a:lnTo>
                    <a:pt x="1737" y="1189"/>
                  </a:lnTo>
                  <a:lnTo>
                    <a:pt x="1737" y="1189"/>
                  </a:lnTo>
                  <a:lnTo>
                    <a:pt x="1737" y="1189"/>
                  </a:lnTo>
                  <a:lnTo>
                    <a:pt x="1737" y="1192"/>
                  </a:lnTo>
                  <a:lnTo>
                    <a:pt x="1737" y="1192"/>
                  </a:lnTo>
                  <a:lnTo>
                    <a:pt x="1737" y="1192"/>
                  </a:lnTo>
                  <a:lnTo>
                    <a:pt x="1737" y="1192"/>
                  </a:lnTo>
                  <a:lnTo>
                    <a:pt x="1737" y="1192"/>
                  </a:lnTo>
                  <a:lnTo>
                    <a:pt x="1737" y="1192"/>
                  </a:lnTo>
                  <a:lnTo>
                    <a:pt x="1737" y="1194"/>
                  </a:lnTo>
                  <a:lnTo>
                    <a:pt x="1737" y="1194"/>
                  </a:lnTo>
                  <a:lnTo>
                    <a:pt x="1737" y="1197"/>
                  </a:lnTo>
                  <a:lnTo>
                    <a:pt x="1737" y="1197"/>
                  </a:lnTo>
                  <a:lnTo>
                    <a:pt x="1737" y="1197"/>
                  </a:lnTo>
                  <a:lnTo>
                    <a:pt x="1735" y="1197"/>
                  </a:lnTo>
                  <a:lnTo>
                    <a:pt x="1735" y="1194"/>
                  </a:lnTo>
                  <a:lnTo>
                    <a:pt x="1735" y="1197"/>
                  </a:lnTo>
                  <a:lnTo>
                    <a:pt x="1735" y="1197"/>
                  </a:lnTo>
                  <a:lnTo>
                    <a:pt x="1735" y="1197"/>
                  </a:lnTo>
                  <a:lnTo>
                    <a:pt x="1732" y="1199"/>
                  </a:lnTo>
                  <a:lnTo>
                    <a:pt x="1732" y="1201"/>
                  </a:lnTo>
                  <a:lnTo>
                    <a:pt x="1732" y="1201"/>
                  </a:lnTo>
                  <a:lnTo>
                    <a:pt x="1732" y="1201"/>
                  </a:lnTo>
                  <a:lnTo>
                    <a:pt x="1732" y="1201"/>
                  </a:lnTo>
                  <a:lnTo>
                    <a:pt x="1732" y="1201"/>
                  </a:lnTo>
                  <a:lnTo>
                    <a:pt x="1732" y="1201"/>
                  </a:lnTo>
                  <a:lnTo>
                    <a:pt x="1732" y="1201"/>
                  </a:lnTo>
                  <a:lnTo>
                    <a:pt x="1732" y="1201"/>
                  </a:lnTo>
                  <a:lnTo>
                    <a:pt x="1732" y="1201"/>
                  </a:lnTo>
                  <a:lnTo>
                    <a:pt x="1735" y="1201"/>
                  </a:lnTo>
                  <a:lnTo>
                    <a:pt x="1735" y="1201"/>
                  </a:lnTo>
                  <a:lnTo>
                    <a:pt x="1735" y="1201"/>
                  </a:lnTo>
                  <a:lnTo>
                    <a:pt x="1735" y="1201"/>
                  </a:lnTo>
                  <a:lnTo>
                    <a:pt x="1735" y="1199"/>
                  </a:lnTo>
                  <a:close/>
                  <a:moveTo>
                    <a:pt x="1699" y="1182"/>
                  </a:moveTo>
                  <a:lnTo>
                    <a:pt x="1699" y="1182"/>
                  </a:lnTo>
                  <a:lnTo>
                    <a:pt x="1699" y="1180"/>
                  </a:lnTo>
                  <a:lnTo>
                    <a:pt x="1699" y="1180"/>
                  </a:lnTo>
                  <a:lnTo>
                    <a:pt x="1697" y="1180"/>
                  </a:lnTo>
                  <a:lnTo>
                    <a:pt x="1697" y="1180"/>
                  </a:lnTo>
                  <a:lnTo>
                    <a:pt x="1697" y="1182"/>
                  </a:lnTo>
                  <a:lnTo>
                    <a:pt x="1697" y="1182"/>
                  </a:lnTo>
                  <a:lnTo>
                    <a:pt x="1697" y="1182"/>
                  </a:lnTo>
                  <a:lnTo>
                    <a:pt x="1697" y="1182"/>
                  </a:lnTo>
                  <a:lnTo>
                    <a:pt x="1697" y="1182"/>
                  </a:lnTo>
                  <a:lnTo>
                    <a:pt x="1697" y="1182"/>
                  </a:lnTo>
                  <a:lnTo>
                    <a:pt x="1697" y="1182"/>
                  </a:lnTo>
                  <a:lnTo>
                    <a:pt x="1697" y="1185"/>
                  </a:lnTo>
                  <a:lnTo>
                    <a:pt x="1694" y="1185"/>
                  </a:lnTo>
                  <a:lnTo>
                    <a:pt x="1694" y="1185"/>
                  </a:lnTo>
                  <a:lnTo>
                    <a:pt x="1697" y="1185"/>
                  </a:lnTo>
                  <a:lnTo>
                    <a:pt x="1697" y="1185"/>
                  </a:lnTo>
                  <a:lnTo>
                    <a:pt x="1697" y="1187"/>
                  </a:lnTo>
                  <a:lnTo>
                    <a:pt x="1697" y="1187"/>
                  </a:lnTo>
                  <a:lnTo>
                    <a:pt x="1697" y="1187"/>
                  </a:lnTo>
                  <a:lnTo>
                    <a:pt x="1697" y="1187"/>
                  </a:lnTo>
                  <a:lnTo>
                    <a:pt x="1697" y="1187"/>
                  </a:lnTo>
                  <a:lnTo>
                    <a:pt x="1694" y="1187"/>
                  </a:lnTo>
                  <a:lnTo>
                    <a:pt x="1694" y="1187"/>
                  </a:lnTo>
                  <a:lnTo>
                    <a:pt x="1694" y="1187"/>
                  </a:lnTo>
                  <a:lnTo>
                    <a:pt x="1694" y="1189"/>
                  </a:lnTo>
                  <a:lnTo>
                    <a:pt x="1697" y="1189"/>
                  </a:lnTo>
                  <a:lnTo>
                    <a:pt x="1697" y="1189"/>
                  </a:lnTo>
                  <a:lnTo>
                    <a:pt x="1697" y="1189"/>
                  </a:lnTo>
                  <a:lnTo>
                    <a:pt x="1697" y="1192"/>
                  </a:lnTo>
                  <a:lnTo>
                    <a:pt x="1697" y="1192"/>
                  </a:lnTo>
                  <a:lnTo>
                    <a:pt x="1699" y="1189"/>
                  </a:lnTo>
                  <a:lnTo>
                    <a:pt x="1701" y="1189"/>
                  </a:lnTo>
                  <a:lnTo>
                    <a:pt x="1699" y="1185"/>
                  </a:lnTo>
                  <a:lnTo>
                    <a:pt x="1699" y="1182"/>
                  </a:lnTo>
                  <a:close/>
                  <a:moveTo>
                    <a:pt x="1742" y="1208"/>
                  </a:moveTo>
                  <a:lnTo>
                    <a:pt x="1742" y="1208"/>
                  </a:lnTo>
                  <a:lnTo>
                    <a:pt x="1744" y="1208"/>
                  </a:lnTo>
                  <a:lnTo>
                    <a:pt x="1744" y="1206"/>
                  </a:lnTo>
                  <a:lnTo>
                    <a:pt x="1744" y="1206"/>
                  </a:lnTo>
                  <a:lnTo>
                    <a:pt x="1744" y="1206"/>
                  </a:lnTo>
                  <a:lnTo>
                    <a:pt x="1744" y="1206"/>
                  </a:lnTo>
                  <a:lnTo>
                    <a:pt x="1744" y="1206"/>
                  </a:lnTo>
                  <a:lnTo>
                    <a:pt x="1739" y="1206"/>
                  </a:lnTo>
                  <a:lnTo>
                    <a:pt x="1739" y="1206"/>
                  </a:lnTo>
                  <a:lnTo>
                    <a:pt x="1739" y="1206"/>
                  </a:lnTo>
                  <a:lnTo>
                    <a:pt x="1737" y="1206"/>
                  </a:lnTo>
                  <a:lnTo>
                    <a:pt x="1737" y="1206"/>
                  </a:lnTo>
                  <a:lnTo>
                    <a:pt x="1735" y="1206"/>
                  </a:lnTo>
                  <a:lnTo>
                    <a:pt x="1735" y="1206"/>
                  </a:lnTo>
                  <a:lnTo>
                    <a:pt x="1735" y="1208"/>
                  </a:lnTo>
                  <a:lnTo>
                    <a:pt x="1737" y="1208"/>
                  </a:lnTo>
                  <a:lnTo>
                    <a:pt x="1737" y="1208"/>
                  </a:lnTo>
                  <a:lnTo>
                    <a:pt x="1737" y="1211"/>
                  </a:lnTo>
                  <a:lnTo>
                    <a:pt x="1737" y="1211"/>
                  </a:lnTo>
                  <a:lnTo>
                    <a:pt x="1737" y="1211"/>
                  </a:lnTo>
                  <a:lnTo>
                    <a:pt x="1739" y="1211"/>
                  </a:lnTo>
                  <a:lnTo>
                    <a:pt x="1739" y="1211"/>
                  </a:lnTo>
                  <a:lnTo>
                    <a:pt x="1739" y="1211"/>
                  </a:lnTo>
                  <a:lnTo>
                    <a:pt x="1739" y="1211"/>
                  </a:lnTo>
                  <a:lnTo>
                    <a:pt x="1739" y="1211"/>
                  </a:lnTo>
                  <a:lnTo>
                    <a:pt x="1742" y="1211"/>
                  </a:lnTo>
                  <a:lnTo>
                    <a:pt x="1742" y="1211"/>
                  </a:lnTo>
                  <a:lnTo>
                    <a:pt x="1744" y="1211"/>
                  </a:lnTo>
                  <a:lnTo>
                    <a:pt x="1744" y="1211"/>
                  </a:lnTo>
                  <a:lnTo>
                    <a:pt x="1744" y="1211"/>
                  </a:lnTo>
                  <a:lnTo>
                    <a:pt x="1744" y="1208"/>
                  </a:lnTo>
                  <a:lnTo>
                    <a:pt x="1742" y="1208"/>
                  </a:lnTo>
                  <a:close/>
                  <a:moveTo>
                    <a:pt x="1725" y="1185"/>
                  </a:moveTo>
                  <a:lnTo>
                    <a:pt x="1725" y="1185"/>
                  </a:lnTo>
                  <a:lnTo>
                    <a:pt x="1723" y="1182"/>
                  </a:lnTo>
                  <a:lnTo>
                    <a:pt x="1723" y="1185"/>
                  </a:lnTo>
                  <a:lnTo>
                    <a:pt x="1720" y="1187"/>
                  </a:lnTo>
                  <a:lnTo>
                    <a:pt x="1720" y="1187"/>
                  </a:lnTo>
                  <a:lnTo>
                    <a:pt x="1718" y="1185"/>
                  </a:lnTo>
                  <a:lnTo>
                    <a:pt x="1718" y="1185"/>
                  </a:lnTo>
                  <a:lnTo>
                    <a:pt x="1716" y="1185"/>
                  </a:lnTo>
                  <a:lnTo>
                    <a:pt x="1716" y="1185"/>
                  </a:lnTo>
                  <a:lnTo>
                    <a:pt x="1716" y="1185"/>
                  </a:lnTo>
                  <a:lnTo>
                    <a:pt x="1716" y="1185"/>
                  </a:lnTo>
                  <a:lnTo>
                    <a:pt x="1716" y="1185"/>
                  </a:lnTo>
                  <a:lnTo>
                    <a:pt x="1716" y="1185"/>
                  </a:lnTo>
                  <a:lnTo>
                    <a:pt x="1716" y="1182"/>
                  </a:lnTo>
                  <a:lnTo>
                    <a:pt x="1718" y="1182"/>
                  </a:lnTo>
                  <a:lnTo>
                    <a:pt x="1718" y="1182"/>
                  </a:lnTo>
                  <a:lnTo>
                    <a:pt x="1718" y="1182"/>
                  </a:lnTo>
                  <a:lnTo>
                    <a:pt x="1718" y="1182"/>
                  </a:lnTo>
                  <a:lnTo>
                    <a:pt x="1720" y="1182"/>
                  </a:lnTo>
                  <a:lnTo>
                    <a:pt x="1720" y="1182"/>
                  </a:lnTo>
                  <a:lnTo>
                    <a:pt x="1723" y="1182"/>
                  </a:lnTo>
                  <a:lnTo>
                    <a:pt x="1723" y="1182"/>
                  </a:lnTo>
                  <a:lnTo>
                    <a:pt x="1723" y="1182"/>
                  </a:lnTo>
                  <a:lnTo>
                    <a:pt x="1720" y="1180"/>
                  </a:lnTo>
                  <a:lnTo>
                    <a:pt x="1720" y="1180"/>
                  </a:lnTo>
                  <a:lnTo>
                    <a:pt x="1720" y="1180"/>
                  </a:lnTo>
                  <a:lnTo>
                    <a:pt x="1720" y="1180"/>
                  </a:lnTo>
                  <a:lnTo>
                    <a:pt x="1720" y="1180"/>
                  </a:lnTo>
                  <a:lnTo>
                    <a:pt x="1720" y="1178"/>
                  </a:lnTo>
                  <a:lnTo>
                    <a:pt x="1720" y="1178"/>
                  </a:lnTo>
                  <a:lnTo>
                    <a:pt x="1720" y="1178"/>
                  </a:lnTo>
                  <a:lnTo>
                    <a:pt x="1720" y="1178"/>
                  </a:lnTo>
                  <a:lnTo>
                    <a:pt x="1720" y="1178"/>
                  </a:lnTo>
                  <a:lnTo>
                    <a:pt x="1720" y="1178"/>
                  </a:lnTo>
                  <a:lnTo>
                    <a:pt x="1720" y="1178"/>
                  </a:lnTo>
                  <a:lnTo>
                    <a:pt x="1720" y="1178"/>
                  </a:lnTo>
                  <a:lnTo>
                    <a:pt x="1720" y="1178"/>
                  </a:lnTo>
                  <a:lnTo>
                    <a:pt x="1720" y="1175"/>
                  </a:lnTo>
                  <a:lnTo>
                    <a:pt x="1720" y="1173"/>
                  </a:lnTo>
                  <a:lnTo>
                    <a:pt x="1720" y="1173"/>
                  </a:lnTo>
                  <a:lnTo>
                    <a:pt x="1716" y="1173"/>
                  </a:lnTo>
                  <a:lnTo>
                    <a:pt x="1716" y="1173"/>
                  </a:lnTo>
                  <a:lnTo>
                    <a:pt x="1716" y="1173"/>
                  </a:lnTo>
                  <a:lnTo>
                    <a:pt x="1716" y="1173"/>
                  </a:lnTo>
                  <a:lnTo>
                    <a:pt x="1716" y="1173"/>
                  </a:lnTo>
                  <a:lnTo>
                    <a:pt x="1716" y="1175"/>
                  </a:lnTo>
                  <a:lnTo>
                    <a:pt x="1716" y="1175"/>
                  </a:lnTo>
                  <a:lnTo>
                    <a:pt x="1716" y="1173"/>
                  </a:lnTo>
                  <a:lnTo>
                    <a:pt x="1716" y="1173"/>
                  </a:lnTo>
                  <a:lnTo>
                    <a:pt x="1716" y="1173"/>
                  </a:lnTo>
                  <a:lnTo>
                    <a:pt x="1713" y="1173"/>
                  </a:lnTo>
                  <a:lnTo>
                    <a:pt x="1713" y="1173"/>
                  </a:lnTo>
                  <a:lnTo>
                    <a:pt x="1711" y="1173"/>
                  </a:lnTo>
                  <a:lnTo>
                    <a:pt x="1711" y="1173"/>
                  </a:lnTo>
                  <a:lnTo>
                    <a:pt x="1713" y="1171"/>
                  </a:lnTo>
                  <a:lnTo>
                    <a:pt x="1713" y="1171"/>
                  </a:lnTo>
                  <a:lnTo>
                    <a:pt x="1716" y="1171"/>
                  </a:lnTo>
                  <a:lnTo>
                    <a:pt x="1716" y="1171"/>
                  </a:lnTo>
                  <a:lnTo>
                    <a:pt x="1716" y="1171"/>
                  </a:lnTo>
                  <a:lnTo>
                    <a:pt x="1716" y="1171"/>
                  </a:lnTo>
                  <a:lnTo>
                    <a:pt x="1718" y="1171"/>
                  </a:lnTo>
                  <a:lnTo>
                    <a:pt x="1718" y="1171"/>
                  </a:lnTo>
                  <a:lnTo>
                    <a:pt x="1718" y="1173"/>
                  </a:lnTo>
                  <a:lnTo>
                    <a:pt x="1718" y="1173"/>
                  </a:lnTo>
                  <a:lnTo>
                    <a:pt x="1718" y="1173"/>
                  </a:lnTo>
                  <a:lnTo>
                    <a:pt x="1718" y="1171"/>
                  </a:lnTo>
                  <a:lnTo>
                    <a:pt x="1718" y="1171"/>
                  </a:lnTo>
                  <a:lnTo>
                    <a:pt x="1716" y="1171"/>
                  </a:lnTo>
                  <a:lnTo>
                    <a:pt x="1716" y="1168"/>
                  </a:lnTo>
                  <a:lnTo>
                    <a:pt x="1716" y="1168"/>
                  </a:lnTo>
                  <a:lnTo>
                    <a:pt x="1716" y="1166"/>
                  </a:lnTo>
                  <a:lnTo>
                    <a:pt x="1716" y="1168"/>
                  </a:lnTo>
                  <a:lnTo>
                    <a:pt x="1716" y="1168"/>
                  </a:lnTo>
                  <a:lnTo>
                    <a:pt x="1713" y="1166"/>
                  </a:lnTo>
                  <a:lnTo>
                    <a:pt x="1713" y="1166"/>
                  </a:lnTo>
                  <a:lnTo>
                    <a:pt x="1713" y="1166"/>
                  </a:lnTo>
                  <a:lnTo>
                    <a:pt x="1713" y="1166"/>
                  </a:lnTo>
                  <a:lnTo>
                    <a:pt x="1713" y="1166"/>
                  </a:lnTo>
                  <a:lnTo>
                    <a:pt x="1713" y="1166"/>
                  </a:lnTo>
                  <a:lnTo>
                    <a:pt x="1713" y="1166"/>
                  </a:lnTo>
                  <a:lnTo>
                    <a:pt x="1711" y="1166"/>
                  </a:lnTo>
                  <a:lnTo>
                    <a:pt x="1711" y="1166"/>
                  </a:lnTo>
                  <a:lnTo>
                    <a:pt x="1711" y="1166"/>
                  </a:lnTo>
                  <a:lnTo>
                    <a:pt x="1711" y="1168"/>
                  </a:lnTo>
                  <a:lnTo>
                    <a:pt x="1711" y="1168"/>
                  </a:lnTo>
                  <a:lnTo>
                    <a:pt x="1711" y="1168"/>
                  </a:lnTo>
                  <a:lnTo>
                    <a:pt x="1709" y="1168"/>
                  </a:lnTo>
                  <a:lnTo>
                    <a:pt x="1709" y="1168"/>
                  </a:lnTo>
                  <a:lnTo>
                    <a:pt x="1709" y="1168"/>
                  </a:lnTo>
                  <a:lnTo>
                    <a:pt x="1706" y="1171"/>
                  </a:lnTo>
                  <a:lnTo>
                    <a:pt x="1709" y="1168"/>
                  </a:lnTo>
                  <a:lnTo>
                    <a:pt x="1709" y="1168"/>
                  </a:lnTo>
                  <a:lnTo>
                    <a:pt x="1706" y="1168"/>
                  </a:lnTo>
                  <a:lnTo>
                    <a:pt x="1706" y="1168"/>
                  </a:lnTo>
                  <a:lnTo>
                    <a:pt x="1709" y="1166"/>
                  </a:lnTo>
                  <a:lnTo>
                    <a:pt x="1711" y="1166"/>
                  </a:lnTo>
                  <a:lnTo>
                    <a:pt x="1711" y="1166"/>
                  </a:lnTo>
                  <a:lnTo>
                    <a:pt x="1713" y="1163"/>
                  </a:lnTo>
                  <a:lnTo>
                    <a:pt x="1713" y="1163"/>
                  </a:lnTo>
                  <a:lnTo>
                    <a:pt x="1713" y="1163"/>
                  </a:lnTo>
                  <a:lnTo>
                    <a:pt x="1713" y="1163"/>
                  </a:lnTo>
                  <a:lnTo>
                    <a:pt x="1713" y="1161"/>
                  </a:lnTo>
                  <a:lnTo>
                    <a:pt x="1713" y="1161"/>
                  </a:lnTo>
                  <a:lnTo>
                    <a:pt x="1713" y="1161"/>
                  </a:lnTo>
                  <a:lnTo>
                    <a:pt x="1713" y="1161"/>
                  </a:lnTo>
                  <a:lnTo>
                    <a:pt x="1713" y="1161"/>
                  </a:lnTo>
                  <a:lnTo>
                    <a:pt x="1713" y="1161"/>
                  </a:lnTo>
                  <a:lnTo>
                    <a:pt x="1713" y="1161"/>
                  </a:lnTo>
                  <a:lnTo>
                    <a:pt x="1713" y="1159"/>
                  </a:lnTo>
                  <a:lnTo>
                    <a:pt x="1713" y="1159"/>
                  </a:lnTo>
                  <a:lnTo>
                    <a:pt x="1716" y="1161"/>
                  </a:lnTo>
                  <a:lnTo>
                    <a:pt x="1716" y="1166"/>
                  </a:lnTo>
                  <a:lnTo>
                    <a:pt x="1716" y="1166"/>
                  </a:lnTo>
                  <a:lnTo>
                    <a:pt x="1718" y="1166"/>
                  </a:lnTo>
                  <a:lnTo>
                    <a:pt x="1720" y="1168"/>
                  </a:lnTo>
                  <a:lnTo>
                    <a:pt x="1720" y="1168"/>
                  </a:lnTo>
                  <a:lnTo>
                    <a:pt x="1720" y="1171"/>
                  </a:lnTo>
                  <a:lnTo>
                    <a:pt x="1723" y="1173"/>
                  </a:lnTo>
                  <a:lnTo>
                    <a:pt x="1723" y="1173"/>
                  </a:lnTo>
                  <a:lnTo>
                    <a:pt x="1723" y="1173"/>
                  </a:lnTo>
                  <a:lnTo>
                    <a:pt x="1723" y="1171"/>
                  </a:lnTo>
                  <a:lnTo>
                    <a:pt x="1723" y="1171"/>
                  </a:lnTo>
                  <a:lnTo>
                    <a:pt x="1723" y="1168"/>
                  </a:lnTo>
                  <a:lnTo>
                    <a:pt x="1723" y="1168"/>
                  </a:lnTo>
                  <a:lnTo>
                    <a:pt x="1720" y="1166"/>
                  </a:lnTo>
                  <a:lnTo>
                    <a:pt x="1720" y="1166"/>
                  </a:lnTo>
                  <a:lnTo>
                    <a:pt x="1720" y="1163"/>
                  </a:lnTo>
                  <a:lnTo>
                    <a:pt x="1720" y="1161"/>
                  </a:lnTo>
                  <a:lnTo>
                    <a:pt x="1720" y="1161"/>
                  </a:lnTo>
                  <a:lnTo>
                    <a:pt x="1720" y="1161"/>
                  </a:lnTo>
                  <a:lnTo>
                    <a:pt x="1720" y="1161"/>
                  </a:lnTo>
                  <a:lnTo>
                    <a:pt x="1720" y="1159"/>
                  </a:lnTo>
                  <a:lnTo>
                    <a:pt x="1720" y="1159"/>
                  </a:lnTo>
                  <a:lnTo>
                    <a:pt x="1718" y="1159"/>
                  </a:lnTo>
                  <a:lnTo>
                    <a:pt x="1718" y="1161"/>
                  </a:lnTo>
                  <a:lnTo>
                    <a:pt x="1718" y="1161"/>
                  </a:lnTo>
                  <a:lnTo>
                    <a:pt x="1718" y="1159"/>
                  </a:lnTo>
                  <a:lnTo>
                    <a:pt x="1718" y="1159"/>
                  </a:lnTo>
                  <a:lnTo>
                    <a:pt x="1718" y="1159"/>
                  </a:lnTo>
                  <a:lnTo>
                    <a:pt x="1718" y="1159"/>
                  </a:lnTo>
                  <a:lnTo>
                    <a:pt x="1718" y="1156"/>
                  </a:lnTo>
                  <a:lnTo>
                    <a:pt x="1718" y="1156"/>
                  </a:lnTo>
                  <a:lnTo>
                    <a:pt x="1718" y="1156"/>
                  </a:lnTo>
                  <a:lnTo>
                    <a:pt x="1718" y="1154"/>
                  </a:lnTo>
                  <a:lnTo>
                    <a:pt x="1718" y="1154"/>
                  </a:lnTo>
                  <a:lnTo>
                    <a:pt x="1718" y="1152"/>
                  </a:lnTo>
                  <a:lnTo>
                    <a:pt x="1718" y="1152"/>
                  </a:lnTo>
                  <a:lnTo>
                    <a:pt x="1718" y="1149"/>
                  </a:lnTo>
                  <a:lnTo>
                    <a:pt x="1718" y="1147"/>
                  </a:lnTo>
                  <a:lnTo>
                    <a:pt x="1718" y="1147"/>
                  </a:lnTo>
                  <a:lnTo>
                    <a:pt x="1718" y="1147"/>
                  </a:lnTo>
                  <a:lnTo>
                    <a:pt x="1718" y="1145"/>
                  </a:lnTo>
                  <a:lnTo>
                    <a:pt x="1716" y="1145"/>
                  </a:lnTo>
                  <a:lnTo>
                    <a:pt x="1716" y="1145"/>
                  </a:lnTo>
                  <a:lnTo>
                    <a:pt x="1716" y="1145"/>
                  </a:lnTo>
                  <a:lnTo>
                    <a:pt x="1716" y="1142"/>
                  </a:lnTo>
                  <a:lnTo>
                    <a:pt x="1716" y="1142"/>
                  </a:lnTo>
                  <a:lnTo>
                    <a:pt x="1716" y="1142"/>
                  </a:lnTo>
                  <a:lnTo>
                    <a:pt x="1716" y="1140"/>
                  </a:lnTo>
                  <a:lnTo>
                    <a:pt x="1713" y="1140"/>
                  </a:lnTo>
                  <a:lnTo>
                    <a:pt x="1713" y="1137"/>
                  </a:lnTo>
                  <a:lnTo>
                    <a:pt x="1713" y="1137"/>
                  </a:lnTo>
                  <a:lnTo>
                    <a:pt x="1713" y="1135"/>
                  </a:lnTo>
                  <a:lnTo>
                    <a:pt x="1711" y="1135"/>
                  </a:lnTo>
                  <a:lnTo>
                    <a:pt x="1711" y="1135"/>
                  </a:lnTo>
                  <a:lnTo>
                    <a:pt x="1711" y="1135"/>
                  </a:lnTo>
                  <a:lnTo>
                    <a:pt x="1711" y="1135"/>
                  </a:lnTo>
                  <a:lnTo>
                    <a:pt x="1711" y="1135"/>
                  </a:lnTo>
                  <a:lnTo>
                    <a:pt x="1711" y="1135"/>
                  </a:lnTo>
                  <a:lnTo>
                    <a:pt x="1711" y="1135"/>
                  </a:lnTo>
                  <a:lnTo>
                    <a:pt x="1709" y="1135"/>
                  </a:lnTo>
                  <a:lnTo>
                    <a:pt x="1709" y="1135"/>
                  </a:lnTo>
                  <a:lnTo>
                    <a:pt x="1709" y="1135"/>
                  </a:lnTo>
                  <a:lnTo>
                    <a:pt x="1709" y="1133"/>
                  </a:lnTo>
                  <a:lnTo>
                    <a:pt x="1709" y="1133"/>
                  </a:lnTo>
                  <a:lnTo>
                    <a:pt x="1709" y="1133"/>
                  </a:lnTo>
                  <a:lnTo>
                    <a:pt x="1709" y="1133"/>
                  </a:lnTo>
                  <a:lnTo>
                    <a:pt x="1709" y="1133"/>
                  </a:lnTo>
                  <a:lnTo>
                    <a:pt x="1709" y="1133"/>
                  </a:lnTo>
                  <a:lnTo>
                    <a:pt x="1709" y="1133"/>
                  </a:lnTo>
                  <a:lnTo>
                    <a:pt x="1709" y="1133"/>
                  </a:lnTo>
                  <a:lnTo>
                    <a:pt x="1706" y="1133"/>
                  </a:lnTo>
                  <a:lnTo>
                    <a:pt x="1706" y="1133"/>
                  </a:lnTo>
                  <a:lnTo>
                    <a:pt x="1706" y="1133"/>
                  </a:lnTo>
                  <a:lnTo>
                    <a:pt x="1706" y="1133"/>
                  </a:lnTo>
                  <a:lnTo>
                    <a:pt x="1704" y="1130"/>
                  </a:lnTo>
                  <a:lnTo>
                    <a:pt x="1704" y="1130"/>
                  </a:lnTo>
                  <a:lnTo>
                    <a:pt x="1704" y="1128"/>
                  </a:lnTo>
                  <a:lnTo>
                    <a:pt x="1704" y="1128"/>
                  </a:lnTo>
                  <a:lnTo>
                    <a:pt x="1706" y="1128"/>
                  </a:lnTo>
                  <a:lnTo>
                    <a:pt x="1706" y="1128"/>
                  </a:lnTo>
                  <a:lnTo>
                    <a:pt x="1706" y="1128"/>
                  </a:lnTo>
                  <a:lnTo>
                    <a:pt x="1706" y="1126"/>
                  </a:lnTo>
                  <a:lnTo>
                    <a:pt x="1709" y="1126"/>
                  </a:lnTo>
                  <a:lnTo>
                    <a:pt x="1709" y="1126"/>
                  </a:lnTo>
                  <a:lnTo>
                    <a:pt x="1709" y="1126"/>
                  </a:lnTo>
                  <a:lnTo>
                    <a:pt x="1709" y="1126"/>
                  </a:lnTo>
                  <a:lnTo>
                    <a:pt x="1709" y="1126"/>
                  </a:lnTo>
                  <a:lnTo>
                    <a:pt x="1709" y="1126"/>
                  </a:lnTo>
                  <a:lnTo>
                    <a:pt x="1709" y="1123"/>
                  </a:lnTo>
                  <a:lnTo>
                    <a:pt x="1709" y="1123"/>
                  </a:lnTo>
                  <a:lnTo>
                    <a:pt x="1709" y="1123"/>
                  </a:lnTo>
                  <a:lnTo>
                    <a:pt x="1709" y="1123"/>
                  </a:lnTo>
                  <a:lnTo>
                    <a:pt x="1709" y="1123"/>
                  </a:lnTo>
                  <a:lnTo>
                    <a:pt x="1709" y="1123"/>
                  </a:lnTo>
                  <a:lnTo>
                    <a:pt x="1709" y="1123"/>
                  </a:lnTo>
                  <a:lnTo>
                    <a:pt x="1709" y="1123"/>
                  </a:lnTo>
                  <a:lnTo>
                    <a:pt x="1709" y="1121"/>
                  </a:lnTo>
                  <a:lnTo>
                    <a:pt x="1709" y="1121"/>
                  </a:lnTo>
                  <a:lnTo>
                    <a:pt x="1709" y="1121"/>
                  </a:lnTo>
                  <a:lnTo>
                    <a:pt x="1706" y="1121"/>
                  </a:lnTo>
                  <a:lnTo>
                    <a:pt x="1706" y="1121"/>
                  </a:lnTo>
                  <a:lnTo>
                    <a:pt x="1706" y="1121"/>
                  </a:lnTo>
                  <a:lnTo>
                    <a:pt x="1706" y="1118"/>
                  </a:lnTo>
                  <a:lnTo>
                    <a:pt x="1706" y="1118"/>
                  </a:lnTo>
                  <a:lnTo>
                    <a:pt x="1706" y="1118"/>
                  </a:lnTo>
                  <a:lnTo>
                    <a:pt x="1706" y="1118"/>
                  </a:lnTo>
                  <a:lnTo>
                    <a:pt x="1706" y="1118"/>
                  </a:lnTo>
                  <a:lnTo>
                    <a:pt x="1706" y="1118"/>
                  </a:lnTo>
                  <a:lnTo>
                    <a:pt x="1706" y="1116"/>
                  </a:lnTo>
                  <a:lnTo>
                    <a:pt x="1706" y="1116"/>
                  </a:lnTo>
                  <a:lnTo>
                    <a:pt x="1706" y="1116"/>
                  </a:lnTo>
                  <a:lnTo>
                    <a:pt x="1706" y="1116"/>
                  </a:lnTo>
                  <a:lnTo>
                    <a:pt x="1704" y="1116"/>
                  </a:lnTo>
                  <a:lnTo>
                    <a:pt x="1701" y="1116"/>
                  </a:lnTo>
                  <a:lnTo>
                    <a:pt x="1701" y="1116"/>
                  </a:lnTo>
                  <a:lnTo>
                    <a:pt x="1701" y="1116"/>
                  </a:lnTo>
                  <a:lnTo>
                    <a:pt x="1701" y="1116"/>
                  </a:lnTo>
                  <a:lnTo>
                    <a:pt x="1701" y="1116"/>
                  </a:lnTo>
                  <a:lnTo>
                    <a:pt x="1701" y="1116"/>
                  </a:lnTo>
                  <a:lnTo>
                    <a:pt x="1701" y="1116"/>
                  </a:lnTo>
                  <a:lnTo>
                    <a:pt x="1701" y="1116"/>
                  </a:lnTo>
                  <a:lnTo>
                    <a:pt x="1701" y="1116"/>
                  </a:lnTo>
                  <a:lnTo>
                    <a:pt x="1701" y="1116"/>
                  </a:lnTo>
                  <a:lnTo>
                    <a:pt x="1701" y="1114"/>
                  </a:lnTo>
                  <a:lnTo>
                    <a:pt x="1701" y="1114"/>
                  </a:lnTo>
                  <a:lnTo>
                    <a:pt x="1699" y="1114"/>
                  </a:lnTo>
                  <a:lnTo>
                    <a:pt x="1694" y="1111"/>
                  </a:lnTo>
                  <a:lnTo>
                    <a:pt x="1694" y="1111"/>
                  </a:lnTo>
                  <a:lnTo>
                    <a:pt x="1694" y="1111"/>
                  </a:lnTo>
                  <a:lnTo>
                    <a:pt x="1694" y="1111"/>
                  </a:lnTo>
                  <a:lnTo>
                    <a:pt x="1694" y="1114"/>
                  </a:lnTo>
                  <a:lnTo>
                    <a:pt x="1694" y="1114"/>
                  </a:lnTo>
                  <a:lnTo>
                    <a:pt x="1694" y="1114"/>
                  </a:lnTo>
                  <a:lnTo>
                    <a:pt x="1692" y="1114"/>
                  </a:lnTo>
                  <a:lnTo>
                    <a:pt x="1692" y="1114"/>
                  </a:lnTo>
                  <a:lnTo>
                    <a:pt x="1692" y="1114"/>
                  </a:lnTo>
                  <a:lnTo>
                    <a:pt x="1692" y="1116"/>
                  </a:lnTo>
                  <a:lnTo>
                    <a:pt x="1692" y="1116"/>
                  </a:lnTo>
                  <a:lnTo>
                    <a:pt x="1692" y="1116"/>
                  </a:lnTo>
                  <a:lnTo>
                    <a:pt x="1692" y="1116"/>
                  </a:lnTo>
                  <a:lnTo>
                    <a:pt x="1692" y="1116"/>
                  </a:lnTo>
                  <a:lnTo>
                    <a:pt x="1692" y="1118"/>
                  </a:lnTo>
                  <a:lnTo>
                    <a:pt x="1692" y="1118"/>
                  </a:lnTo>
                  <a:lnTo>
                    <a:pt x="1692" y="1118"/>
                  </a:lnTo>
                  <a:lnTo>
                    <a:pt x="1692" y="1118"/>
                  </a:lnTo>
                  <a:lnTo>
                    <a:pt x="1692" y="1118"/>
                  </a:lnTo>
                  <a:lnTo>
                    <a:pt x="1692" y="1118"/>
                  </a:lnTo>
                  <a:lnTo>
                    <a:pt x="1692" y="1121"/>
                  </a:lnTo>
                  <a:lnTo>
                    <a:pt x="1692" y="1121"/>
                  </a:lnTo>
                  <a:lnTo>
                    <a:pt x="1694" y="1121"/>
                  </a:lnTo>
                  <a:lnTo>
                    <a:pt x="1694" y="1121"/>
                  </a:lnTo>
                  <a:lnTo>
                    <a:pt x="1694" y="1121"/>
                  </a:lnTo>
                  <a:lnTo>
                    <a:pt x="1694" y="1121"/>
                  </a:lnTo>
                  <a:lnTo>
                    <a:pt x="1697" y="1123"/>
                  </a:lnTo>
                  <a:lnTo>
                    <a:pt x="1699" y="1123"/>
                  </a:lnTo>
                  <a:lnTo>
                    <a:pt x="1699" y="1123"/>
                  </a:lnTo>
                  <a:lnTo>
                    <a:pt x="1701" y="1126"/>
                  </a:lnTo>
                  <a:lnTo>
                    <a:pt x="1699" y="1128"/>
                  </a:lnTo>
                  <a:lnTo>
                    <a:pt x="1699" y="1128"/>
                  </a:lnTo>
                  <a:lnTo>
                    <a:pt x="1699" y="1130"/>
                  </a:lnTo>
                  <a:lnTo>
                    <a:pt x="1699" y="1130"/>
                  </a:lnTo>
                  <a:lnTo>
                    <a:pt x="1699" y="1133"/>
                  </a:lnTo>
                  <a:lnTo>
                    <a:pt x="1699" y="1135"/>
                  </a:lnTo>
                  <a:lnTo>
                    <a:pt x="1699" y="1135"/>
                  </a:lnTo>
                  <a:lnTo>
                    <a:pt x="1699" y="1135"/>
                  </a:lnTo>
                  <a:lnTo>
                    <a:pt x="1697" y="1135"/>
                  </a:lnTo>
                  <a:lnTo>
                    <a:pt x="1697" y="1135"/>
                  </a:lnTo>
                  <a:lnTo>
                    <a:pt x="1697" y="1135"/>
                  </a:lnTo>
                  <a:lnTo>
                    <a:pt x="1697" y="1137"/>
                  </a:lnTo>
                  <a:lnTo>
                    <a:pt x="1697" y="1137"/>
                  </a:lnTo>
                  <a:lnTo>
                    <a:pt x="1697" y="1137"/>
                  </a:lnTo>
                  <a:lnTo>
                    <a:pt x="1697" y="1140"/>
                  </a:lnTo>
                  <a:lnTo>
                    <a:pt x="1697" y="1140"/>
                  </a:lnTo>
                  <a:lnTo>
                    <a:pt x="1699" y="1140"/>
                  </a:lnTo>
                  <a:lnTo>
                    <a:pt x="1699" y="1140"/>
                  </a:lnTo>
                  <a:lnTo>
                    <a:pt x="1699" y="1140"/>
                  </a:lnTo>
                  <a:lnTo>
                    <a:pt x="1699" y="1140"/>
                  </a:lnTo>
                  <a:lnTo>
                    <a:pt x="1699" y="1140"/>
                  </a:lnTo>
                  <a:lnTo>
                    <a:pt x="1699" y="1140"/>
                  </a:lnTo>
                  <a:lnTo>
                    <a:pt x="1699" y="1140"/>
                  </a:lnTo>
                  <a:lnTo>
                    <a:pt x="1699" y="1140"/>
                  </a:lnTo>
                  <a:lnTo>
                    <a:pt x="1699" y="1142"/>
                  </a:lnTo>
                  <a:lnTo>
                    <a:pt x="1699" y="1142"/>
                  </a:lnTo>
                  <a:lnTo>
                    <a:pt x="1699" y="1145"/>
                  </a:lnTo>
                  <a:lnTo>
                    <a:pt x="1697" y="1145"/>
                  </a:lnTo>
                  <a:lnTo>
                    <a:pt x="1697" y="1145"/>
                  </a:lnTo>
                  <a:lnTo>
                    <a:pt x="1697" y="1145"/>
                  </a:lnTo>
                  <a:lnTo>
                    <a:pt x="1694" y="1147"/>
                  </a:lnTo>
                  <a:lnTo>
                    <a:pt x="1694" y="1147"/>
                  </a:lnTo>
                  <a:lnTo>
                    <a:pt x="1694" y="1147"/>
                  </a:lnTo>
                  <a:lnTo>
                    <a:pt x="1692" y="1145"/>
                  </a:lnTo>
                  <a:lnTo>
                    <a:pt x="1692" y="1145"/>
                  </a:lnTo>
                  <a:lnTo>
                    <a:pt x="1692" y="1147"/>
                  </a:lnTo>
                  <a:lnTo>
                    <a:pt x="1692" y="1147"/>
                  </a:lnTo>
                  <a:lnTo>
                    <a:pt x="1692" y="1147"/>
                  </a:lnTo>
                  <a:lnTo>
                    <a:pt x="1692" y="1147"/>
                  </a:lnTo>
                  <a:lnTo>
                    <a:pt x="1692" y="1147"/>
                  </a:lnTo>
                  <a:lnTo>
                    <a:pt x="1690" y="1147"/>
                  </a:lnTo>
                  <a:lnTo>
                    <a:pt x="1690" y="1147"/>
                  </a:lnTo>
                  <a:lnTo>
                    <a:pt x="1690" y="1147"/>
                  </a:lnTo>
                  <a:lnTo>
                    <a:pt x="1690" y="1147"/>
                  </a:lnTo>
                  <a:lnTo>
                    <a:pt x="1690" y="1147"/>
                  </a:lnTo>
                  <a:lnTo>
                    <a:pt x="1690" y="1147"/>
                  </a:lnTo>
                  <a:lnTo>
                    <a:pt x="1690" y="1147"/>
                  </a:lnTo>
                  <a:lnTo>
                    <a:pt x="1690" y="1149"/>
                  </a:lnTo>
                  <a:lnTo>
                    <a:pt x="1690" y="1149"/>
                  </a:lnTo>
                  <a:lnTo>
                    <a:pt x="1690" y="1149"/>
                  </a:lnTo>
                  <a:lnTo>
                    <a:pt x="1690" y="1149"/>
                  </a:lnTo>
                  <a:lnTo>
                    <a:pt x="1690" y="1149"/>
                  </a:lnTo>
                  <a:lnTo>
                    <a:pt x="1687" y="1149"/>
                  </a:lnTo>
                  <a:lnTo>
                    <a:pt x="1687" y="1152"/>
                  </a:lnTo>
                  <a:lnTo>
                    <a:pt x="1690" y="1152"/>
                  </a:lnTo>
                  <a:lnTo>
                    <a:pt x="1692" y="1154"/>
                  </a:lnTo>
                  <a:lnTo>
                    <a:pt x="1692" y="1156"/>
                  </a:lnTo>
                  <a:lnTo>
                    <a:pt x="1697" y="1154"/>
                  </a:lnTo>
                  <a:lnTo>
                    <a:pt x="1699" y="1154"/>
                  </a:lnTo>
                  <a:lnTo>
                    <a:pt x="1701" y="1154"/>
                  </a:lnTo>
                  <a:lnTo>
                    <a:pt x="1701" y="1154"/>
                  </a:lnTo>
                  <a:lnTo>
                    <a:pt x="1701" y="1154"/>
                  </a:lnTo>
                  <a:lnTo>
                    <a:pt x="1701" y="1156"/>
                  </a:lnTo>
                  <a:lnTo>
                    <a:pt x="1704" y="1156"/>
                  </a:lnTo>
                  <a:lnTo>
                    <a:pt x="1701" y="1156"/>
                  </a:lnTo>
                  <a:lnTo>
                    <a:pt x="1701" y="1156"/>
                  </a:lnTo>
                  <a:lnTo>
                    <a:pt x="1699" y="1156"/>
                  </a:lnTo>
                  <a:lnTo>
                    <a:pt x="1699" y="1156"/>
                  </a:lnTo>
                  <a:lnTo>
                    <a:pt x="1699" y="1156"/>
                  </a:lnTo>
                  <a:lnTo>
                    <a:pt x="1697" y="1156"/>
                  </a:lnTo>
                  <a:lnTo>
                    <a:pt x="1697" y="1156"/>
                  </a:lnTo>
                  <a:lnTo>
                    <a:pt x="1697" y="1159"/>
                  </a:lnTo>
                  <a:lnTo>
                    <a:pt x="1697" y="1159"/>
                  </a:lnTo>
                  <a:lnTo>
                    <a:pt x="1694" y="1159"/>
                  </a:lnTo>
                  <a:lnTo>
                    <a:pt x="1694" y="1161"/>
                  </a:lnTo>
                  <a:lnTo>
                    <a:pt x="1694" y="1161"/>
                  </a:lnTo>
                  <a:lnTo>
                    <a:pt x="1694" y="1161"/>
                  </a:lnTo>
                  <a:lnTo>
                    <a:pt x="1694" y="1163"/>
                  </a:lnTo>
                  <a:lnTo>
                    <a:pt x="1694" y="1163"/>
                  </a:lnTo>
                  <a:lnTo>
                    <a:pt x="1697" y="1163"/>
                  </a:lnTo>
                  <a:lnTo>
                    <a:pt x="1697" y="1166"/>
                  </a:lnTo>
                  <a:lnTo>
                    <a:pt x="1697" y="1166"/>
                  </a:lnTo>
                  <a:lnTo>
                    <a:pt x="1697" y="1166"/>
                  </a:lnTo>
                  <a:lnTo>
                    <a:pt x="1694" y="1166"/>
                  </a:lnTo>
                  <a:lnTo>
                    <a:pt x="1694" y="1166"/>
                  </a:lnTo>
                  <a:lnTo>
                    <a:pt x="1694" y="1166"/>
                  </a:lnTo>
                  <a:lnTo>
                    <a:pt x="1694" y="1166"/>
                  </a:lnTo>
                  <a:lnTo>
                    <a:pt x="1694" y="1166"/>
                  </a:lnTo>
                  <a:lnTo>
                    <a:pt x="1697" y="1166"/>
                  </a:lnTo>
                  <a:lnTo>
                    <a:pt x="1694" y="1168"/>
                  </a:lnTo>
                  <a:lnTo>
                    <a:pt x="1697" y="1168"/>
                  </a:lnTo>
                  <a:lnTo>
                    <a:pt x="1697" y="1168"/>
                  </a:lnTo>
                  <a:lnTo>
                    <a:pt x="1699" y="1171"/>
                  </a:lnTo>
                  <a:lnTo>
                    <a:pt x="1699" y="1171"/>
                  </a:lnTo>
                  <a:lnTo>
                    <a:pt x="1699" y="1171"/>
                  </a:lnTo>
                  <a:lnTo>
                    <a:pt x="1694" y="1171"/>
                  </a:lnTo>
                  <a:lnTo>
                    <a:pt x="1694" y="1171"/>
                  </a:lnTo>
                  <a:lnTo>
                    <a:pt x="1694" y="1171"/>
                  </a:lnTo>
                  <a:lnTo>
                    <a:pt x="1694" y="1168"/>
                  </a:lnTo>
                  <a:lnTo>
                    <a:pt x="1694" y="1168"/>
                  </a:lnTo>
                  <a:lnTo>
                    <a:pt x="1692" y="1168"/>
                  </a:lnTo>
                  <a:lnTo>
                    <a:pt x="1692" y="1168"/>
                  </a:lnTo>
                  <a:lnTo>
                    <a:pt x="1692" y="1168"/>
                  </a:lnTo>
                  <a:lnTo>
                    <a:pt x="1692" y="1168"/>
                  </a:lnTo>
                  <a:lnTo>
                    <a:pt x="1690" y="1168"/>
                  </a:lnTo>
                  <a:lnTo>
                    <a:pt x="1690" y="1166"/>
                  </a:lnTo>
                  <a:lnTo>
                    <a:pt x="1690" y="1166"/>
                  </a:lnTo>
                  <a:lnTo>
                    <a:pt x="1690" y="1166"/>
                  </a:lnTo>
                  <a:lnTo>
                    <a:pt x="1690" y="1166"/>
                  </a:lnTo>
                  <a:lnTo>
                    <a:pt x="1690" y="1166"/>
                  </a:lnTo>
                  <a:lnTo>
                    <a:pt x="1690" y="1166"/>
                  </a:lnTo>
                  <a:lnTo>
                    <a:pt x="1687" y="1168"/>
                  </a:lnTo>
                  <a:lnTo>
                    <a:pt x="1687" y="1168"/>
                  </a:lnTo>
                  <a:lnTo>
                    <a:pt x="1687" y="1168"/>
                  </a:lnTo>
                  <a:lnTo>
                    <a:pt x="1687" y="1168"/>
                  </a:lnTo>
                  <a:lnTo>
                    <a:pt x="1687" y="1168"/>
                  </a:lnTo>
                  <a:lnTo>
                    <a:pt x="1687" y="1168"/>
                  </a:lnTo>
                  <a:lnTo>
                    <a:pt x="1687" y="1171"/>
                  </a:lnTo>
                  <a:lnTo>
                    <a:pt x="1687" y="1171"/>
                  </a:lnTo>
                  <a:lnTo>
                    <a:pt x="1687" y="1171"/>
                  </a:lnTo>
                  <a:lnTo>
                    <a:pt x="1687" y="1171"/>
                  </a:lnTo>
                  <a:lnTo>
                    <a:pt x="1687" y="1173"/>
                  </a:lnTo>
                  <a:lnTo>
                    <a:pt x="1687" y="1173"/>
                  </a:lnTo>
                  <a:lnTo>
                    <a:pt x="1690" y="1173"/>
                  </a:lnTo>
                  <a:lnTo>
                    <a:pt x="1690" y="1173"/>
                  </a:lnTo>
                  <a:lnTo>
                    <a:pt x="1690" y="1173"/>
                  </a:lnTo>
                  <a:lnTo>
                    <a:pt x="1690" y="1173"/>
                  </a:lnTo>
                  <a:lnTo>
                    <a:pt x="1692" y="1173"/>
                  </a:lnTo>
                  <a:lnTo>
                    <a:pt x="1692" y="1173"/>
                  </a:lnTo>
                  <a:lnTo>
                    <a:pt x="1692" y="1173"/>
                  </a:lnTo>
                  <a:lnTo>
                    <a:pt x="1692" y="1173"/>
                  </a:lnTo>
                  <a:lnTo>
                    <a:pt x="1692" y="1173"/>
                  </a:lnTo>
                  <a:lnTo>
                    <a:pt x="1694" y="1175"/>
                  </a:lnTo>
                  <a:lnTo>
                    <a:pt x="1697" y="1175"/>
                  </a:lnTo>
                  <a:lnTo>
                    <a:pt x="1697" y="1175"/>
                  </a:lnTo>
                  <a:lnTo>
                    <a:pt x="1697" y="1175"/>
                  </a:lnTo>
                  <a:lnTo>
                    <a:pt x="1697" y="1175"/>
                  </a:lnTo>
                  <a:lnTo>
                    <a:pt x="1697" y="1175"/>
                  </a:lnTo>
                  <a:lnTo>
                    <a:pt x="1694" y="1175"/>
                  </a:lnTo>
                  <a:lnTo>
                    <a:pt x="1692" y="1175"/>
                  </a:lnTo>
                  <a:lnTo>
                    <a:pt x="1692" y="1175"/>
                  </a:lnTo>
                  <a:lnTo>
                    <a:pt x="1692" y="1178"/>
                  </a:lnTo>
                  <a:lnTo>
                    <a:pt x="1694" y="1178"/>
                  </a:lnTo>
                  <a:lnTo>
                    <a:pt x="1694" y="1178"/>
                  </a:lnTo>
                  <a:lnTo>
                    <a:pt x="1697" y="1178"/>
                  </a:lnTo>
                  <a:lnTo>
                    <a:pt x="1697" y="1178"/>
                  </a:lnTo>
                  <a:lnTo>
                    <a:pt x="1697" y="1178"/>
                  </a:lnTo>
                  <a:lnTo>
                    <a:pt x="1699" y="1178"/>
                  </a:lnTo>
                  <a:lnTo>
                    <a:pt x="1699" y="1178"/>
                  </a:lnTo>
                  <a:lnTo>
                    <a:pt x="1699" y="1175"/>
                  </a:lnTo>
                  <a:lnTo>
                    <a:pt x="1699" y="1175"/>
                  </a:lnTo>
                  <a:lnTo>
                    <a:pt x="1699" y="1175"/>
                  </a:lnTo>
                  <a:lnTo>
                    <a:pt x="1699" y="1175"/>
                  </a:lnTo>
                  <a:lnTo>
                    <a:pt x="1699" y="1178"/>
                  </a:lnTo>
                  <a:lnTo>
                    <a:pt x="1699" y="1178"/>
                  </a:lnTo>
                  <a:lnTo>
                    <a:pt x="1699" y="1180"/>
                  </a:lnTo>
                  <a:lnTo>
                    <a:pt x="1699" y="1180"/>
                  </a:lnTo>
                  <a:lnTo>
                    <a:pt x="1699" y="1182"/>
                  </a:lnTo>
                  <a:lnTo>
                    <a:pt x="1701" y="1182"/>
                  </a:lnTo>
                  <a:lnTo>
                    <a:pt x="1701" y="1185"/>
                  </a:lnTo>
                  <a:lnTo>
                    <a:pt x="1701" y="1185"/>
                  </a:lnTo>
                  <a:lnTo>
                    <a:pt x="1704" y="1185"/>
                  </a:lnTo>
                  <a:lnTo>
                    <a:pt x="1704" y="1185"/>
                  </a:lnTo>
                  <a:lnTo>
                    <a:pt x="1704" y="1182"/>
                  </a:lnTo>
                  <a:lnTo>
                    <a:pt x="1704" y="1182"/>
                  </a:lnTo>
                  <a:lnTo>
                    <a:pt x="1704" y="1182"/>
                  </a:lnTo>
                  <a:lnTo>
                    <a:pt x="1704" y="1182"/>
                  </a:lnTo>
                  <a:lnTo>
                    <a:pt x="1704" y="1180"/>
                  </a:lnTo>
                  <a:lnTo>
                    <a:pt x="1704" y="1180"/>
                  </a:lnTo>
                  <a:lnTo>
                    <a:pt x="1704" y="1178"/>
                  </a:lnTo>
                  <a:lnTo>
                    <a:pt x="1704" y="1180"/>
                  </a:lnTo>
                  <a:lnTo>
                    <a:pt x="1704" y="1180"/>
                  </a:lnTo>
                  <a:lnTo>
                    <a:pt x="1704" y="1182"/>
                  </a:lnTo>
                  <a:lnTo>
                    <a:pt x="1706" y="1182"/>
                  </a:lnTo>
                  <a:lnTo>
                    <a:pt x="1706" y="1182"/>
                  </a:lnTo>
                  <a:lnTo>
                    <a:pt x="1706" y="1185"/>
                  </a:lnTo>
                  <a:lnTo>
                    <a:pt x="1704" y="1185"/>
                  </a:lnTo>
                  <a:lnTo>
                    <a:pt x="1704" y="1187"/>
                  </a:lnTo>
                  <a:lnTo>
                    <a:pt x="1701" y="1187"/>
                  </a:lnTo>
                  <a:lnTo>
                    <a:pt x="1701" y="1189"/>
                  </a:lnTo>
                  <a:lnTo>
                    <a:pt x="1704" y="1189"/>
                  </a:lnTo>
                  <a:lnTo>
                    <a:pt x="1704" y="1187"/>
                  </a:lnTo>
                  <a:lnTo>
                    <a:pt x="1706" y="1187"/>
                  </a:lnTo>
                  <a:lnTo>
                    <a:pt x="1706" y="1187"/>
                  </a:lnTo>
                  <a:lnTo>
                    <a:pt x="1706" y="1187"/>
                  </a:lnTo>
                  <a:lnTo>
                    <a:pt x="1706" y="1187"/>
                  </a:lnTo>
                  <a:lnTo>
                    <a:pt x="1706" y="1189"/>
                  </a:lnTo>
                  <a:lnTo>
                    <a:pt x="1704" y="1189"/>
                  </a:lnTo>
                  <a:lnTo>
                    <a:pt x="1704" y="1189"/>
                  </a:lnTo>
                  <a:lnTo>
                    <a:pt x="1706" y="1192"/>
                  </a:lnTo>
                  <a:lnTo>
                    <a:pt x="1706" y="1192"/>
                  </a:lnTo>
                  <a:lnTo>
                    <a:pt x="1706" y="1192"/>
                  </a:lnTo>
                  <a:lnTo>
                    <a:pt x="1704" y="1189"/>
                  </a:lnTo>
                  <a:lnTo>
                    <a:pt x="1704" y="1189"/>
                  </a:lnTo>
                  <a:lnTo>
                    <a:pt x="1704" y="1189"/>
                  </a:lnTo>
                  <a:lnTo>
                    <a:pt x="1704" y="1192"/>
                  </a:lnTo>
                  <a:lnTo>
                    <a:pt x="1704" y="1192"/>
                  </a:lnTo>
                  <a:lnTo>
                    <a:pt x="1704" y="1192"/>
                  </a:lnTo>
                  <a:lnTo>
                    <a:pt x="1704" y="1192"/>
                  </a:lnTo>
                  <a:lnTo>
                    <a:pt x="1704" y="1192"/>
                  </a:lnTo>
                  <a:lnTo>
                    <a:pt x="1704" y="1194"/>
                  </a:lnTo>
                  <a:lnTo>
                    <a:pt x="1704" y="1194"/>
                  </a:lnTo>
                  <a:lnTo>
                    <a:pt x="1701" y="1194"/>
                  </a:lnTo>
                  <a:lnTo>
                    <a:pt x="1701" y="1194"/>
                  </a:lnTo>
                  <a:lnTo>
                    <a:pt x="1701" y="1194"/>
                  </a:lnTo>
                  <a:lnTo>
                    <a:pt x="1701" y="1194"/>
                  </a:lnTo>
                  <a:lnTo>
                    <a:pt x="1701" y="1194"/>
                  </a:lnTo>
                  <a:lnTo>
                    <a:pt x="1701" y="1194"/>
                  </a:lnTo>
                  <a:lnTo>
                    <a:pt x="1701" y="1194"/>
                  </a:lnTo>
                  <a:lnTo>
                    <a:pt x="1701" y="1197"/>
                  </a:lnTo>
                  <a:lnTo>
                    <a:pt x="1704" y="1197"/>
                  </a:lnTo>
                  <a:lnTo>
                    <a:pt x="1704" y="1197"/>
                  </a:lnTo>
                  <a:lnTo>
                    <a:pt x="1706" y="1194"/>
                  </a:lnTo>
                  <a:lnTo>
                    <a:pt x="1706" y="1194"/>
                  </a:lnTo>
                  <a:lnTo>
                    <a:pt x="1706" y="1194"/>
                  </a:lnTo>
                  <a:lnTo>
                    <a:pt x="1706" y="1197"/>
                  </a:lnTo>
                  <a:lnTo>
                    <a:pt x="1706" y="1197"/>
                  </a:lnTo>
                  <a:lnTo>
                    <a:pt x="1704" y="1197"/>
                  </a:lnTo>
                  <a:lnTo>
                    <a:pt x="1704" y="1197"/>
                  </a:lnTo>
                  <a:lnTo>
                    <a:pt x="1704" y="1197"/>
                  </a:lnTo>
                  <a:lnTo>
                    <a:pt x="1704" y="1197"/>
                  </a:lnTo>
                  <a:lnTo>
                    <a:pt x="1704" y="1199"/>
                  </a:lnTo>
                  <a:lnTo>
                    <a:pt x="1704" y="1199"/>
                  </a:lnTo>
                  <a:lnTo>
                    <a:pt x="1704" y="1199"/>
                  </a:lnTo>
                  <a:lnTo>
                    <a:pt x="1704" y="1199"/>
                  </a:lnTo>
                  <a:lnTo>
                    <a:pt x="1706" y="1199"/>
                  </a:lnTo>
                  <a:lnTo>
                    <a:pt x="1706" y="1199"/>
                  </a:lnTo>
                  <a:lnTo>
                    <a:pt x="1706" y="1199"/>
                  </a:lnTo>
                  <a:lnTo>
                    <a:pt x="1706" y="1197"/>
                  </a:lnTo>
                  <a:lnTo>
                    <a:pt x="1706" y="1197"/>
                  </a:lnTo>
                  <a:lnTo>
                    <a:pt x="1706" y="1197"/>
                  </a:lnTo>
                  <a:lnTo>
                    <a:pt x="1706" y="1197"/>
                  </a:lnTo>
                  <a:lnTo>
                    <a:pt x="1709" y="1194"/>
                  </a:lnTo>
                  <a:lnTo>
                    <a:pt x="1709" y="1194"/>
                  </a:lnTo>
                  <a:lnTo>
                    <a:pt x="1709" y="1194"/>
                  </a:lnTo>
                  <a:lnTo>
                    <a:pt x="1709" y="1194"/>
                  </a:lnTo>
                  <a:lnTo>
                    <a:pt x="1709" y="1194"/>
                  </a:lnTo>
                  <a:lnTo>
                    <a:pt x="1709" y="1197"/>
                  </a:lnTo>
                  <a:lnTo>
                    <a:pt x="1709" y="1197"/>
                  </a:lnTo>
                  <a:lnTo>
                    <a:pt x="1709" y="1197"/>
                  </a:lnTo>
                  <a:lnTo>
                    <a:pt x="1709" y="1199"/>
                  </a:lnTo>
                  <a:lnTo>
                    <a:pt x="1709" y="1199"/>
                  </a:lnTo>
                  <a:lnTo>
                    <a:pt x="1709" y="1199"/>
                  </a:lnTo>
                  <a:lnTo>
                    <a:pt x="1706" y="1199"/>
                  </a:lnTo>
                  <a:lnTo>
                    <a:pt x="1706" y="1199"/>
                  </a:lnTo>
                  <a:lnTo>
                    <a:pt x="1709" y="1199"/>
                  </a:lnTo>
                  <a:lnTo>
                    <a:pt x="1709" y="1199"/>
                  </a:lnTo>
                  <a:lnTo>
                    <a:pt x="1709" y="1199"/>
                  </a:lnTo>
                  <a:lnTo>
                    <a:pt x="1709" y="1199"/>
                  </a:lnTo>
                  <a:lnTo>
                    <a:pt x="1709" y="1199"/>
                  </a:lnTo>
                  <a:lnTo>
                    <a:pt x="1709" y="1199"/>
                  </a:lnTo>
                  <a:lnTo>
                    <a:pt x="1709" y="1201"/>
                  </a:lnTo>
                  <a:lnTo>
                    <a:pt x="1709" y="1201"/>
                  </a:lnTo>
                  <a:lnTo>
                    <a:pt x="1709" y="1201"/>
                  </a:lnTo>
                  <a:lnTo>
                    <a:pt x="1711" y="1201"/>
                  </a:lnTo>
                  <a:lnTo>
                    <a:pt x="1709" y="1201"/>
                  </a:lnTo>
                  <a:lnTo>
                    <a:pt x="1709" y="1201"/>
                  </a:lnTo>
                  <a:lnTo>
                    <a:pt x="1709" y="1201"/>
                  </a:lnTo>
                  <a:lnTo>
                    <a:pt x="1709" y="1201"/>
                  </a:lnTo>
                  <a:lnTo>
                    <a:pt x="1709" y="1204"/>
                  </a:lnTo>
                  <a:lnTo>
                    <a:pt x="1709" y="1204"/>
                  </a:lnTo>
                  <a:lnTo>
                    <a:pt x="1709" y="1204"/>
                  </a:lnTo>
                  <a:lnTo>
                    <a:pt x="1709" y="1204"/>
                  </a:lnTo>
                  <a:lnTo>
                    <a:pt x="1706" y="1206"/>
                  </a:lnTo>
                  <a:lnTo>
                    <a:pt x="1706" y="1206"/>
                  </a:lnTo>
                  <a:lnTo>
                    <a:pt x="1706" y="1206"/>
                  </a:lnTo>
                  <a:lnTo>
                    <a:pt x="1709" y="1206"/>
                  </a:lnTo>
                  <a:lnTo>
                    <a:pt x="1709" y="1206"/>
                  </a:lnTo>
                  <a:lnTo>
                    <a:pt x="1709" y="1206"/>
                  </a:lnTo>
                  <a:lnTo>
                    <a:pt x="1709" y="1206"/>
                  </a:lnTo>
                  <a:lnTo>
                    <a:pt x="1709" y="1206"/>
                  </a:lnTo>
                  <a:lnTo>
                    <a:pt x="1709" y="1206"/>
                  </a:lnTo>
                  <a:lnTo>
                    <a:pt x="1711" y="1206"/>
                  </a:lnTo>
                  <a:lnTo>
                    <a:pt x="1711" y="1206"/>
                  </a:lnTo>
                  <a:lnTo>
                    <a:pt x="1711" y="1206"/>
                  </a:lnTo>
                  <a:lnTo>
                    <a:pt x="1711" y="1206"/>
                  </a:lnTo>
                  <a:lnTo>
                    <a:pt x="1711" y="1208"/>
                  </a:lnTo>
                  <a:lnTo>
                    <a:pt x="1709" y="1208"/>
                  </a:lnTo>
                  <a:lnTo>
                    <a:pt x="1709" y="1208"/>
                  </a:lnTo>
                  <a:lnTo>
                    <a:pt x="1706" y="1208"/>
                  </a:lnTo>
                  <a:lnTo>
                    <a:pt x="1706" y="1208"/>
                  </a:lnTo>
                  <a:lnTo>
                    <a:pt x="1706" y="1211"/>
                  </a:lnTo>
                  <a:lnTo>
                    <a:pt x="1706" y="1211"/>
                  </a:lnTo>
                  <a:lnTo>
                    <a:pt x="1709" y="1211"/>
                  </a:lnTo>
                  <a:lnTo>
                    <a:pt x="1709" y="1211"/>
                  </a:lnTo>
                  <a:lnTo>
                    <a:pt x="1711" y="1213"/>
                  </a:lnTo>
                  <a:lnTo>
                    <a:pt x="1713" y="1213"/>
                  </a:lnTo>
                  <a:lnTo>
                    <a:pt x="1711" y="1213"/>
                  </a:lnTo>
                  <a:lnTo>
                    <a:pt x="1713" y="1213"/>
                  </a:lnTo>
                  <a:lnTo>
                    <a:pt x="1713" y="1213"/>
                  </a:lnTo>
                  <a:lnTo>
                    <a:pt x="1713" y="1213"/>
                  </a:lnTo>
                  <a:lnTo>
                    <a:pt x="1713" y="1213"/>
                  </a:lnTo>
                  <a:lnTo>
                    <a:pt x="1716" y="1215"/>
                  </a:lnTo>
                  <a:lnTo>
                    <a:pt x="1716" y="1213"/>
                  </a:lnTo>
                  <a:lnTo>
                    <a:pt x="1716" y="1213"/>
                  </a:lnTo>
                  <a:lnTo>
                    <a:pt x="1716" y="1213"/>
                  </a:lnTo>
                  <a:lnTo>
                    <a:pt x="1716" y="1213"/>
                  </a:lnTo>
                  <a:lnTo>
                    <a:pt x="1716" y="1211"/>
                  </a:lnTo>
                  <a:lnTo>
                    <a:pt x="1716" y="1211"/>
                  </a:lnTo>
                  <a:lnTo>
                    <a:pt x="1716" y="1211"/>
                  </a:lnTo>
                  <a:lnTo>
                    <a:pt x="1716" y="1211"/>
                  </a:lnTo>
                  <a:lnTo>
                    <a:pt x="1716" y="1211"/>
                  </a:lnTo>
                  <a:lnTo>
                    <a:pt x="1718" y="1211"/>
                  </a:lnTo>
                  <a:lnTo>
                    <a:pt x="1718" y="1211"/>
                  </a:lnTo>
                  <a:lnTo>
                    <a:pt x="1718" y="1211"/>
                  </a:lnTo>
                  <a:lnTo>
                    <a:pt x="1718" y="1208"/>
                  </a:lnTo>
                  <a:lnTo>
                    <a:pt x="1718" y="1208"/>
                  </a:lnTo>
                  <a:lnTo>
                    <a:pt x="1718" y="1208"/>
                  </a:lnTo>
                  <a:lnTo>
                    <a:pt x="1718" y="1208"/>
                  </a:lnTo>
                  <a:lnTo>
                    <a:pt x="1718" y="1208"/>
                  </a:lnTo>
                  <a:lnTo>
                    <a:pt x="1718" y="1208"/>
                  </a:lnTo>
                  <a:lnTo>
                    <a:pt x="1718" y="1208"/>
                  </a:lnTo>
                  <a:lnTo>
                    <a:pt x="1718" y="1208"/>
                  </a:lnTo>
                  <a:lnTo>
                    <a:pt x="1718" y="1206"/>
                  </a:lnTo>
                  <a:lnTo>
                    <a:pt x="1718" y="1206"/>
                  </a:lnTo>
                  <a:lnTo>
                    <a:pt x="1718" y="1204"/>
                  </a:lnTo>
                  <a:lnTo>
                    <a:pt x="1718" y="1204"/>
                  </a:lnTo>
                  <a:lnTo>
                    <a:pt x="1718" y="1204"/>
                  </a:lnTo>
                  <a:lnTo>
                    <a:pt x="1718" y="1204"/>
                  </a:lnTo>
                  <a:lnTo>
                    <a:pt x="1718" y="1204"/>
                  </a:lnTo>
                  <a:lnTo>
                    <a:pt x="1720" y="1204"/>
                  </a:lnTo>
                  <a:lnTo>
                    <a:pt x="1720" y="1204"/>
                  </a:lnTo>
                  <a:lnTo>
                    <a:pt x="1720" y="1201"/>
                  </a:lnTo>
                  <a:lnTo>
                    <a:pt x="1720" y="1201"/>
                  </a:lnTo>
                  <a:lnTo>
                    <a:pt x="1720" y="1201"/>
                  </a:lnTo>
                  <a:lnTo>
                    <a:pt x="1720" y="1201"/>
                  </a:lnTo>
                  <a:lnTo>
                    <a:pt x="1720" y="1201"/>
                  </a:lnTo>
                  <a:lnTo>
                    <a:pt x="1720" y="1199"/>
                  </a:lnTo>
                  <a:lnTo>
                    <a:pt x="1720" y="1199"/>
                  </a:lnTo>
                  <a:lnTo>
                    <a:pt x="1720" y="1199"/>
                  </a:lnTo>
                  <a:lnTo>
                    <a:pt x="1720" y="1199"/>
                  </a:lnTo>
                  <a:lnTo>
                    <a:pt x="1720" y="1199"/>
                  </a:lnTo>
                  <a:lnTo>
                    <a:pt x="1720" y="1199"/>
                  </a:lnTo>
                  <a:lnTo>
                    <a:pt x="1720" y="1197"/>
                  </a:lnTo>
                  <a:lnTo>
                    <a:pt x="1720" y="1197"/>
                  </a:lnTo>
                  <a:lnTo>
                    <a:pt x="1723" y="1197"/>
                  </a:lnTo>
                  <a:lnTo>
                    <a:pt x="1720" y="1197"/>
                  </a:lnTo>
                  <a:lnTo>
                    <a:pt x="1720" y="1197"/>
                  </a:lnTo>
                  <a:lnTo>
                    <a:pt x="1718" y="1197"/>
                  </a:lnTo>
                  <a:lnTo>
                    <a:pt x="1718" y="1199"/>
                  </a:lnTo>
                  <a:lnTo>
                    <a:pt x="1718" y="1199"/>
                  </a:lnTo>
                  <a:lnTo>
                    <a:pt x="1718" y="1199"/>
                  </a:lnTo>
                  <a:lnTo>
                    <a:pt x="1716" y="1199"/>
                  </a:lnTo>
                  <a:lnTo>
                    <a:pt x="1716" y="1199"/>
                  </a:lnTo>
                  <a:lnTo>
                    <a:pt x="1716" y="1199"/>
                  </a:lnTo>
                  <a:lnTo>
                    <a:pt x="1716" y="1199"/>
                  </a:lnTo>
                  <a:lnTo>
                    <a:pt x="1716" y="1197"/>
                  </a:lnTo>
                  <a:lnTo>
                    <a:pt x="1716" y="1197"/>
                  </a:lnTo>
                  <a:lnTo>
                    <a:pt x="1716" y="1197"/>
                  </a:lnTo>
                  <a:lnTo>
                    <a:pt x="1713" y="1197"/>
                  </a:lnTo>
                  <a:lnTo>
                    <a:pt x="1713" y="1197"/>
                  </a:lnTo>
                  <a:lnTo>
                    <a:pt x="1716" y="1197"/>
                  </a:lnTo>
                  <a:lnTo>
                    <a:pt x="1718" y="1194"/>
                  </a:lnTo>
                  <a:lnTo>
                    <a:pt x="1718" y="1197"/>
                  </a:lnTo>
                  <a:lnTo>
                    <a:pt x="1718" y="1194"/>
                  </a:lnTo>
                  <a:lnTo>
                    <a:pt x="1718" y="1194"/>
                  </a:lnTo>
                  <a:lnTo>
                    <a:pt x="1718" y="1194"/>
                  </a:lnTo>
                  <a:lnTo>
                    <a:pt x="1718" y="1194"/>
                  </a:lnTo>
                  <a:lnTo>
                    <a:pt x="1718" y="1194"/>
                  </a:lnTo>
                  <a:lnTo>
                    <a:pt x="1718" y="1194"/>
                  </a:lnTo>
                  <a:lnTo>
                    <a:pt x="1718" y="1194"/>
                  </a:lnTo>
                  <a:lnTo>
                    <a:pt x="1718" y="1194"/>
                  </a:lnTo>
                  <a:lnTo>
                    <a:pt x="1718" y="1194"/>
                  </a:lnTo>
                  <a:lnTo>
                    <a:pt x="1718" y="1192"/>
                  </a:lnTo>
                  <a:lnTo>
                    <a:pt x="1718" y="1192"/>
                  </a:lnTo>
                  <a:lnTo>
                    <a:pt x="1718" y="1192"/>
                  </a:lnTo>
                  <a:lnTo>
                    <a:pt x="1718" y="1192"/>
                  </a:lnTo>
                  <a:lnTo>
                    <a:pt x="1720" y="1192"/>
                  </a:lnTo>
                  <a:lnTo>
                    <a:pt x="1720" y="1194"/>
                  </a:lnTo>
                  <a:lnTo>
                    <a:pt x="1720" y="1194"/>
                  </a:lnTo>
                  <a:lnTo>
                    <a:pt x="1720" y="1194"/>
                  </a:lnTo>
                  <a:lnTo>
                    <a:pt x="1720" y="1194"/>
                  </a:lnTo>
                  <a:lnTo>
                    <a:pt x="1723" y="1192"/>
                  </a:lnTo>
                  <a:lnTo>
                    <a:pt x="1723" y="1192"/>
                  </a:lnTo>
                  <a:lnTo>
                    <a:pt x="1720" y="1192"/>
                  </a:lnTo>
                  <a:lnTo>
                    <a:pt x="1723" y="1189"/>
                  </a:lnTo>
                  <a:lnTo>
                    <a:pt x="1723" y="1189"/>
                  </a:lnTo>
                  <a:lnTo>
                    <a:pt x="1723" y="1189"/>
                  </a:lnTo>
                  <a:lnTo>
                    <a:pt x="1725" y="1187"/>
                  </a:lnTo>
                  <a:lnTo>
                    <a:pt x="1725" y="1187"/>
                  </a:lnTo>
                  <a:lnTo>
                    <a:pt x="1725" y="1187"/>
                  </a:lnTo>
                  <a:lnTo>
                    <a:pt x="1725" y="1185"/>
                  </a:lnTo>
                  <a:lnTo>
                    <a:pt x="1725" y="1185"/>
                  </a:lnTo>
                  <a:lnTo>
                    <a:pt x="1725" y="1185"/>
                  </a:lnTo>
                  <a:close/>
                  <a:moveTo>
                    <a:pt x="1680" y="1166"/>
                  </a:moveTo>
                  <a:lnTo>
                    <a:pt x="1680" y="1166"/>
                  </a:lnTo>
                  <a:lnTo>
                    <a:pt x="1680" y="1163"/>
                  </a:lnTo>
                  <a:lnTo>
                    <a:pt x="1680" y="1163"/>
                  </a:lnTo>
                  <a:lnTo>
                    <a:pt x="1680" y="1166"/>
                  </a:lnTo>
                  <a:lnTo>
                    <a:pt x="1683" y="1166"/>
                  </a:lnTo>
                  <a:lnTo>
                    <a:pt x="1683" y="1163"/>
                  </a:lnTo>
                  <a:lnTo>
                    <a:pt x="1683" y="1163"/>
                  </a:lnTo>
                  <a:lnTo>
                    <a:pt x="1683" y="1163"/>
                  </a:lnTo>
                  <a:lnTo>
                    <a:pt x="1683" y="1163"/>
                  </a:lnTo>
                  <a:lnTo>
                    <a:pt x="1683" y="1163"/>
                  </a:lnTo>
                  <a:lnTo>
                    <a:pt x="1683" y="1161"/>
                  </a:lnTo>
                  <a:lnTo>
                    <a:pt x="1680" y="1161"/>
                  </a:lnTo>
                  <a:lnTo>
                    <a:pt x="1680" y="1161"/>
                  </a:lnTo>
                  <a:lnTo>
                    <a:pt x="1678" y="1161"/>
                  </a:lnTo>
                  <a:lnTo>
                    <a:pt x="1678" y="1161"/>
                  </a:lnTo>
                  <a:lnTo>
                    <a:pt x="1678" y="1161"/>
                  </a:lnTo>
                  <a:lnTo>
                    <a:pt x="1678" y="1161"/>
                  </a:lnTo>
                  <a:lnTo>
                    <a:pt x="1675" y="1163"/>
                  </a:lnTo>
                  <a:lnTo>
                    <a:pt x="1675" y="1163"/>
                  </a:lnTo>
                  <a:lnTo>
                    <a:pt x="1675" y="1163"/>
                  </a:lnTo>
                  <a:lnTo>
                    <a:pt x="1675" y="1163"/>
                  </a:lnTo>
                  <a:lnTo>
                    <a:pt x="1675" y="1166"/>
                  </a:lnTo>
                  <a:lnTo>
                    <a:pt x="1675" y="1166"/>
                  </a:lnTo>
                  <a:lnTo>
                    <a:pt x="1675" y="1166"/>
                  </a:lnTo>
                  <a:lnTo>
                    <a:pt x="1675" y="1166"/>
                  </a:lnTo>
                  <a:lnTo>
                    <a:pt x="1675" y="1166"/>
                  </a:lnTo>
                  <a:lnTo>
                    <a:pt x="1673" y="1166"/>
                  </a:lnTo>
                  <a:lnTo>
                    <a:pt x="1673" y="1166"/>
                  </a:lnTo>
                  <a:lnTo>
                    <a:pt x="1675" y="1166"/>
                  </a:lnTo>
                  <a:lnTo>
                    <a:pt x="1675" y="1166"/>
                  </a:lnTo>
                  <a:lnTo>
                    <a:pt x="1675" y="1166"/>
                  </a:lnTo>
                  <a:lnTo>
                    <a:pt x="1673" y="1168"/>
                  </a:lnTo>
                  <a:lnTo>
                    <a:pt x="1673" y="1168"/>
                  </a:lnTo>
                  <a:lnTo>
                    <a:pt x="1673" y="1168"/>
                  </a:lnTo>
                  <a:lnTo>
                    <a:pt x="1675" y="1171"/>
                  </a:lnTo>
                  <a:lnTo>
                    <a:pt x="1675" y="1171"/>
                  </a:lnTo>
                  <a:lnTo>
                    <a:pt x="1675" y="1171"/>
                  </a:lnTo>
                  <a:lnTo>
                    <a:pt x="1675" y="1171"/>
                  </a:lnTo>
                  <a:lnTo>
                    <a:pt x="1675" y="1168"/>
                  </a:lnTo>
                  <a:lnTo>
                    <a:pt x="1678" y="1166"/>
                  </a:lnTo>
                  <a:lnTo>
                    <a:pt x="1678" y="1166"/>
                  </a:lnTo>
                  <a:lnTo>
                    <a:pt x="1678" y="1166"/>
                  </a:lnTo>
                  <a:lnTo>
                    <a:pt x="1678" y="1166"/>
                  </a:lnTo>
                  <a:lnTo>
                    <a:pt x="1678" y="1166"/>
                  </a:lnTo>
                  <a:lnTo>
                    <a:pt x="1678" y="1166"/>
                  </a:lnTo>
                  <a:lnTo>
                    <a:pt x="1680" y="1166"/>
                  </a:lnTo>
                  <a:lnTo>
                    <a:pt x="1680" y="1166"/>
                  </a:lnTo>
                  <a:lnTo>
                    <a:pt x="1680" y="1166"/>
                  </a:lnTo>
                  <a:lnTo>
                    <a:pt x="1680" y="1166"/>
                  </a:lnTo>
                  <a:lnTo>
                    <a:pt x="1680" y="1166"/>
                  </a:lnTo>
                  <a:close/>
                  <a:moveTo>
                    <a:pt x="1699" y="1197"/>
                  </a:moveTo>
                  <a:lnTo>
                    <a:pt x="1699" y="1197"/>
                  </a:lnTo>
                  <a:lnTo>
                    <a:pt x="1699" y="1197"/>
                  </a:lnTo>
                  <a:lnTo>
                    <a:pt x="1699" y="1197"/>
                  </a:lnTo>
                  <a:lnTo>
                    <a:pt x="1699" y="1197"/>
                  </a:lnTo>
                  <a:lnTo>
                    <a:pt x="1697" y="1197"/>
                  </a:lnTo>
                  <a:lnTo>
                    <a:pt x="1697" y="1197"/>
                  </a:lnTo>
                  <a:lnTo>
                    <a:pt x="1697" y="1197"/>
                  </a:lnTo>
                  <a:lnTo>
                    <a:pt x="1697" y="1197"/>
                  </a:lnTo>
                  <a:lnTo>
                    <a:pt x="1697" y="1197"/>
                  </a:lnTo>
                  <a:lnTo>
                    <a:pt x="1697" y="1197"/>
                  </a:lnTo>
                  <a:lnTo>
                    <a:pt x="1697" y="1197"/>
                  </a:lnTo>
                  <a:lnTo>
                    <a:pt x="1697" y="1197"/>
                  </a:lnTo>
                  <a:lnTo>
                    <a:pt x="1697" y="1194"/>
                  </a:lnTo>
                  <a:lnTo>
                    <a:pt x="1697" y="1194"/>
                  </a:lnTo>
                  <a:lnTo>
                    <a:pt x="1697" y="1194"/>
                  </a:lnTo>
                  <a:lnTo>
                    <a:pt x="1697" y="1194"/>
                  </a:lnTo>
                  <a:lnTo>
                    <a:pt x="1697" y="1194"/>
                  </a:lnTo>
                  <a:lnTo>
                    <a:pt x="1697" y="1197"/>
                  </a:lnTo>
                  <a:lnTo>
                    <a:pt x="1694" y="1194"/>
                  </a:lnTo>
                  <a:lnTo>
                    <a:pt x="1694" y="1194"/>
                  </a:lnTo>
                  <a:lnTo>
                    <a:pt x="1694" y="1194"/>
                  </a:lnTo>
                  <a:lnTo>
                    <a:pt x="1694" y="1194"/>
                  </a:lnTo>
                  <a:lnTo>
                    <a:pt x="1694" y="1197"/>
                  </a:lnTo>
                  <a:lnTo>
                    <a:pt x="1694" y="1197"/>
                  </a:lnTo>
                  <a:lnTo>
                    <a:pt x="1694" y="1197"/>
                  </a:lnTo>
                  <a:lnTo>
                    <a:pt x="1694" y="1197"/>
                  </a:lnTo>
                  <a:lnTo>
                    <a:pt x="1694" y="1199"/>
                  </a:lnTo>
                  <a:lnTo>
                    <a:pt x="1694" y="1199"/>
                  </a:lnTo>
                  <a:lnTo>
                    <a:pt x="1694" y="1199"/>
                  </a:lnTo>
                  <a:lnTo>
                    <a:pt x="1694" y="1199"/>
                  </a:lnTo>
                  <a:lnTo>
                    <a:pt x="1694" y="1199"/>
                  </a:lnTo>
                  <a:lnTo>
                    <a:pt x="1694" y="1199"/>
                  </a:lnTo>
                  <a:lnTo>
                    <a:pt x="1694" y="1199"/>
                  </a:lnTo>
                  <a:lnTo>
                    <a:pt x="1694" y="1201"/>
                  </a:lnTo>
                  <a:lnTo>
                    <a:pt x="1694" y="1201"/>
                  </a:lnTo>
                  <a:lnTo>
                    <a:pt x="1694" y="1201"/>
                  </a:lnTo>
                  <a:lnTo>
                    <a:pt x="1697" y="1201"/>
                  </a:lnTo>
                  <a:lnTo>
                    <a:pt x="1697" y="1201"/>
                  </a:lnTo>
                  <a:lnTo>
                    <a:pt x="1697" y="1201"/>
                  </a:lnTo>
                  <a:lnTo>
                    <a:pt x="1697" y="1204"/>
                  </a:lnTo>
                  <a:lnTo>
                    <a:pt x="1697" y="1204"/>
                  </a:lnTo>
                  <a:lnTo>
                    <a:pt x="1697" y="1204"/>
                  </a:lnTo>
                  <a:lnTo>
                    <a:pt x="1697" y="1206"/>
                  </a:lnTo>
                  <a:lnTo>
                    <a:pt x="1697" y="1206"/>
                  </a:lnTo>
                  <a:lnTo>
                    <a:pt x="1697" y="1204"/>
                  </a:lnTo>
                  <a:lnTo>
                    <a:pt x="1697" y="1204"/>
                  </a:lnTo>
                  <a:lnTo>
                    <a:pt x="1697" y="1204"/>
                  </a:lnTo>
                  <a:lnTo>
                    <a:pt x="1697" y="1201"/>
                  </a:lnTo>
                  <a:lnTo>
                    <a:pt x="1697" y="1201"/>
                  </a:lnTo>
                  <a:lnTo>
                    <a:pt x="1697" y="1201"/>
                  </a:lnTo>
                  <a:lnTo>
                    <a:pt x="1697" y="1201"/>
                  </a:lnTo>
                  <a:lnTo>
                    <a:pt x="1697" y="1201"/>
                  </a:lnTo>
                  <a:lnTo>
                    <a:pt x="1697" y="1199"/>
                  </a:lnTo>
                  <a:lnTo>
                    <a:pt x="1697" y="1199"/>
                  </a:lnTo>
                  <a:lnTo>
                    <a:pt x="1697" y="1199"/>
                  </a:lnTo>
                  <a:lnTo>
                    <a:pt x="1697" y="1201"/>
                  </a:lnTo>
                  <a:lnTo>
                    <a:pt x="1699" y="1201"/>
                  </a:lnTo>
                  <a:lnTo>
                    <a:pt x="1699" y="1201"/>
                  </a:lnTo>
                  <a:lnTo>
                    <a:pt x="1699" y="1199"/>
                  </a:lnTo>
                  <a:lnTo>
                    <a:pt x="1699" y="1199"/>
                  </a:lnTo>
                  <a:lnTo>
                    <a:pt x="1699" y="1199"/>
                  </a:lnTo>
                  <a:lnTo>
                    <a:pt x="1699" y="1199"/>
                  </a:lnTo>
                  <a:lnTo>
                    <a:pt x="1699" y="1199"/>
                  </a:lnTo>
                  <a:lnTo>
                    <a:pt x="1699" y="1199"/>
                  </a:lnTo>
                  <a:lnTo>
                    <a:pt x="1699" y="1199"/>
                  </a:lnTo>
                  <a:lnTo>
                    <a:pt x="1699" y="1197"/>
                  </a:lnTo>
                  <a:lnTo>
                    <a:pt x="1699" y="1197"/>
                  </a:lnTo>
                  <a:close/>
                  <a:moveTo>
                    <a:pt x="1675" y="1156"/>
                  </a:moveTo>
                  <a:lnTo>
                    <a:pt x="1675" y="1156"/>
                  </a:lnTo>
                  <a:lnTo>
                    <a:pt x="1675" y="1159"/>
                  </a:lnTo>
                  <a:lnTo>
                    <a:pt x="1678" y="1159"/>
                  </a:lnTo>
                  <a:lnTo>
                    <a:pt x="1678" y="1159"/>
                  </a:lnTo>
                  <a:lnTo>
                    <a:pt x="1678" y="1156"/>
                  </a:lnTo>
                  <a:lnTo>
                    <a:pt x="1680" y="1156"/>
                  </a:lnTo>
                  <a:lnTo>
                    <a:pt x="1680" y="1156"/>
                  </a:lnTo>
                  <a:lnTo>
                    <a:pt x="1680" y="1156"/>
                  </a:lnTo>
                  <a:lnTo>
                    <a:pt x="1680" y="1154"/>
                  </a:lnTo>
                  <a:lnTo>
                    <a:pt x="1680" y="1154"/>
                  </a:lnTo>
                  <a:lnTo>
                    <a:pt x="1680" y="1154"/>
                  </a:lnTo>
                  <a:lnTo>
                    <a:pt x="1678" y="1154"/>
                  </a:lnTo>
                  <a:lnTo>
                    <a:pt x="1678" y="1154"/>
                  </a:lnTo>
                  <a:lnTo>
                    <a:pt x="1678" y="1152"/>
                  </a:lnTo>
                  <a:lnTo>
                    <a:pt x="1678" y="1152"/>
                  </a:lnTo>
                  <a:lnTo>
                    <a:pt x="1675" y="1152"/>
                  </a:lnTo>
                  <a:lnTo>
                    <a:pt x="1675" y="1154"/>
                  </a:lnTo>
                  <a:lnTo>
                    <a:pt x="1675" y="1154"/>
                  </a:lnTo>
                  <a:lnTo>
                    <a:pt x="1675" y="1154"/>
                  </a:lnTo>
                  <a:lnTo>
                    <a:pt x="1675" y="1154"/>
                  </a:lnTo>
                  <a:lnTo>
                    <a:pt x="1675" y="1154"/>
                  </a:lnTo>
                  <a:lnTo>
                    <a:pt x="1678" y="1154"/>
                  </a:lnTo>
                  <a:lnTo>
                    <a:pt x="1675" y="1154"/>
                  </a:lnTo>
                  <a:lnTo>
                    <a:pt x="1675" y="1156"/>
                  </a:lnTo>
                  <a:lnTo>
                    <a:pt x="1673" y="1156"/>
                  </a:lnTo>
                  <a:lnTo>
                    <a:pt x="1673" y="1156"/>
                  </a:lnTo>
                  <a:lnTo>
                    <a:pt x="1673" y="1156"/>
                  </a:lnTo>
                  <a:lnTo>
                    <a:pt x="1673" y="1156"/>
                  </a:lnTo>
                  <a:lnTo>
                    <a:pt x="1675" y="1156"/>
                  </a:lnTo>
                  <a:lnTo>
                    <a:pt x="1675" y="1156"/>
                  </a:lnTo>
                  <a:close/>
                  <a:moveTo>
                    <a:pt x="1694" y="1206"/>
                  </a:moveTo>
                  <a:lnTo>
                    <a:pt x="1692" y="1206"/>
                  </a:lnTo>
                  <a:lnTo>
                    <a:pt x="1692" y="1204"/>
                  </a:lnTo>
                  <a:lnTo>
                    <a:pt x="1692" y="1204"/>
                  </a:lnTo>
                  <a:lnTo>
                    <a:pt x="1694" y="1204"/>
                  </a:lnTo>
                  <a:lnTo>
                    <a:pt x="1692" y="1204"/>
                  </a:lnTo>
                  <a:lnTo>
                    <a:pt x="1694" y="1204"/>
                  </a:lnTo>
                  <a:lnTo>
                    <a:pt x="1694" y="1204"/>
                  </a:lnTo>
                  <a:lnTo>
                    <a:pt x="1694" y="1201"/>
                  </a:lnTo>
                  <a:lnTo>
                    <a:pt x="1694" y="1201"/>
                  </a:lnTo>
                  <a:lnTo>
                    <a:pt x="1694" y="1201"/>
                  </a:lnTo>
                  <a:lnTo>
                    <a:pt x="1694" y="1201"/>
                  </a:lnTo>
                  <a:lnTo>
                    <a:pt x="1694" y="1199"/>
                  </a:lnTo>
                  <a:lnTo>
                    <a:pt x="1694" y="1199"/>
                  </a:lnTo>
                  <a:lnTo>
                    <a:pt x="1692" y="1199"/>
                  </a:lnTo>
                  <a:lnTo>
                    <a:pt x="1692" y="1199"/>
                  </a:lnTo>
                  <a:lnTo>
                    <a:pt x="1692" y="1199"/>
                  </a:lnTo>
                  <a:lnTo>
                    <a:pt x="1692" y="1197"/>
                  </a:lnTo>
                  <a:lnTo>
                    <a:pt x="1692" y="1197"/>
                  </a:lnTo>
                  <a:lnTo>
                    <a:pt x="1692" y="1197"/>
                  </a:lnTo>
                  <a:lnTo>
                    <a:pt x="1692" y="1197"/>
                  </a:lnTo>
                  <a:lnTo>
                    <a:pt x="1692" y="1197"/>
                  </a:lnTo>
                  <a:lnTo>
                    <a:pt x="1692" y="1194"/>
                  </a:lnTo>
                  <a:lnTo>
                    <a:pt x="1692" y="1194"/>
                  </a:lnTo>
                  <a:lnTo>
                    <a:pt x="1692" y="1194"/>
                  </a:lnTo>
                  <a:lnTo>
                    <a:pt x="1692" y="1194"/>
                  </a:lnTo>
                  <a:lnTo>
                    <a:pt x="1692" y="1194"/>
                  </a:lnTo>
                  <a:lnTo>
                    <a:pt x="1692" y="1192"/>
                  </a:lnTo>
                  <a:lnTo>
                    <a:pt x="1692" y="1192"/>
                  </a:lnTo>
                  <a:lnTo>
                    <a:pt x="1692" y="1192"/>
                  </a:lnTo>
                  <a:lnTo>
                    <a:pt x="1690" y="1192"/>
                  </a:lnTo>
                  <a:lnTo>
                    <a:pt x="1690" y="1192"/>
                  </a:lnTo>
                  <a:lnTo>
                    <a:pt x="1690" y="1192"/>
                  </a:lnTo>
                  <a:lnTo>
                    <a:pt x="1692" y="1189"/>
                  </a:lnTo>
                  <a:lnTo>
                    <a:pt x="1692" y="1187"/>
                  </a:lnTo>
                  <a:lnTo>
                    <a:pt x="1690" y="1187"/>
                  </a:lnTo>
                  <a:lnTo>
                    <a:pt x="1690" y="1187"/>
                  </a:lnTo>
                  <a:lnTo>
                    <a:pt x="1690" y="1187"/>
                  </a:lnTo>
                  <a:lnTo>
                    <a:pt x="1690" y="1185"/>
                  </a:lnTo>
                  <a:lnTo>
                    <a:pt x="1690" y="1185"/>
                  </a:lnTo>
                  <a:lnTo>
                    <a:pt x="1690" y="1185"/>
                  </a:lnTo>
                  <a:lnTo>
                    <a:pt x="1690" y="1185"/>
                  </a:lnTo>
                  <a:lnTo>
                    <a:pt x="1687" y="1182"/>
                  </a:lnTo>
                  <a:lnTo>
                    <a:pt x="1690" y="1182"/>
                  </a:lnTo>
                  <a:lnTo>
                    <a:pt x="1690" y="1182"/>
                  </a:lnTo>
                  <a:lnTo>
                    <a:pt x="1692" y="1185"/>
                  </a:lnTo>
                  <a:lnTo>
                    <a:pt x="1692" y="1185"/>
                  </a:lnTo>
                  <a:lnTo>
                    <a:pt x="1692" y="1185"/>
                  </a:lnTo>
                  <a:lnTo>
                    <a:pt x="1692" y="1185"/>
                  </a:lnTo>
                  <a:lnTo>
                    <a:pt x="1692" y="1182"/>
                  </a:lnTo>
                  <a:lnTo>
                    <a:pt x="1692" y="1182"/>
                  </a:lnTo>
                  <a:lnTo>
                    <a:pt x="1692" y="1182"/>
                  </a:lnTo>
                  <a:lnTo>
                    <a:pt x="1690" y="1180"/>
                  </a:lnTo>
                  <a:lnTo>
                    <a:pt x="1690" y="1180"/>
                  </a:lnTo>
                  <a:lnTo>
                    <a:pt x="1690" y="1178"/>
                  </a:lnTo>
                  <a:lnTo>
                    <a:pt x="1690" y="1178"/>
                  </a:lnTo>
                  <a:lnTo>
                    <a:pt x="1690" y="1178"/>
                  </a:lnTo>
                  <a:lnTo>
                    <a:pt x="1690" y="1178"/>
                  </a:lnTo>
                  <a:lnTo>
                    <a:pt x="1690" y="1175"/>
                  </a:lnTo>
                  <a:lnTo>
                    <a:pt x="1690" y="1175"/>
                  </a:lnTo>
                  <a:lnTo>
                    <a:pt x="1690" y="1175"/>
                  </a:lnTo>
                  <a:lnTo>
                    <a:pt x="1690" y="1175"/>
                  </a:lnTo>
                  <a:lnTo>
                    <a:pt x="1690" y="1175"/>
                  </a:lnTo>
                  <a:lnTo>
                    <a:pt x="1687" y="1175"/>
                  </a:lnTo>
                  <a:lnTo>
                    <a:pt x="1687" y="1175"/>
                  </a:lnTo>
                  <a:lnTo>
                    <a:pt x="1687" y="1175"/>
                  </a:lnTo>
                  <a:lnTo>
                    <a:pt x="1687" y="1175"/>
                  </a:lnTo>
                  <a:lnTo>
                    <a:pt x="1687" y="1178"/>
                  </a:lnTo>
                  <a:lnTo>
                    <a:pt x="1685" y="1178"/>
                  </a:lnTo>
                  <a:lnTo>
                    <a:pt x="1685" y="1178"/>
                  </a:lnTo>
                  <a:lnTo>
                    <a:pt x="1687" y="1178"/>
                  </a:lnTo>
                  <a:lnTo>
                    <a:pt x="1687" y="1178"/>
                  </a:lnTo>
                  <a:lnTo>
                    <a:pt x="1687" y="1178"/>
                  </a:lnTo>
                  <a:lnTo>
                    <a:pt x="1687" y="1180"/>
                  </a:lnTo>
                  <a:lnTo>
                    <a:pt x="1687" y="1180"/>
                  </a:lnTo>
                  <a:lnTo>
                    <a:pt x="1685" y="1178"/>
                  </a:lnTo>
                  <a:lnTo>
                    <a:pt x="1685" y="1178"/>
                  </a:lnTo>
                  <a:lnTo>
                    <a:pt x="1687" y="1180"/>
                  </a:lnTo>
                  <a:lnTo>
                    <a:pt x="1685" y="1180"/>
                  </a:lnTo>
                  <a:lnTo>
                    <a:pt x="1685" y="1180"/>
                  </a:lnTo>
                  <a:lnTo>
                    <a:pt x="1687" y="1182"/>
                  </a:lnTo>
                  <a:lnTo>
                    <a:pt x="1687" y="1182"/>
                  </a:lnTo>
                  <a:lnTo>
                    <a:pt x="1685" y="1182"/>
                  </a:lnTo>
                  <a:lnTo>
                    <a:pt x="1685" y="1182"/>
                  </a:lnTo>
                  <a:lnTo>
                    <a:pt x="1685" y="1182"/>
                  </a:lnTo>
                  <a:lnTo>
                    <a:pt x="1685" y="1182"/>
                  </a:lnTo>
                  <a:lnTo>
                    <a:pt x="1685" y="1182"/>
                  </a:lnTo>
                  <a:lnTo>
                    <a:pt x="1685" y="1185"/>
                  </a:lnTo>
                  <a:lnTo>
                    <a:pt x="1685" y="1187"/>
                  </a:lnTo>
                  <a:lnTo>
                    <a:pt x="1685" y="1187"/>
                  </a:lnTo>
                  <a:lnTo>
                    <a:pt x="1685" y="1189"/>
                  </a:lnTo>
                  <a:lnTo>
                    <a:pt x="1685" y="1189"/>
                  </a:lnTo>
                  <a:lnTo>
                    <a:pt x="1685" y="1189"/>
                  </a:lnTo>
                  <a:lnTo>
                    <a:pt x="1685" y="1189"/>
                  </a:lnTo>
                  <a:lnTo>
                    <a:pt x="1685" y="1189"/>
                  </a:lnTo>
                  <a:lnTo>
                    <a:pt x="1685" y="1189"/>
                  </a:lnTo>
                  <a:lnTo>
                    <a:pt x="1685" y="1189"/>
                  </a:lnTo>
                  <a:lnTo>
                    <a:pt x="1685" y="1189"/>
                  </a:lnTo>
                  <a:lnTo>
                    <a:pt x="1687" y="1192"/>
                  </a:lnTo>
                  <a:lnTo>
                    <a:pt x="1687" y="1192"/>
                  </a:lnTo>
                  <a:lnTo>
                    <a:pt x="1687" y="1192"/>
                  </a:lnTo>
                  <a:lnTo>
                    <a:pt x="1687" y="1192"/>
                  </a:lnTo>
                  <a:lnTo>
                    <a:pt x="1685" y="1192"/>
                  </a:lnTo>
                  <a:lnTo>
                    <a:pt x="1685" y="1192"/>
                  </a:lnTo>
                  <a:lnTo>
                    <a:pt x="1685" y="1192"/>
                  </a:lnTo>
                  <a:lnTo>
                    <a:pt x="1685" y="1192"/>
                  </a:lnTo>
                  <a:lnTo>
                    <a:pt x="1687" y="1192"/>
                  </a:lnTo>
                  <a:lnTo>
                    <a:pt x="1687" y="1194"/>
                  </a:lnTo>
                  <a:lnTo>
                    <a:pt x="1687" y="1194"/>
                  </a:lnTo>
                  <a:lnTo>
                    <a:pt x="1687" y="1194"/>
                  </a:lnTo>
                  <a:lnTo>
                    <a:pt x="1687" y="1194"/>
                  </a:lnTo>
                  <a:lnTo>
                    <a:pt x="1687" y="1197"/>
                  </a:lnTo>
                  <a:lnTo>
                    <a:pt x="1687" y="1197"/>
                  </a:lnTo>
                  <a:lnTo>
                    <a:pt x="1687" y="1197"/>
                  </a:lnTo>
                  <a:lnTo>
                    <a:pt x="1687" y="1199"/>
                  </a:lnTo>
                  <a:lnTo>
                    <a:pt x="1690" y="1199"/>
                  </a:lnTo>
                  <a:lnTo>
                    <a:pt x="1690" y="1199"/>
                  </a:lnTo>
                  <a:lnTo>
                    <a:pt x="1690" y="1199"/>
                  </a:lnTo>
                  <a:lnTo>
                    <a:pt x="1690" y="1199"/>
                  </a:lnTo>
                  <a:lnTo>
                    <a:pt x="1690" y="1199"/>
                  </a:lnTo>
                  <a:lnTo>
                    <a:pt x="1687" y="1199"/>
                  </a:lnTo>
                  <a:lnTo>
                    <a:pt x="1687" y="1199"/>
                  </a:lnTo>
                  <a:lnTo>
                    <a:pt x="1687" y="1201"/>
                  </a:lnTo>
                  <a:lnTo>
                    <a:pt x="1690" y="1204"/>
                  </a:lnTo>
                  <a:lnTo>
                    <a:pt x="1690" y="1204"/>
                  </a:lnTo>
                  <a:lnTo>
                    <a:pt x="1690" y="1204"/>
                  </a:lnTo>
                  <a:lnTo>
                    <a:pt x="1690" y="1204"/>
                  </a:lnTo>
                  <a:lnTo>
                    <a:pt x="1690" y="1206"/>
                  </a:lnTo>
                  <a:lnTo>
                    <a:pt x="1690" y="1206"/>
                  </a:lnTo>
                  <a:lnTo>
                    <a:pt x="1690" y="1206"/>
                  </a:lnTo>
                  <a:lnTo>
                    <a:pt x="1692" y="1206"/>
                  </a:lnTo>
                  <a:lnTo>
                    <a:pt x="1692" y="1208"/>
                  </a:lnTo>
                  <a:lnTo>
                    <a:pt x="1692" y="1208"/>
                  </a:lnTo>
                  <a:lnTo>
                    <a:pt x="1692" y="1208"/>
                  </a:lnTo>
                  <a:lnTo>
                    <a:pt x="1694" y="1208"/>
                  </a:lnTo>
                  <a:lnTo>
                    <a:pt x="1694" y="1208"/>
                  </a:lnTo>
                  <a:lnTo>
                    <a:pt x="1694" y="1208"/>
                  </a:lnTo>
                  <a:lnTo>
                    <a:pt x="1694" y="1206"/>
                  </a:lnTo>
                  <a:lnTo>
                    <a:pt x="1694" y="1206"/>
                  </a:lnTo>
                  <a:close/>
                  <a:moveTo>
                    <a:pt x="1685" y="1175"/>
                  </a:moveTo>
                  <a:lnTo>
                    <a:pt x="1685" y="1175"/>
                  </a:lnTo>
                  <a:lnTo>
                    <a:pt x="1687" y="1173"/>
                  </a:lnTo>
                  <a:lnTo>
                    <a:pt x="1687" y="1173"/>
                  </a:lnTo>
                  <a:lnTo>
                    <a:pt x="1687" y="1173"/>
                  </a:lnTo>
                  <a:lnTo>
                    <a:pt x="1687" y="1173"/>
                  </a:lnTo>
                  <a:lnTo>
                    <a:pt x="1687" y="1171"/>
                  </a:lnTo>
                  <a:lnTo>
                    <a:pt x="1685" y="1171"/>
                  </a:lnTo>
                  <a:lnTo>
                    <a:pt x="1685" y="1173"/>
                  </a:lnTo>
                  <a:lnTo>
                    <a:pt x="1685" y="1171"/>
                  </a:lnTo>
                  <a:lnTo>
                    <a:pt x="1685" y="1171"/>
                  </a:lnTo>
                  <a:lnTo>
                    <a:pt x="1685" y="1168"/>
                  </a:lnTo>
                  <a:lnTo>
                    <a:pt x="1685" y="1168"/>
                  </a:lnTo>
                  <a:lnTo>
                    <a:pt x="1685" y="1168"/>
                  </a:lnTo>
                  <a:lnTo>
                    <a:pt x="1685" y="1168"/>
                  </a:lnTo>
                  <a:lnTo>
                    <a:pt x="1685" y="1168"/>
                  </a:lnTo>
                  <a:lnTo>
                    <a:pt x="1683" y="1168"/>
                  </a:lnTo>
                  <a:lnTo>
                    <a:pt x="1683" y="1168"/>
                  </a:lnTo>
                  <a:lnTo>
                    <a:pt x="1683" y="1168"/>
                  </a:lnTo>
                  <a:lnTo>
                    <a:pt x="1683" y="1168"/>
                  </a:lnTo>
                  <a:lnTo>
                    <a:pt x="1683" y="1168"/>
                  </a:lnTo>
                  <a:lnTo>
                    <a:pt x="1680" y="1168"/>
                  </a:lnTo>
                  <a:lnTo>
                    <a:pt x="1680" y="1171"/>
                  </a:lnTo>
                  <a:lnTo>
                    <a:pt x="1683" y="1171"/>
                  </a:lnTo>
                  <a:lnTo>
                    <a:pt x="1680" y="1171"/>
                  </a:lnTo>
                  <a:lnTo>
                    <a:pt x="1680" y="1171"/>
                  </a:lnTo>
                  <a:lnTo>
                    <a:pt x="1680" y="1171"/>
                  </a:lnTo>
                  <a:lnTo>
                    <a:pt x="1680" y="1171"/>
                  </a:lnTo>
                  <a:lnTo>
                    <a:pt x="1680" y="1171"/>
                  </a:lnTo>
                  <a:lnTo>
                    <a:pt x="1680" y="1173"/>
                  </a:lnTo>
                  <a:lnTo>
                    <a:pt x="1680" y="1173"/>
                  </a:lnTo>
                  <a:lnTo>
                    <a:pt x="1680" y="1173"/>
                  </a:lnTo>
                  <a:lnTo>
                    <a:pt x="1680" y="1175"/>
                  </a:lnTo>
                  <a:lnTo>
                    <a:pt x="1680" y="1175"/>
                  </a:lnTo>
                  <a:lnTo>
                    <a:pt x="1680" y="1173"/>
                  </a:lnTo>
                  <a:lnTo>
                    <a:pt x="1680" y="1173"/>
                  </a:lnTo>
                  <a:lnTo>
                    <a:pt x="1683" y="1173"/>
                  </a:lnTo>
                  <a:lnTo>
                    <a:pt x="1683" y="1173"/>
                  </a:lnTo>
                  <a:lnTo>
                    <a:pt x="1683" y="1173"/>
                  </a:lnTo>
                  <a:lnTo>
                    <a:pt x="1683" y="1175"/>
                  </a:lnTo>
                  <a:lnTo>
                    <a:pt x="1683" y="1175"/>
                  </a:lnTo>
                  <a:lnTo>
                    <a:pt x="1683" y="1175"/>
                  </a:lnTo>
                  <a:lnTo>
                    <a:pt x="1683" y="1175"/>
                  </a:lnTo>
                  <a:lnTo>
                    <a:pt x="1683" y="1175"/>
                  </a:lnTo>
                  <a:lnTo>
                    <a:pt x="1685" y="1175"/>
                  </a:lnTo>
                  <a:lnTo>
                    <a:pt x="1685" y="1175"/>
                  </a:lnTo>
                  <a:close/>
                  <a:moveTo>
                    <a:pt x="999" y="645"/>
                  </a:moveTo>
                  <a:lnTo>
                    <a:pt x="996" y="648"/>
                  </a:lnTo>
                  <a:lnTo>
                    <a:pt x="996" y="648"/>
                  </a:lnTo>
                  <a:lnTo>
                    <a:pt x="996" y="648"/>
                  </a:lnTo>
                  <a:lnTo>
                    <a:pt x="996" y="648"/>
                  </a:lnTo>
                  <a:lnTo>
                    <a:pt x="996" y="648"/>
                  </a:lnTo>
                  <a:lnTo>
                    <a:pt x="999" y="648"/>
                  </a:lnTo>
                  <a:lnTo>
                    <a:pt x="999" y="648"/>
                  </a:lnTo>
                  <a:lnTo>
                    <a:pt x="999" y="648"/>
                  </a:lnTo>
                  <a:lnTo>
                    <a:pt x="999" y="648"/>
                  </a:lnTo>
                  <a:lnTo>
                    <a:pt x="999" y="648"/>
                  </a:lnTo>
                  <a:lnTo>
                    <a:pt x="999" y="645"/>
                  </a:lnTo>
                  <a:lnTo>
                    <a:pt x="999" y="645"/>
                  </a:lnTo>
                  <a:lnTo>
                    <a:pt x="999" y="645"/>
                  </a:lnTo>
                  <a:lnTo>
                    <a:pt x="999" y="645"/>
                  </a:lnTo>
                  <a:close/>
                  <a:moveTo>
                    <a:pt x="977" y="643"/>
                  </a:moveTo>
                  <a:lnTo>
                    <a:pt x="977" y="643"/>
                  </a:lnTo>
                  <a:lnTo>
                    <a:pt x="977" y="643"/>
                  </a:lnTo>
                  <a:lnTo>
                    <a:pt x="977" y="643"/>
                  </a:lnTo>
                  <a:lnTo>
                    <a:pt x="975" y="645"/>
                  </a:lnTo>
                  <a:lnTo>
                    <a:pt x="975" y="645"/>
                  </a:lnTo>
                  <a:lnTo>
                    <a:pt x="977" y="645"/>
                  </a:lnTo>
                  <a:lnTo>
                    <a:pt x="977" y="645"/>
                  </a:lnTo>
                  <a:lnTo>
                    <a:pt x="977" y="645"/>
                  </a:lnTo>
                  <a:lnTo>
                    <a:pt x="977" y="645"/>
                  </a:lnTo>
                  <a:lnTo>
                    <a:pt x="980" y="645"/>
                  </a:lnTo>
                  <a:lnTo>
                    <a:pt x="980" y="645"/>
                  </a:lnTo>
                  <a:lnTo>
                    <a:pt x="982" y="645"/>
                  </a:lnTo>
                  <a:lnTo>
                    <a:pt x="982" y="645"/>
                  </a:lnTo>
                  <a:lnTo>
                    <a:pt x="984" y="645"/>
                  </a:lnTo>
                  <a:lnTo>
                    <a:pt x="984" y="643"/>
                  </a:lnTo>
                  <a:lnTo>
                    <a:pt x="987" y="643"/>
                  </a:lnTo>
                  <a:lnTo>
                    <a:pt x="989" y="641"/>
                  </a:lnTo>
                  <a:lnTo>
                    <a:pt x="992" y="641"/>
                  </a:lnTo>
                  <a:lnTo>
                    <a:pt x="994" y="638"/>
                  </a:lnTo>
                  <a:lnTo>
                    <a:pt x="994" y="638"/>
                  </a:lnTo>
                  <a:lnTo>
                    <a:pt x="994" y="638"/>
                  </a:lnTo>
                  <a:lnTo>
                    <a:pt x="994" y="638"/>
                  </a:lnTo>
                  <a:lnTo>
                    <a:pt x="994" y="638"/>
                  </a:lnTo>
                  <a:lnTo>
                    <a:pt x="992" y="638"/>
                  </a:lnTo>
                  <a:lnTo>
                    <a:pt x="992" y="638"/>
                  </a:lnTo>
                  <a:lnTo>
                    <a:pt x="989" y="638"/>
                  </a:lnTo>
                  <a:lnTo>
                    <a:pt x="989" y="638"/>
                  </a:lnTo>
                  <a:lnTo>
                    <a:pt x="989" y="638"/>
                  </a:lnTo>
                  <a:lnTo>
                    <a:pt x="987" y="638"/>
                  </a:lnTo>
                  <a:lnTo>
                    <a:pt x="987" y="638"/>
                  </a:lnTo>
                  <a:lnTo>
                    <a:pt x="984" y="638"/>
                  </a:lnTo>
                  <a:lnTo>
                    <a:pt x="984" y="638"/>
                  </a:lnTo>
                  <a:lnTo>
                    <a:pt x="982" y="638"/>
                  </a:lnTo>
                  <a:lnTo>
                    <a:pt x="982" y="638"/>
                  </a:lnTo>
                  <a:lnTo>
                    <a:pt x="980" y="638"/>
                  </a:lnTo>
                  <a:lnTo>
                    <a:pt x="980" y="638"/>
                  </a:lnTo>
                  <a:lnTo>
                    <a:pt x="977" y="641"/>
                  </a:lnTo>
                  <a:lnTo>
                    <a:pt x="977" y="636"/>
                  </a:lnTo>
                  <a:lnTo>
                    <a:pt x="977" y="636"/>
                  </a:lnTo>
                  <a:lnTo>
                    <a:pt x="977" y="638"/>
                  </a:lnTo>
                  <a:lnTo>
                    <a:pt x="977" y="638"/>
                  </a:lnTo>
                  <a:lnTo>
                    <a:pt x="977" y="641"/>
                  </a:lnTo>
                  <a:lnTo>
                    <a:pt x="977" y="641"/>
                  </a:lnTo>
                  <a:lnTo>
                    <a:pt x="977" y="643"/>
                  </a:lnTo>
                  <a:close/>
                  <a:moveTo>
                    <a:pt x="999" y="652"/>
                  </a:moveTo>
                  <a:lnTo>
                    <a:pt x="999" y="652"/>
                  </a:lnTo>
                  <a:lnTo>
                    <a:pt x="1001" y="652"/>
                  </a:lnTo>
                  <a:lnTo>
                    <a:pt x="1001" y="652"/>
                  </a:lnTo>
                  <a:lnTo>
                    <a:pt x="1001" y="652"/>
                  </a:lnTo>
                  <a:lnTo>
                    <a:pt x="1001" y="650"/>
                  </a:lnTo>
                  <a:lnTo>
                    <a:pt x="1001" y="650"/>
                  </a:lnTo>
                  <a:lnTo>
                    <a:pt x="1001" y="650"/>
                  </a:lnTo>
                  <a:lnTo>
                    <a:pt x="1001" y="650"/>
                  </a:lnTo>
                  <a:lnTo>
                    <a:pt x="1001" y="650"/>
                  </a:lnTo>
                  <a:lnTo>
                    <a:pt x="1001" y="648"/>
                  </a:lnTo>
                  <a:lnTo>
                    <a:pt x="1001" y="648"/>
                  </a:lnTo>
                  <a:lnTo>
                    <a:pt x="1001" y="650"/>
                  </a:lnTo>
                  <a:lnTo>
                    <a:pt x="1001" y="650"/>
                  </a:lnTo>
                  <a:lnTo>
                    <a:pt x="1001" y="650"/>
                  </a:lnTo>
                  <a:lnTo>
                    <a:pt x="999" y="650"/>
                  </a:lnTo>
                  <a:lnTo>
                    <a:pt x="999" y="650"/>
                  </a:lnTo>
                  <a:lnTo>
                    <a:pt x="999" y="650"/>
                  </a:lnTo>
                  <a:lnTo>
                    <a:pt x="999" y="652"/>
                  </a:lnTo>
                  <a:lnTo>
                    <a:pt x="999" y="652"/>
                  </a:lnTo>
                  <a:lnTo>
                    <a:pt x="999" y="652"/>
                  </a:lnTo>
                  <a:close/>
                  <a:moveTo>
                    <a:pt x="1898" y="2372"/>
                  </a:moveTo>
                  <a:lnTo>
                    <a:pt x="1896" y="2372"/>
                  </a:lnTo>
                  <a:lnTo>
                    <a:pt x="1896" y="2372"/>
                  </a:lnTo>
                  <a:lnTo>
                    <a:pt x="1896" y="2372"/>
                  </a:lnTo>
                  <a:lnTo>
                    <a:pt x="1896" y="2370"/>
                  </a:lnTo>
                  <a:lnTo>
                    <a:pt x="1896" y="2370"/>
                  </a:lnTo>
                  <a:lnTo>
                    <a:pt x="1896" y="2370"/>
                  </a:lnTo>
                  <a:lnTo>
                    <a:pt x="1896" y="2370"/>
                  </a:lnTo>
                  <a:lnTo>
                    <a:pt x="1893" y="2370"/>
                  </a:lnTo>
                  <a:lnTo>
                    <a:pt x="1893" y="2370"/>
                  </a:lnTo>
                  <a:lnTo>
                    <a:pt x="1891" y="2370"/>
                  </a:lnTo>
                  <a:lnTo>
                    <a:pt x="1891" y="2370"/>
                  </a:lnTo>
                  <a:lnTo>
                    <a:pt x="1891" y="2370"/>
                  </a:lnTo>
                  <a:lnTo>
                    <a:pt x="1891" y="2370"/>
                  </a:lnTo>
                  <a:lnTo>
                    <a:pt x="1888" y="2370"/>
                  </a:lnTo>
                  <a:lnTo>
                    <a:pt x="1888" y="2370"/>
                  </a:lnTo>
                  <a:lnTo>
                    <a:pt x="1888" y="2370"/>
                  </a:lnTo>
                  <a:lnTo>
                    <a:pt x="1886" y="2370"/>
                  </a:lnTo>
                  <a:lnTo>
                    <a:pt x="1886" y="2370"/>
                  </a:lnTo>
                  <a:lnTo>
                    <a:pt x="1886" y="2370"/>
                  </a:lnTo>
                  <a:lnTo>
                    <a:pt x="1888" y="2370"/>
                  </a:lnTo>
                  <a:lnTo>
                    <a:pt x="1888" y="2372"/>
                  </a:lnTo>
                  <a:lnTo>
                    <a:pt x="1888" y="2372"/>
                  </a:lnTo>
                  <a:lnTo>
                    <a:pt x="1888" y="2372"/>
                  </a:lnTo>
                  <a:lnTo>
                    <a:pt x="1888" y="2372"/>
                  </a:lnTo>
                  <a:lnTo>
                    <a:pt x="1888" y="2375"/>
                  </a:lnTo>
                  <a:lnTo>
                    <a:pt x="1888" y="2375"/>
                  </a:lnTo>
                  <a:lnTo>
                    <a:pt x="1891" y="2375"/>
                  </a:lnTo>
                  <a:lnTo>
                    <a:pt x="1891" y="2377"/>
                  </a:lnTo>
                  <a:lnTo>
                    <a:pt x="1891" y="2377"/>
                  </a:lnTo>
                  <a:lnTo>
                    <a:pt x="1891" y="2377"/>
                  </a:lnTo>
                  <a:lnTo>
                    <a:pt x="1891" y="2377"/>
                  </a:lnTo>
                  <a:lnTo>
                    <a:pt x="1891" y="2377"/>
                  </a:lnTo>
                  <a:lnTo>
                    <a:pt x="1893" y="2377"/>
                  </a:lnTo>
                  <a:lnTo>
                    <a:pt x="1893" y="2377"/>
                  </a:lnTo>
                  <a:lnTo>
                    <a:pt x="1893" y="2377"/>
                  </a:lnTo>
                  <a:lnTo>
                    <a:pt x="1896" y="2375"/>
                  </a:lnTo>
                  <a:lnTo>
                    <a:pt x="1896" y="2375"/>
                  </a:lnTo>
                  <a:lnTo>
                    <a:pt x="1898" y="2375"/>
                  </a:lnTo>
                  <a:lnTo>
                    <a:pt x="1898" y="2375"/>
                  </a:lnTo>
                  <a:lnTo>
                    <a:pt x="1898" y="2375"/>
                  </a:lnTo>
                  <a:lnTo>
                    <a:pt x="1898" y="2372"/>
                  </a:lnTo>
                  <a:close/>
                  <a:moveTo>
                    <a:pt x="1884" y="2367"/>
                  </a:moveTo>
                  <a:lnTo>
                    <a:pt x="1884" y="2367"/>
                  </a:lnTo>
                  <a:lnTo>
                    <a:pt x="1884" y="2367"/>
                  </a:lnTo>
                  <a:lnTo>
                    <a:pt x="1884" y="2367"/>
                  </a:lnTo>
                  <a:lnTo>
                    <a:pt x="1881" y="2367"/>
                  </a:lnTo>
                  <a:lnTo>
                    <a:pt x="1881" y="2367"/>
                  </a:lnTo>
                  <a:lnTo>
                    <a:pt x="1884" y="2367"/>
                  </a:lnTo>
                  <a:lnTo>
                    <a:pt x="1884" y="2365"/>
                  </a:lnTo>
                  <a:lnTo>
                    <a:pt x="1881" y="2365"/>
                  </a:lnTo>
                  <a:lnTo>
                    <a:pt x="1881" y="2365"/>
                  </a:lnTo>
                  <a:lnTo>
                    <a:pt x="1881" y="2365"/>
                  </a:lnTo>
                  <a:lnTo>
                    <a:pt x="1881" y="2365"/>
                  </a:lnTo>
                  <a:lnTo>
                    <a:pt x="1881" y="2365"/>
                  </a:lnTo>
                  <a:lnTo>
                    <a:pt x="1881" y="2365"/>
                  </a:lnTo>
                  <a:lnTo>
                    <a:pt x="1879" y="2365"/>
                  </a:lnTo>
                  <a:lnTo>
                    <a:pt x="1879" y="2367"/>
                  </a:lnTo>
                  <a:lnTo>
                    <a:pt x="1879" y="2367"/>
                  </a:lnTo>
                  <a:lnTo>
                    <a:pt x="1879" y="2367"/>
                  </a:lnTo>
                  <a:lnTo>
                    <a:pt x="1879" y="2367"/>
                  </a:lnTo>
                  <a:lnTo>
                    <a:pt x="1879" y="2367"/>
                  </a:lnTo>
                  <a:lnTo>
                    <a:pt x="1879" y="2367"/>
                  </a:lnTo>
                  <a:lnTo>
                    <a:pt x="1881" y="2367"/>
                  </a:lnTo>
                  <a:lnTo>
                    <a:pt x="1881" y="2367"/>
                  </a:lnTo>
                  <a:lnTo>
                    <a:pt x="1881" y="2367"/>
                  </a:lnTo>
                  <a:lnTo>
                    <a:pt x="1881" y="2367"/>
                  </a:lnTo>
                  <a:lnTo>
                    <a:pt x="1881" y="2367"/>
                  </a:lnTo>
                  <a:lnTo>
                    <a:pt x="1881" y="2367"/>
                  </a:lnTo>
                  <a:lnTo>
                    <a:pt x="1884" y="2367"/>
                  </a:lnTo>
                  <a:lnTo>
                    <a:pt x="1884" y="2370"/>
                  </a:lnTo>
                  <a:lnTo>
                    <a:pt x="1884" y="2367"/>
                  </a:lnTo>
                  <a:lnTo>
                    <a:pt x="1884" y="2367"/>
                  </a:lnTo>
                  <a:lnTo>
                    <a:pt x="1884" y="2367"/>
                  </a:lnTo>
                  <a:close/>
                  <a:moveTo>
                    <a:pt x="1105" y="366"/>
                  </a:moveTo>
                  <a:lnTo>
                    <a:pt x="1105" y="366"/>
                  </a:lnTo>
                  <a:lnTo>
                    <a:pt x="1105" y="366"/>
                  </a:lnTo>
                  <a:lnTo>
                    <a:pt x="1103" y="366"/>
                  </a:lnTo>
                  <a:lnTo>
                    <a:pt x="1103" y="366"/>
                  </a:lnTo>
                  <a:lnTo>
                    <a:pt x="1103" y="366"/>
                  </a:lnTo>
                  <a:lnTo>
                    <a:pt x="1100" y="364"/>
                  </a:lnTo>
                  <a:lnTo>
                    <a:pt x="1100" y="364"/>
                  </a:lnTo>
                  <a:lnTo>
                    <a:pt x="1100" y="364"/>
                  </a:lnTo>
                  <a:lnTo>
                    <a:pt x="1100" y="364"/>
                  </a:lnTo>
                  <a:lnTo>
                    <a:pt x="1100" y="364"/>
                  </a:lnTo>
                  <a:lnTo>
                    <a:pt x="1100" y="364"/>
                  </a:lnTo>
                  <a:lnTo>
                    <a:pt x="1100" y="364"/>
                  </a:lnTo>
                  <a:lnTo>
                    <a:pt x="1098" y="364"/>
                  </a:lnTo>
                  <a:lnTo>
                    <a:pt x="1098" y="364"/>
                  </a:lnTo>
                  <a:lnTo>
                    <a:pt x="1098" y="364"/>
                  </a:lnTo>
                  <a:lnTo>
                    <a:pt x="1096" y="364"/>
                  </a:lnTo>
                  <a:lnTo>
                    <a:pt x="1096" y="366"/>
                  </a:lnTo>
                  <a:lnTo>
                    <a:pt x="1096" y="366"/>
                  </a:lnTo>
                  <a:lnTo>
                    <a:pt x="1096" y="366"/>
                  </a:lnTo>
                  <a:lnTo>
                    <a:pt x="1098" y="369"/>
                  </a:lnTo>
                  <a:lnTo>
                    <a:pt x="1100" y="369"/>
                  </a:lnTo>
                  <a:lnTo>
                    <a:pt x="1103" y="371"/>
                  </a:lnTo>
                  <a:lnTo>
                    <a:pt x="1103" y="371"/>
                  </a:lnTo>
                  <a:lnTo>
                    <a:pt x="1103" y="371"/>
                  </a:lnTo>
                  <a:lnTo>
                    <a:pt x="1103" y="371"/>
                  </a:lnTo>
                  <a:lnTo>
                    <a:pt x="1103" y="371"/>
                  </a:lnTo>
                  <a:lnTo>
                    <a:pt x="1103" y="371"/>
                  </a:lnTo>
                  <a:lnTo>
                    <a:pt x="1103" y="369"/>
                  </a:lnTo>
                  <a:lnTo>
                    <a:pt x="1103" y="369"/>
                  </a:lnTo>
                  <a:lnTo>
                    <a:pt x="1105" y="369"/>
                  </a:lnTo>
                  <a:lnTo>
                    <a:pt x="1105" y="369"/>
                  </a:lnTo>
                  <a:lnTo>
                    <a:pt x="1105" y="369"/>
                  </a:lnTo>
                  <a:lnTo>
                    <a:pt x="1105" y="369"/>
                  </a:lnTo>
                  <a:lnTo>
                    <a:pt x="1105" y="369"/>
                  </a:lnTo>
                  <a:lnTo>
                    <a:pt x="1105" y="369"/>
                  </a:lnTo>
                  <a:lnTo>
                    <a:pt x="1105" y="369"/>
                  </a:lnTo>
                  <a:lnTo>
                    <a:pt x="1105" y="366"/>
                  </a:lnTo>
                  <a:lnTo>
                    <a:pt x="1105" y="366"/>
                  </a:lnTo>
                  <a:lnTo>
                    <a:pt x="1105" y="366"/>
                  </a:lnTo>
                  <a:close/>
                  <a:moveTo>
                    <a:pt x="1787" y="1199"/>
                  </a:moveTo>
                  <a:lnTo>
                    <a:pt x="1787" y="1197"/>
                  </a:lnTo>
                  <a:lnTo>
                    <a:pt x="1787" y="1197"/>
                  </a:lnTo>
                  <a:lnTo>
                    <a:pt x="1787" y="1194"/>
                  </a:lnTo>
                  <a:lnTo>
                    <a:pt x="1787" y="1192"/>
                  </a:lnTo>
                  <a:lnTo>
                    <a:pt x="1787" y="1192"/>
                  </a:lnTo>
                  <a:lnTo>
                    <a:pt x="1787" y="1189"/>
                  </a:lnTo>
                  <a:lnTo>
                    <a:pt x="1787" y="1189"/>
                  </a:lnTo>
                  <a:lnTo>
                    <a:pt x="1787" y="1187"/>
                  </a:lnTo>
                  <a:lnTo>
                    <a:pt x="1787" y="1185"/>
                  </a:lnTo>
                  <a:lnTo>
                    <a:pt x="1787" y="1185"/>
                  </a:lnTo>
                  <a:lnTo>
                    <a:pt x="1787" y="1182"/>
                  </a:lnTo>
                  <a:lnTo>
                    <a:pt x="1787" y="1182"/>
                  </a:lnTo>
                  <a:lnTo>
                    <a:pt x="1787" y="1182"/>
                  </a:lnTo>
                  <a:lnTo>
                    <a:pt x="1787" y="1180"/>
                  </a:lnTo>
                  <a:lnTo>
                    <a:pt x="1789" y="1180"/>
                  </a:lnTo>
                  <a:lnTo>
                    <a:pt x="1789" y="1178"/>
                  </a:lnTo>
                  <a:lnTo>
                    <a:pt x="1789" y="1178"/>
                  </a:lnTo>
                  <a:lnTo>
                    <a:pt x="1789" y="1178"/>
                  </a:lnTo>
                  <a:lnTo>
                    <a:pt x="1787" y="1175"/>
                  </a:lnTo>
                  <a:lnTo>
                    <a:pt x="1789" y="1175"/>
                  </a:lnTo>
                  <a:lnTo>
                    <a:pt x="1789" y="1175"/>
                  </a:lnTo>
                  <a:lnTo>
                    <a:pt x="1789" y="1175"/>
                  </a:lnTo>
                  <a:lnTo>
                    <a:pt x="1789" y="1173"/>
                  </a:lnTo>
                  <a:lnTo>
                    <a:pt x="1789" y="1173"/>
                  </a:lnTo>
                  <a:lnTo>
                    <a:pt x="1789" y="1173"/>
                  </a:lnTo>
                  <a:lnTo>
                    <a:pt x="1789" y="1173"/>
                  </a:lnTo>
                  <a:lnTo>
                    <a:pt x="1789" y="1173"/>
                  </a:lnTo>
                  <a:lnTo>
                    <a:pt x="1789" y="1171"/>
                  </a:lnTo>
                  <a:lnTo>
                    <a:pt x="1791" y="1171"/>
                  </a:lnTo>
                  <a:lnTo>
                    <a:pt x="1794" y="1168"/>
                  </a:lnTo>
                  <a:lnTo>
                    <a:pt x="1796" y="1168"/>
                  </a:lnTo>
                  <a:lnTo>
                    <a:pt x="1796" y="1166"/>
                  </a:lnTo>
                  <a:lnTo>
                    <a:pt x="1796" y="1166"/>
                  </a:lnTo>
                  <a:lnTo>
                    <a:pt x="1796" y="1166"/>
                  </a:lnTo>
                  <a:lnTo>
                    <a:pt x="1796" y="1163"/>
                  </a:lnTo>
                  <a:lnTo>
                    <a:pt x="1796" y="1161"/>
                  </a:lnTo>
                  <a:lnTo>
                    <a:pt x="1796" y="1161"/>
                  </a:lnTo>
                  <a:lnTo>
                    <a:pt x="1796" y="1159"/>
                  </a:lnTo>
                  <a:lnTo>
                    <a:pt x="1796" y="1156"/>
                  </a:lnTo>
                  <a:lnTo>
                    <a:pt x="1796" y="1156"/>
                  </a:lnTo>
                  <a:lnTo>
                    <a:pt x="1796" y="1154"/>
                  </a:lnTo>
                  <a:lnTo>
                    <a:pt x="1791" y="1156"/>
                  </a:lnTo>
                  <a:lnTo>
                    <a:pt x="1791" y="1154"/>
                  </a:lnTo>
                  <a:lnTo>
                    <a:pt x="1789" y="1154"/>
                  </a:lnTo>
                  <a:lnTo>
                    <a:pt x="1787" y="1152"/>
                  </a:lnTo>
                  <a:lnTo>
                    <a:pt x="1787" y="1152"/>
                  </a:lnTo>
                  <a:lnTo>
                    <a:pt x="1787" y="1149"/>
                  </a:lnTo>
                  <a:lnTo>
                    <a:pt x="1787" y="1147"/>
                  </a:lnTo>
                  <a:lnTo>
                    <a:pt x="1787" y="1145"/>
                  </a:lnTo>
                  <a:lnTo>
                    <a:pt x="1787" y="1145"/>
                  </a:lnTo>
                  <a:lnTo>
                    <a:pt x="1782" y="1142"/>
                  </a:lnTo>
                  <a:lnTo>
                    <a:pt x="1782" y="1142"/>
                  </a:lnTo>
                  <a:lnTo>
                    <a:pt x="1780" y="1137"/>
                  </a:lnTo>
                  <a:lnTo>
                    <a:pt x="1777" y="1135"/>
                  </a:lnTo>
                  <a:lnTo>
                    <a:pt x="1772" y="1133"/>
                  </a:lnTo>
                  <a:lnTo>
                    <a:pt x="1770" y="1130"/>
                  </a:lnTo>
                  <a:lnTo>
                    <a:pt x="1768" y="1126"/>
                  </a:lnTo>
                  <a:lnTo>
                    <a:pt x="1765" y="1123"/>
                  </a:lnTo>
                  <a:lnTo>
                    <a:pt x="1761" y="1118"/>
                  </a:lnTo>
                  <a:lnTo>
                    <a:pt x="1761" y="1116"/>
                  </a:lnTo>
                  <a:lnTo>
                    <a:pt x="1758" y="1116"/>
                  </a:lnTo>
                  <a:lnTo>
                    <a:pt x="1758" y="1116"/>
                  </a:lnTo>
                  <a:lnTo>
                    <a:pt x="1756" y="1116"/>
                  </a:lnTo>
                  <a:lnTo>
                    <a:pt x="1751" y="1114"/>
                  </a:lnTo>
                  <a:lnTo>
                    <a:pt x="1751" y="1114"/>
                  </a:lnTo>
                  <a:lnTo>
                    <a:pt x="1751" y="1114"/>
                  </a:lnTo>
                  <a:lnTo>
                    <a:pt x="1751" y="1111"/>
                  </a:lnTo>
                  <a:lnTo>
                    <a:pt x="1751" y="1109"/>
                  </a:lnTo>
                  <a:lnTo>
                    <a:pt x="1751" y="1109"/>
                  </a:lnTo>
                  <a:lnTo>
                    <a:pt x="1751" y="1107"/>
                  </a:lnTo>
                  <a:lnTo>
                    <a:pt x="1751" y="1107"/>
                  </a:lnTo>
                  <a:lnTo>
                    <a:pt x="1751" y="1104"/>
                  </a:lnTo>
                  <a:lnTo>
                    <a:pt x="1751" y="1104"/>
                  </a:lnTo>
                  <a:lnTo>
                    <a:pt x="1751" y="1104"/>
                  </a:lnTo>
                  <a:lnTo>
                    <a:pt x="1754" y="1104"/>
                  </a:lnTo>
                  <a:lnTo>
                    <a:pt x="1754" y="1102"/>
                  </a:lnTo>
                  <a:lnTo>
                    <a:pt x="1754" y="1102"/>
                  </a:lnTo>
                  <a:lnTo>
                    <a:pt x="1746" y="1097"/>
                  </a:lnTo>
                  <a:lnTo>
                    <a:pt x="1751" y="1088"/>
                  </a:lnTo>
                  <a:lnTo>
                    <a:pt x="1749" y="1085"/>
                  </a:lnTo>
                  <a:lnTo>
                    <a:pt x="1744" y="1083"/>
                  </a:lnTo>
                  <a:lnTo>
                    <a:pt x="1746" y="1078"/>
                  </a:lnTo>
                  <a:lnTo>
                    <a:pt x="1749" y="1078"/>
                  </a:lnTo>
                  <a:lnTo>
                    <a:pt x="1749" y="1071"/>
                  </a:lnTo>
                  <a:lnTo>
                    <a:pt x="1746" y="1069"/>
                  </a:lnTo>
                  <a:lnTo>
                    <a:pt x="1746" y="1062"/>
                  </a:lnTo>
                  <a:lnTo>
                    <a:pt x="1744" y="1057"/>
                  </a:lnTo>
                  <a:lnTo>
                    <a:pt x="1744" y="1052"/>
                  </a:lnTo>
                  <a:lnTo>
                    <a:pt x="1742" y="1048"/>
                  </a:lnTo>
                  <a:lnTo>
                    <a:pt x="1742" y="1038"/>
                  </a:lnTo>
                  <a:lnTo>
                    <a:pt x="1739" y="1033"/>
                  </a:lnTo>
                  <a:lnTo>
                    <a:pt x="1739" y="1029"/>
                  </a:lnTo>
                  <a:lnTo>
                    <a:pt x="1737" y="1024"/>
                  </a:lnTo>
                  <a:lnTo>
                    <a:pt x="1737" y="1024"/>
                  </a:lnTo>
                  <a:lnTo>
                    <a:pt x="1737" y="1019"/>
                  </a:lnTo>
                  <a:lnTo>
                    <a:pt x="1737" y="1017"/>
                  </a:lnTo>
                  <a:lnTo>
                    <a:pt x="1735" y="1012"/>
                  </a:lnTo>
                  <a:lnTo>
                    <a:pt x="1735" y="1007"/>
                  </a:lnTo>
                  <a:lnTo>
                    <a:pt x="1732" y="1005"/>
                  </a:lnTo>
                  <a:lnTo>
                    <a:pt x="1735" y="1003"/>
                  </a:lnTo>
                  <a:lnTo>
                    <a:pt x="1735" y="1000"/>
                  </a:lnTo>
                  <a:lnTo>
                    <a:pt x="1735" y="995"/>
                  </a:lnTo>
                  <a:lnTo>
                    <a:pt x="1732" y="993"/>
                  </a:lnTo>
                  <a:lnTo>
                    <a:pt x="1730" y="991"/>
                  </a:lnTo>
                  <a:lnTo>
                    <a:pt x="1730" y="986"/>
                  </a:lnTo>
                  <a:lnTo>
                    <a:pt x="1728" y="981"/>
                  </a:lnTo>
                  <a:lnTo>
                    <a:pt x="1728" y="979"/>
                  </a:lnTo>
                  <a:lnTo>
                    <a:pt x="1728" y="977"/>
                  </a:lnTo>
                  <a:lnTo>
                    <a:pt x="1725" y="974"/>
                  </a:lnTo>
                  <a:lnTo>
                    <a:pt x="1720" y="972"/>
                  </a:lnTo>
                  <a:lnTo>
                    <a:pt x="1718" y="969"/>
                  </a:lnTo>
                  <a:lnTo>
                    <a:pt x="1718" y="965"/>
                  </a:lnTo>
                  <a:lnTo>
                    <a:pt x="1718" y="962"/>
                  </a:lnTo>
                  <a:lnTo>
                    <a:pt x="1718" y="962"/>
                  </a:lnTo>
                  <a:lnTo>
                    <a:pt x="1718" y="962"/>
                  </a:lnTo>
                  <a:lnTo>
                    <a:pt x="1718" y="962"/>
                  </a:lnTo>
                  <a:lnTo>
                    <a:pt x="1718" y="962"/>
                  </a:lnTo>
                  <a:lnTo>
                    <a:pt x="1718" y="960"/>
                  </a:lnTo>
                  <a:lnTo>
                    <a:pt x="1718" y="960"/>
                  </a:lnTo>
                  <a:lnTo>
                    <a:pt x="1716" y="960"/>
                  </a:lnTo>
                  <a:lnTo>
                    <a:pt x="1718" y="958"/>
                  </a:lnTo>
                  <a:lnTo>
                    <a:pt x="1718" y="955"/>
                  </a:lnTo>
                  <a:lnTo>
                    <a:pt x="1718" y="955"/>
                  </a:lnTo>
                  <a:lnTo>
                    <a:pt x="1718" y="953"/>
                  </a:lnTo>
                  <a:lnTo>
                    <a:pt x="1716" y="951"/>
                  </a:lnTo>
                  <a:lnTo>
                    <a:pt x="1716" y="951"/>
                  </a:lnTo>
                  <a:lnTo>
                    <a:pt x="1713" y="951"/>
                  </a:lnTo>
                  <a:lnTo>
                    <a:pt x="1713" y="948"/>
                  </a:lnTo>
                  <a:lnTo>
                    <a:pt x="1713" y="948"/>
                  </a:lnTo>
                  <a:lnTo>
                    <a:pt x="1713" y="946"/>
                  </a:lnTo>
                  <a:lnTo>
                    <a:pt x="1713" y="946"/>
                  </a:lnTo>
                  <a:lnTo>
                    <a:pt x="1713" y="943"/>
                  </a:lnTo>
                  <a:lnTo>
                    <a:pt x="1713" y="943"/>
                  </a:lnTo>
                  <a:lnTo>
                    <a:pt x="1713" y="941"/>
                  </a:lnTo>
                  <a:lnTo>
                    <a:pt x="1711" y="941"/>
                  </a:lnTo>
                  <a:lnTo>
                    <a:pt x="1709" y="939"/>
                  </a:lnTo>
                  <a:lnTo>
                    <a:pt x="1706" y="939"/>
                  </a:lnTo>
                  <a:lnTo>
                    <a:pt x="1706" y="936"/>
                  </a:lnTo>
                  <a:lnTo>
                    <a:pt x="1706" y="936"/>
                  </a:lnTo>
                  <a:lnTo>
                    <a:pt x="1706" y="934"/>
                  </a:lnTo>
                  <a:lnTo>
                    <a:pt x="1706" y="934"/>
                  </a:lnTo>
                  <a:lnTo>
                    <a:pt x="1706" y="932"/>
                  </a:lnTo>
                  <a:lnTo>
                    <a:pt x="1706" y="932"/>
                  </a:lnTo>
                  <a:lnTo>
                    <a:pt x="1704" y="929"/>
                  </a:lnTo>
                  <a:lnTo>
                    <a:pt x="1706" y="927"/>
                  </a:lnTo>
                  <a:lnTo>
                    <a:pt x="1706" y="927"/>
                  </a:lnTo>
                  <a:lnTo>
                    <a:pt x="1709" y="927"/>
                  </a:lnTo>
                  <a:lnTo>
                    <a:pt x="1709" y="925"/>
                  </a:lnTo>
                  <a:lnTo>
                    <a:pt x="1709" y="922"/>
                  </a:lnTo>
                  <a:lnTo>
                    <a:pt x="1709" y="922"/>
                  </a:lnTo>
                  <a:lnTo>
                    <a:pt x="1709" y="920"/>
                  </a:lnTo>
                  <a:lnTo>
                    <a:pt x="1709" y="917"/>
                  </a:lnTo>
                  <a:lnTo>
                    <a:pt x="1709" y="917"/>
                  </a:lnTo>
                  <a:lnTo>
                    <a:pt x="1706" y="917"/>
                  </a:lnTo>
                  <a:lnTo>
                    <a:pt x="1706" y="915"/>
                  </a:lnTo>
                  <a:lnTo>
                    <a:pt x="1706" y="913"/>
                  </a:lnTo>
                  <a:lnTo>
                    <a:pt x="1704" y="910"/>
                  </a:lnTo>
                  <a:lnTo>
                    <a:pt x="1704" y="908"/>
                  </a:lnTo>
                  <a:lnTo>
                    <a:pt x="1701" y="906"/>
                  </a:lnTo>
                  <a:lnTo>
                    <a:pt x="1701" y="903"/>
                  </a:lnTo>
                  <a:lnTo>
                    <a:pt x="1701" y="903"/>
                  </a:lnTo>
                  <a:lnTo>
                    <a:pt x="1694" y="906"/>
                  </a:lnTo>
                  <a:lnTo>
                    <a:pt x="1690" y="906"/>
                  </a:lnTo>
                  <a:lnTo>
                    <a:pt x="1685" y="906"/>
                  </a:lnTo>
                  <a:lnTo>
                    <a:pt x="1683" y="906"/>
                  </a:lnTo>
                  <a:lnTo>
                    <a:pt x="1678" y="906"/>
                  </a:lnTo>
                  <a:lnTo>
                    <a:pt x="1675" y="906"/>
                  </a:lnTo>
                  <a:lnTo>
                    <a:pt x="1673" y="906"/>
                  </a:lnTo>
                  <a:lnTo>
                    <a:pt x="1673" y="908"/>
                  </a:lnTo>
                  <a:lnTo>
                    <a:pt x="1673" y="910"/>
                  </a:lnTo>
                  <a:lnTo>
                    <a:pt x="1673" y="910"/>
                  </a:lnTo>
                  <a:lnTo>
                    <a:pt x="1673" y="913"/>
                  </a:lnTo>
                  <a:lnTo>
                    <a:pt x="1671" y="915"/>
                  </a:lnTo>
                  <a:lnTo>
                    <a:pt x="1668" y="915"/>
                  </a:lnTo>
                  <a:lnTo>
                    <a:pt x="1668" y="915"/>
                  </a:lnTo>
                  <a:lnTo>
                    <a:pt x="1666" y="913"/>
                  </a:lnTo>
                  <a:lnTo>
                    <a:pt x="1666" y="917"/>
                  </a:lnTo>
                  <a:lnTo>
                    <a:pt x="1664" y="922"/>
                  </a:lnTo>
                  <a:lnTo>
                    <a:pt x="1661" y="925"/>
                  </a:lnTo>
                  <a:lnTo>
                    <a:pt x="1661" y="925"/>
                  </a:lnTo>
                  <a:lnTo>
                    <a:pt x="1659" y="927"/>
                  </a:lnTo>
                  <a:lnTo>
                    <a:pt x="1657" y="929"/>
                  </a:lnTo>
                  <a:lnTo>
                    <a:pt x="1654" y="929"/>
                  </a:lnTo>
                  <a:lnTo>
                    <a:pt x="1652" y="927"/>
                  </a:lnTo>
                  <a:lnTo>
                    <a:pt x="1649" y="927"/>
                  </a:lnTo>
                  <a:lnTo>
                    <a:pt x="1647" y="927"/>
                  </a:lnTo>
                  <a:lnTo>
                    <a:pt x="1642" y="929"/>
                  </a:lnTo>
                  <a:lnTo>
                    <a:pt x="1642" y="929"/>
                  </a:lnTo>
                  <a:lnTo>
                    <a:pt x="1638" y="929"/>
                  </a:lnTo>
                  <a:lnTo>
                    <a:pt x="1635" y="932"/>
                  </a:lnTo>
                  <a:lnTo>
                    <a:pt x="1633" y="932"/>
                  </a:lnTo>
                  <a:lnTo>
                    <a:pt x="1628" y="934"/>
                  </a:lnTo>
                  <a:lnTo>
                    <a:pt x="1628" y="934"/>
                  </a:lnTo>
                  <a:lnTo>
                    <a:pt x="1626" y="934"/>
                  </a:lnTo>
                  <a:lnTo>
                    <a:pt x="1626" y="932"/>
                  </a:lnTo>
                  <a:lnTo>
                    <a:pt x="1626" y="932"/>
                  </a:lnTo>
                  <a:lnTo>
                    <a:pt x="1628" y="929"/>
                  </a:lnTo>
                  <a:lnTo>
                    <a:pt x="1628" y="925"/>
                  </a:lnTo>
                  <a:lnTo>
                    <a:pt x="1630" y="920"/>
                  </a:lnTo>
                  <a:lnTo>
                    <a:pt x="1630" y="915"/>
                  </a:lnTo>
                  <a:lnTo>
                    <a:pt x="1630" y="915"/>
                  </a:lnTo>
                  <a:lnTo>
                    <a:pt x="1630" y="915"/>
                  </a:lnTo>
                  <a:lnTo>
                    <a:pt x="1628" y="908"/>
                  </a:lnTo>
                  <a:lnTo>
                    <a:pt x="1623" y="903"/>
                  </a:lnTo>
                  <a:lnTo>
                    <a:pt x="1621" y="896"/>
                  </a:lnTo>
                  <a:lnTo>
                    <a:pt x="1619" y="891"/>
                  </a:lnTo>
                  <a:lnTo>
                    <a:pt x="1616" y="884"/>
                  </a:lnTo>
                  <a:lnTo>
                    <a:pt x="1614" y="880"/>
                  </a:lnTo>
                  <a:lnTo>
                    <a:pt x="1612" y="875"/>
                  </a:lnTo>
                  <a:lnTo>
                    <a:pt x="1612" y="872"/>
                  </a:lnTo>
                  <a:lnTo>
                    <a:pt x="1612" y="872"/>
                  </a:lnTo>
                  <a:lnTo>
                    <a:pt x="1612" y="868"/>
                  </a:lnTo>
                  <a:lnTo>
                    <a:pt x="1612" y="868"/>
                  </a:lnTo>
                  <a:lnTo>
                    <a:pt x="1612" y="865"/>
                  </a:lnTo>
                  <a:lnTo>
                    <a:pt x="1612" y="865"/>
                  </a:lnTo>
                  <a:lnTo>
                    <a:pt x="1609" y="863"/>
                  </a:lnTo>
                  <a:lnTo>
                    <a:pt x="1604" y="858"/>
                  </a:lnTo>
                  <a:lnTo>
                    <a:pt x="1604" y="858"/>
                  </a:lnTo>
                  <a:lnTo>
                    <a:pt x="1604" y="858"/>
                  </a:lnTo>
                  <a:lnTo>
                    <a:pt x="1604" y="856"/>
                  </a:lnTo>
                  <a:lnTo>
                    <a:pt x="1602" y="851"/>
                  </a:lnTo>
                  <a:lnTo>
                    <a:pt x="1602" y="851"/>
                  </a:lnTo>
                  <a:lnTo>
                    <a:pt x="1604" y="846"/>
                  </a:lnTo>
                  <a:lnTo>
                    <a:pt x="1607" y="844"/>
                  </a:lnTo>
                  <a:lnTo>
                    <a:pt x="1609" y="839"/>
                  </a:lnTo>
                  <a:lnTo>
                    <a:pt x="1612" y="839"/>
                  </a:lnTo>
                  <a:lnTo>
                    <a:pt x="1612" y="837"/>
                  </a:lnTo>
                  <a:lnTo>
                    <a:pt x="1609" y="837"/>
                  </a:lnTo>
                  <a:lnTo>
                    <a:pt x="1607" y="837"/>
                  </a:lnTo>
                  <a:lnTo>
                    <a:pt x="1602" y="835"/>
                  </a:lnTo>
                  <a:lnTo>
                    <a:pt x="1600" y="835"/>
                  </a:lnTo>
                  <a:lnTo>
                    <a:pt x="1595" y="832"/>
                  </a:lnTo>
                  <a:lnTo>
                    <a:pt x="1595" y="832"/>
                  </a:lnTo>
                  <a:lnTo>
                    <a:pt x="1593" y="832"/>
                  </a:lnTo>
                  <a:lnTo>
                    <a:pt x="1588" y="835"/>
                  </a:lnTo>
                  <a:lnTo>
                    <a:pt x="1586" y="837"/>
                  </a:lnTo>
                  <a:lnTo>
                    <a:pt x="1583" y="837"/>
                  </a:lnTo>
                  <a:lnTo>
                    <a:pt x="1581" y="837"/>
                  </a:lnTo>
                  <a:lnTo>
                    <a:pt x="1578" y="832"/>
                  </a:lnTo>
                  <a:lnTo>
                    <a:pt x="1576" y="830"/>
                  </a:lnTo>
                  <a:lnTo>
                    <a:pt x="1574" y="828"/>
                  </a:lnTo>
                  <a:lnTo>
                    <a:pt x="1571" y="828"/>
                  </a:lnTo>
                  <a:lnTo>
                    <a:pt x="1571" y="828"/>
                  </a:lnTo>
                  <a:lnTo>
                    <a:pt x="1571" y="828"/>
                  </a:lnTo>
                  <a:lnTo>
                    <a:pt x="1569" y="830"/>
                  </a:lnTo>
                  <a:lnTo>
                    <a:pt x="1569" y="830"/>
                  </a:lnTo>
                  <a:lnTo>
                    <a:pt x="1569" y="830"/>
                  </a:lnTo>
                  <a:lnTo>
                    <a:pt x="1564" y="828"/>
                  </a:lnTo>
                  <a:lnTo>
                    <a:pt x="1562" y="825"/>
                  </a:lnTo>
                  <a:lnTo>
                    <a:pt x="1559" y="823"/>
                  </a:lnTo>
                  <a:lnTo>
                    <a:pt x="1557" y="820"/>
                  </a:lnTo>
                  <a:lnTo>
                    <a:pt x="1557" y="820"/>
                  </a:lnTo>
                  <a:lnTo>
                    <a:pt x="1557" y="818"/>
                  </a:lnTo>
                  <a:lnTo>
                    <a:pt x="1562" y="811"/>
                  </a:lnTo>
                  <a:lnTo>
                    <a:pt x="1564" y="804"/>
                  </a:lnTo>
                  <a:lnTo>
                    <a:pt x="1567" y="794"/>
                  </a:lnTo>
                  <a:lnTo>
                    <a:pt x="1571" y="787"/>
                  </a:lnTo>
                  <a:lnTo>
                    <a:pt x="1574" y="778"/>
                  </a:lnTo>
                  <a:lnTo>
                    <a:pt x="1576" y="771"/>
                  </a:lnTo>
                  <a:lnTo>
                    <a:pt x="1581" y="761"/>
                  </a:lnTo>
                  <a:lnTo>
                    <a:pt x="1583" y="754"/>
                  </a:lnTo>
                  <a:lnTo>
                    <a:pt x="1586" y="747"/>
                  </a:lnTo>
                  <a:lnTo>
                    <a:pt x="1590" y="738"/>
                  </a:lnTo>
                  <a:lnTo>
                    <a:pt x="1593" y="731"/>
                  </a:lnTo>
                  <a:lnTo>
                    <a:pt x="1595" y="721"/>
                  </a:lnTo>
                  <a:lnTo>
                    <a:pt x="1600" y="714"/>
                  </a:lnTo>
                  <a:lnTo>
                    <a:pt x="1602" y="705"/>
                  </a:lnTo>
                  <a:lnTo>
                    <a:pt x="1604" y="697"/>
                  </a:lnTo>
                  <a:lnTo>
                    <a:pt x="1609" y="688"/>
                  </a:lnTo>
                  <a:lnTo>
                    <a:pt x="1612" y="681"/>
                  </a:lnTo>
                  <a:lnTo>
                    <a:pt x="1614" y="671"/>
                  </a:lnTo>
                  <a:lnTo>
                    <a:pt x="1619" y="664"/>
                  </a:lnTo>
                  <a:lnTo>
                    <a:pt x="1621" y="655"/>
                  </a:lnTo>
                  <a:lnTo>
                    <a:pt x="1626" y="648"/>
                  </a:lnTo>
                  <a:lnTo>
                    <a:pt x="1628" y="638"/>
                  </a:lnTo>
                  <a:lnTo>
                    <a:pt x="1630" y="629"/>
                  </a:lnTo>
                  <a:lnTo>
                    <a:pt x="1635" y="622"/>
                  </a:lnTo>
                  <a:lnTo>
                    <a:pt x="1638" y="612"/>
                  </a:lnTo>
                  <a:lnTo>
                    <a:pt x="1642" y="605"/>
                  </a:lnTo>
                  <a:lnTo>
                    <a:pt x="1645" y="596"/>
                  </a:lnTo>
                  <a:lnTo>
                    <a:pt x="1647" y="589"/>
                  </a:lnTo>
                  <a:lnTo>
                    <a:pt x="1652" y="579"/>
                  </a:lnTo>
                  <a:lnTo>
                    <a:pt x="1654" y="570"/>
                  </a:lnTo>
                  <a:lnTo>
                    <a:pt x="1659" y="563"/>
                  </a:lnTo>
                  <a:lnTo>
                    <a:pt x="1661" y="553"/>
                  </a:lnTo>
                  <a:lnTo>
                    <a:pt x="1664" y="544"/>
                  </a:lnTo>
                  <a:lnTo>
                    <a:pt x="1668" y="537"/>
                  </a:lnTo>
                  <a:lnTo>
                    <a:pt x="1671" y="527"/>
                  </a:lnTo>
                  <a:lnTo>
                    <a:pt x="1675" y="518"/>
                  </a:lnTo>
                  <a:lnTo>
                    <a:pt x="1678" y="511"/>
                  </a:lnTo>
                  <a:lnTo>
                    <a:pt x="1683" y="501"/>
                  </a:lnTo>
                  <a:lnTo>
                    <a:pt x="1685" y="492"/>
                  </a:lnTo>
                  <a:lnTo>
                    <a:pt x="1687" y="485"/>
                  </a:lnTo>
                  <a:lnTo>
                    <a:pt x="1692" y="475"/>
                  </a:lnTo>
                  <a:lnTo>
                    <a:pt x="1694" y="466"/>
                  </a:lnTo>
                  <a:lnTo>
                    <a:pt x="1699" y="459"/>
                  </a:lnTo>
                  <a:lnTo>
                    <a:pt x="1701" y="449"/>
                  </a:lnTo>
                  <a:lnTo>
                    <a:pt x="1706" y="440"/>
                  </a:lnTo>
                  <a:lnTo>
                    <a:pt x="1709" y="430"/>
                  </a:lnTo>
                  <a:lnTo>
                    <a:pt x="1713" y="423"/>
                  </a:lnTo>
                  <a:lnTo>
                    <a:pt x="1716" y="414"/>
                  </a:lnTo>
                  <a:lnTo>
                    <a:pt x="1720" y="404"/>
                  </a:lnTo>
                  <a:lnTo>
                    <a:pt x="1723" y="395"/>
                  </a:lnTo>
                  <a:lnTo>
                    <a:pt x="1728" y="385"/>
                  </a:lnTo>
                  <a:lnTo>
                    <a:pt x="1730" y="378"/>
                  </a:lnTo>
                  <a:lnTo>
                    <a:pt x="1732" y="369"/>
                  </a:lnTo>
                  <a:lnTo>
                    <a:pt x="1737" y="359"/>
                  </a:lnTo>
                  <a:lnTo>
                    <a:pt x="1739" y="350"/>
                  </a:lnTo>
                  <a:lnTo>
                    <a:pt x="1744" y="340"/>
                  </a:lnTo>
                  <a:lnTo>
                    <a:pt x="1746" y="331"/>
                  </a:lnTo>
                  <a:lnTo>
                    <a:pt x="1751" y="321"/>
                  </a:lnTo>
                  <a:lnTo>
                    <a:pt x="1756" y="312"/>
                  </a:lnTo>
                  <a:lnTo>
                    <a:pt x="1758" y="305"/>
                  </a:lnTo>
                  <a:lnTo>
                    <a:pt x="1763" y="295"/>
                  </a:lnTo>
                  <a:lnTo>
                    <a:pt x="1765" y="286"/>
                  </a:lnTo>
                  <a:lnTo>
                    <a:pt x="1770" y="276"/>
                  </a:lnTo>
                  <a:lnTo>
                    <a:pt x="1772" y="267"/>
                  </a:lnTo>
                  <a:lnTo>
                    <a:pt x="1772" y="267"/>
                  </a:lnTo>
                  <a:lnTo>
                    <a:pt x="1772" y="267"/>
                  </a:lnTo>
                  <a:lnTo>
                    <a:pt x="1772" y="267"/>
                  </a:lnTo>
                  <a:lnTo>
                    <a:pt x="1768" y="260"/>
                  </a:lnTo>
                  <a:lnTo>
                    <a:pt x="1768" y="262"/>
                  </a:lnTo>
                  <a:lnTo>
                    <a:pt x="1768" y="262"/>
                  </a:lnTo>
                  <a:lnTo>
                    <a:pt x="1768" y="262"/>
                  </a:lnTo>
                  <a:lnTo>
                    <a:pt x="1768" y="262"/>
                  </a:lnTo>
                  <a:lnTo>
                    <a:pt x="1768" y="262"/>
                  </a:lnTo>
                  <a:lnTo>
                    <a:pt x="1768" y="265"/>
                  </a:lnTo>
                  <a:lnTo>
                    <a:pt x="1768" y="265"/>
                  </a:lnTo>
                  <a:lnTo>
                    <a:pt x="1765" y="265"/>
                  </a:lnTo>
                  <a:lnTo>
                    <a:pt x="1763" y="262"/>
                  </a:lnTo>
                  <a:lnTo>
                    <a:pt x="1763" y="262"/>
                  </a:lnTo>
                  <a:lnTo>
                    <a:pt x="1763" y="260"/>
                  </a:lnTo>
                  <a:lnTo>
                    <a:pt x="1763" y="257"/>
                  </a:lnTo>
                  <a:lnTo>
                    <a:pt x="1763" y="257"/>
                  </a:lnTo>
                  <a:lnTo>
                    <a:pt x="1763" y="257"/>
                  </a:lnTo>
                  <a:lnTo>
                    <a:pt x="1761" y="253"/>
                  </a:lnTo>
                  <a:lnTo>
                    <a:pt x="1758" y="250"/>
                  </a:lnTo>
                  <a:lnTo>
                    <a:pt x="1758" y="248"/>
                  </a:lnTo>
                  <a:lnTo>
                    <a:pt x="1756" y="248"/>
                  </a:lnTo>
                  <a:lnTo>
                    <a:pt x="1756" y="248"/>
                  </a:lnTo>
                  <a:lnTo>
                    <a:pt x="1756" y="248"/>
                  </a:lnTo>
                  <a:lnTo>
                    <a:pt x="1754" y="248"/>
                  </a:lnTo>
                  <a:lnTo>
                    <a:pt x="1754" y="248"/>
                  </a:lnTo>
                  <a:lnTo>
                    <a:pt x="1754" y="248"/>
                  </a:lnTo>
                  <a:lnTo>
                    <a:pt x="1754" y="246"/>
                  </a:lnTo>
                  <a:lnTo>
                    <a:pt x="1754" y="243"/>
                  </a:lnTo>
                  <a:lnTo>
                    <a:pt x="1749" y="243"/>
                  </a:lnTo>
                  <a:lnTo>
                    <a:pt x="1749" y="241"/>
                  </a:lnTo>
                  <a:lnTo>
                    <a:pt x="1749" y="241"/>
                  </a:lnTo>
                  <a:lnTo>
                    <a:pt x="1749" y="239"/>
                  </a:lnTo>
                  <a:lnTo>
                    <a:pt x="1749" y="239"/>
                  </a:lnTo>
                  <a:lnTo>
                    <a:pt x="1749" y="239"/>
                  </a:lnTo>
                  <a:lnTo>
                    <a:pt x="1749" y="239"/>
                  </a:lnTo>
                  <a:lnTo>
                    <a:pt x="1749" y="239"/>
                  </a:lnTo>
                  <a:lnTo>
                    <a:pt x="1749" y="239"/>
                  </a:lnTo>
                  <a:lnTo>
                    <a:pt x="1749" y="236"/>
                  </a:lnTo>
                  <a:lnTo>
                    <a:pt x="1749" y="236"/>
                  </a:lnTo>
                  <a:lnTo>
                    <a:pt x="1749" y="236"/>
                  </a:lnTo>
                  <a:lnTo>
                    <a:pt x="1749" y="236"/>
                  </a:lnTo>
                  <a:lnTo>
                    <a:pt x="1749" y="236"/>
                  </a:lnTo>
                  <a:lnTo>
                    <a:pt x="1749" y="236"/>
                  </a:lnTo>
                  <a:lnTo>
                    <a:pt x="1749" y="236"/>
                  </a:lnTo>
                  <a:lnTo>
                    <a:pt x="1749" y="234"/>
                  </a:lnTo>
                  <a:lnTo>
                    <a:pt x="1746" y="234"/>
                  </a:lnTo>
                  <a:lnTo>
                    <a:pt x="1746" y="234"/>
                  </a:lnTo>
                  <a:lnTo>
                    <a:pt x="1749" y="231"/>
                  </a:lnTo>
                  <a:lnTo>
                    <a:pt x="1749" y="231"/>
                  </a:lnTo>
                  <a:lnTo>
                    <a:pt x="1749" y="234"/>
                  </a:lnTo>
                  <a:lnTo>
                    <a:pt x="1749" y="234"/>
                  </a:lnTo>
                  <a:lnTo>
                    <a:pt x="1749" y="231"/>
                  </a:lnTo>
                  <a:lnTo>
                    <a:pt x="1746" y="231"/>
                  </a:lnTo>
                  <a:lnTo>
                    <a:pt x="1746" y="231"/>
                  </a:lnTo>
                  <a:lnTo>
                    <a:pt x="1746" y="231"/>
                  </a:lnTo>
                  <a:lnTo>
                    <a:pt x="1746" y="231"/>
                  </a:lnTo>
                  <a:lnTo>
                    <a:pt x="1746" y="231"/>
                  </a:lnTo>
                  <a:lnTo>
                    <a:pt x="1746" y="231"/>
                  </a:lnTo>
                  <a:lnTo>
                    <a:pt x="1746" y="229"/>
                  </a:lnTo>
                  <a:lnTo>
                    <a:pt x="1746" y="229"/>
                  </a:lnTo>
                  <a:lnTo>
                    <a:pt x="1746" y="229"/>
                  </a:lnTo>
                  <a:lnTo>
                    <a:pt x="1742" y="222"/>
                  </a:lnTo>
                  <a:lnTo>
                    <a:pt x="1742" y="222"/>
                  </a:lnTo>
                  <a:lnTo>
                    <a:pt x="1742" y="222"/>
                  </a:lnTo>
                  <a:lnTo>
                    <a:pt x="1742" y="222"/>
                  </a:lnTo>
                  <a:lnTo>
                    <a:pt x="1739" y="222"/>
                  </a:lnTo>
                  <a:lnTo>
                    <a:pt x="1739" y="222"/>
                  </a:lnTo>
                  <a:lnTo>
                    <a:pt x="1739" y="222"/>
                  </a:lnTo>
                  <a:lnTo>
                    <a:pt x="1739" y="222"/>
                  </a:lnTo>
                  <a:lnTo>
                    <a:pt x="1739" y="220"/>
                  </a:lnTo>
                  <a:lnTo>
                    <a:pt x="1739" y="220"/>
                  </a:lnTo>
                  <a:lnTo>
                    <a:pt x="1737" y="220"/>
                  </a:lnTo>
                  <a:lnTo>
                    <a:pt x="1737" y="220"/>
                  </a:lnTo>
                  <a:lnTo>
                    <a:pt x="1737" y="220"/>
                  </a:lnTo>
                  <a:lnTo>
                    <a:pt x="1737" y="220"/>
                  </a:lnTo>
                  <a:lnTo>
                    <a:pt x="1737" y="217"/>
                  </a:lnTo>
                  <a:lnTo>
                    <a:pt x="1735" y="217"/>
                  </a:lnTo>
                  <a:lnTo>
                    <a:pt x="1735" y="217"/>
                  </a:lnTo>
                  <a:lnTo>
                    <a:pt x="1735" y="217"/>
                  </a:lnTo>
                  <a:lnTo>
                    <a:pt x="1735" y="217"/>
                  </a:lnTo>
                  <a:lnTo>
                    <a:pt x="1732" y="220"/>
                  </a:lnTo>
                  <a:lnTo>
                    <a:pt x="1732" y="220"/>
                  </a:lnTo>
                  <a:lnTo>
                    <a:pt x="1732" y="220"/>
                  </a:lnTo>
                  <a:lnTo>
                    <a:pt x="1732" y="222"/>
                  </a:lnTo>
                  <a:lnTo>
                    <a:pt x="1732" y="220"/>
                  </a:lnTo>
                  <a:lnTo>
                    <a:pt x="1732" y="217"/>
                  </a:lnTo>
                  <a:lnTo>
                    <a:pt x="1732" y="217"/>
                  </a:lnTo>
                  <a:lnTo>
                    <a:pt x="1732" y="217"/>
                  </a:lnTo>
                  <a:lnTo>
                    <a:pt x="1730" y="215"/>
                  </a:lnTo>
                  <a:lnTo>
                    <a:pt x="1730" y="215"/>
                  </a:lnTo>
                  <a:lnTo>
                    <a:pt x="1730" y="213"/>
                  </a:lnTo>
                  <a:lnTo>
                    <a:pt x="1730" y="213"/>
                  </a:lnTo>
                  <a:lnTo>
                    <a:pt x="1728" y="213"/>
                  </a:lnTo>
                  <a:lnTo>
                    <a:pt x="1728" y="215"/>
                  </a:lnTo>
                  <a:lnTo>
                    <a:pt x="1728" y="215"/>
                  </a:lnTo>
                  <a:lnTo>
                    <a:pt x="1728" y="215"/>
                  </a:lnTo>
                  <a:lnTo>
                    <a:pt x="1728" y="215"/>
                  </a:lnTo>
                  <a:lnTo>
                    <a:pt x="1725" y="215"/>
                  </a:lnTo>
                  <a:lnTo>
                    <a:pt x="1725" y="215"/>
                  </a:lnTo>
                  <a:lnTo>
                    <a:pt x="1725" y="213"/>
                  </a:lnTo>
                  <a:lnTo>
                    <a:pt x="1723" y="213"/>
                  </a:lnTo>
                  <a:lnTo>
                    <a:pt x="1723" y="213"/>
                  </a:lnTo>
                  <a:lnTo>
                    <a:pt x="1720" y="213"/>
                  </a:lnTo>
                  <a:lnTo>
                    <a:pt x="1720" y="213"/>
                  </a:lnTo>
                  <a:lnTo>
                    <a:pt x="1720" y="213"/>
                  </a:lnTo>
                  <a:lnTo>
                    <a:pt x="1720" y="213"/>
                  </a:lnTo>
                  <a:lnTo>
                    <a:pt x="1720" y="213"/>
                  </a:lnTo>
                  <a:lnTo>
                    <a:pt x="1718" y="213"/>
                  </a:lnTo>
                  <a:lnTo>
                    <a:pt x="1718" y="213"/>
                  </a:lnTo>
                  <a:lnTo>
                    <a:pt x="1718" y="213"/>
                  </a:lnTo>
                  <a:lnTo>
                    <a:pt x="1718" y="213"/>
                  </a:lnTo>
                  <a:lnTo>
                    <a:pt x="1718" y="213"/>
                  </a:lnTo>
                  <a:lnTo>
                    <a:pt x="1718" y="213"/>
                  </a:lnTo>
                  <a:lnTo>
                    <a:pt x="1718" y="210"/>
                  </a:lnTo>
                  <a:lnTo>
                    <a:pt x="1716" y="210"/>
                  </a:lnTo>
                  <a:lnTo>
                    <a:pt x="1716" y="213"/>
                  </a:lnTo>
                  <a:lnTo>
                    <a:pt x="1716" y="213"/>
                  </a:lnTo>
                  <a:lnTo>
                    <a:pt x="1716" y="215"/>
                  </a:lnTo>
                  <a:lnTo>
                    <a:pt x="1716" y="215"/>
                  </a:lnTo>
                  <a:lnTo>
                    <a:pt x="1713" y="217"/>
                  </a:lnTo>
                  <a:lnTo>
                    <a:pt x="1713" y="217"/>
                  </a:lnTo>
                  <a:lnTo>
                    <a:pt x="1713" y="217"/>
                  </a:lnTo>
                  <a:lnTo>
                    <a:pt x="1713" y="215"/>
                  </a:lnTo>
                  <a:lnTo>
                    <a:pt x="1716" y="215"/>
                  </a:lnTo>
                  <a:lnTo>
                    <a:pt x="1716" y="215"/>
                  </a:lnTo>
                  <a:lnTo>
                    <a:pt x="1716" y="215"/>
                  </a:lnTo>
                  <a:lnTo>
                    <a:pt x="1716" y="215"/>
                  </a:lnTo>
                  <a:lnTo>
                    <a:pt x="1716" y="215"/>
                  </a:lnTo>
                  <a:lnTo>
                    <a:pt x="1716" y="213"/>
                  </a:lnTo>
                  <a:lnTo>
                    <a:pt x="1716" y="213"/>
                  </a:lnTo>
                  <a:lnTo>
                    <a:pt x="1716" y="213"/>
                  </a:lnTo>
                  <a:lnTo>
                    <a:pt x="1713" y="213"/>
                  </a:lnTo>
                  <a:lnTo>
                    <a:pt x="1713" y="213"/>
                  </a:lnTo>
                  <a:lnTo>
                    <a:pt x="1713" y="213"/>
                  </a:lnTo>
                  <a:lnTo>
                    <a:pt x="1709" y="210"/>
                  </a:lnTo>
                  <a:lnTo>
                    <a:pt x="1704" y="210"/>
                  </a:lnTo>
                  <a:lnTo>
                    <a:pt x="1704" y="213"/>
                  </a:lnTo>
                  <a:lnTo>
                    <a:pt x="1701" y="213"/>
                  </a:lnTo>
                  <a:lnTo>
                    <a:pt x="1699" y="213"/>
                  </a:lnTo>
                  <a:lnTo>
                    <a:pt x="1697" y="210"/>
                  </a:lnTo>
                  <a:lnTo>
                    <a:pt x="1697" y="210"/>
                  </a:lnTo>
                  <a:lnTo>
                    <a:pt x="1697" y="210"/>
                  </a:lnTo>
                  <a:lnTo>
                    <a:pt x="1694" y="210"/>
                  </a:lnTo>
                  <a:lnTo>
                    <a:pt x="1690" y="205"/>
                  </a:lnTo>
                  <a:lnTo>
                    <a:pt x="1687" y="205"/>
                  </a:lnTo>
                  <a:lnTo>
                    <a:pt x="1687" y="205"/>
                  </a:lnTo>
                  <a:lnTo>
                    <a:pt x="1690" y="203"/>
                  </a:lnTo>
                  <a:lnTo>
                    <a:pt x="1690" y="203"/>
                  </a:lnTo>
                  <a:lnTo>
                    <a:pt x="1690" y="203"/>
                  </a:lnTo>
                  <a:lnTo>
                    <a:pt x="1687" y="203"/>
                  </a:lnTo>
                  <a:lnTo>
                    <a:pt x="1687" y="203"/>
                  </a:lnTo>
                  <a:lnTo>
                    <a:pt x="1685" y="201"/>
                  </a:lnTo>
                  <a:lnTo>
                    <a:pt x="1685" y="201"/>
                  </a:lnTo>
                  <a:lnTo>
                    <a:pt x="1685" y="201"/>
                  </a:lnTo>
                  <a:lnTo>
                    <a:pt x="1685" y="198"/>
                  </a:lnTo>
                  <a:lnTo>
                    <a:pt x="1685" y="196"/>
                  </a:lnTo>
                  <a:lnTo>
                    <a:pt x="1685" y="196"/>
                  </a:lnTo>
                  <a:lnTo>
                    <a:pt x="1685" y="196"/>
                  </a:lnTo>
                  <a:lnTo>
                    <a:pt x="1683" y="196"/>
                  </a:lnTo>
                  <a:lnTo>
                    <a:pt x="1683" y="198"/>
                  </a:lnTo>
                  <a:lnTo>
                    <a:pt x="1683" y="198"/>
                  </a:lnTo>
                  <a:lnTo>
                    <a:pt x="1683" y="198"/>
                  </a:lnTo>
                  <a:lnTo>
                    <a:pt x="1683" y="196"/>
                  </a:lnTo>
                  <a:lnTo>
                    <a:pt x="1683" y="196"/>
                  </a:lnTo>
                  <a:lnTo>
                    <a:pt x="1683" y="196"/>
                  </a:lnTo>
                  <a:lnTo>
                    <a:pt x="1683" y="194"/>
                  </a:lnTo>
                  <a:lnTo>
                    <a:pt x="1680" y="191"/>
                  </a:lnTo>
                  <a:lnTo>
                    <a:pt x="1680" y="189"/>
                  </a:lnTo>
                  <a:lnTo>
                    <a:pt x="1680" y="189"/>
                  </a:lnTo>
                  <a:lnTo>
                    <a:pt x="1680" y="189"/>
                  </a:lnTo>
                  <a:lnTo>
                    <a:pt x="1678" y="189"/>
                  </a:lnTo>
                  <a:lnTo>
                    <a:pt x="1678" y="189"/>
                  </a:lnTo>
                  <a:lnTo>
                    <a:pt x="1678" y="189"/>
                  </a:lnTo>
                  <a:lnTo>
                    <a:pt x="1678" y="189"/>
                  </a:lnTo>
                  <a:lnTo>
                    <a:pt x="1678" y="189"/>
                  </a:lnTo>
                  <a:lnTo>
                    <a:pt x="1675" y="186"/>
                  </a:lnTo>
                  <a:lnTo>
                    <a:pt x="1673" y="184"/>
                  </a:lnTo>
                  <a:lnTo>
                    <a:pt x="1668" y="182"/>
                  </a:lnTo>
                  <a:lnTo>
                    <a:pt x="1661" y="179"/>
                  </a:lnTo>
                  <a:lnTo>
                    <a:pt x="1659" y="177"/>
                  </a:lnTo>
                  <a:lnTo>
                    <a:pt x="1659" y="177"/>
                  </a:lnTo>
                  <a:lnTo>
                    <a:pt x="1659" y="179"/>
                  </a:lnTo>
                  <a:lnTo>
                    <a:pt x="1652" y="177"/>
                  </a:lnTo>
                  <a:lnTo>
                    <a:pt x="1652" y="175"/>
                  </a:lnTo>
                  <a:lnTo>
                    <a:pt x="1652" y="175"/>
                  </a:lnTo>
                  <a:lnTo>
                    <a:pt x="1652" y="175"/>
                  </a:lnTo>
                  <a:lnTo>
                    <a:pt x="1652" y="175"/>
                  </a:lnTo>
                  <a:lnTo>
                    <a:pt x="1652" y="175"/>
                  </a:lnTo>
                  <a:lnTo>
                    <a:pt x="1649" y="175"/>
                  </a:lnTo>
                  <a:lnTo>
                    <a:pt x="1649" y="175"/>
                  </a:lnTo>
                  <a:lnTo>
                    <a:pt x="1647" y="172"/>
                  </a:lnTo>
                  <a:lnTo>
                    <a:pt x="1642" y="168"/>
                  </a:lnTo>
                  <a:lnTo>
                    <a:pt x="1640" y="168"/>
                  </a:lnTo>
                  <a:lnTo>
                    <a:pt x="1640" y="165"/>
                  </a:lnTo>
                  <a:lnTo>
                    <a:pt x="1640" y="165"/>
                  </a:lnTo>
                  <a:lnTo>
                    <a:pt x="1640" y="165"/>
                  </a:lnTo>
                  <a:lnTo>
                    <a:pt x="1640" y="165"/>
                  </a:lnTo>
                  <a:lnTo>
                    <a:pt x="1640" y="165"/>
                  </a:lnTo>
                  <a:lnTo>
                    <a:pt x="1640" y="163"/>
                  </a:lnTo>
                  <a:lnTo>
                    <a:pt x="1640" y="163"/>
                  </a:lnTo>
                  <a:lnTo>
                    <a:pt x="1640" y="163"/>
                  </a:lnTo>
                  <a:lnTo>
                    <a:pt x="1640" y="163"/>
                  </a:lnTo>
                  <a:lnTo>
                    <a:pt x="1642" y="163"/>
                  </a:lnTo>
                  <a:lnTo>
                    <a:pt x="1642" y="163"/>
                  </a:lnTo>
                  <a:lnTo>
                    <a:pt x="1642" y="160"/>
                  </a:lnTo>
                  <a:lnTo>
                    <a:pt x="1640" y="160"/>
                  </a:lnTo>
                  <a:lnTo>
                    <a:pt x="1640" y="160"/>
                  </a:lnTo>
                  <a:lnTo>
                    <a:pt x="1640" y="160"/>
                  </a:lnTo>
                  <a:lnTo>
                    <a:pt x="1638" y="160"/>
                  </a:lnTo>
                  <a:lnTo>
                    <a:pt x="1638" y="160"/>
                  </a:lnTo>
                  <a:lnTo>
                    <a:pt x="1638" y="158"/>
                  </a:lnTo>
                  <a:lnTo>
                    <a:pt x="1638" y="158"/>
                  </a:lnTo>
                  <a:lnTo>
                    <a:pt x="1638" y="158"/>
                  </a:lnTo>
                  <a:lnTo>
                    <a:pt x="1638" y="158"/>
                  </a:lnTo>
                  <a:lnTo>
                    <a:pt x="1638" y="158"/>
                  </a:lnTo>
                  <a:lnTo>
                    <a:pt x="1638" y="158"/>
                  </a:lnTo>
                  <a:lnTo>
                    <a:pt x="1638" y="158"/>
                  </a:lnTo>
                  <a:lnTo>
                    <a:pt x="1635" y="156"/>
                  </a:lnTo>
                  <a:lnTo>
                    <a:pt x="1635" y="156"/>
                  </a:lnTo>
                  <a:lnTo>
                    <a:pt x="1635" y="153"/>
                  </a:lnTo>
                  <a:lnTo>
                    <a:pt x="1633" y="153"/>
                  </a:lnTo>
                  <a:lnTo>
                    <a:pt x="1630" y="156"/>
                  </a:lnTo>
                  <a:lnTo>
                    <a:pt x="1630" y="156"/>
                  </a:lnTo>
                  <a:lnTo>
                    <a:pt x="1628" y="153"/>
                  </a:lnTo>
                  <a:lnTo>
                    <a:pt x="1628" y="153"/>
                  </a:lnTo>
                  <a:lnTo>
                    <a:pt x="1628" y="151"/>
                  </a:lnTo>
                  <a:lnTo>
                    <a:pt x="1628" y="151"/>
                  </a:lnTo>
                  <a:lnTo>
                    <a:pt x="1628" y="149"/>
                  </a:lnTo>
                  <a:lnTo>
                    <a:pt x="1628" y="149"/>
                  </a:lnTo>
                  <a:lnTo>
                    <a:pt x="1626" y="146"/>
                  </a:lnTo>
                  <a:lnTo>
                    <a:pt x="1626" y="146"/>
                  </a:lnTo>
                  <a:lnTo>
                    <a:pt x="1626" y="146"/>
                  </a:lnTo>
                  <a:lnTo>
                    <a:pt x="1626" y="144"/>
                  </a:lnTo>
                  <a:lnTo>
                    <a:pt x="1623" y="144"/>
                  </a:lnTo>
                  <a:lnTo>
                    <a:pt x="1623" y="144"/>
                  </a:lnTo>
                  <a:lnTo>
                    <a:pt x="1623" y="142"/>
                  </a:lnTo>
                  <a:lnTo>
                    <a:pt x="1621" y="142"/>
                  </a:lnTo>
                  <a:lnTo>
                    <a:pt x="1621" y="142"/>
                  </a:lnTo>
                  <a:lnTo>
                    <a:pt x="1621" y="142"/>
                  </a:lnTo>
                  <a:lnTo>
                    <a:pt x="1621" y="142"/>
                  </a:lnTo>
                  <a:lnTo>
                    <a:pt x="1621" y="142"/>
                  </a:lnTo>
                  <a:lnTo>
                    <a:pt x="1621" y="142"/>
                  </a:lnTo>
                  <a:lnTo>
                    <a:pt x="1621" y="139"/>
                  </a:lnTo>
                  <a:lnTo>
                    <a:pt x="1621" y="139"/>
                  </a:lnTo>
                  <a:lnTo>
                    <a:pt x="1614" y="132"/>
                  </a:lnTo>
                  <a:lnTo>
                    <a:pt x="1614" y="132"/>
                  </a:lnTo>
                  <a:lnTo>
                    <a:pt x="1614" y="134"/>
                  </a:lnTo>
                  <a:lnTo>
                    <a:pt x="1614" y="134"/>
                  </a:lnTo>
                  <a:lnTo>
                    <a:pt x="1612" y="132"/>
                  </a:lnTo>
                  <a:lnTo>
                    <a:pt x="1612" y="132"/>
                  </a:lnTo>
                  <a:lnTo>
                    <a:pt x="1612" y="132"/>
                  </a:lnTo>
                  <a:lnTo>
                    <a:pt x="1612" y="132"/>
                  </a:lnTo>
                  <a:lnTo>
                    <a:pt x="1612" y="132"/>
                  </a:lnTo>
                  <a:lnTo>
                    <a:pt x="1612" y="130"/>
                  </a:lnTo>
                  <a:lnTo>
                    <a:pt x="1612" y="130"/>
                  </a:lnTo>
                  <a:lnTo>
                    <a:pt x="1612" y="130"/>
                  </a:lnTo>
                  <a:lnTo>
                    <a:pt x="1607" y="130"/>
                  </a:lnTo>
                  <a:lnTo>
                    <a:pt x="1604" y="130"/>
                  </a:lnTo>
                  <a:lnTo>
                    <a:pt x="1604" y="130"/>
                  </a:lnTo>
                  <a:lnTo>
                    <a:pt x="1604" y="127"/>
                  </a:lnTo>
                  <a:lnTo>
                    <a:pt x="1604" y="127"/>
                  </a:lnTo>
                  <a:lnTo>
                    <a:pt x="1597" y="130"/>
                  </a:lnTo>
                  <a:lnTo>
                    <a:pt x="1593" y="127"/>
                  </a:lnTo>
                  <a:lnTo>
                    <a:pt x="1590" y="127"/>
                  </a:lnTo>
                  <a:lnTo>
                    <a:pt x="1590" y="127"/>
                  </a:lnTo>
                  <a:lnTo>
                    <a:pt x="1590" y="127"/>
                  </a:lnTo>
                  <a:lnTo>
                    <a:pt x="1593" y="125"/>
                  </a:lnTo>
                  <a:lnTo>
                    <a:pt x="1593" y="125"/>
                  </a:lnTo>
                  <a:lnTo>
                    <a:pt x="1593" y="123"/>
                  </a:lnTo>
                  <a:lnTo>
                    <a:pt x="1593" y="123"/>
                  </a:lnTo>
                  <a:lnTo>
                    <a:pt x="1590" y="123"/>
                  </a:lnTo>
                  <a:lnTo>
                    <a:pt x="1590" y="123"/>
                  </a:lnTo>
                  <a:lnTo>
                    <a:pt x="1590" y="123"/>
                  </a:lnTo>
                  <a:lnTo>
                    <a:pt x="1590" y="123"/>
                  </a:lnTo>
                  <a:lnTo>
                    <a:pt x="1590" y="120"/>
                  </a:lnTo>
                  <a:lnTo>
                    <a:pt x="1590" y="120"/>
                  </a:lnTo>
                  <a:lnTo>
                    <a:pt x="1590" y="120"/>
                  </a:lnTo>
                  <a:lnTo>
                    <a:pt x="1590" y="120"/>
                  </a:lnTo>
                  <a:lnTo>
                    <a:pt x="1588" y="120"/>
                  </a:lnTo>
                  <a:lnTo>
                    <a:pt x="1588" y="120"/>
                  </a:lnTo>
                  <a:lnTo>
                    <a:pt x="1588" y="120"/>
                  </a:lnTo>
                  <a:lnTo>
                    <a:pt x="1588" y="120"/>
                  </a:lnTo>
                  <a:lnTo>
                    <a:pt x="1583" y="118"/>
                  </a:lnTo>
                  <a:lnTo>
                    <a:pt x="1583" y="120"/>
                  </a:lnTo>
                  <a:lnTo>
                    <a:pt x="1583" y="120"/>
                  </a:lnTo>
                  <a:lnTo>
                    <a:pt x="1586" y="120"/>
                  </a:lnTo>
                  <a:lnTo>
                    <a:pt x="1583" y="120"/>
                  </a:lnTo>
                  <a:lnTo>
                    <a:pt x="1583" y="120"/>
                  </a:lnTo>
                  <a:lnTo>
                    <a:pt x="1583" y="120"/>
                  </a:lnTo>
                  <a:lnTo>
                    <a:pt x="1583" y="120"/>
                  </a:lnTo>
                  <a:lnTo>
                    <a:pt x="1583" y="120"/>
                  </a:lnTo>
                  <a:lnTo>
                    <a:pt x="1581" y="120"/>
                  </a:lnTo>
                  <a:lnTo>
                    <a:pt x="1581" y="118"/>
                  </a:lnTo>
                  <a:lnTo>
                    <a:pt x="1581" y="118"/>
                  </a:lnTo>
                  <a:lnTo>
                    <a:pt x="1578" y="120"/>
                  </a:lnTo>
                  <a:lnTo>
                    <a:pt x="1578" y="120"/>
                  </a:lnTo>
                  <a:lnTo>
                    <a:pt x="1574" y="118"/>
                  </a:lnTo>
                  <a:lnTo>
                    <a:pt x="1574" y="118"/>
                  </a:lnTo>
                  <a:lnTo>
                    <a:pt x="1574" y="120"/>
                  </a:lnTo>
                  <a:lnTo>
                    <a:pt x="1574" y="120"/>
                  </a:lnTo>
                  <a:lnTo>
                    <a:pt x="1574" y="123"/>
                  </a:lnTo>
                  <a:lnTo>
                    <a:pt x="1571" y="123"/>
                  </a:lnTo>
                  <a:lnTo>
                    <a:pt x="1571" y="123"/>
                  </a:lnTo>
                  <a:lnTo>
                    <a:pt x="1571" y="123"/>
                  </a:lnTo>
                  <a:lnTo>
                    <a:pt x="1571" y="120"/>
                  </a:lnTo>
                  <a:lnTo>
                    <a:pt x="1571" y="118"/>
                  </a:lnTo>
                  <a:lnTo>
                    <a:pt x="1571" y="118"/>
                  </a:lnTo>
                  <a:lnTo>
                    <a:pt x="1569" y="118"/>
                  </a:lnTo>
                  <a:lnTo>
                    <a:pt x="1569" y="118"/>
                  </a:lnTo>
                  <a:lnTo>
                    <a:pt x="1569" y="116"/>
                  </a:lnTo>
                  <a:lnTo>
                    <a:pt x="1562" y="113"/>
                  </a:lnTo>
                  <a:lnTo>
                    <a:pt x="1557" y="108"/>
                  </a:lnTo>
                  <a:lnTo>
                    <a:pt x="1559" y="108"/>
                  </a:lnTo>
                  <a:lnTo>
                    <a:pt x="1562" y="108"/>
                  </a:lnTo>
                  <a:lnTo>
                    <a:pt x="1564" y="108"/>
                  </a:lnTo>
                  <a:lnTo>
                    <a:pt x="1562" y="106"/>
                  </a:lnTo>
                  <a:lnTo>
                    <a:pt x="1562" y="106"/>
                  </a:lnTo>
                  <a:lnTo>
                    <a:pt x="1562" y="106"/>
                  </a:lnTo>
                  <a:lnTo>
                    <a:pt x="1564" y="106"/>
                  </a:lnTo>
                  <a:lnTo>
                    <a:pt x="1564" y="106"/>
                  </a:lnTo>
                  <a:lnTo>
                    <a:pt x="1564" y="106"/>
                  </a:lnTo>
                  <a:lnTo>
                    <a:pt x="1567" y="106"/>
                  </a:lnTo>
                  <a:lnTo>
                    <a:pt x="1567" y="106"/>
                  </a:lnTo>
                  <a:lnTo>
                    <a:pt x="1567" y="104"/>
                  </a:lnTo>
                  <a:lnTo>
                    <a:pt x="1564" y="104"/>
                  </a:lnTo>
                  <a:lnTo>
                    <a:pt x="1562" y="101"/>
                  </a:lnTo>
                  <a:lnTo>
                    <a:pt x="1550" y="97"/>
                  </a:lnTo>
                  <a:lnTo>
                    <a:pt x="1550" y="97"/>
                  </a:lnTo>
                  <a:lnTo>
                    <a:pt x="1550" y="97"/>
                  </a:lnTo>
                  <a:lnTo>
                    <a:pt x="1550" y="97"/>
                  </a:lnTo>
                  <a:lnTo>
                    <a:pt x="1548" y="97"/>
                  </a:lnTo>
                  <a:lnTo>
                    <a:pt x="1548" y="97"/>
                  </a:lnTo>
                  <a:lnTo>
                    <a:pt x="1548" y="97"/>
                  </a:lnTo>
                  <a:lnTo>
                    <a:pt x="1548" y="97"/>
                  </a:lnTo>
                  <a:lnTo>
                    <a:pt x="1548" y="94"/>
                  </a:lnTo>
                  <a:lnTo>
                    <a:pt x="1550" y="94"/>
                  </a:lnTo>
                  <a:lnTo>
                    <a:pt x="1550" y="94"/>
                  </a:lnTo>
                  <a:lnTo>
                    <a:pt x="1550" y="94"/>
                  </a:lnTo>
                  <a:lnTo>
                    <a:pt x="1552" y="97"/>
                  </a:lnTo>
                  <a:lnTo>
                    <a:pt x="1552" y="97"/>
                  </a:lnTo>
                  <a:lnTo>
                    <a:pt x="1557" y="99"/>
                  </a:lnTo>
                  <a:lnTo>
                    <a:pt x="1559" y="99"/>
                  </a:lnTo>
                  <a:lnTo>
                    <a:pt x="1559" y="101"/>
                  </a:lnTo>
                  <a:lnTo>
                    <a:pt x="1559" y="99"/>
                  </a:lnTo>
                  <a:lnTo>
                    <a:pt x="1559" y="99"/>
                  </a:lnTo>
                  <a:lnTo>
                    <a:pt x="1557" y="97"/>
                  </a:lnTo>
                  <a:lnTo>
                    <a:pt x="1552" y="94"/>
                  </a:lnTo>
                  <a:lnTo>
                    <a:pt x="1552" y="92"/>
                  </a:lnTo>
                  <a:lnTo>
                    <a:pt x="1552" y="89"/>
                  </a:lnTo>
                  <a:lnTo>
                    <a:pt x="1555" y="89"/>
                  </a:lnTo>
                  <a:lnTo>
                    <a:pt x="1555" y="87"/>
                  </a:lnTo>
                  <a:lnTo>
                    <a:pt x="1555" y="87"/>
                  </a:lnTo>
                  <a:lnTo>
                    <a:pt x="1557" y="87"/>
                  </a:lnTo>
                  <a:lnTo>
                    <a:pt x="1557" y="87"/>
                  </a:lnTo>
                  <a:lnTo>
                    <a:pt x="1557" y="87"/>
                  </a:lnTo>
                  <a:lnTo>
                    <a:pt x="1557" y="87"/>
                  </a:lnTo>
                  <a:lnTo>
                    <a:pt x="1557" y="87"/>
                  </a:lnTo>
                  <a:lnTo>
                    <a:pt x="1557" y="87"/>
                  </a:lnTo>
                  <a:lnTo>
                    <a:pt x="1559" y="87"/>
                  </a:lnTo>
                  <a:lnTo>
                    <a:pt x="1562" y="85"/>
                  </a:lnTo>
                  <a:lnTo>
                    <a:pt x="1564" y="85"/>
                  </a:lnTo>
                  <a:lnTo>
                    <a:pt x="1564" y="85"/>
                  </a:lnTo>
                  <a:lnTo>
                    <a:pt x="1564" y="80"/>
                  </a:lnTo>
                  <a:lnTo>
                    <a:pt x="1559" y="75"/>
                  </a:lnTo>
                  <a:lnTo>
                    <a:pt x="1557" y="73"/>
                  </a:lnTo>
                  <a:lnTo>
                    <a:pt x="1555" y="73"/>
                  </a:lnTo>
                  <a:lnTo>
                    <a:pt x="1557" y="75"/>
                  </a:lnTo>
                  <a:lnTo>
                    <a:pt x="1557" y="75"/>
                  </a:lnTo>
                  <a:lnTo>
                    <a:pt x="1557" y="75"/>
                  </a:lnTo>
                  <a:lnTo>
                    <a:pt x="1557" y="78"/>
                  </a:lnTo>
                  <a:lnTo>
                    <a:pt x="1555" y="78"/>
                  </a:lnTo>
                  <a:lnTo>
                    <a:pt x="1555" y="78"/>
                  </a:lnTo>
                  <a:lnTo>
                    <a:pt x="1555" y="75"/>
                  </a:lnTo>
                  <a:lnTo>
                    <a:pt x="1555" y="75"/>
                  </a:lnTo>
                  <a:lnTo>
                    <a:pt x="1555" y="75"/>
                  </a:lnTo>
                  <a:lnTo>
                    <a:pt x="1555" y="73"/>
                  </a:lnTo>
                  <a:lnTo>
                    <a:pt x="1555" y="73"/>
                  </a:lnTo>
                  <a:lnTo>
                    <a:pt x="1555" y="73"/>
                  </a:lnTo>
                  <a:lnTo>
                    <a:pt x="1555" y="73"/>
                  </a:lnTo>
                  <a:lnTo>
                    <a:pt x="1555" y="73"/>
                  </a:lnTo>
                  <a:lnTo>
                    <a:pt x="1552" y="73"/>
                  </a:lnTo>
                  <a:lnTo>
                    <a:pt x="1552" y="75"/>
                  </a:lnTo>
                  <a:lnTo>
                    <a:pt x="1552" y="75"/>
                  </a:lnTo>
                  <a:lnTo>
                    <a:pt x="1552" y="73"/>
                  </a:lnTo>
                  <a:lnTo>
                    <a:pt x="1552" y="73"/>
                  </a:lnTo>
                  <a:lnTo>
                    <a:pt x="1552" y="73"/>
                  </a:lnTo>
                  <a:lnTo>
                    <a:pt x="1552" y="73"/>
                  </a:lnTo>
                  <a:lnTo>
                    <a:pt x="1552" y="71"/>
                  </a:lnTo>
                  <a:lnTo>
                    <a:pt x="1552" y="71"/>
                  </a:lnTo>
                  <a:lnTo>
                    <a:pt x="1552" y="71"/>
                  </a:lnTo>
                  <a:lnTo>
                    <a:pt x="1550" y="68"/>
                  </a:lnTo>
                  <a:lnTo>
                    <a:pt x="1550" y="68"/>
                  </a:lnTo>
                  <a:lnTo>
                    <a:pt x="1550" y="68"/>
                  </a:lnTo>
                  <a:lnTo>
                    <a:pt x="1550" y="68"/>
                  </a:lnTo>
                  <a:lnTo>
                    <a:pt x="1550" y="68"/>
                  </a:lnTo>
                  <a:lnTo>
                    <a:pt x="1550" y="68"/>
                  </a:lnTo>
                  <a:lnTo>
                    <a:pt x="1550" y="68"/>
                  </a:lnTo>
                  <a:lnTo>
                    <a:pt x="1548" y="68"/>
                  </a:lnTo>
                  <a:lnTo>
                    <a:pt x="1548" y="66"/>
                  </a:lnTo>
                  <a:lnTo>
                    <a:pt x="1548" y="66"/>
                  </a:lnTo>
                  <a:lnTo>
                    <a:pt x="1548" y="66"/>
                  </a:lnTo>
                  <a:lnTo>
                    <a:pt x="1545" y="66"/>
                  </a:lnTo>
                  <a:lnTo>
                    <a:pt x="1543" y="66"/>
                  </a:lnTo>
                  <a:lnTo>
                    <a:pt x="1543" y="66"/>
                  </a:lnTo>
                  <a:lnTo>
                    <a:pt x="1543" y="66"/>
                  </a:lnTo>
                  <a:lnTo>
                    <a:pt x="1541" y="66"/>
                  </a:lnTo>
                  <a:lnTo>
                    <a:pt x="1533" y="61"/>
                  </a:lnTo>
                  <a:lnTo>
                    <a:pt x="1531" y="61"/>
                  </a:lnTo>
                  <a:lnTo>
                    <a:pt x="1531" y="61"/>
                  </a:lnTo>
                  <a:lnTo>
                    <a:pt x="1529" y="63"/>
                  </a:lnTo>
                  <a:lnTo>
                    <a:pt x="1526" y="63"/>
                  </a:lnTo>
                  <a:lnTo>
                    <a:pt x="1524" y="66"/>
                  </a:lnTo>
                  <a:lnTo>
                    <a:pt x="1524" y="66"/>
                  </a:lnTo>
                  <a:lnTo>
                    <a:pt x="1522" y="66"/>
                  </a:lnTo>
                  <a:lnTo>
                    <a:pt x="1522" y="63"/>
                  </a:lnTo>
                  <a:lnTo>
                    <a:pt x="1522" y="63"/>
                  </a:lnTo>
                  <a:lnTo>
                    <a:pt x="1522" y="63"/>
                  </a:lnTo>
                  <a:lnTo>
                    <a:pt x="1522" y="63"/>
                  </a:lnTo>
                  <a:lnTo>
                    <a:pt x="1522" y="61"/>
                  </a:lnTo>
                  <a:lnTo>
                    <a:pt x="1522" y="61"/>
                  </a:lnTo>
                  <a:lnTo>
                    <a:pt x="1522" y="59"/>
                  </a:lnTo>
                  <a:lnTo>
                    <a:pt x="1519" y="59"/>
                  </a:lnTo>
                  <a:lnTo>
                    <a:pt x="1517" y="59"/>
                  </a:lnTo>
                  <a:lnTo>
                    <a:pt x="1517" y="56"/>
                  </a:lnTo>
                  <a:lnTo>
                    <a:pt x="1515" y="56"/>
                  </a:lnTo>
                  <a:lnTo>
                    <a:pt x="1515" y="56"/>
                  </a:lnTo>
                  <a:lnTo>
                    <a:pt x="1517" y="56"/>
                  </a:lnTo>
                  <a:lnTo>
                    <a:pt x="1517" y="56"/>
                  </a:lnTo>
                  <a:lnTo>
                    <a:pt x="1517" y="54"/>
                  </a:lnTo>
                  <a:lnTo>
                    <a:pt x="1517" y="54"/>
                  </a:lnTo>
                  <a:lnTo>
                    <a:pt x="1515" y="52"/>
                  </a:lnTo>
                  <a:lnTo>
                    <a:pt x="1512" y="52"/>
                  </a:lnTo>
                  <a:lnTo>
                    <a:pt x="1515" y="52"/>
                  </a:lnTo>
                  <a:lnTo>
                    <a:pt x="1517" y="52"/>
                  </a:lnTo>
                  <a:lnTo>
                    <a:pt x="1517" y="52"/>
                  </a:lnTo>
                  <a:lnTo>
                    <a:pt x="1517" y="52"/>
                  </a:lnTo>
                  <a:lnTo>
                    <a:pt x="1517" y="49"/>
                  </a:lnTo>
                  <a:lnTo>
                    <a:pt x="1519" y="49"/>
                  </a:lnTo>
                  <a:lnTo>
                    <a:pt x="1519" y="49"/>
                  </a:lnTo>
                  <a:lnTo>
                    <a:pt x="1519" y="49"/>
                  </a:lnTo>
                  <a:lnTo>
                    <a:pt x="1519" y="49"/>
                  </a:lnTo>
                  <a:lnTo>
                    <a:pt x="1519" y="47"/>
                  </a:lnTo>
                  <a:lnTo>
                    <a:pt x="1522" y="47"/>
                  </a:lnTo>
                  <a:lnTo>
                    <a:pt x="1522" y="47"/>
                  </a:lnTo>
                  <a:lnTo>
                    <a:pt x="1522" y="47"/>
                  </a:lnTo>
                  <a:lnTo>
                    <a:pt x="1522" y="45"/>
                  </a:lnTo>
                  <a:lnTo>
                    <a:pt x="1522" y="45"/>
                  </a:lnTo>
                  <a:lnTo>
                    <a:pt x="1522" y="45"/>
                  </a:lnTo>
                  <a:lnTo>
                    <a:pt x="1522" y="42"/>
                  </a:lnTo>
                  <a:lnTo>
                    <a:pt x="1522" y="40"/>
                  </a:lnTo>
                  <a:lnTo>
                    <a:pt x="1522" y="37"/>
                  </a:lnTo>
                  <a:lnTo>
                    <a:pt x="1519" y="37"/>
                  </a:lnTo>
                  <a:lnTo>
                    <a:pt x="1519" y="37"/>
                  </a:lnTo>
                  <a:lnTo>
                    <a:pt x="1519" y="37"/>
                  </a:lnTo>
                  <a:lnTo>
                    <a:pt x="1519" y="37"/>
                  </a:lnTo>
                  <a:lnTo>
                    <a:pt x="1519" y="37"/>
                  </a:lnTo>
                  <a:lnTo>
                    <a:pt x="1519" y="35"/>
                  </a:lnTo>
                  <a:lnTo>
                    <a:pt x="1519" y="35"/>
                  </a:lnTo>
                  <a:lnTo>
                    <a:pt x="1517" y="35"/>
                  </a:lnTo>
                  <a:lnTo>
                    <a:pt x="1517" y="35"/>
                  </a:lnTo>
                  <a:lnTo>
                    <a:pt x="1517" y="35"/>
                  </a:lnTo>
                  <a:lnTo>
                    <a:pt x="1517" y="35"/>
                  </a:lnTo>
                  <a:lnTo>
                    <a:pt x="1517" y="35"/>
                  </a:lnTo>
                  <a:lnTo>
                    <a:pt x="1517" y="37"/>
                  </a:lnTo>
                  <a:lnTo>
                    <a:pt x="1515" y="37"/>
                  </a:lnTo>
                  <a:lnTo>
                    <a:pt x="1515" y="40"/>
                  </a:lnTo>
                  <a:lnTo>
                    <a:pt x="1512" y="40"/>
                  </a:lnTo>
                  <a:lnTo>
                    <a:pt x="1512" y="40"/>
                  </a:lnTo>
                  <a:lnTo>
                    <a:pt x="1512" y="40"/>
                  </a:lnTo>
                  <a:lnTo>
                    <a:pt x="1512" y="40"/>
                  </a:lnTo>
                  <a:lnTo>
                    <a:pt x="1515" y="40"/>
                  </a:lnTo>
                  <a:lnTo>
                    <a:pt x="1515" y="37"/>
                  </a:lnTo>
                  <a:lnTo>
                    <a:pt x="1515" y="37"/>
                  </a:lnTo>
                  <a:lnTo>
                    <a:pt x="1515" y="35"/>
                  </a:lnTo>
                  <a:lnTo>
                    <a:pt x="1515" y="35"/>
                  </a:lnTo>
                  <a:lnTo>
                    <a:pt x="1517" y="35"/>
                  </a:lnTo>
                  <a:lnTo>
                    <a:pt x="1517" y="35"/>
                  </a:lnTo>
                  <a:lnTo>
                    <a:pt x="1517" y="33"/>
                  </a:lnTo>
                  <a:lnTo>
                    <a:pt x="1517" y="33"/>
                  </a:lnTo>
                  <a:lnTo>
                    <a:pt x="1517" y="33"/>
                  </a:lnTo>
                  <a:lnTo>
                    <a:pt x="1517" y="30"/>
                  </a:lnTo>
                  <a:lnTo>
                    <a:pt x="1517" y="30"/>
                  </a:lnTo>
                  <a:lnTo>
                    <a:pt x="1515" y="33"/>
                  </a:lnTo>
                  <a:lnTo>
                    <a:pt x="1517" y="33"/>
                  </a:lnTo>
                  <a:lnTo>
                    <a:pt x="1515" y="33"/>
                  </a:lnTo>
                  <a:lnTo>
                    <a:pt x="1515" y="35"/>
                  </a:lnTo>
                  <a:lnTo>
                    <a:pt x="1515" y="35"/>
                  </a:lnTo>
                  <a:lnTo>
                    <a:pt x="1515" y="35"/>
                  </a:lnTo>
                  <a:lnTo>
                    <a:pt x="1515" y="33"/>
                  </a:lnTo>
                  <a:lnTo>
                    <a:pt x="1515" y="33"/>
                  </a:lnTo>
                  <a:lnTo>
                    <a:pt x="1515" y="33"/>
                  </a:lnTo>
                  <a:lnTo>
                    <a:pt x="1512" y="33"/>
                  </a:lnTo>
                  <a:lnTo>
                    <a:pt x="1510" y="33"/>
                  </a:lnTo>
                  <a:lnTo>
                    <a:pt x="1510" y="35"/>
                  </a:lnTo>
                  <a:lnTo>
                    <a:pt x="1510" y="35"/>
                  </a:lnTo>
                  <a:lnTo>
                    <a:pt x="1510" y="37"/>
                  </a:lnTo>
                  <a:lnTo>
                    <a:pt x="1510" y="37"/>
                  </a:lnTo>
                  <a:lnTo>
                    <a:pt x="1510" y="40"/>
                  </a:lnTo>
                  <a:lnTo>
                    <a:pt x="1510" y="40"/>
                  </a:lnTo>
                  <a:lnTo>
                    <a:pt x="1510" y="40"/>
                  </a:lnTo>
                  <a:lnTo>
                    <a:pt x="1507" y="40"/>
                  </a:lnTo>
                  <a:lnTo>
                    <a:pt x="1510" y="37"/>
                  </a:lnTo>
                  <a:lnTo>
                    <a:pt x="1507" y="37"/>
                  </a:lnTo>
                  <a:lnTo>
                    <a:pt x="1507" y="37"/>
                  </a:lnTo>
                  <a:lnTo>
                    <a:pt x="1507" y="37"/>
                  </a:lnTo>
                  <a:lnTo>
                    <a:pt x="1507" y="37"/>
                  </a:lnTo>
                  <a:lnTo>
                    <a:pt x="1505" y="37"/>
                  </a:lnTo>
                  <a:lnTo>
                    <a:pt x="1505" y="37"/>
                  </a:lnTo>
                  <a:lnTo>
                    <a:pt x="1503" y="40"/>
                  </a:lnTo>
                  <a:lnTo>
                    <a:pt x="1500" y="40"/>
                  </a:lnTo>
                  <a:lnTo>
                    <a:pt x="1500" y="40"/>
                  </a:lnTo>
                  <a:lnTo>
                    <a:pt x="1500" y="40"/>
                  </a:lnTo>
                  <a:lnTo>
                    <a:pt x="1500" y="42"/>
                  </a:lnTo>
                  <a:lnTo>
                    <a:pt x="1498" y="42"/>
                  </a:lnTo>
                  <a:lnTo>
                    <a:pt x="1498" y="45"/>
                  </a:lnTo>
                  <a:lnTo>
                    <a:pt x="1498" y="45"/>
                  </a:lnTo>
                  <a:lnTo>
                    <a:pt x="1496" y="45"/>
                  </a:lnTo>
                  <a:lnTo>
                    <a:pt x="1496" y="45"/>
                  </a:lnTo>
                  <a:lnTo>
                    <a:pt x="1496" y="42"/>
                  </a:lnTo>
                  <a:lnTo>
                    <a:pt x="1496" y="42"/>
                  </a:lnTo>
                  <a:lnTo>
                    <a:pt x="1496" y="45"/>
                  </a:lnTo>
                  <a:lnTo>
                    <a:pt x="1496" y="45"/>
                  </a:lnTo>
                  <a:lnTo>
                    <a:pt x="1496" y="45"/>
                  </a:lnTo>
                  <a:lnTo>
                    <a:pt x="1496" y="45"/>
                  </a:lnTo>
                  <a:lnTo>
                    <a:pt x="1496" y="45"/>
                  </a:lnTo>
                  <a:lnTo>
                    <a:pt x="1493" y="45"/>
                  </a:lnTo>
                  <a:lnTo>
                    <a:pt x="1493" y="45"/>
                  </a:lnTo>
                  <a:lnTo>
                    <a:pt x="1493" y="45"/>
                  </a:lnTo>
                  <a:lnTo>
                    <a:pt x="1493" y="45"/>
                  </a:lnTo>
                  <a:lnTo>
                    <a:pt x="1493" y="45"/>
                  </a:lnTo>
                  <a:lnTo>
                    <a:pt x="1493" y="45"/>
                  </a:lnTo>
                  <a:lnTo>
                    <a:pt x="1491" y="45"/>
                  </a:lnTo>
                  <a:lnTo>
                    <a:pt x="1491" y="42"/>
                  </a:lnTo>
                  <a:lnTo>
                    <a:pt x="1489" y="42"/>
                  </a:lnTo>
                  <a:lnTo>
                    <a:pt x="1489" y="45"/>
                  </a:lnTo>
                  <a:lnTo>
                    <a:pt x="1489" y="45"/>
                  </a:lnTo>
                  <a:lnTo>
                    <a:pt x="1489" y="45"/>
                  </a:lnTo>
                  <a:lnTo>
                    <a:pt x="1489" y="45"/>
                  </a:lnTo>
                  <a:lnTo>
                    <a:pt x="1486" y="47"/>
                  </a:lnTo>
                  <a:lnTo>
                    <a:pt x="1486" y="47"/>
                  </a:lnTo>
                  <a:lnTo>
                    <a:pt x="1486" y="47"/>
                  </a:lnTo>
                  <a:lnTo>
                    <a:pt x="1486" y="45"/>
                  </a:lnTo>
                  <a:lnTo>
                    <a:pt x="1486" y="45"/>
                  </a:lnTo>
                  <a:lnTo>
                    <a:pt x="1486" y="45"/>
                  </a:lnTo>
                  <a:lnTo>
                    <a:pt x="1486" y="45"/>
                  </a:lnTo>
                  <a:lnTo>
                    <a:pt x="1486" y="42"/>
                  </a:lnTo>
                  <a:lnTo>
                    <a:pt x="1489" y="42"/>
                  </a:lnTo>
                  <a:lnTo>
                    <a:pt x="1489" y="42"/>
                  </a:lnTo>
                  <a:lnTo>
                    <a:pt x="1489" y="42"/>
                  </a:lnTo>
                  <a:lnTo>
                    <a:pt x="1489" y="40"/>
                  </a:lnTo>
                  <a:lnTo>
                    <a:pt x="1489" y="40"/>
                  </a:lnTo>
                  <a:lnTo>
                    <a:pt x="1489" y="40"/>
                  </a:lnTo>
                  <a:lnTo>
                    <a:pt x="1489" y="40"/>
                  </a:lnTo>
                  <a:lnTo>
                    <a:pt x="1489" y="37"/>
                  </a:lnTo>
                  <a:lnTo>
                    <a:pt x="1491" y="37"/>
                  </a:lnTo>
                  <a:lnTo>
                    <a:pt x="1491" y="37"/>
                  </a:lnTo>
                  <a:lnTo>
                    <a:pt x="1489" y="35"/>
                  </a:lnTo>
                  <a:lnTo>
                    <a:pt x="1489" y="35"/>
                  </a:lnTo>
                  <a:lnTo>
                    <a:pt x="1489" y="35"/>
                  </a:lnTo>
                  <a:lnTo>
                    <a:pt x="1489" y="35"/>
                  </a:lnTo>
                  <a:lnTo>
                    <a:pt x="1489" y="35"/>
                  </a:lnTo>
                  <a:lnTo>
                    <a:pt x="1486" y="35"/>
                  </a:lnTo>
                  <a:lnTo>
                    <a:pt x="1486" y="33"/>
                  </a:lnTo>
                  <a:lnTo>
                    <a:pt x="1489" y="33"/>
                  </a:lnTo>
                  <a:lnTo>
                    <a:pt x="1491" y="35"/>
                  </a:lnTo>
                  <a:lnTo>
                    <a:pt x="1491" y="35"/>
                  </a:lnTo>
                  <a:lnTo>
                    <a:pt x="1491" y="33"/>
                  </a:lnTo>
                  <a:lnTo>
                    <a:pt x="1491" y="33"/>
                  </a:lnTo>
                  <a:lnTo>
                    <a:pt x="1491" y="33"/>
                  </a:lnTo>
                  <a:lnTo>
                    <a:pt x="1491" y="33"/>
                  </a:lnTo>
                  <a:lnTo>
                    <a:pt x="1491" y="33"/>
                  </a:lnTo>
                  <a:lnTo>
                    <a:pt x="1491" y="33"/>
                  </a:lnTo>
                  <a:lnTo>
                    <a:pt x="1496" y="33"/>
                  </a:lnTo>
                  <a:lnTo>
                    <a:pt x="1496" y="33"/>
                  </a:lnTo>
                  <a:lnTo>
                    <a:pt x="1496" y="33"/>
                  </a:lnTo>
                  <a:lnTo>
                    <a:pt x="1498" y="33"/>
                  </a:lnTo>
                  <a:lnTo>
                    <a:pt x="1498" y="33"/>
                  </a:lnTo>
                  <a:lnTo>
                    <a:pt x="1498" y="33"/>
                  </a:lnTo>
                  <a:lnTo>
                    <a:pt x="1498" y="33"/>
                  </a:lnTo>
                  <a:lnTo>
                    <a:pt x="1500" y="33"/>
                  </a:lnTo>
                  <a:lnTo>
                    <a:pt x="1500" y="33"/>
                  </a:lnTo>
                  <a:lnTo>
                    <a:pt x="1500" y="33"/>
                  </a:lnTo>
                  <a:lnTo>
                    <a:pt x="1500" y="33"/>
                  </a:lnTo>
                  <a:lnTo>
                    <a:pt x="1500" y="33"/>
                  </a:lnTo>
                  <a:lnTo>
                    <a:pt x="1503" y="30"/>
                  </a:lnTo>
                  <a:lnTo>
                    <a:pt x="1503" y="30"/>
                  </a:lnTo>
                  <a:lnTo>
                    <a:pt x="1503" y="30"/>
                  </a:lnTo>
                  <a:lnTo>
                    <a:pt x="1505" y="30"/>
                  </a:lnTo>
                  <a:lnTo>
                    <a:pt x="1505" y="30"/>
                  </a:lnTo>
                  <a:lnTo>
                    <a:pt x="1507" y="28"/>
                  </a:lnTo>
                  <a:lnTo>
                    <a:pt x="1507" y="26"/>
                  </a:lnTo>
                  <a:lnTo>
                    <a:pt x="1507" y="26"/>
                  </a:lnTo>
                  <a:lnTo>
                    <a:pt x="1507" y="23"/>
                  </a:lnTo>
                  <a:lnTo>
                    <a:pt x="1505" y="21"/>
                  </a:lnTo>
                  <a:lnTo>
                    <a:pt x="1503" y="19"/>
                  </a:lnTo>
                  <a:lnTo>
                    <a:pt x="1503" y="21"/>
                  </a:lnTo>
                  <a:lnTo>
                    <a:pt x="1503" y="19"/>
                  </a:lnTo>
                  <a:lnTo>
                    <a:pt x="1503" y="19"/>
                  </a:lnTo>
                  <a:lnTo>
                    <a:pt x="1503" y="19"/>
                  </a:lnTo>
                  <a:lnTo>
                    <a:pt x="1503" y="19"/>
                  </a:lnTo>
                  <a:lnTo>
                    <a:pt x="1500" y="19"/>
                  </a:lnTo>
                  <a:lnTo>
                    <a:pt x="1500" y="19"/>
                  </a:lnTo>
                  <a:lnTo>
                    <a:pt x="1500" y="19"/>
                  </a:lnTo>
                  <a:lnTo>
                    <a:pt x="1498" y="19"/>
                  </a:lnTo>
                  <a:lnTo>
                    <a:pt x="1498" y="19"/>
                  </a:lnTo>
                  <a:lnTo>
                    <a:pt x="1498" y="19"/>
                  </a:lnTo>
                  <a:lnTo>
                    <a:pt x="1498" y="19"/>
                  </a:lnTo>
                  <a:lnTo>
                    <a:pt x="1498" y="19"/>
                  </a:lnTo>
                  <a:lnTo>
                    <a:pt x="1500" y="16"/>
                  </a:lnTo>
                  <a:lnTo>
                    <a:pt x="1500" y="16"/>
                  </a:lnTo>
                  <a:lnTo>
                    <a:pt x="1498" y="16"/>
                  </a:lnTo>
                  <a:lnTo>
                    <a:pt x="1498" y="16"/>
                  </a:lnTo>
                  <a:lnTo>
                    <a:pt x="1500" y="14"/>
                  </a:lnTo>
                  <a:lnTo>
                    <a:pt x="1500" y="14"/>
                  </a:lnTo>
                  <a:lnTo>
                    <a:pt x="1498" y="11"/>
                  </a:lnTo>
                  <a:lnTo>
                    <a:pt x="1493" y="9"/>
                  </a:lnTo>
                  <a:lnTo>
                    <a:pt x="1493" y="9"/>
                  </a:lnTo>
                  <a:lnTo>
                    <a:pt x="1493" y="9"/>
                  </a:lnTo>
                  <a:lnTo>
                    <a:pt x="1496" y="7"/>
                  </a:lnTo>
                  <a:lnTo>
                    <a:pt x="1493" y="7"/>
                  </a:lnTo>
                  <a:lnTo>
                    <a:pt x="1493" y="4"/>
                  </a:lnTo>
                  <a:lnTo>
                    <a:pt x="1493" y="4"/>
                  </a:lnTo>
                  <a:lnTo>
                    <a:pt x="1493" y="4"/>
                  </a:lnTo>
                  <a:lnTo>
                    <a:pt x="1493" y="2"/>
                  </a:lnTo>
                  <a:lnTo>
                    <a:pt x="1493" y="2"/>
                  </a:lnTo>
                  <a:lnTo>
                    <a:pt x="1496" y="2"/>
                  </a:lnTo>
                  <a:lnTo>
                    <a:pt x="1498" y="2"/>
                  </a:lnTo>
                  <a:lnTo>
                    <a:pt x="1498" y="2"/>
                  </a:lnTo>
                  <a:lnTo>
                    <a:pt x="1498" y="2"/>
                  </a:lnTo>
                  <a:lnTo>
                    <a:pt x="1498" y="2"/>
                  </a:lnTo>
                  <a:lnTo>
                    <a:pt x="1498" y="2"/>
                  </a:lnTo>
                  <a:lnTo>
                    <a:pt x="1498" y="0"/>
                  </a:lnTo>
                  <a:lnTo>
                    <a:pt x="1498" y="0"/>
                  </a:lnTo>
                  <a:lnTo>
                    <a:pt x="1498" y="0"/>
                  </a:lnTo>
                  <a:lnTo>
                    <a:pt x="1496" y="0"/>
                  </a:lnTo>
                  <a:lnTo>
                    <a:pt x="1493" y="2"/>
                  </a:lnTo>
                  <a:lnTo>
                    <a:pt x="1491" y="2"/>
                  </a:lnTo>
                  <a:lnTo>
                    <a:pt x="1489" y="2"/>
                  </a:lnTo>
                  <a:lnTo>
                    <a:pt x="1479" y="7"/>
                  </a:lnTo>
                  <a:lnTo>
                    <a:pt x="1477" y="9"/>
                  </a:lnTo>
                  <a:lnTo>
                    <a:pt x="1472" y="11"/>
                  </a:lnTo>
                  <a:lnTo>
                    <a:pt x="1460" y="16"/>
                  </a:lnTo>
                  <a:lnTo>
                    <a:pt x="1460" y="16"/>
                  </a:lnTo>
                  <a:lnTo>
                    <a:pt x="1460" y="16"/>
                  </a:lnTo>
                  <a:lnTo>
                    <a:pt x="1458" y="16"/>
                  </a:lnTo>
                  <a:lnTo>
                    <a:pt x="1458" y="16"/>
                  </a:lnTo>
                  <a:lnTo>
                    <a:pt x="1451" y="19"/>
                  </a:lnTo>
                  <a:lnTo>
                    <a:pt x="1446" y="19"/>
                  </a:lnTo>
                  <a:lnTo>
                    <a:pt x="1439" y="14"/>
                  </a:lnTo>
                  <a:lnTo>
                    <a:pt x="1439" y="11"/>
                  </a:lnTo>
                  <a:lnTo>
                    <a:pt x="1436" y="11"/>
                  </a:lnTo>
                  <a:lnTo>
                    <a:pt x="1436" y="11"/>
                  </a:lnTo>
                  <a:lnTo>
                    <a:pt x="1439" y="14"/>
                  </a:lnTo>
                  <a:lnTo>
                    <a:pt x="1439" y="16"/>
                  </a:lnTo>
                  <a:lnTo>
                    <a:pt x="1432" y="11"/>
                  </a:lnTo>
                  <a:lnTo>
                    <a:pt x="1425" y="7"/>
                  </a:lnTo>
                  <a:lnTo>
                    <a:pt x="1425" y="7"/>
                  </a:lnTo>
                  <a:lnTo>
                    <a:pt x="1425" y="9"/>
                  </a:lnTo>
                  <a:lnTo>
                    <a:pt x="1425" y="9"/>
                  </a:lnTo>
                  <a:lnTo>
                    <a:pt x="1425" y="9"/>
                  </a:lnTo>
                  <a:lnTo>
                    <a:pt x="1422" y="9"/>
                  </a:lnTo>
                  <a:lnTo>
                    <a:pt x="1420" y="7"/>
                  </a:lnTo>
                  <a:lnTo>
                    <a:pt x="1420" y="7"/>
                  </a:lnTo>
                  <a:lnTo>
                    <a:pt x="1418" y="9"/>
                  </a:lnTo>
                  <a:lnTo>
                    <a:pt x="1418" y="11"/>
                  </a:lnTo>
                  <a:lnTo>
                    <a:pt x="1418" y="14"/>
                  </a:lnTo>
                  <a:lnTo>
                    <a:pt x="1418" y="11"/>
                  </a:lnTo>
                  <a:lnTo>
                    <a:pt x="1418" y="9"/>
                  </a:lnTo>
                  <a:lnTo>
                    <a:pt x="1418" y="9"/>
                  </a:lnTo>
                  <a:lnTo>
                    <a:pt x="1418" y="9"/>
                  </a:lnTo>
                  <a:lnTo>
                    <a:pt x="1418" y="7"/>
                  </a:lnTo>
                  <a:lnTo>
                    <a:pt x="1418" y="7"/>
                  </a:lnTo>
                  <a:lnTo>
                    <a:pt x="1418" y="7"/>
                  </a:lnTo>
                  <a:lnTo>
                    <a:pt x="1418" y="7"/>
                  </a:lnTo>
                  <a:lnTo>
                    <a:pt x="1418" y="7"/>
                  </a:lnTo>
                  <a:lnTo>
                    <a:pt x="1418" y="7"/>
                  </a:lnTo>
                  <a:lnTo>
                    <a:pt x="1418" y="7"/>
                  </a:lnTo>
                  <a:lnTo>
                    <a:pt x="1415" y="4"/>
                  </a:lnTo>
                  <a:lnTo>
                    <a:pt x="1415" y="4"/>
                  </a:lnTo>
                  <a:lnTo>
                    <a:pt x="1418" y="4"/>
                  </a:lnTo>
                  <a:lnTo>
                    <a:pt x="1420" y="4"/>
                  </a:lnTo>
                  <a:lnTo>
                    <a:pt x="1422" y="4"/>
                  </a:lnTo>
                  <a:lnTo>
                    <a:pt x="1425" y="4"/>
                  </a:lnTo>
                  <a:lnTo>
                    <a:pt x="1425" y="4"/>
                  </a:lnTo>
                  <a:lnTo>
                    <a:pt x="1425" y="4"/>
                  </a:lnTo>
                  <a:lnTo>
                    <a:pt x="1420" y="2"/>
                  </a:lnTo>
                  <a:lnTo>
                    <a:pt x="1422" y="2"/>
                  </a:lnTo>
                  <a:lnTo>
                    <a:pt x="1425" y="2"/>
                  </a:lnTo>
                  <a:lnTo>
                    <a:pt x="1425" y="2"/>
                  </a:lnTo>
                  <a:lnTo>
                    <a:pt x="1420" y="0"/>
                  </a:lnTo>
                  <a:lnTo>
                    <a:pt x="1420" y="2"/>
                  </a:lnTo>
                  <a:lnTo>
                    <a:pt x="1420" y="2"/>
                  </a:lnTo>
                  <a:lnTo>
                    <a:pt x="1418" y="0"/>
                  </a:lnTo>
                  <a:lnTo>
                    <a:pt x="1415" y="0"/>
                  </a:lnTo>
                  <a:lnTo>
                    <a:pt x="1415" y="0"/>
                  </a:lnTo>
                  <a:lnTo>
                    <a:pt x="1413" y="0"/>
                  </a:lnTo>
                  <a:lnTo>
                    <a:pt x="1413" y="0"/>
                  </a:lnTo>
                  <a:lnTo>
                    <a:pt x="1413" y="0"/>
                  </a:lnTo>
                  <a:lnTo>
                    <a:pt x="1410" y="2"/>
                  </a:lnTo>
                  <a:lnTo>
                    <a:pt x="1406" y="4"/>
                  </a:lnTo>
                  <a:lnTo>
                    <a:pt x="1406" y="4"/>
                  </a:lnTo>
                  <a:lnTo>
                    <a:pt x="1406" y="4"/>
                  </a:lnTo>
                  <a:lnTo>
                    <a:pt x="1406" y="4"/>
                  </a:lnTo>
                  <a:lnTo>
                    <a:pt x="1403" y="4"/>
                  </a:lnTo>
                  <a:lnTo>
                    <a:pt x="1403" y="4"/>
                  </a:lnTo>
                  <a:lnTo>
                    <a:pt x="1399" y="4"/>
                  </a:lnTo>
                  <a:lnTo>
                    <a:pt x="1396" y="7"/>
                  </a:lnTo>
                  <a:lnTo>
                    <a:pt x="1396" y="7"/>
                  </a:lnTo>
                  <a:lnTo>
                    <a:pt x="1396" y="7"/>
                  </a:lnTo>
                  <a:lnTo>
                    <a:pt x="1396" y="7"/>
                  </a:lnTo>
                  <a:lnTo>
                    <a:pt x="1399" y="7"/>
                  </a:lnTo>
                  <a:lnTo>
                    <a:pt x="1399" y="7"/>
                  </a:lnTo>
                  <a:lnTo>
                    <a:pt x="1401" y="7"/>
                  </a:lnTo>
                  <a:lnTo>
                    <a:pt x="1401" y="9"/>
                  </a:lnTo>
                  <a:lnTo>
                    <a:pt x="1401" y="9"/>
                  </a:lnTo>
                  <a:lnTo>
                    <a:pt x="1401" y="11"/>
                  </a:lnTo>
                  <a:lnTo>
                    <a:pt x="1401" y="11"/>
                  </a:lnTo>
                  <a:lnTo>
                    <a:pt x="1401" y="11"/>
                  </a:lnTo>
                  <a:lnTo>
                    <a:pt x="1401" y="11"/>
                  </a:lnTo>
                  <a:lnTo>
                    <a:pt x="1401" y="14"/>
                  </a:lnTo>
                  <a:lnTo>
                    <a:pt x="1401" y="14"/>
                  </a:lnTo>
                  <a:lnTo>
                    <a:pt x="1401" y="14"/>
                  </a:lnTo>
                  <a:lnTo>
                    <a:pt x="1401" y="16"/>
                  </a:lnTo>
                  <a:lnTo>
                    <a:pt x="1401" y="19"/>
                  </a:lnTo>
                  <a:lnTo>
                    <a:pt x="1401" y="19"/>
                  </a:lnTo>
                  <a:lnTo>
                    <a:pt x="1401" y="19"/>
                  </a:lnTo>
                  <a:lnTo>
                    <a:pt x="1401" y="19"/>
                  </a:lnTo>
                  <a:lnTo>
                    <a:pt x="1401" y="19"/>
                  </a:lnTo>
                  <a:lnTo>
                    <a:pt x="1401" y="19"/>
                  </a:lnTo>
                  <a:lnTo>
                    <a:pt x="1403" y="19"/>
                  </a:lnTo>
                  <a:lnTo>
                    <a:pt x="1403" y="19"/>
                  </a:lnTo>
                  <a:lnTo>
                    <a:pt x="1403" y="19"/>
                  </a:lnTo>
                  <a:lnTo>
                    <a:pt x="1403" y="19"/>
                  </a:lnTo>
                  <a:lnTo>
                    <a:pt x="1403" y="19"/>
                  </a:lnTo>
                  <a:lnTo>
                    <a:pt x="1403" y="19"/>
                  </a:lnTo>
                  <a:lnTo>
                    <a:pt x="1403" y="19"/>
                  </a:lnTo>
                  <a:lnTo>
                    <a:pt x="1406" y="19"/>
                  </a:lnTo>
                  <a:lnTo>
                    <a:pt x="1406" y="19"/>
                  </a:lnTo>
                  <a:lnTo>
                    <a:pt x="1408" y="21"/>
                  </a:lnTo>
                  <a:lnTo>
                    <a:pt x="1410" y="21"/>
                  </a:lnTo>
                  <a:lnTo>
                    <a:pt x="1410" y="21"/>
                  </a:lnTo>
                  <a:lnTo>
                    <a:pt x="1408" y="21"/>
                  </a:lnTo>
                  <a:lnTo>
                    <a:pt x="1408" y="21"/>
                  </a:lnTo>
                  <a:lnTo>
                    <a:pt x="1406" y="21"/>
                  </a:lnTo>
                  <a:lnTo>
                    <a:pt x="1406" y="21"/>
                  </a:lnTo>
                  <a:lnTo>
                    <a:pt x="1406" y="21"/>
                  </a:lnTo>
                  <a:lnTo>
                    <a:pt x="1406" y="21"/>
                  </a:lnTo>
                  <a:lnTo>
                    <a:pt x="1406" y="21"/>
                  </a:lnTo>
                  <a:lnTo>
                    <a:pt x="1403" y="21"/>
                  </a:lnTo>
                  <a:lnTo>
                    <a:pt x="1403" y="21"/>
                  </a:lnTo>
                  <a:lnTo>
                    <a:pt x="1401" y="21"/>
                  </a:lnTo>
                  <a:lnTo>
                    <a:pt x="1399" y="21"/>
                  </a:lnTo>
                  <a:lnTo>
                    <a:pt x="1399" y="19"/>
                  </a:lnTo>
                  <a:lnTo>
                    <a:pt x="1399" y="16"/>
                  </a:lnTo>
                  <a:lnTo>
                    <a:pt x="1399" y="16"/>
                  </a:lnTo>
                  <a:lnTo>
                    <a:pt x="1399" y="16"/>
                  </a:lnTo>
                  <a:lnTo>
                    <a:pt x="1396" y="19"/>
                  </a:lnTo>
                  <a:lnTo>
                    <a:pt x="1396" y="19"/>
                  </a:lnTo>
                  <a:lnTo>
                    <a:pt x="1396" y="19"/>
                  </a:lnTo>
                  <a:lnTo>
                    <a:pt x="1394" y="21"/>
                  </a:lnTo>
                  <a:lnTo>
                    <a:pt x="1394" y="21"/>
                  </a:lnTo>
                  <a:lnTo>
                    <a:pt x="1394" y="21"/>
                  </a:lnTo>
                  <a:lnTo>
                    <a:pt x="1394" y="23"/>
                  </a:lnTo>
                  <a:lnTo>
                    <a:pt x="1394" y="23"/>
                  </a:lnTo>
                  <a:lnTo>
                    <a:pt x="1391" y="23"/>
                  </a:lnTo>
                  <a:lnTo>
                    <a:pt x="1391" y="26"/>
                  </a:lnTo>
                  <a:lnTo>
                    <a:pt x="1391" y="26"/>
                  </a:lnTo>
                  <a:lnTo>
                    <a:pt x="1391" y="26"/>
                  </a:lnTo>
                  <a:lnTo>
                    <a:pt x="1391" y="26"/>
                  </a:lnTo>
                  <a:lnTo>
                    <a:pt x="1391" y="28"/>
                  </a:lnTo>
                  <a:lnTo>
                    <a:pt x="1391" y="28"/>
                  </a:lnTo>
                  <a:lnTo>
                    <a:pt x="1391" y="28"/>
                  </a:lnTo>
                  <a:lnTo>
                    <a:pt x="1391" y="28"/>
                  </a:lnTo>
                  <a:lnTo>
                    <a:pt x="1389" y="30"/>
                  </a:lnTo>
                  <a:lnTo>
                    <a:pt x="1389" y="30"/>
                  </a:lnTo>
                  <a:lnTo>
                    <a:pt x="1389" y="30"/>
                  </a:lnTo>
                  <a:lnTo>
                    <a:pt x="1389" y="33"/>
                  </a:lnTo>
                  <a:lnTo>
                    <a:pt x="1389" y="33"/>
                  </a:lnTo>
                  <a:lnTo>
                    <a:pt x="1389" y="35"/>
                  </a:lnTo>
                  <a:lnTo>
                    <a:pt x="1389" y="35"/>
                  </a:lnTo>
                  <a:lnTo>
                    <a:pt x="1389" y="33"/>
                  </a:lnTo>
                  <a:lnTo>
                    <a:pt x="1389" y="33"/>
                  </a:lnTo>
                  <a:lnTo>
                    <a:pt x="1389" y="30"/>
                  </a:lnTo>
                  <a:lnTo>
                    <a:pt x="1389" y="28"/>
                  </a:lnTo>
                  <a:lnTo>
                    <a:pt x="1389" y="28"/>
                  </a:lnTo>
                  <a:lnTo>
                    <a:pt x="1389" y="28"/>
                  </a:lnTo>
                  <a:lnTo>
                    <a:pt x="1389" y="28"/>
                  </a:lnTo>
                  <a:lnTo>
                    <a:pt x="1389" y="28"/>
                  </a:lnTo>
                  <a:lnTo>
                    <a:pt x="1389" y="28"/>
                  </a:lnTo>
                  <a:lnTo>
                    <a:pt x="1389" y="28"/>
                  </a:lnTo>
                  <a:lnTo>
                    <a:pt x="1389" y="26"/>
                  </a:lnTo>
                  <a:lnTo>
                    <a:pt x="1389" y="26"/>
                  </a:lnTo>
                  <a:lnTo>
                    <a:pt x="1389" y="26"/>
                  </a:lnTo>
                  <a:lnTo>
                    <a:pt x="1389" y="26"/>
                  </a:lnTo>
                  <a:lnTo>
                    <a:pt x="1389" y="26"/>
                  </a:lnTo>
                  <a:lnTo>
                    <a:pt x="1391" y="26"/>
                  </a:lnTo>
                  <a:lnTo>
                    <a:pt x="1391" y="26"/>
                  </a:lnTo>
                  <a:lnTo>
                    <a:pt x="1391" y="23"/>
                  </a:lnTo>
                  <a:lnTo>
                    <a:pt x="1391" y="23"/>
                  </a:lnTo>
                  <a:lnTo>
                    <a:pt x="1391" y="23"/>
                  </a:lnTo>
                  <a:lnTo>
                    <a:pt x="1389" y="23"/>
                  </a:lnTo>
                  <a:lnTo>
                    <a:pt x="1387" y="23"/>
                  </a:lnTo>
                  <a:lnTo>
                    <a:pt x="1387" y="23"/>
                  </a:lnTo>
                  <a:lnTo>
                    <a:pt x="1387" y="23"/>
                  </a:lnTo>
                  <a:lnTo>
                    <a:pt x="1389" y="21"/>
                  </a:lnTo>
                  <a:lnTo>
                    <a:pt x="1389" y="21"/>
                  </a:lnTo>
                  <a:lnTo>
                    <a:pt x="1391" y="21"/>
                  </a:lnTo>
                  <a:lnTo>
                    <a:pt x="1391" y="21"/>
                  </a:lnTo>
                  <a:lnTo>
                    <a:pt x="1394" y="19"/>
                  </a:lnTo>
                  <a:lnTo>
                    <a:pt x="1394" y="19"/>
                  </a:lnTo>
                  <a:lnTo>
                    <a:pt x="1396" y="16"/>
                  </a:lnTo>
                  <a:lnTo>
                    <a:pt x="1396" y="16"/>
                  </a:lnTo>
                  <a:lnTo>
                    <a:pt x="1396" y="16"/>
                  </a:lnTo>
                  <a:lnTo>
                    <a:pt x="1391" y="16"/>
                  </a:lnTo>
                  <a:lnTo>
                    <a:pt x="1389" y="14"/>
                  </a:lnTo>
                  <a:lnTo>
                    <a:pt x="1389" y="14"/>
                  </a:lnTo>
                  <a:lnTo>
                    <a:pt x="1391" y="14"/>
                  </a:lnTo>
                  <a:lnTo>
                    <a:pt x="1394" y="14"/>
                  </a:lnTo>
                  <a:lnTo>
                    <a:pt x="1394" y="14"/>
                  </a:lnTo>
                  <a:lnTo>
                    <a:pt x="1396" y="14"/>
                  </a:lnTo>
                  <a:lnTo>
                    <a:pt x="1396" y="14"/>
                  </a:lnTo>
                  <a:lnTo>
                    <a:pt x="1399" y="14"/>
                  </a:lnTo>
                  <a:lnTo>
                    <a:pt x="1399" y="14"/>
                  </a:lnTo>
                  <a:lnTo>
                    <a:pt x="1396" y="14"/>
                  </a:lnTo>
                  <a:lnTo>
                    <a:pt x="1399" y="11"/>
                  </a:lnTo>
                  <a:lnTo>
                    <a:pt x="1399" y="11"/>
                  </a:lnTo>
                  <a:lnTo>
                    <a:pt x="1399" y="11"/>
                  </a:lnTo>
                  <a:lnTo>
                    <a:pt x="1399" y="11"/>
                  </a:lnTo>
                  <a:lnTo>
                    <a:pt x="1399" y="9"/>
                  </a:lnTo>
                  <a:lnTo>
                    <a:pt x="1399" y="9"/>
                  </a:lnTo>
                  <a:lnTo>
                    <a:pt x="1396" y="9"/>
                  </a:lnTo>
                  <a:lnTo>
                    <a:pt x="1396" y="9"/>
                  </a:lnTo>
                  <a:lnTo>
                    <a:pt x="1396" y="9"/>
                  </a:lnTo>
                  <a:lnTo>
                    <a:pt x="1394" y="9"/>
                  </a:lnTo>
                  <a:lnTo>
                    <a:pt x="1394" y="7"/>
                  </a:lnTo>
                  <a:lnTo>
                    <a:pt x="1394" y="7"/>
                  </a:lnTo>
                  <a:lnTo>
                    <a:pt x="1396" y="7"/>
                  </a:lnTo>
                  <a:lnTo>
                    <a:pt x="1396" y="7"/>
                  </a:lnTo>
                  <a:lnTo>
                    <a:pt x="1394" y="7"/>
                  </a:lnTo>
                  <a:lnTo>
                    <a:pt x="1394" y="7"/>
                  </a:lnTo>
                  <a:lnTo>
                    <a:pt x="1384" y="9"/>
                  </a:lnTo>
                  <a:lnTo>
                    <a:pt x="1380" y="9"/>
                  </a:lnTo>
                  <a:lnTo>
                    <a:pt x="1375" y="11"/>
                  </a:lnTo>
                  <a:lnTo>
                    <a:pt x="1375" y="11"/>
                  </a:lnTo>
                  <a:lnTo>
                    <a:pt x="1377" y="11"/>
                  </a:lnTo>
                  <a:lnTo>
                    <a:pt x="1380" y="11"/>
                  </a:lnTo>
                  <a:lnTo>
                    <a:pt x="1380" y="11"/>
                  </a:lnTo>
                  <a:lnTo>
                    <a:pt x="1380" y="11"/>
                  </a:lnTo>
                  <a:lnTo>
                    <a:pt x="1373" y="14"/>
                  </a:lnTo>
                  <a:lnTo>
                    <a:pt x="1370" y="14"/>
                  </a:lnTo>
                  <a:lnTo>
                    <a:pt x="1368" y="14"/>
                  </a:lnTo>
                  <a:lnTo>
                    <a:pt x="1368" y="14"/>
                  </a:lnTo>
                  <a:lnTo>
                    <a:pt x="1368" y="14"/>
                  </a:lnTo>
                  <a:lnTo>
                    <a:pt x="1368" y="16"/>
                  </a:lnTo>
                  <a:lnTo>
                    <a:pt x="1368" y="14"/>
                  </a:lnTo>
                  <a:lnTo>
                    <a:pt x="1368" y="14"/>
                  </a:lnTo>
                  <a:lnTo>
                    <a:pt x="1368" y="14"/>
                  </a:lnTo>
                  <a:lnTo>
                    <a:pt x="1368" y="14"/>
                  </a:lnTo>
                  <a:lnTo>
                    <a:pt x="1368" y="14"/>
                  </a:lnTo>
                  <a:lnTo>
                    <a:pt x="1365" y="14"/>
                  </a:lnTo>
                  <a:lnTo>
                    <a:pt x="1363" y="14"/>
                  </a:lnTo>
                  <a:lnTo>
                    <a:pt x="1358" y="11"/>
                  </a:lnTo>
                  <a:lnTo>
                    <a:pt x="1354" y="9"/>
                  </a:lnTo>
                  <a:lnTo>
                    <a:pt x="1354" y="9"/>
                  </a:lnTo>
                  <a:lnTo>
                    <a:pt x="1351" y="9"/>
                  </a:lnTo>
                  <a:lnTo>
                    <a:pt x="1351" y="9"/>
                  </a:lnTo>
                  <a:lnTo>
                    <a:pt x="1351" y="9"/>
                  </a:lnTo>
                  <a:lnTo>
                    <a:pt x="1351" y="9"/>
                  </a:lnTo>
                  <a:lnTo>
                    <a:pt x="1351" y="9"/>
                  </a:lnTo>
                  <a:lnTo>
                    <a:pt x="1351" y="9"/>
                  </a:lnTo>
                  <a:lnTo>
                    <a:pt x="1351" y="9"/>
                  </a:lnTo>
                  <a:lnTo>
                    <a:pt x="1349" y="11"/>
                  </a:lnTo>
                  <a:lnTo>
                    <a:pt x="1349" y="11"/>
                  </a:lnTo>
                  <a:lnTo>
                    <a:pt x="1349" y="11"/>
                  </a:lnTo>
                  <a:lnTo>
                    <a:pt x="1349" y="11"/>
                  </a:lnTo>
                  <a:lnTo>
                    <a:pt x="1349" y="11"/>
                  </a:lnTo>
                  <a:lnTo>
                    <a:pt x="1349" y="11"/>
                  </a:lnTo>
                  <a:lnTo>
                    <a:pt x="1347" y="11"/>
                  </a:lnTo>
                  <a:lnTo>
                    <a:pt x="1347" y="11"/>
                  </a:lnTo>
                  <a:lnTo>
                    <a:pt x="1344" y="11"/>
                  </a:lnTo>
                  <a:lnTo>
                    <a:pt x="1339" y="9"/>
                  </a:lnTo>
                  <a:lnTo>
                    <a:pt x="1339" y="9"/>
                  </a:lnTo>
                  <a:lnTo>
                    <a:pt x="1342" y="9"/>
                  </a:lnTo>
                  <a:lnTo>
                    <a:pt x="1342" y="9"/>
                  </a:lnTo>
                  <a:lnTo>
                    <a:pt x="1342" y="7"/>
                  </a:lnTo>
                  <a:lnTo>
                    <a:pt x="1342" y="7"/>
                  </a:lnTo>
                  <a:lnTo>
                    <a:pt x="1344" y="9"/>
                  </a:lnTo>
                  <a:lnTo>
                    <a:pt x="1344" y="11"/>
                  </a:lnTo>
                  <a:lnTo>
                    <a:pt x="1347" y="11"/>
                  </a:lnTo>
                  <a:lnTo>
                    <a:pt x="1347" y="9"/>
                  </a:lnTo>
                  <a:lnTo>
                    <a:pt x="1347" y="9"/>
                  </a:lnTo>
                  <a:lnTo>
                    <a:pt x="1349" y="9"/>
                  </a:lnTo>
                  <a:lnTo>
                    <a:pt x="1349" y="9"/>
                  </a:lnTo>
                  <a:lnTo>
                    <a:pt x="1349" y="9"/>
                  </a:lnTo>
                  <a:lnTo>
                    <a:pt x="1349" y="9"/>
                  </a:lnTo>
                  <a:lnTo>
                    <a:pt x="1349" y="7"/>
                  </a:lnTo>
                  <a:lnTo>
                    <a:pt x="1347" y="7"/>
                  </a:lnTo>
                  <a:lnTo>
                    <a:pt x="1349" y="7"/>
                  </a:lnTo>
                  <a:lnTo>
                    <a:pt x="1351" y="9"/>
                  </a:lnTo>
                  <a:lnTo>
                    <a:pt x="1351" y="7"/>
                  </a:lnTo>
                  <a:lnTo>
                    <a:pt x="1351" y="7"/>
                  </a:lnTo>
                  <a:lnTo>
                    <a:pt x="1349" y="4"/>
                  </a:lnTo>
                  <a:lnTo>
                    <a:pt x="1351" y="4"/>
                  </a:lnTo>
                  <a:lnTo>
                    <a:pt x="1351" y="4"/>
                  </a:lnTo>
                  <a:lnTo>
                    <a:pt x="1351" y="4"/>
                  </a:lnTo>
                  <a:lnTo>
                    <a:pt x="1351" y="4"/>
                  </a:lnTo>
                  <a:lnTo>
                    <a:pt x="1351" y="4"/>
                  </a:lnTo>
                  <a:lnTo>
                    <a:pt x="1351" y="2"/>
                  </a:lnTo>
                  <a:lnTo>
                    <a:pt x="1351" y="2"/>
                  </a:lnTo>
                  <a:lnTo>
                    <a:pt x="1351" y="2"/>
                  </a:lnTo>
                  <a:lnTo>
                    <a:pt x="1349" y="2"/>
                  </a:lnTo>
                  <a:lnTo>
                    <a:pt x="1349" y="2"/>
                  </a:lnTo>
                  <a:lnTo>
                    <a:pt x="1347" y="2"/>
                  </a:lnTo>
                  <a:lnTo>
                    <a:pt x="1347" y="2"/>
                  </a:lnTo>
                  <a:lnTo>
                    <a:pt x="1344" y="4"/>
                  </a:lnTo>
                  <a:lnTo>
                    <a:pt x="1342" y="4"/>
                  </a:lnTo>
                  <a:lnTo>
                    <a:pt x="1342" y="7"/>
                  </a:lnTo>
                  <a:lnTo>
                    <a:pt x="1339" y="7"/>
                  </a:lnTo>
                  <a:lnTo>
                    <a:pt x="1339" y="7"/>
                  </a:lnTo>
                  <a:lnTo>
                    <a:pt x="1339" y="7"/>
                  </a:lnTo>
                  <a:lnTo>
                    <a:pt x="1339" y="7"/>
                  </a:lnTo>
                  <a:lnTo>
                    <a:pt x="1339" y="7"/>
                  </a:lnTo>
                  <a:lnTo>
                    <a:pt x="1337" y="7"/>
                  </a:lnTo>
                  <a:lnTo>
                    <a:pt x="1337" y="7"/>
                  </a:lnTo>
                  <a:lnTo>
                    <a:pt x="1335" y="9"/>
                  </a:lnTo>
                  <a:lnTo>
                    <a:pt x="1332" y="9"/>
                  </a:lnTo>
                  <a:lnTo>
                    <a:pt x="1332" y="9"/>
                  </a:lnTo>
                  <a:lnTo>
                    <a:pt x="1332" y="9"/>
                  </a:lnTo>
                  <a:lnTo>
                    <a:pt x="1332" y="9"/>
                  </a:lnTo>
                  <a:lnTo>
                    <a:pt x="1332" y="11"/>
                  </a:lnTo>
                  <a:lnTo>
                    <a:pt x="1330" y="11"/>
                  </a:lnTo>
                  <a:lnTo>
                    <a:pt x="1330" y="11"/>
                  </a:lnTo>
                  <a:lnTo>
                    <a:pt x="1328" y="11"/>
                  </a:lnTo>
                  <a:lnTo>
                    <a:pt x="1328" y="11"/>
                  </a:lnTo>
                  <a:lnTo>
                    <a:pt x="1328" y="11"/>
                  </a:lnTo>
                  <a:lnTo>
                    <a:pt x="1325" y="14"/>
                  </a:lnTo>
                  <a:lnTo>
                    <a:pt x="1325" y="14"/>
                  </a:lnTo>
                  <a:lnTo>
                    <a:pt x="1323" y="16"/>
                  </a:lnTo>
                  <a:lnTo>
                    <a:pt x="1323" y="16"/>
                  </a:lnTo>
                  <a:lnTo>
                    <a:pt x="1318" y="16"/>
                  </a:lnTo>
                  <a:lnTo>
                    <a:pt x="1318" y="19"/>
                  </a:lnTo>
                  <a:lnTo>
                    <a:pt x="1316" y="19"/>
                  </a:lnTo>
                  <a:lnTo>
                    <a:pt x="1316" y="19"/>
                  </a:lnTo>
                  <a:lnTo>
                    <a:pt x="1309" y="21"/>
                  </a:lnTo>
                  <a:lnTo>
                    <a:pt x="1309" y="21"/>
                  </a:lnTo>
                  <a:lnTo>
                    <a:pt x="1309" y="21"/>
                  </a:lnTo>
                  <a:lnTo>
                    <a:pt x="1306" y="21"/>
                  </a:lnTo>
                  <a:lnTo>
                    <a:pt x="1306" y="21"/>
                  </a:lnTo>
                  <a:lnTo>
                    <a:pt x="1306" y="21"/>
                  </a:lnTo>
                  <a:lnTo>
                    <a:pt x="1306" y="23"/>
                  </a:lnTo>
                  <a:lnTo>
                    <a:pt x="1306" y="23"/>
                  </a:lnTo>
                  <a:lnTo>
                    <a:pt x="1306" y="23"/>
                  </a:lnTo>
                  <a:lnTo>
                    <a:pt x="1306" y="26"/>
                  </a:lnTo>
                  <a:lnTo>
                    <a:pt x="1306" y="26"/>
                  </a:lnTo>
                  <a:lnTo>
                    <a:pt x="1304" y="26"/>
                  </a:lnTo>
                  <a:lnTo>
                    <a:pt x="1304" y="26"/>
                  </a:lnTo>
                  <a:lnTo>
                    <a:pt x="1302" y="26"/>
                  </a:lnTo>
                  <a:lnTo>
                    <a:pt x="1302" y="26"/>
                  </a:lnTo>
                  <a:lnTo>
                    <a:pt x="1302" y="26"/>
                  </a:lnTo>
                  <a:lnTo>
                    <a:pt x="1302" y="26"/>
                  </a:lnTo>
                  <a:lnTo>
                    <a:pt x="1302" y="28"/>
                  </a:lnTo>
                  <a:lnTo>
                    <a:pt x="1302" y="28"/>
                  </a:lnTo>
                  <a:lnTo>
                    <a:pt x="1302" y="28"/>
                  </a:lnTo>
                  <a:lnTo>
                    <a:pt x="1299" y="28"/>
                  </a:lnTo>
                  <a:lnTo>
                    <a:pt x="1299" y="28"/>
                  </a:lnTo>
                  <a:lnTo>
                    <a:pt x="1299" y="28"/>
                  </a:lnTo>
                  <a:lnTo>
                    <a:pt x="1299" y="30"/>
                  </a:lnTo>
                  <a:lnTo>
                    <a:pt x="1299" y="30"/>
                  </a:lnTo>
                  <a:lnTo>
                    <a:pt x="1299" y="30"/>
                  </a:lnTo>
                  <a:lnTo>
                    <a:pt x="1299" y="30"/>
                  </a:lnTo>
                  <a:lnTo>
                    <a:pt x="1299" y="33"/>
                  </a:lnTo>
                  <a:lnTo>
                    <a:pt x="1297" y="33"/>
                  </a:lnTo>
                  <a:lnTo>
                    <a:pt x="1297" y="33"/>
                  </a:lnTo>
                  <a:lnTo>
                    <a:pt x="1297" y="33"/>
                  </a:lnTo>
                  <a:lnTo>
                    <a:pt x="1297" y="35"/>
                  </a:lnTo>
                  <a:lnTo>
                    <a:pt x="1294" y="35"/>
                  </a:lnTo>
                  <a:lnTo>
                    <a:pt x="1294" y="35"/>
                  </a:lnTo>
                  <a:lnTo>
                    <a:pt x="1294" y="35"/>
                  </a:lnTo>
                  <a:lnTo>
                    <a:pt x="1294" y="37"/>
                  </a:lnTo>
                  <a:lnTo>
                    <a:pt x="1292" y="37"/>
                  </a:lnTo>
                  <a:lnTo>
                    <a:pt x="1292" y="37"/>
                  </a:lnTo>
                  <a:lnTo>
                    <a:pt x="1292" y="37"/>
                  </a:lnTo>
                  <a:lnTo>
                    <a:pt x="1292" y="37"/>
                  </a:lnTo>
                  <a:lnTo>
                    <a:pt x="1292" y="40"/>
                  </a:lnTo>
                  <a:lnTo>
                    <a:pt x="1292" y="40"/>
                  </a:lnTo>
                  <a:lnTo>
                    <a:pt x="1290" y="40"/>
                  </a:lnTo>
                  <a:lnTo>
                    <a:pt x="1290" y="42"/>
                  </a:lnTo>
                  <a:lnTo>
                    <a:pt x="1290" y="42"/>
                  </a:lnTo>
                  <a:lnTo>
                    <a:pt x="1290" y="42"/>
                  </a:lnTo>
                  <a:lnTo>
                    <a:pt x="1285" y="45"/>
                  </a:lnTo>
                  <a:lnTo>
                    <a:pt x="1285" y="45"/>
                  </a:lnTo>
                  <a:lnTo>
                    <a:pt x="1285" y="45"/>
                  </a:lnTo>
                  <a:lnTo>
                    <a:pt x="1285" y="42"/>
                  </a:lnTo>
                  <a:lnTo>
                    <a:pt x="1292" y="37"/>
                  </a:lnTo>
                  <a:lnTo>
                    <a:pt x="1292" y="37"/>
                  </a:lnTo>
                  <a:lnTo>
                    <a:pt x="1290" y="37"/>
                  </a:lnTo>
                  <a:lnTo>
                    <a:pt x="1285" y="42"/>
                  </a:lnTo>
                  <a:lnTo>
                    <a:pt x="1285" y="42"/>
                  </a:lnTo>
                  <a:lnTo>
                    <a:pt x="1271" y="49"/>
                  </a:lnTo>
                  <a:lnTo>
                    <a:pt x="1264" y="52"/>
                  </a:lnTo>
                  <a:lnTo>
                    <a:pt x="1261" y="52"/>
                  </a:lnTo>
                  <a:lnTo>
                    <a:pt x="1261" y="52"/>
                  </a:lnTo>
                  <a:lnTo>
                    <a:pt x="1259" y="52"/>
                  </a:lnTo>
                  <a:lnTo>
                    <a:pt x="1257" y="52"/>
                  </a:lnTo>
                  <a:lnTo>
                    <a:pt x="1254" y="52"/>
                  </a:lnTo>
                  <a:lnTo>
                    <a:pt x="1252" y="52"/>
                  </a:lnTo>
                  <a:lnTo>
                    <a:pt x="1249" y="52"/>
                  </a:lnTo>
                  <a:lnTo>
                    <a:pt x="1240" y="45"/>
                  </a:lnTo>
                  <a:lnTo>
                    <a:pt x="1233" y="45"/>
                  </a:lnTo>
                  <a:lnTo>
                    <a:pt x="1226" y="40"/>
                  </a:lnTo>
                  <a:lnTo>
                    <a:pt x="1219" y="37"/>
                  </a:lnTo>
                  <a:lnTo>
                    <a:pt x="1216" y="33"/>
                  </a:lnTo>
                  <a:lnTo>
                    <a:pt x="1212" y="30"/>
                  </a:lnTo>
                  <a:lnTo>
                    <a:pt x="1212" y="30"/>
                  </a:lnTo>
                  <a:lnTo>
                    <a:pt x="1209" y="28"/>
                  </a:lnTo>
                  <a:lnTo>
                    <a:pt x="1209" y="28"/>
                  </a:lnTo>
                  <a:lnTo>
                    <a:pt x="1207" y="30"/>
                  </a:lnTo>
                  <a:lnTo>
                    <a:pt x="1207" y="33"/>
                  </a:lnTo>
                  <a:lnTo>
                    <a:pt x="1205" y="35"/>
                  </a:lnTo>
                  <a:lnTo>
                    <a:pt x="1205" y="35"/>
                  </a:lnTo>
                  <a:lnTo>
                    <a:pt x="1205" y="35"/>
                  </a:lnTo>
                  <a:lnTo>
                    <a:pt x="1202" y="37"/>
                  </a:lnTo>
                  <a:lnTo>
                    <a:pt x="1202" y="37"/>
                  </a:lnTo>
                  <a:lnTo>
                    <a:pt x="1202" y="40"/>
                  </a:lnTo>
                  <a:lnTo>
                    <a:pt x="1202" y="40"/>
                  </a:lnTo>
                  <a:lnTo>
                    <a:pt x="1200" y="40"/>
                  </a:lnTo>
                  <a:lnTo>
                    <a:pt x="1200" y="40"/>
                  </a:lnTo>
                  <a:lnTo>
                    <a:pt x="1200" y="40"/>
                  </a:lnTo>
                  <a:lnTo>
                    <a:pt x="1200" y="42"/>
                  </a:lnTo>
                  <a:lnTo>
                    <a:pt x="1197" y="42"/>
                  </a:lnTo>
                  <a:lnTo>
                    <a:pt x="1197" y="42"/>
                  </a:lnTo>
                  <a:lnTo>
                    <a:pt x="1197" y="45"/>
                  </a:lnTo>
                  <a:lnTo>
                    <a:pt x="1197" y="45"/>
                  </a:lnTo>
                  <a:lnTo>
                    <a:pt x="1197" y="45"/>
                  </a:lnTo>
                  <a:lnTo>
                    <a:pt x="1195" y="45"/>
                  </a:lnTo>
                  <a:lnTo>
                    <a:pt x="1195" y="47"/>
                  </a:lnTo>
                  <a:lnTo>
                    <a:pt x="1195" y="47"/>
                  </a:lnTo>
                  <a:lnTo>
                    <a:pt x="1193" y="47"/>
                  </a:lnTo>
                  <a:lnTo>
                    <a:pt x="1193" y="47"/>
                  </a:lnTo>
                  <a:lnTo>
                    <a:pt x="1193" y="49"/>
                  </a:lnTo>
                  <a:lnTo>
                    <a:pt x="1190" y="49"/>
                  </a:lnTo>
                  <a:lnTo>
                    <a:pt x="1188" y="49"/>
                  </a:lnTo>
                  <a:lnTo>
                    <a:pt x="1188" y="52"/>
                  </a:lnTo>
                  <a:lnTo>
                    <a:pt x="1188" y="52"/>
                  </a:lnTo>
                  <a:lnTo>
                    <a:pt x="1188" y="54"/>
                  </a:lnTo>
                  <a:lnTo>
                    <a:pt x="1188" y="54"/>
                  </a:lnTo>
                  <a:lnTo>
                    <a:pt x="1186" y="52"/>
                  </a:lnTo>
                  <a:lnTo>
                    <a:pt x="1186" y="52"/>
                  </a:lnTo>
                  <a:lnTo>
                    <a:pt x="1188" y="52"/>
                  </a:lnTo>
                  <a:lnTo>
                    <a:pt x="1186" y="54"/>
                  </a:lnTo>
                  <a:lnTo>
                    <a:pt x="1186" y="52"/>
                  </a:lnTo>
                  <a:lnTo>
                    <a:pt x="1186" y="52"/>
                  </a:lnTo>
                  <a:lnTo>
                    <a:pt x="1183" y="52"/>
                  </a:lnTo>
                  <a:lnTo>
                    <a:pt x="1179" y="52"/>
                  </a:lnTo>
                  <a:lnTo>
                    <a:pt x="1179" y="49"/>
                  </a:lnTo>
                  <a:lnTo>
                    <a:pt x="1179" y="49"/>
                  </a:lnTo>
                  <a:lnTo>
                    <a:pt x="1186" y="49"/>
                  </a:lnTo>
                  <a:lnTo>
                    <a:pt x="1186" y="52"/>
                  </a:lnTo>
                  <a:lnTo>
                    <a:pt x="1186" y="49"/>
                  </a:lnTo>
                  <a:lnTo>
                    <a:pt x="1183" y="49"/>
                  </a:lnTo>
                  <a:lnTo>
                    <a:pt x="1176" y="49"/>
                  </a:lnTo>
                  <a:lnTo>
                    <a:pt x="1176" y="49"/>
                  </a:lnTo>
                  <a:lnTo>
                    <a:pt x="1176" y="49"/>
                  </a:lnTo>
                  <a:lnTo>
                    <a:pt x="1176" y="49"/>
                  </a:lnTo>
                  <a:lnTo>
                    <a:pt x="1179" y="52"/>
                  </a:lnTo>
                  <a:lnTo>
                    <a:pt x="1186" y="59"/>
                  </a:lnTo>
                  <a:lnTo>
                    <a:pt x="1186" y="63"/>
                  </a:lnTo>
                  <a:lnTo>
                    <a:pt x="1186" y="66"/>
                  </a:lnTo>
                  <a:lnTo>
                    <a:pt x="1186" y="66"/>
                  </a:lnTo>
                  <a:lnTo>
                    <a:pt x="1186" y="68"/>
                  </a:lnTo>
                  <a:lnTo>
                    <a:pt x="1186" y="68"/>
                  </a:lnTo>
                  <a:lnTo>
                    <a:pt x="1186" y="71"/>
                  </a:lnTo>
                  <a:lnTo>
                    <a:pt x="1186" y="73"/>
                  </a:lnTo>
                  <a:lnTo>
                    <a:pt x="1188" y="78"/>
                  </a:lnTo>
                  <a:lnTo>
                    <a:pt x="1190" y="80"/>
                  </a:lnTo>
                  <a:lnTo>
                    <a:pt x="1193" y="85"/>
                  </a:lnTo>
                  <a:lnTo>
                    <a:pt x="1195" y="92"/>
                  </a:lnTo>
                  <a:lnTo>
                    <a:pt x="1197" y="97"/>
                  </a:lnTo>
                  <a:lnTo>
                    <a:pt x="1197" y="104"/>
                  </a:lnTo>
                  <a:lnTo>
                    <a:pt x="1200" y="106"/>
                  </a:lnTo>
                  <a:lnTo>
                    <a:pt x="1200" y="108"/>
                  </a:lnTo>
                  <a:lnTo>
                    <a:pt x="1200" y="108"/>
                  </a:lnTo>
                  <a:lnTo>
                    <a:pt x="1200" y="108"/>
                  </a:lnTo>
                  <a:lnTo>
                    <a:pt x="1200" y="108"/>
                  </a:lnTo>
                  <a:lnTo>
                    <a:pt x="1200" y="106"/>
                  </a:lnTo>
                  <a:lnTo>
                    <a:pt x="1200" y="106"/>
                  </a:lnTo>
                  <a:lnTo>
                    <a:pt x="1200" y="106"/>
                  </a:lnTo>
                  <a:lnTo>
                    <a:pt x="1200" y="106"/>
                  </a:lnTo>
                  <a:lnTo>
                    <a:pt x="1200" y="108"/>
                  </a:lnTo>
                  <a:lnTo>
                    <a:pt x="1200" y="113"/>
                  </a:lnTo>
                  <a:lnTo>
                    <a:pt x="1202" y="116"/>
                  </a:lnTo>
                  <a:lnTo>
                    <a:pt x="1202" y="118"/>
                  </a:lnTo>
                  <a:lnTo>
                    <a:pt x="1205" y="127"/>
                  </a:lnTo>
                  <a:lnTo>
                    <a:pt x="1205" y="132"/>
                  </a:lnTo>
                  <a:lnTo>
                    <a:pt x="1205" y="137"/>
                  </a:lnTo>
                  <a:lnTo>
                    <a:pt x="1202" y="146"/>
                  </a:lnTo>
                  <a:lnTo>
                    <a:pt x="1202" y="146"/>
                  </a:lnTo>
                  <a:lnTo>
                    <a:pt x="1200" y="151"/>
                  </a:lnTo>
                  <a:lnTo>
                    <a:pt x="1200" y="151"/>
                  </a:lnTo>
                  <a:lnTo>
                    <a:pt x="1197" y="153"/>
                  </a:lnTo>
                  <a:lnTo>
                    <a:pt x="1197" y="156"/>
                  </a:lnTo>
                  <a:lnTo>
                    <a:pt x="1195" y="158"/>
                  </a:lnTo>
                  <a:lnTo>
                    <a:pt x="1195" y="160"/>
                  </a:lnTo>
                  <a:lnTo>
                    <a:pt x="1195" y="163"/>
                  </a:lnTo>
                  <a:lnTo>
                    <a:pt x="1200" y="168"/>
                  </a:lnTo>
                  <a:lnTo>
                    <a:pt x="1200" y="168"/>
                  </a:lnTo>
                  <a:lnTo>
                    <a:pt x="1205" y="172"/>
                  </a:lnTo>
                  <a:lnTo>
                    <a:pt x="1207" y="175"/>
                  </a:lnTo>
                  <a:lnTo>
                    <a:pt x="1209" y="179"/>
                  </a:lnTo>
                  <a:lnTo>
                    <a:pt x="1209" y="179"/>
                  </a:lnTo>
                  <a:lnTo>
                    <a:pt x="1209" y="177"/>
                  </a:lnTo>
                  <a:lnTo>
                    <a:pt x="1209" y="177"/>
                  </a:lnTo>
                  <a:lnTo>
                    <a:pt x="1209" y="177"/>
                  </a:lnTo>
                  <a:lnTo>
                    <a:pt x="1209" y="175"/>
                  </a:lnTo>
                  <a:lnTo>
                    <a:pt x="1209" y="175"/>
                  </a:lnTo>
                  <a:lnTo>
                    <a:pt x="1212" y="177"/>
                  </a:lnTo>
                  <a:lnTo>
                    <a:pt x="1214" y="177"/>
                  </a:lnTo>
                  <a:lnTo>
                    <a:pt x="1214" y="179"/>
                  </a:lnTo>
                  <a:lnTo>
                    <a:pt x="1214" y="179"/>
                  </a:lnTo>
                  <a:lnTo>
                    <a:pt x="1214" y="179"/>
                  </a:lnTo>
                  <a:lnTo>
                    <a:pt x="1214" y="179"/>
                  </a:lnTo>
                  <a:lnTo>
                    <a:pt x="1214" y="179"/>
                  </a:lnTo>
                  <a:lnTo>
                    <a:pt x="1214" y="179"/>
                  </a:lnTo>
                  <a:lnTo>
                    <a:pt x="1214" y="182"/>
                  </a:lnTo>
                  <a:lnTo>
                    <a:pt x="1216" y="182"/>
                  </a:lnTo>
                  <a:lnTo>
                    <a:pt x="1216" y="182"/>
                  </a:lnTo>
                  <a:lnTo>
                    <a:pt x="1221" y="182"/>
                  </a:lnTo>
                  <a:lnTo>
                    <a:pt x="1223" y="177"/>
                  </a:lnTo>
                  <a:lnTo>
                    <a:pt x="1226" y="177"/>
                  </a:lnTo>
                  <a:lnTo>
                    <a:pt x="1226" y="177"/>
                  </a:lnTo>
                  <a:lnTo>
                    <a:pt x="1226" y="177"/>
                  </a:lnTo>
                  <a:lnTo>
                    <a:pt x="1223" y="177"/>
                  </a:lnTo>
                  <a:lnTo>
                    <a:pt x="1226" y="177"/>
                  </a:lnTo>
                  <a:lnTo>
                    <a:pt x="1226" y="177"/>
                  </a:lnTo>
                  <a:lnTo>
                    <a:pt x="1226" y="177"/>
                  </a:lnTo>
                  <a:lnTo>
                    <a:pt x="1226" y="177"/>
                  </a:lnTo>
                  <a:lnTo>
                    <a:pt x="1226" y="177"/>
                  </a:lnTo>
                  <a:lnTo>
                    <a:pt x="1226" y="177"/>
                  </a:lnTo>
                  <a:lnTo>
                    <a:pt x="1226" y="179"/>
                  </a:lnTo>
                  <a:lnTo>
                    <a:pt x="1223" y="179"/>
                  </a:lnTo>
                  <a:lnTo>
                    <a:pt x="1221" y="182"/>
                  </a:lnTo>
                  <a:lnTo>
                    <a:pt x="1221" y="182"/>
                  </a:lnTo>
                  <a:lnTo>
                    <a:pt x="1221" y="182"/>
                  </a:lnTo>
                  <a:lnTo>
                    <a:pt x="1219" y="184"/>
                  </a:lnTo>
                  <a:lnTo>
                    <a:pt x="1219" y="184"/>
                  </a:lnTo>
                  <a:lnTo>
                    <a:pt x="1219" y="184"/>
                  </a:lnTo>
                  <a:lnTo>
                    <a:pt x="1219" y="186"/>
                  </a:lnTo>
                  <a:lnTo>
                    <a:pt x="1221" y="184"/>
                  </a:lnTo>
                  <a:lnTo>
                    <a:pt x="1221" y="186"/>
                  </a:lnTo>
                  <a:lnTo>
                    <a:pt x="1223" y="186"/>
                  </a:lnTo>
                  <a:lnTo>
                    <a:pt x="1223" y="184"/>
                  </a:lnTo>
                  <a:lnTo>
                    <a:pt x="1223" y="184"/>
                  </a:lnTo>
                  <a:lnTo>
                    <a:pt x="1223" y="184"/>
                  </a:lnTo>
                  <a:lnTo>
                    <a:pt x="1223" y="182"/>
                  </a:lnTo>
                  <a:lnTo>
                    <a:pt x="1223" y="184"/>
                  </a:lnTo>
                  <a:lnTo>
                    <a:pt x="1226" y="184"/>
                  </a:lnTo>
                  <a:lnTo>
                    <a:pt x="1226" y="184"/>
                  </a:lnTo>
                  <a:lnTo>
                    <a:pt x="1226" y="184"/>
                  </a:lnTo>
                  <a:lnTo>
                    <a:pt x="1223" y="184"/>
                  </a:lnTo>
                  <a:lnTo>
                    <a:pt x="1223" y="186"/>
                  </a:lnTo>
                  <a:lnTo>
                    <a:pt x="1223" y="186"/>
                  </a:lnTo>
                  <a:lnTo>
                    <a:pt x="1223" y="186"/>
                  </a:lnTo>
                  <a:lnTo>
                    <a:pt x="1231" y="189"/>
                  </a:lnTo>
                  <a:lnTo>
                    <a:pt x="1233" y="189"/>
                  </a:lnTo>
                  <a:lnTo>
                    <a:pt x="1235" y="191"/>
                  </a:lnTo>
                  <a:lnTo>
                    <a:pt x="1235" y="191"/>
                  </a:lnTo>
                  <a:lnTo>
                    <a:pt x="1235" y="194"/>
                  </a:lnTo>
                  <a:lnTo>
                    <a:pt x="1235" y="194"/>
                  </a:lnTo>
                  <a:lnTo>
                    <a:pt x="1235" y="194"/>
                  </a:lnTo>
                  <a:lnTo>
                    <a:pt x="1235" y="194"/>
                  </a:lnTo>
                  <a:lnTo>
                    <a:pt x="1235" y="194"/>
                  </a:lnTo>
                  <a:lnTo>
                    <a:pt x="1235" y="194"/>
                  </a:lnTo>
                  <a:lnTo>
                    <a:pt x="1235" y="194"/>
                  </a:lnTo>
                  <a:lnTo>
                    <a:pt x="1235" y="194"/>
                  </a:lnTo>
                  <a:lnTo>
                    <a:pt x="1235" y="194"/>
                  </a:lnTo>
                  <a:lnTo>
                    <a:pt x="1238" y="196"/>
                  </a:lnTo>
                  <a:lnTo>
                    <a:pt x="1238" y="196"/>
                  </a:lnTo>
                  <a:lnTo>
                    <a:pt x="1238" y="196"/>
                  </a:lnTo>
                  <a:lnTo>
                    <a:pt x="1238" y="196"/>
                  </a:lnTo>
                  <a:lnTo>
                    <a:pt x="1238" y="198"/>
                  </a:lnTo>
                  <a:lnTo>
                    <a:pt x="1238" y="198"/>
                  </a:lnTo>
                  <a:lnTo>
                    <a:pt x="1238" y="198"/>
                  </a:lnTo>
                  <a:lnTo>
                    <a:pt x="1238" y="201"/>
                  </a:lnTo>
                  <a:lnTo>
                    <a:pt x="1238" y="198"/>
                  </a:lnTo>
                  <a:lnTo>
                    <a:pt x="1235" y="198"/>
                  </a:lnTo>
                  <a:lnTo>
                    <a:pt x="1235" y="198"/>
                  </a:lnTo>
                  <a:lnTo>
                    <a:pt x="1233" y="196"/>
                  </a:lnTo>
                  <a:lnTo>
                    <a:pt x="1233" y="198"/>
                  </a:lnTo>
                  <a:lnTo>
                    <a:pt x="1233" y="198"/>
                  </a:lnTo>
                  <a:lnTo>
                    <a:pt x="1233" y="198"/>
                  </a:lnTo>
                  <a:lnTo>
                    <a:pt x="1233" y="198"/>
                  </a:lnTo>
                  <a:lnTo>
                    <a:pt x="1231" y="198"/>
                  </a:lnTo>
                  <a:lnTo>
                    <a:pt x="1231" y="198"/>
                  </a:lnTo>
                  <a:lnTo>
                    <a:pt x="1228" y="198"/>
                  </a:lnTo>
                  <a:lnTo>
                    <a:pt x="1228" y="201"/>
                  </a:lnTo>
                  <a:lnTo>
                    <a:pt x="1228" y="201"/>
                  </a:lnTo>
                  <a:lnTo>
                    <a:pt x="1228" y="201"/>
                  </a:lnTo>
                  <a:lnTo>
                    <a:pt x="1226" y="203"/>
                  </a:lnTo>
                  <a:lnTo>
                    <a:pt x="1226" y="203"/>
                  </a:lnTo>
                  <a:lnTo>
                    <a:pt x="1223" y="203"/>
                  </a:lnTo>
                  <a:lnTo>
                    <a:pt x="1223" y="203"/>
                  </a:lnTo>
                  <a:lnTo>
                    <a:pt x="1223" y="203"/>
                  </a:lnTo>
                  <a:lnTo>
                    <a:pt x="1223" y="205"/>
                  </a:lnTo>
                  <a:lnTo>
                    <a:pt x="1223" y="205"/>
                  </a:lnTo>
                  <a:lnTo>
                    <a:pt x="1223" y="205"/>
                  </a:lnTo>
                  <a:lnTo>
                    <a:pt x="1221" y="208"/>
                  </a:lnTo>
                  <a:lnTo>
                    <a:pt x="1221" y="208"/>
                  </a:lnTo>
                  <a:lnTo>
                    <a:pt x="1223" y="217"/>
                  </a:lnTo>
                  <a:lnTo>
                    <a:pt x="1223" y="217"/>
                  </a:lnTo>
                  <a:lnTo>
                    <a:pt x="1223" y="220"/>
                  </a:lnTo>
                  <a:lnTo>
                    <a:pt x="1223" y="220"/>
                  </a:lnTo>
                  <a:lnTo>
                    <a:pt x="1223" y="220"/>
                  </a:lnTo>
                  <a:lnTo>
                    <a:pt x="1223" y="222"/>
                  </a:lnTo>
                  <a:lnTo>
                    <a:pt x="1223" y="224"/>
                  </a:lnTo>
                  <a:lnTo>
                    <a:pt x="1223" y="224"/>
                  </a:lnTo>
                  <a:lnTo>
                    <a:pt x="1223" y="224"/>
                  </a:lnTo>
                  <a:lnTo>
                    <a:pt x="1226" y="224"/>
                  </a:lnTo>
                  <a:lnTo>
                    <a:pt x="1226" y="224"/>
                  </a:lnTo>
                  <a:lnTo>
                    <a:pt x="1228" y="227"/>
                  </a:lnTo>
                  <a:lnTo>
                    <a:pt x="1228" y="227"/>
                  </a:lnTo>
                  <a:lnTo>
                    <a:pt x="1231" y="227"/>
                  </a:lnTo>
                  <a:lnTo>
                    <a:pt x="1231" y="224"/>
                  </a:lnTo>
                  <a:lnTo>
                    <a:pt x="1231" y="224"/>
                  </a:lnTo>
                  <a:lnTo>
                    <a:pt x="1231" y="224"/>
                  </a:lnTo>
                  <a:lnTo>
                    <a:pt x="1231" y="224"/>
                  </a:lnTo>
                  <a:lnTo>
                    <a:pt x="1231" y="224"/>
                  </a:lnTo>
                  <a:lnTo>
                    <a:pt x="1233" y="224"/>
                  </a:lnTo>
                  <a:lnTo>
                    <a:pt x="1233" y="224"/>
                  </a:lnTo>
                  <a:lnTo>
                    <a:pt x="1233" y="224"/>
                  </a:lnTo>
                  <a:lnTo>
                    <a:pt x="1233" y="222"/>
                  </a:lnTo>
                  <a:lnTo>
                    <a:pt x="1233" y="222"/>
                  </a:lnTo>
                  <a:lnTo>
                    <a:pt x="1235" y="222"/>
                  </a:lnTo>
                  <a:lnTo>
                    <a:pt x="1235" y="222"/>
                  </a:lnTo>
                  <a:lnTo>
                    <a:pt x="1238" y="222"/>
                  </a:lnTo>
                  <a:lnTo>
                    <a:pt x="1242" y="224"/>
                  </a:lnTo>
                  <a:lnTo>
                    <a:pt x="1242" y="227"/>
                  </a:lnTo>
                  <a:lnTo>
                    <a:pt x="1242" y="229"/>
                  </a:lnTo>
                  <a:lnTo>
                    <a:pt x="1245" y="231"/>
                  </a:lnTo>
                  <a:lnTo>
                    <a:pt x="1247" y="234"/>
                  </a:lnTo>
                  <a:lnTo>
                    <a:pt x="1247" y="234"/>
                  </a:lnTo>
                  <a:lnTo>
                    <a:pt x="1247" y="234"/>
                  </a:lnTo>
                  <a:lnTo>
                    <a:pt x="1247" y="231"/>
                  </a:lnTo>
                  <a:lnTo>
                    <a:pt x="1247" y="231"/>
                  </a:lnTo>
                  <a:lnTo>
                    <a:pt x="1249" y="231"/>
                  </a:lnTo>
                  <a:lnTo>
                    <a:pt x="1249" y="231"/>
                  </a:lnTo>
                  <a:lnTo>
                    <a:pt x="1252" y="234"/>
                  </a:lnTo>
                  <a:lnTo>
                    <a:pt x="1252" y="234"/>
                  </a:lnTo>
                  <a:lnTo>
                    <a:pt x="1252" y="234"/>
                  </a:lnTo>
                  <a:lnTo>
                    <a:pt x="1254" y="234"/>
                  </a:lnTo>
                  <a:lnTo>
                    <a:pt x="1254" y="234"/>
                  </a:lnTo>
                  <a:lnTo>
                    <a:pt x="1254" y="234"/>
                  </a:lnTo>
                  <a:lnTo>
                    <a:pt x="1254" y="234"/>
                  </a:lnTo>
                  <a:lnTo>
                    <a:pt x="1254" y="234"/>
                  </a:lnTo>
                  <a:lnTo>
                    <a:pt x="1252" y="234"/>
                  </a:lnTo>
                  <a:lnTo>
                    <a:pt x="1252" y="236"/>
                  </a:lnTo>
                  <a:lnTo>
                    <a:pt x="1252" y="236"/>
                  </a:lnTo>
                  <a:lnTo>
                    <a:pt x="1252" y="236"/>
                  </a:lnTo>
                  <a:lnTo>
                    <a:pt x="1252" y="236"/>
                  </a:lnTo>
                  <a:lnTo>
                    <a:pt x="1252" y="239"/>
                  </a:lnTo>
                  <a:lnTo>
                    <a:pt x="1252" y="241"/>
                  </a:lnTo>
                  <a:lnTo>
                    <a:pt x="1249" y="243"/>
                  </a:lnTo>
                  <a:lnTo>
                    <a:pt x="1249" y="246"/>
                  </a:lnTo>
                  <a:lnTo>
                    <a:pt x="1247" y="246"/>
                  </a:lnTo>
                  <a:lnTo>
                    <a:pt x="1247" y="248"/>
                  </a:lnTo>
                  <a:lnTo>
                    <a:pt x="1247" y="248"/>
                  </a:lnTo>
                  <a:lnTo>
                    <a:pt x="1242" y="246"/>
                  </a:lnTo>
                  <a:lnTo>
                    <a:pt x="1238" y="243"/>
                  </a:lnTo>
                  <a:lnTo>
                    <a:pt x="1235" y="243"/>
                  </a:lnTo>
                  <a:lnTo>
                    <a:pt x="1233" y="243"/>
                  </a:lnTo>
                  <a:lnTo>
                    <a:pt x="1233" y="241"/>
                  </a:lnTo>
                  <a:lnTo>
                    <a:pt x="1231" y="236"/>
                  </a:lnTo>
                  <a:lnTo>
                    <a:pt x="1231" y="234"/>
                  </a:lnTo>
                  <a:lnTo>
                    <a:pt x="1231" y="231"/>
                  </a:lnTo>
                  <a:lnTo>
                    <a:pt x="1231" y="231"/>
                  </a:lnTo>
                  <a:lnTo>
                    <a:pt x="1231" y="229"/>
                  </a:lnTo>
                  <a:lnTo>
                    <a:pt x="1231" y="227"/>
                  </a:lnTo>
                  <a:lnTo>
                    <a:pt x="1231" y="227"/>
                  </a:lnTo>
                  <a:lnTo>
                    <a:pt x="1228" y="227"/>
                  </a:lnTo>
                  <a:lnTo>
                    <a:pt x="1228" y="227"/>
                  </a:lnTo>
                  <a:lnTo>
                    <a:pt x="1226" y="227"/>
                  </a:lnTo>
                  <a:lnTo>
                    <a:pt x="1226" y="227"/>
                  </a:lnTo>
                  <a:lnTo>
                    <a:pt x="1226" y="229"/>
                  </a:lnTo>
                  <a:lnTo>
                    <a:pt x="1226" y="229"/>
                  </a:lnTo>
                  <a:lnTo>
                    <a:pt x="1223" y="227"/>
                  </a:lnTo>
                  <a:lnTo>
                    <a:pt x="1223" y="229"/>
                  </a:lnTo>
                  <a:lnTo>
                    <a:pt x="1219" y="227"/>
                  </a:lnTo>
                  <a:lnTo>
                    <a:pt x="1219" y="227"/>
                  </a:lnTo>
                  <a:lnTo>
                    <a:pt x="1214" y="220"/>
                  </a:lnTo>
                  <a:lnTo>
                    <a:pt x="1214" y="217"/>
                  </a:lnTo>
                  <a:lnTo>
                    <a:pt x="1216" y="213"/>
                  </a:lnTo>
                  <a:lnTo>
                    <a:pt x="1216" y="210"/>
                  </a:lnTo>
                  <a:lnTo>
                    <a:pt x="1214" y="210"/>
                  </a:lnTo>
                  <a:lnTo>
                    <a:pt x="1214" y="208"/>
                  </a:lnTo>
                  <a:lnTo>
                    <a:pt x="1216" y="208"/>
                  </a:lnTo>
                  <a:lnTo>
                    <a:pt x="1216" y="205"/>
                  </a:lnTo>
                  <a:lnTo>
                    <a:pt x="1219" y="205"/>
                  </a:lnTo>
                  <a:lnTo>
                    <a:pt x="1221" y="203"/>
                  </a:lnTo>
                  <a:lnTo>
                    <a:pt x="1221" y="203"/>
                  </a:lnTo>
                  <a:lnTo>
                    <a:pt x="1221" y="203"/>
                  </a:lnTo>
                  <a:lnTo>
                    <a:pt x="1219" y="201"/>
                  </a:lnTo>
                  <a:lnTo>
                    <a:pt x="1219" y="201"/>
                  </a:lnTo>
                  <a:lnTo>
                    <a:pt x="1219" y="196"/>
                  </a:lnTo>
                  <a:lnTo>
                    <a:pt x="1221" y="191"/>
                  </a:lnTo>
                  <a:lnTo>
                    <a:pt x="1221" y="189"/>
                  </a:lnTo>
                  <a:lnTo>
                    <a:pt x="1219" y="189"/>
                  </a:lnTo>
                  <a:lnTo>
                    <a:pt x="1219" y="189"/>
                  </a:lnTo>
                  <a:lnTo>
                    <a:pt x="1219" y="189"/>
                  </a:lnTo>
                  <a:lnTo>
                    <a:pt x="1216" y="189"/>
                  </a:lnTo>
                  <a:lnTo>
                    <a:pt x="1216" y="189"/>
                  </a:lnTo>
                  <a:lnTo>
                    <a:pt x="1216" y="186"/>
                  </a:lnTo>
                  <a:lnTo>
                    <a:pt x="1216" y="186"/>
                  </a:lnTo>
                  <a:lnTo>
                    <a:pt x="1216" y="186"/>
                  </a:lnTo>
                  <a:lnTo>
                    <a:pt x="1216" y="186"/>
                  </a:lnTo>
                  <a:lnTo>
                    <a:pt x="1216" y="186"/>
                  </a:lnTo>
                  <a:lnTo>
                    <a:pt x="1216" y="186"/>
                  </a:lnTo>
                  <a:lnTo>
                    <a:pt x="1214" y="189"/>
                  </a:lnTo>
                  <a:lnTo>
                    <a:pt x="1214" y="189"/>
                  </a:lnTo>
                  <a:lnTo>
                    <a:pt x="1214" y="189"/>
                  </a:lnTo>
                  <a:lnTo>
                    <a:pt x="1214" y="186"/>
                  </a:lnTo>
                  <a:lnTo>
                    <a:pt x="1212" y="186"/>
                  </a:lnTo>
                  <a:lnTo>
                    <a:pt x="1212" y="186"/>
                  </a:lnTo>
                  <a:lnTo>
                    <a:pt x="1212" y="189"/>
                  </a:lnTo>
                  <a:lnTo>
                    <a:pt x="1209" y="189"/>
                  </a:lnTo>
                  <a:lnTo>
                    <a:pt x="1209" y="191"/>
                  </a:lnTo>
                  <a:lnTo>
                    <a:pt x="1209" y="191"/>
                  </a:lnTo>
                  <a:lnTo>
                    <a:pt x="1209" y="191"/>
                  </a:lnTo>
                  <a:lnTo>
                    <a:pt x="1209" y="194"/>
                  </a:lnTo>
                  <a:lnTo>
                    <a:pt x="1209" y="196"/>
                  </a:lnTo>
                  <a:lnTo>
                    <a:pt x="1209" y="196"/>
                  </a:lnTo>
                  <a:lnTo>
                    <a:pt x="1209" y="196"/>
                  </a:lnTo>
                  <a:lnTo>
                    <a:pt x="1209" y="196"/>
                  </a:lnTo>
                  <a:lnTo>
                    <a:pt x="1209" y="198"/>
                  </a:lnTo>
                  <a:lnTo>
                    <a:pt x="1209" y="198"/>
                  </a:lnTo>
                  <a:lnTo>
                    <a:pt x="1209" y="198"/>
                  </a:lnTo>
                  <a:lnTo>
                    <a:pt x="1209" y="198"/>
                  </a:lnTo>
                  <a:lnTo>
                    <a:pt x="1209" y="201"/>
                  </a:lnTo>
                  <a:lnTo>
                    <a:pt x="1214" y="203"/>
                  </a:lnTo>
                  <a:lnTo>
                    <a:pt x="1214" y="203"/>
                  </a:lnTo>
                  <a:lnTo>
                    <a:pt x="1214" y="205"/>
                  </a:lnTo>
                  <a:lnTo>
                    <a:pt x="1214" y="210"/>
                  </a:lnTo>
                  <a:lnTo>
                    <a:pt x="1214" y="217"/>
                  </a:lnTo>
                  <a:lnTo>
                    <a:pt x="1214" y="220"/>
                  </a:lnTo>
                  <a:lnTo>
                    <a:pt x="1214" y="222"/>
                  </a:lnTo>
                  <a:lnTo>
                    <a:pt x="1212" y="222"/>
                  </a:lnTo>
                  <a:lnTo>
                    <a:pt x="1212" y="224"/>
                  </a:lnTo>
                  <a:lnTo>
                    <a:pt x="1212" y="224"/>
                  </a:lnTo>
                  <a:lnTo>
                    <a:pt x="1209" y="224"/>
                  </a:lnTo>
                  <a:lnTo>
                    <a:pt x="1207" y="227"/>
                  </a:lnTo>
                  <a:lnTo>
                    <a:pt x="1207" y="227"/>
                  </a:lnTo>
                  <a:lnTo>
                    <a:pt x="1207" y="229"/>
                  </a:lnTo>
                  <a:lnTo>
                    <a:pt x="1207" y="229"/>
                  </a:lnTo>
                  <a:lnTo>
                    <a:pt x="1207" y="229"/>
                  </a:lnTo>
                  <a:lnTo>
                    <a:pt x="1207" y="229"/>
                  </a:lnTo>
                  <a:lnTo>
                    <a:pt x="1207" y="229"/>
                  </a:lnTo>
                  <a:lnTo>
                    <a:pt x="1205" y="231"/>
                  </a:lnTo>
                  <a:lnTo>
                    <a:pt x="1205" y="231"/>
                  </a:lnTo>
                  <a:lnTo>
                    <a:pt x="1205" y="231"/>
                  </a:lnTo>
                  <a:lnTo>
                    <a:pt x="1205" y="231"/>
                  </a:lnTo>
                  <a:lnTo>
                    <a:pt x="1207" y="231"/>
                  </a:lnTo>
                  <a:lnTo>
                    <a:pt x="1207" y="231"/>
                  </a:lnTo>
                  <a:lnTo>
                    <a:pt x="1207" y="231"/>
                  </a:lnTo>
                  <a:lnTo>
                    <a:pt x="1207" y="231"/>
                  </a:lnTo>
                  <a:lnTo>
                    <a:pt x="1207" y="231"/>
                  </a:lnTo>
                  <a:lnTo>
                    <a:pt x="1207" y="229"/>
                  </a:lnTo>
                  <a:lnTo>
                    <a:pt x="1207" y="229"/>
                  </a:lnTo>
                  <a:lnTo>
                    <a:pt x="1207" y="229"/>
                  </a:lnTo>
                  <a:lnTo>
                    <a:pt x="1207" y="229"/>
                  </a:lnTo>
                  <a:lnTo>
                    <a:pt x="1209" y="227"/>
                  </a:lnTo>
                  <a:lnTo>
                    <a:pt x="1209" y="227"/>
                  </a:lnTo>
                  <a:lnTo>
                    <a:pt x="1212" y="227"/>
                  </a:lnTo>
                  <a:lnTo>
                    <a:pt x="1212" y="227"/>
                  </a:lnTo>
                  <a:lnTo>
                    <a:pt x="1214" y="227"/>
                  </a:lnTo>
                  <a:lnTo>
                    <a:pt x="1214" y="227"/>
                  </a:lnTo>
                  <a:lnTo>
                    <a:pt x="1219" y="229"/>
                  </a:lnTo>
                  <a:lnTo>
                    <a:pt x="1219" y="234"/>
                  </a:lnTo>
                  <a:lnTo>
                    <a:pt x="1221" y="234"/>
                  </a:lnTo>
                  <a:lnTo>
                    <a:pt x="1221" y="234"/>
                  </a:lnTo>
                  <a:lnTo>
                    <a:pt x="1221" y="234"/>
                  </a:lnTo>
                  <a:lnTo>
                    <a:pt x="1223" y="236"/>
                  </a:lnTo>
                  <a:lnTo>
                    <a:pt x="1223" y="239"/>
                  </a:lnTo>
                  <a:lnTo>
                    <a:pt x="1226" y="241"/>
                  </a:lnTo>
                  <a:lnTo>
                    <a:pt x="1226" y="241"/>
                  </a:lnTo>
                  <a:lnTo>
                    <a:pt x="1223" y="243"/>
                  </a:lnTo>
                  <a:lnTo>
                    <a:pt x="1223" y="243"/>
                  </a:lnTo>
                  <a:lnTo>
                    <a:pt x="1223" y="246"/>
                  </a:lnTo>
                  <a:lnTo>
                    <a:pt x="1223" y="246"/>
                  </a:lnTo>
                  <a:lnTo>
                    <a:pt x="1223" y="248"/>
                  </a:lnTo>
                  <a:lnTo>
                    <a:pt x="1221" y="248"/>
                  </a:lnTo>
                  <a:lnTo>
                    <a:pt x="1221" y="250"/>
                  </a:lnTo>
                  <a:lnTo>
                    <a:pt x="1221" y="250"/>
                  </a:lnTo>
                  <a:lnTo>
                    <a:pt x="1219" y="250"/>
                  </a:lnTo>
                  <a:lnTo>
                    <a:pt x="1219" y="250"/>
                  </a:lnTo>
                  <a:lnTo>
                    <a:pt x="1219" y="250"/>
                  </a:lnTo>
                  <a:lnTo>
                    <a:pt x="1216" y="250"/>
                  </a:lnTo>
                  <a:lnTo>
                    <a:pt x="1216" y="250"/>
                  </a:lnTo>
                  <a:lnTo>
                    <a:pt x="1216" y="250"/>
                  </a:lnTo>
                  <a:lnTo>
                    <a:pt x="1216" y="250"/>
                  </a:lnTo>
                  <a:lnTo>
                    <a:pt x="1216" y="250"/>
                  </a:lnTo>
                  <a:lnTo>
                    <a:pt x="1216" y="250"/>
                  </a:lnTo>
                  <a:lnTo>
                    <a:pt x="1219" y="250"/>
                  </a:lnTo>
                  <a:lnTo>
                    <a:pt x="1219" y="250"/>
                  </a:lnTo>
                  <a:lnTo>
                    <a:pt x="1219" y="250"/>
                  </a:lnTo>
                  <a:lnTo>
                    <a:pt x="1219" y="250"/>
                  </a:lnTo>
                  <a:lnTo>
                    <a:pt x="1219" y="248"/>
                  </a:lnTo>
                  <a:lnTo>
                    <a:pt x="1219" y="248"/>
                  </a:lnTo>
                  <a:lnTo>
                    <a:pt x="1219" y="248"/>
                  </a:lnTo>
                  <a:lnTo>
                    <a:pt x="1221" y="248"/>
                  </a:lnTo>
                  <a:lnTo>
                    <a:pt x="1221" y="248"/>
                  </a:lnTo>
                  <a:lnTo>
                    <a:pt x="1221" y="246"/>
                  </a:lnTo>
                  <a:lnTo>
                    <a:pt x="1221" y="248"/>
                  </a:lnTo>
                  <a:lnTo>
                    <a:pt x="1221" y="246"/>
                  </a:lnTo>
                  <a:lnTo>
                    <a:pt x="1221" y="246"/>
                  </a:lnTo>
                  <a:lnTo>
                    <a:pt x="1221" y="246"/>
                  </a:lnTo>
                  <a:lnTo>
                    <a:pt x="1221" y="243"/>
                  </a:lnTo>
                  <a:lnTo>
                    <a:pt x="1221" y="243"/>
                  </a:lnTo>
                  <a:lnTo>
                    <a:pt x="1219" y="246"/>
                  </a:lnTo>
                  <a:lnTo>
                    <a:pt x="1219" y="243"/>
                  </a:lnTo>
                  <a:lnTo>
                    <a:pt x="1216" y="243"/>
                  </a:lnTo>
                  <a:lnTo>
                    <a:pt x="1216" y="243"/>
                  </a:lnTo>
                  <a:lnTo>
                    <a:pt x="1216" y="241"/>
                  </a:lnTo>
                  <a:lnTo>
                    <a:pt x="1216" y="239"/>
                  </a:lnTo>
                  <a:lnTo>
                    <a:pt x="1216" y="239"/>
                  </a:lnTo>
                  <a:lnTo>
                    <a:pt x="1214" y="239"/>
                  </a:lnTo>
                  <a:lnTo>
                    <a:pt x="1212" y="239"/>
                  </a:lnTo>
                  <a:lnTo>
                    <a:pt x="1212" y="239"/>
                  </a:lnTo>
                  <a:lnTo>
                    <a:pt x="1212" y="239"/>
                  </a:lnTo>
                  <a:lnTo>
                    <a:pt x="1212" y="239"/>
                  </a:lnTo>
                  <a:lnTo>
                    <a:pt x="1212" y="239"/>
                  </a:lnTo>
                  <a:lnTo>
                    <a:pt x="1209" y="241"/>
                  </a:lnTo>
                  <a:lnTo>
                    <a:pt x="1209" y="241"/>
                  </a:lnTo>
                  <a:lnTo>
                    <a:pt x="1209" y="241"/>
                  </a:lnTo>
                  <a:lnTo>
                    <a:pt x="1207" y="241"/>
                  </a:lnTo>
                  <a:lnTo>
                    <a:pt x="1207" y="241"/>
                  </a:lnTo>
                  <a:lnTo>
                    <a:pt x="1207" y="241"/>
                  </a:lnTo>
                  <a:lnTo>
                    <a:pt x="1205" y="243"/>
                  </a:lnTo>
                  <a:lnTo>
                    <a:pt x="1202" y="243"/>
                  </a:lnTo>
                  <a:lnTo>
                    <a:pt x="1202" y="243"/>
                  </a:lnTo>
                  <a:lnTo>
                    <a:pt x="1202" y="246"/>
                  </a:lnTo>
                  <a:lnTo>
                    <a:pt x="1202" y="246"/>
                  </a:lnTo>
                  <a:lnTo>
                    <a:pt x="1202" y="246"/>
                  </a:lnTo>
                  <a:lnTo>
                    <a:pt x="1202" y="246"/>
                  </a:lnTo>
                  <a:lnTo>
                    <a:pt x="1202" y="246"/>
                  </a:lnTo>
                  <a:lnTo>
                    <a:pt x="1200" y="246"/>
                  </a:lnTo>
                  <a:lnTo>
                    <a:pt x="1200" y="246"/>
                  </a:lnTo>
                  <a:lnTo>
                    <a:pt x="1200" y="246"/>
                  </a:lnTo>
                  <a:lnTo>
                    <a:pt x="1197" y="246"/>
                  </a:lnTo>
                  <a:lnTo>
                    <a:pt x="1197" y="248"/>
                  </a:lnTo>
                  <a:lnTo>
                    <a:pt x="1197" y="248"/>
                  </a:lnTo>
                  <a:lnTo>
                    <a:pt x="1197" y="250"/>
                  </a:lnTo>
                  <a:lnTo>
                    <a:pt x="1197" y="250"/>
                  </a:lnTo>
                  <a:lnTo>
                    <a:pt x="1195" y="248"/>
                  </a:lnTo>
                  <a:lnTo>
                    <a:pt x="1195" y="248"/>
                  </a:lnTo>
                  <a:lnTo>
                    <a:pt x="1195" y="248"/>
                  </a:lnTo>
                  <a:lnTo>
                    <a:pt x="1195" y="248"/>
                  </a:lnTo>
                  <a:lnTo>
                    <a:pt x="1195" y="248"/>
                  </a:lnTo>
                  <a:lnTo>
                    <a:pt x="1197" y="246"/>
                  </a:lnTo>
                  <a:lnTo>
                    <a:pt x="1197" y="246"/>
                  </a:lnTo>
                  <a:lnTo>
                    <a:pt x="1195" y="246"/>
                  </a:lnTo>
                  <a:lnTo>
                    <a:pt x="1195" y="246"/>
                  </a:lnTo>
                  <a:lnTo>
                    <a:pt x="1195" y="246"/>
                  </a:lnTo>
                  <a:lnTo>
                    <a:pt x="1195" y="246"/>
                  </a:lnTo>
                  <a:lnTo>
                    <a:pt x="1197" y="246"/>
                  </a:lnTo>
                  <a:lnTo>
                    <a:pt x="1197" y="246"/>
                  </a:lnTo>
                  <a:lnTo>
                    <a:pt x="1193" y="239"/>
                  </a:lnTo>
                  <a:lnTo>
                    <a:pt x="1193" y="239"/>
                  </a:lnTo>
                  <a:lnTo>
                    <a:pt x="1188" y="239"/>
                  </a:lnTo>
                  <a:lnTo>
                    <a:pt x="1188" y="239"/>
                  </a:lnTo>
                  <a:lnTo>
                    <a:pt x="1186" y="239"/>
                  </a:lnTo>
                  <a:lnTo>
                    <a:pt x="1186" y="239"/>
                  </a:lnTo>
                  <a:lnTo>
                    <a:pt x="1186" y="236"/>
                  </a:lnTo>
                  <a:lnTo>
                    <a:pt x="1186" y="236"/>
                  </a:lnTo>
                  <a:lnTo>
                    <a:pt x="1186" y="236"/>
                  </a:lnTo>
                  <a:lnTo>
                    <a:pt x="1186" y="236"/>
                  </a:lnTo>
                  <a:lnTo>
                    <a:pt x="1186" y="236"/>
                  </a:lnTo>
                  <a:lnTo>
                    <a:pt x="1186" y="236"/>
                  </a:lnTo>
                  <a:lnTo>
                    <a:pt x="1186" y="236"/>
                  </a:lnTo>
                  <a:lnTo>
                    <a:pt x="1186" y="236"/>
                  </a:lnTo>
                  <a:lnTo>
                    <a:pt x="1186" y="236"/>
                  </a:lnTo>
                  <a:lnTo>
                    <a:pt x="1186" y="236"/>
                  </a:lnTo>
                  <a:lnTo>
                    <a:pt x="1183" y="236"/>
                  </a:lnTo>
                  <a:lnTo>
                    <a:pt x="1181" y="234"/>
                  </a:lnTo>
                  <a:lnTo>
                    <a:pt x="1181" y="234"/>
                  </a:lnTo>
                  <a:lnTo>
                    <a:pt x="1181" y="234"/>
                  </a:lnTo>
                  <a:lnTo>
                    <a:pt x="1181" y="236"/>
                  </a:lnTo>
                  <a:lnTo>
                    <a:pt x="1179" y="236"/>
                  </a:lnTo>
                  <a:lnTo>
                    <a:pt x="1179" y="236"/>
                  </a:lnTo>
                  <a:lnTo>
                    <a:pt x="1179" y="236"/>
                  </a:lnTo>
                  <a:lnTo>
                    <a:pt x="1179" y="236"/>
                  </a:lnTo>
                  <a:lnTo>
                    <a:pt x="1179" y="234"/>
                  </a:lnTo>
                  <a:lnTo>
                    <a:pt x="1179" y="234"/>
                  </a:lnTo>
                  <a:lnTo>
                    <a:pt x="1181" y="234"/>
                  </a:lnTo>
                  <a:lnTo>
                    <a:pt x="1181" y="234"/>
                  </a:lnTo>
                  <a:lnTo>
                    <a:pt x="1181" y="234"/>
                  </a:lnTo>
                  <a:lnTo>
                    <a:pt x="1181" y="231"/>
                  </a:lnTo>
                  <a:lnTo>
                    <a:pt x="1181" y="231"/>
                  </a:lnTo>
                  <a:lnTo>
                    <a:pt x="1181" y="229"/>
                  </a:lnTo>
                  <a:lnTo>
                    <a:pt x="1181" y="229"/>
                  </a:lnTo>
                  <a:lnTo>
                    <a:pt x="1181" y="229"/>
                  </a:lnTo>
                  <a:lnTo>
                    <a:pt x="1179" y="229"/>
                  </a:lnTo>
                  <a:lnTo>
                    <a:pt x="1176" y="227"/>
                  </a:lnTo>
                  <a:lnTo>
                    <a:pt x="1176" y="227"/>
                  </a:lnTo>
                  <a:lnTo>
                    <a:pt x="1174" y="227"/>
                  </a:lnTo>
                  <a:lnTo>
                    <a:pt x="1174" y="227"/>
                  </a:lnTo>
                  <a:lnTo>
                    <a:pt x="1171" y="227"/>
                  </a:lnTo>
                  <a:lnTo>
                    <a:pt x="1169" y="224"/>
                  </a:lnTo>
                  <a:lnTo>
                    <a:pt x="1167" y="222"/>
                  </a:lnTo>
                  <a:lnTo>
                    <a:pt x="1167" y="222"/>
                  </a:lnTo>
                  <a:lnTo>
                    <a:pt x="1167" y="222"/>
                  </a:lnTo>
                  <a:lnTo>
                    <a:pt x="1160" y="217"/>
                  </a:lnTo>
                  <a:lnTo>
                    <a:pt x="1157" y="215"/>
                  </a:lnTo>
                  <a:lnTo>
                    <a:pt x="1157" y="215"/>
                  </a:lnTo>
                  <a:lnTo>
                    <a:pt x="1157" y="213"/>
                  </a:lnTo>
                  <a:lnTo>
                    <a:pt x="1157" y="210"/>
                  </a:lnTo>
                  <a:lnTo>
                    <a:pt x="1160" y="208"/>
                  </a:lnTo>
                  <a:lnTo>
                    <a:pt x="1160" y="208"/>
                  </a:lnTo>
                  <a:lnTo>
                    <a:pt x="1160" y="208"/>
                  </a:lnTo>
                  <a:lnTo>
                    <a:pt x="1157" y="208"/>
                  </a:lnTo>
                  <a:lnTo>
                    <a:pt x="1157" y="208"/>
                  </a:lnTo>
                  <a:lnTo>
                    <a:pt x="1157" y="208"/>
                  </a:lnTo>
                  <a:lnTo>
                    <a:pt x="1157" y="208"/>
                  </a:lnTo>
                  <a:lnTo>
                    <a:pt x="1157" y="208"/>
                  </a:lnTo>
                  <a:lnTo>
                    <a:pt x="1157" y="205"/>
                  </a:lnTo>
                  <a:lnTo>
                    <a:pt x="1155" y="208"/>
                  </a:lnTo>
                  <a:lnTo>
                    <a:pt x="1152" y="205"/>
                  </a:lnTo>
                  <a:lnTo>
                    <a:pt x="1152" y="203"/>
                  </a:lnTo>
                  <a:lnTo>
                    <a:pt x="1155" y="205"/>
                  </a:lnTo>
                  <a:lnTo>
                    <a:pt x="1155" y="205"/>
                  </a:lnTo>
                  <a:lnTo>
                    <a:pt x="1155" y="205"/>
                  </a:lnTo>
                  <a:lnTo>
                    <a:pt x="1157" y="205"/>
                  </a:lnTo>
                  <a:lnTo>
                    <a:pt x="1157" y="205"/>
                  </a:lnTo>
                  <a:lnTo>
                    <a:pt x="1160" y="205"/>
                  </a:lnTo>
                  <a:lnTo>
                    <a:pt x="1160" y="205"/>
                  </a:lnTo>
                  <a:lnTo>
                    <a:pt x="1162" y="205"/>
                  </a:lnTo>
                  <a:lnTo>
                    <a:pt x="1162" y="203"/>
                  </a:lnTo>
                  <a:lnTo>
                    <a:pt x="1162" y="203"/>
                  </a:lnTo>
                  <a:lnTo>
                    <a:pt x="1164" y="203"/>
                  </a:lnTo>
                  <a:lnTo>
                    <a:pt x="1164" y="203"/>
                  </a:lnTo>
                  <a:lnTo>
                    <a:pt x="1164" y="203"/>
                  </a:lnTo>
                  <a:lnTo>
                    <a:pt x="1164" y="201"/>
                  </a:lnTo>
                  <a:lnTo>
                    <a:pt x="1164" y="201"/>
                  </a:lnTo>
                  <a:lnTo>
                    <a:pt x="1164" y="198"/>
                  </a:lnTo>
                  <a:lnTo>
                    <a:pt x="1167" y="198"/>
                  </a:lnTo>
                  <a:lnTo>
                    <a:pt x="1167" y="198"/>
                  </a:lnTo>
                  <a:lnTo>
                    <a:pt x="1167" y="198"/>
                  </a:lnTo>
                  <a:lnTo>
                    <a:pt x="1167" y="196"/>
                  </a:lnTo>
                  <a:lnTo>
                    <a:pt x="1167" y="196"/>
                  </a:lnTo>
                  <a:lnTo>
                    <a:pt x="1167" y="196"/>
                  </a:lnTo>
                  <a:lnTo>
                    <a:pt x="1169" y="196"/>
                  </a:lnTo>
                  <a:lnTo>
                    <a:pt x="1171" y="196"/>
                  </a:lnTo>
                  <a:lnTo>
                    <a:pt x="1171" y="194"/>
                  </a:lnTo>
                  <a:lnTo>
                    <a:pt x="1174" y="194"/>
                  </a:lnTo>
                  <a:lnTo>
                    <a:pt x="1174" y="191"/>
                  </a:lnTo>
                  <a:lnTo>
                    <a:pt x="1174" y="191"/>
                  </a:lnTo>
                  <a:lnTo>
                    <a:pt x="1174" y="191"/>
                  </a:lnTo>
                  <a:lnTo>
                    <a:pt x="1174" y="189"/>
                  </a:lnTo>
                  <a:lnTo>
                    <a:pt x="1171" y="189"/>
                  </a:lnTo>
                  <a:lnTo>
                    <a:pt x="1171" y="186"/>
                  </a:lnTo>
                  <a:lnTo>
                    <a:pt x="1171" y="186"/>
                  </a:lnTo>
                  <a:lnTo>
                    <a:pt x="1171" y="186"/>
                  </a:lnTo>
                  <a:lnTo>
                    <a:pt x="1179" y="191"/>
                  </a:lnTo>
                  <a:lnTo>
                    <a:pt x="1179" y="189"/>
                  </a:lnTo>
                  <a:lnTo>
                    <a:pt x="1176" y="189"/>
                  </a:lnTo>
                  <a:lnTo>
                    <a:pt x="1171" y="184"/>
                  </a:lnTo>
                  <a:lnTo>
                    <a:pt x="1164" y="182"/>
                  </a:lnTo>
                  <a:lnTo>
                    <a:pt x="1160" y="179"/>
                  </a:lnTo>
                  <a:lnTo>
                    <a:pt x="1155" y="177"/>
                  </a:lnTo>
                  <a:lnTo>
                    <a:pt x="1152" y="177"/>
                  </a:lnTo>
                  <a:lnTo>
                    <a:pt x="1148" y="179"/>
                  </a:lnTo>
                  <a:lnTo>
                    <a:pt x="1145" y="179"/>
                  </a:lnTo>
                  <a:lnTo>
                    <a:pt x="1145" y="179"/>
                  </a:lnTo>
                  <a:lnTo>
                    <a:pt x="1145" y="179"/>
                  </a:lnTo>
                  <a:lnTo>
                    <a:pt x="1145" y="179"/>
                  </a:lnTo>
                  <a:lnTo>
                    <a:pt x="1145" y="179"/>
                  </a:lnTo>
                  <a:lnTo>
                    <a:pt x="1143" y="179"/>
                  </a:lnTo>
                  <a:lnTo>
                    <a:pt x="1143" y="179"/>
                  </a:lnTo>
                  <a:lnTo>
                    <a:pt x="1143" y="179"/>
                  </a:lnTo>
                  <a:lnTo>
                    <a:pt x="1141" y="182"/>
                  </a:lnTo>
                  <a:lnTo>
                    <a:pt x="1141" y="182"/>
                  </a:lnTo>
                  <a:lnTo>
                    <a:pt x="1141" y="179"/>
                  </a:lnTo>
                  <a:lnTo>
                    <a:pt x="1141" y="179"/>
                  </a:lnTo>
                  <a:lnTo>
                    <a:pt x="1141" y="179"/>
                  </a:lnTo>
                  <a:lnTo>
                    <a:pt x="1141" y="179"/>
                  </a:lnTo>
                  <a:lnTo>
                    <a:pt x="1141" y="179"/>
                  </a:lnTo>
                  <a:lnTo>
                    <a:pt x="1141" y="179"/>
                  </a:lnTo>
                  <a:lnTo>
                    <a:pt x="1143" y="179"/>
                  </a:lnTo>
                  <a:lnTo>
                    <a:pt x="1141" y="177"/>
                  </a:lnTo>
                  <a:lnTo>
                    <a:pt x="1136" y="175"/>
                  </a:lnTo>
                  <a:lnTo>
                    <a:pt x="1136" y="175"/>
                  </a:lnTo>
                  <a:lnTo>
                    <a:pt x="1136" y="175"/>
                  </a:lnTo>
                  <a:lnTo>
                    <a:pt x="1131" y="175"/>
                  </a:lnTo>
                  <a:lnTo>
                    <a:pt x="1122" y="175"/>
                  </a:lnTo>
                  <a:lnTo>
                    <a:pt x="1119" y="175"/>
                  </a:lnTo>
                  <a:lnTo>
                    <a:pt x="1119" y="177"/>
                  </a:lnTo>
                  <a:lnTo>
                    <a:pt x="1117" y="177"/>
                  </a:lnTo>
                  <a:lnTo>
                    <a:pt x="1117" y="177"/>
                  </a:lnTo>
                  <a:lnTo>
                    <a:pt x="1117" y="179"/>
                  </a:lnTo>
                  <a:lnTo>
                    <a:pt x="1119" y="179"/>
                  </a:lnTo>
                  <a:lnTo>
                    <a:pt x="1119" y="182"/>
                  </a:lnTo>
                  <a:lnTo>
                    <a:pt x="1122" y="184"/>
                  </a:lnTo>
                  <a:lnTo>
                    <a:pt x="1122" y="186"/>
                  </a:lnTo>
                  <a:lnTo>
                    <a:pt x="1122" y="186"/>
                  </a:lnTo>
                  <a:lnTo>
                    <a:pt x="1122" y="186"/>
                  </a:lnTo>
                  <a:lnTo>
                    <a:pt x="1115" y="186"/>
                  </a:lnTo>
                  <a:lnTo>
                    <a:pt x="1108" y="179"/>
                  </a:lnTo>
                  <a:lnTo>
                    <a:pt x="1108" y="177"/>
                  </a:lnTo>
                  <a:lnTo>
                    <a:pt x="1108" y="177"/>
                  </a:lnTo>
                  <a:lnTo>
                    <a:pt x="1110" y="179"/>
                  </a:lnTo>
                  <a:lnTo>
                    <a:pt x="1110" y="179"/>
                  </a:lnTo>
                  <a:lnTo>
                    <a:pt x="1110" y="177"/>
                  </a:lnTo>
                  <a:lnTo>
                    <a:pt x="1108" y="177"/>
                  </a:lnTo>
                  <a:lnTo>
                    <a:pt x="1108" y="175"/>
                  </a:lnTo>
                  <a:lnTo>
                    <a:pt x="1105" y="175"/>
                  </a:lnTo>
                  <a:lnTo>
                    <a:pt x="1105" y="175"/>
                  </a:lnTo>
                  <a:lnTo>
                    <a:pt x="1103" y="175"/>
                  </a:lnTo>
                  <a:lnTo>
                    <a:pt x="1100" y="175"/>
                  </a:lnTo>
                  <a:lnTo>
                    <a:pt x="1098" y="175"/>
                  </a:lnTo>
                  <a:lnTo>
                    <a:pt x="1093" y="175"/>
                  </a:lnTo>
                  <a:lnTo>
                    <a:pt x="1091" y="175"/>
                  </a:lnTo>
                  <a:lnTo>
                    <a:pt x="1089" y="175"/>
                  </a:lnTo>
                  <a:lnTo>
                    <a:pt x="1089" y="175"/>
                  </a:lnTo>
                  <a:lnTo>
                    <a:pt x="1089" y="177"/>
                  </a:lnTo>
                  <a:lnTo>
                    <a:pt x="1089" y="177"/>
                  </a:lnTo>
                  <a:lnTo>
                    <a:pt x="1089" y="177"/>
                  </a:lnTo>
                  <a:lnTo>
                    <a:pt x="1089" y="177"/>
                  </a:lnTo>
                  <a:lnTo>
                    <a:pt x="1086" y="177"/>
                  </a:lnTo>
                  <a:lnTo>
                    <a:pt x="1086" y="177"/>
                  </a:lnTo>
                  <a:lnTo>
                    <a:pt x="1086" y="175"/>
                  </a:lnTo>
                  <a:lnTo>
                    <a:pt x="1089" y="175"/>
                  </a:lnTo>
                  <a:lnTo>
                    <a:pt x="1089" y="175"/>
                  </a:lnTo>
                  <a:lnTo>
                    <a:pt x="1089" y="175"/>
                  </a:lnTo>
                  <a:lnTo>
                    <a:pt x="1089" y="175"/>
                  </a:lnTo>
                  <a:lnTo>
                    <a:pt x="1086" y="175"/>
                  </a:lnTo>
                  <a:lnTo>
                    <a:pt x="1086" y="175"/>
                  </a:lnTo>
                  <a:lnTo>
                    <a:pt x="1084" y="175"/>
                  </a:lnTo>
                  <a:lnTo>
                    <a:pt x="1086" y="177"/>
                  </a:lnTo>
                  <a:lnTo>
                    <a:pt x="1084" y="179"/>
                  </a:lnTo>
                  <a:lnTo>
                    <a:pt x="1081" y="179"/>
                  </a:lnTo>
                  <a:lnTo>
                    <a:pt x="1079" y="179"/>
                  </a:lnTo>
                  <a:lnTo>
                    <a:pt x="1077" y="179"/>
                  </a:lnTo>
                  <a:lnTo>
                    <a:pt x="1074" y="179"/>
                  </a:lnTo>
                  <a:lnTo>
                    <a:pt x="1074" y="177"/>
                  </a:lnTo>
                  <a:lnTo>
                    <a:pt x="1074" y="175"/>
                  </a:lnTo>
                  <a:lnTo>
                    <a:pt x="1074" y="175"/>
                  </a:lnTo>
                  <a:lnTo>
                    <a:pt x="1074" y="175"/>
                  </a:lnTo>
                  <a:lnTo>
                    <a:pt x="1074" y="175"/>
                  </a:lnTo>
                  <a:lnTo>
                    <a:pt x="1067" y="175"/>
                  </a:lnTo>
                  <a:lnTo>
                    <a:pt x="1067" y="175"/>
                  </a:lnTo>
                  <a:lnTo>
                    <a:pt x="1067" y="175"/>
                  </a:lnTo>
                  <a:lnTo>
                    <a:pt x="1067" y="175"/>
                  </a:lnTo>
                  <a:lnTo>
                    <a:pt x="1067" y="177"/>
                  </a:lnTo>
                  <a:lnTo>
                    <a:pt x="1067" y="177"/>
                  </a:lnTo>
                  <a:lnTo>
                    <a:pt x="1067" y="175"/>
                  </a:lnTo>
                  <a:lnTo>
                    <a:pt x="1065" y="175"/>
                  </a:lnTo>
                  <a:lnTo>
                    <a:pt x="1065" y="175"/>
                  </a:lnTo>
                  <a:lnTo>
                    <a:pt x="1065" y="177"/>
                  </a:lnTo>
                  <a:lnTo>
                    <a:pt x="1065" y="177"/>
                  </a:lnTo>
                  <a:lnTo>
                    <a:pt x="1065" y="179"/>
                  </a:lnTo>
                  <a:lnTo>
                    <a:pt x="1065" y="179"/>
                  </a:lnTo>
                  <a:lnTo>
                    <a:pt x="1063" y="179"/>
                  </a:lnTo>
                  <a:lnTo>
                    <a:pt x="1063" y="179"/>
                  </a:lnTo>
                  <a:lnTo>
                    <a:pt x="1055" y="175"/>
                  </a:lnTo>
                  <a:lnTo>
                    <a:pt x="1055" y="177"/>
                  </a:lnTo>
                  <a:lnTo>
                    <a:pt x="1055" y="177"/>
                  </a:lnTo>
                  <a:lnTo>
                    <a:pt x="1053" y="177"/>
                  </a:lnTo>
                  <a:lnTo>
                    <a:pt x="1053" y="177"/>
                  </a:lnTo>
                  <a:lnTo>
                    <a:pt x="1051" y="177"/>
                  </a:lnTo>
                  <a:lnTo>
                    <a:pt x="1048" y="177"/>
                  </a:lnTo>
                  <a:lnTo>
                    <a:pt x="1048" y="175"/>
                  </a:lnTo>
                  <a:lnTo>
                    <a:pt x="1051" y="175"/>
                  </a:lnTo>
                  <a:lnTo>
                    <a:pt x="1051" y="175"/>
                  </a:lnTo>
                  <a:lnTo>
                    <a:pt x="1053" y="175"/>
                  </a:lnTo>
                  <a:lnTo>
                    <a:pt x="1053" y="175"/>
                  </a:lnTo>
                  <a:lnTo>
                    <a:pt x="1055" y="175"/>
                  </a:lnTo>
                  <a:lnTo>
                    <a:pt x="1055" y="175"/>
                  </a:lnTo>
                  <a:lnTo>
                    <a:pt x="1055" y="175"/>
                  </a:lnTo>
                  <a:lnTo>
                    <a:pt x="1055" y="175"/>
                  </a:lnTo>
                  <a:lnTo>
                    <a:pt x="1055" y="172"/>
                  </a:lnTo>
                  <a:lnTo>
                    <a:pt x="1055" y="172"/>
                  </a:lnTo>
                  <a:lnTo>
                    <a:pt x="1053" y="172"/>
                  </a:lnTo>
                  <a:lnTo>
                    <a:pt x="1051" y="172"/>
                  </a:lnTo>
                  <a:lnTo>
                    <a:pt x="1048" y="172"/>
                  </a:lnTo>
                  <a:lnTo>
                    <a:pt x="1048" y="175"/>
                  </a:lnTo>
                  <a:lnTo>
                    <a:pt x="1048" y="175"/>
                  </a:lnTo>
                  <a:lnTo>
                    <a:pt x="1048" y="175"/>
                  </a:lnTo>
                  <a:lnTo>
                    <a:pt x="1048" y="175"/>
                  </a:lnTo>
                  <a:lnTo>
                    <a:pt x="1048" y="175"/>
                  </a:lnTo>
                  <a:lnTo>
                    <a:pt x="1046" y="175"/>
                  </a:lnTo>
                  <a:lnTo>
                    <a:pt x="1046" y="175"/>
                  </a:lnTo>
                  <a:lnTo>
                    <a:pt x="1046" y="177"/>
                  </a:lnTo>
                  <a:lnTo>
                    <a:pt x="1046" y="177"/>
                  </a:lnTo>
                  <a:lnTo>
                    <a:pt x="1046" y="177"/>
                  </a:lnTo>
                  <a:lnTo>
                    <a:pt x="1046" y="177"/>
                  </a:lnTo>
                  <a:lnTo>
                    <a:pt x="1046" y="179"/>
                  </a:lnTo>
                  <a:lnTo>
                    <a:pt x="1046" y="179"/>
                  </a:lnTo>
                  <a:lnTo>
                    <a:pt x="1046" y="179"/>
                  </a:lnTo>
                  <a:lnTo>
                    <a:pt x="1046" y="179"/>
                  </a:lnTo>
                  <a:lnTo>
                    <a:pt x="1048" y="184"/>
                  </a:lnTo>
                  <a:lnTo>
                    <a:pt x="1048" y="186"/>
                  </a:lnTo>
                  <a:lnTo>
                    <a:pt x="1051" y="189"/>
                  </a:lnTo>
                  <a:lnTo>
                    <a:pt x="1051" y="191"/>
                  </a:lnTo>
                  <a:lnTo>
                    <a:pt x="1051" y="194"/>
                  </a:lnTo>
                  <a:lnTo>
                    <a:pt x="1053" y="198"/>
                  </a:lnTo>
                  <a:lnTo>
                    <a:pt x="1058" y="203"/>
                  </a:lnTo>
                  <a:lnTo>
                    <a:pt x="1063" y="205"/>
                  </a:lnTo>
                  <a:lnTo>
                    <a:pt x="1063" y="210"/>
                  </a:lnTo>
                  <a:lnTo>
                    <a:pt x="1065" y="213"/>
                  </a:lnTo>
                  <a:lnTo>
                    <a:pt x="1067" y="215"/>
                  </a:lnTo>
                  <a:lnTo>
                    <a:pt x="1067" y="213"/>
                  </a:lnTo>
                  <a:lnTo>
                    <a:pt x="1065" y="210"/>
                  </a:lnTo>
                  <a:lnTo>
                    <a:pt x="1065" y="210"/>
                  </a:lnTo>
                  <a:lnTo>
                    <a:pt x="1063" y="208"/>
                  </a:lnTo>
                  <a:lnTo>
                    <a:pt x="1063" y="208"/>
                  </a:lnTo>
                  <a:lnTo>
                    <a:pt x="1063" y="208"/>
                  </a:lnTo>
                  <a:lnTo>
                    <a:pt x="1067" y="213"/>
                  </a:lnTo>
                  <a:lnTo>
                    <a:pt x="1072" y="215"/>
                  </a:lnTo>
                  <a:lnTo>
                    <a:pt x="1072" y="217"/>
                  </a:lnTo>
                  <a:lnTo>
                    <a:pt x="1072" y="220"/>
                  </a:lnTo>
                  <a:lnTo>
                    <a:pt x="1074" y="220"/>
                  </a:lnTo>
                  <a:lnTo>
                    <a:pt x="1074" y="220"/>
                  </a:lnTo>
                  <a:lnTo>
                    <a:pt x="1077" y="222"/>
                  </a:lnTo>
                  <a:lnTo>
                    <a:pt x="1077" y="224"/>
                  </a:lnTo>
                  <a:lnTo>
                    <a:pt x="1077" y="227"/>
                  </a:lnTo>
                  <a:lnTo>
                    <a:pt x="1079" y="227"/>
                  </a:lnTo>
                  <a:lnTo>
                    <a:pt x="1077" y="229"/>
                  </a:lnTo>
                  <a:lnTo>
                    <a:pt x="1077" y="227"/>
                  </a:lnTo>
                  <a:lnTo>
                    <a:pt x="1077" y="227"/>
                  </a:lnTo>
                  <a:lnTo>
                    <a:pt x="1074" y="224"/>
                  </a:lnTo>
                  <a:lnTo>
                    <a:pt x="1072" y="222"/>
                  </a:lnTo>
                  <a:lnTo>
                    <a:pt x="1072" y="222"/>
                  </a:lnTo>
                  <a:lnTo>
                    <a:pt x="1072" y="222"/>
                  </a:lnTo>
                  <a:lnTo>
                    <a:pt x="1072" y="222"/>
                  </a:lnTo>
                  <a:lnTo>
                    <a:pt x="1072" y="222"/>
                  </a:lnTo>
                  <a:lnTo>
                    <a:pt x="1070" y="222"/>
                  </a:lnTo>
                  <a:lnTo>
                    <a:pt x="1070" y="222"/>
                  </a:lnTo>
                  <a:lnTo>
                    <a:pt x="1070" y="222"/>
                  </a:lnTo>
                  <a:lnTo>
                    <a:pt x="1067" y="222"/>
                  </a:lnTo>
                  <a:lnTo>
                    <a:pt x="1067" y="222"/>
                  </a:lnTo>
                  <a:lnTo>
                    <a:pt x="1067" y="224"/>
                  </a:lnTo>
                  <a:lnTo>
                    <a:pt x="1065" y="224"/>
                  </a:lnTo>
                  <a:lnTo>
                    <a:pt x="1063" y="224"/>
                  </a:lnTo>
                  <a:lnTo>
                    <a:pt x="1063" y="224"/>
                  </a:lnTo>
                  <a:lnTo>
                    <a:pt x="1063" y="227"/>
                  </a:lnTo>
                  <a:lnTo>
                    <a:pt x="1063" y="227"/>
                  </a:lnTo>
                  <a:lnTo>
                    <a:pt x="1063" y="227"/>
                  </a:lnTo>
                  <a:lnTo>
                    <a:pt x="1063" y="227"/>
                  </a:lnTo>
                  <a:lnTo>
                    <a:pt x="1063" y="227"/>
                  </a:lnTo>
                  <a:lnTo>
                    <a:pt x="1063" y="227"/>
                  </a:lnTo>
                  <a:lnTo>
                    <a:pt x="1063" y="227"/>
                  </a:lnTo>
                  <a:lnTo>
                    <a:pt x="1060" y="224"/>
                  </a:lnTo>
                  <a:lnTo>
                    <a:pt x="1060" y="224"/>
                  </a:lnTo>
                  <a:lnTo>
                    <a:pt x="1058" y="224"/>
                  </a:lnTo>
                  <a:lnTo>
                    <a:pt x="1058" y="224"/>
                  </a:lnTo>
                  <a:lnTo>
                    <a:pt x="1055" y="222"/>
                  </a:lnTo>
                  <a:lnTo>
                    <a:pt x="1055" y="220"/>
                  </a:lnTo>
                  <a:lnTo>
                    <a:pt x="1055" y="220"/>
                  </a:lnTo>
                  <a:lnTo>
                    <a:pt x="1055" y="220"/>
                  </a:lnTo>
                  <a:lnTo>
                    <a:pt x="1055" y="220"/>
                  </a:lnTo>
                  <a:lnTo>
                    <a:pt x="1055" y="217"/>
                  </a:lnTo>
                  <a:lnTo>
                    <a:pt x="1058" y="217"/>
                  </a:lnTo>
                  <a:lnTo>
                    <a:pt x="1058" y="215"/>
                  </a:lnTo>
                  <a:lnTo>
                    <a:pt x="1060" y="215"/>
                  </a:lnTo>
                  <a:lnTo>
                    <a:pt x="1060" y="215"/>
                  </a:lnTo>
                  <a:lnTo>
                    <a:pt x="1060" y="213"/>
                  </a:lnTo>
                  <a:lnTo>
                    <a:pt x="1060" y="213"/>
                  </a:lnTo>
                  <a:lnTo>
                    <a:pt x="1060" y="213"/>
                  </a:lnTo>
                  <a:lnTo>
                    <a:pt x="1060" y="213"/>
                  </a:lnTo>
                  <a:lnTo>
                    <a:pt x="1058" y="215"/>
                  </a:lnTo>
                  <a:lnTo>
                    <a:pt x="1058" y="215"/>
                  </a:lnTo>
                  <a:lnTo>
                    <a:pt x="1055" y="217"/>
                  </a:lnTo>
                  <a:lnTo>
                    <a:pt x="1055" y="220"/>
                  </a:lnTo>
                  <a:lnTo>
                    <a:pt x="1055" y="222"/>
                  </a:lnTo>
                  <a:lnTo>
                    <a:pt x="1055" y="224"/>
                  </a:lnTo>
                  <a:lnTo>
                    <a:pt x="1055" y="227"/>
                  </a:lnTo>
                  <a:lnTo>
                    <a:pt x="1055" y="229"/>
                  </a:lnTo>
                  <a:lnTo>
                    <a:pt x="1055" y="229"/>
                  </a:lnTo>
                  <a:lnTo>
                    <a:pt x="1055" y="229"/>
                  </a:lnTo>
                  <a:lnTo>
                    <a:pt x="1055" y="231"/>
                  </a:lnTo>
                  <a:lnTo>
                    <a:pt x="1055" y="231"/>
                  </a:lnTo>
                  <a:lnTo>
                    <a:pt x="1055" y="234"/>
                  </a:lnTo>
                  <a:lnTo>
                    <a:pt x="1055" y="236"/>
                  </a:lnTo>
                  <a:lnTo>
                    <a:pt x="1055" y="239"/>
                  </a:lnTo>
                  <a:lnTo>
                    <a:pt x="1055" y="239"/>
                  </a:lnTo>
                  <a:lnTo>
                    <a:pt x="1055" y="236"/>
                  </a:lnTo>
                  <a:lnTo>
                    <a:pt x="1058" y="236"/>
                  </a:lnTo>
                  <a:lnTo>
                    <a:pt x="1058" y="236"/>
                  </a:lnTo>
                  <a:lnTo>
                    <a:pt x="1058" y="239"/>
                  </a:lnTo>
                  <a:lnTo>
                    <a:pt x="1058" y="239"/>
                  </a:lnTo>
                  <a:lnTo>
                    <a:pt x="1058" y="241"/>
                  </a:lnTo>
                  <a:lnTo>
                    <a:pt x="1058" y="241"/>
                  </a:lnTo>
                  <a:lnTo>
                    <a:pt x="1055" y="241"/>
                  </a:lnTo>
                  <a:lnTo>
                    <a:pt x="1055" y="243"/>
                  </a:lnTo>
                  <a:lnTo>
                    <a:pt x="1055" y="243"/>
                  </a:lnTo>
                  <a:lnTo>
                    <a:pt x="1055" y="243"/>
                  </a:lnTo>
                  <a:lnTo>
                    <a:pt x="1055" y="243"/>
                  </a:lnTo>
                  <a:lnTo>
                    <a:pt x="1055" y="243"/>
                  </a:lnTo>
                  <a:lnTo>
                    <a:pt x="1055" y="243"/>
                  </a:lnTo>
                  <a:lnTo>
                    <a:pt x="1053" y="243"/>
                  </a:lnTo>
                  <a:lnTo>
                    <a:pt x="1053" y="243"/>
                  </a:lnTo>
                  <a:lnTo>
                    <a:pt x="1053" y="243"/>
                  </a:lnTo>
                  <a:lnTo>
                    <a:pt x="1053" y="246"/>
                  </a:lnTo>
                  <a:lnTo>
                    <a:pt x="1051" y="246"/>
                  </a:lnTo>
                  <a:lnTo>
                    <a:pt x="1051" y="248"/>
                  </a:lnTo>
                  <a:lnTo>
                    <a:pt x="1051" y="248"/>
                  </a:lnTo>
                  <a:lnTo>
                    <a:pt x="1048" y="250"/>
                  </a:lnTo>
                  <a:lnTo>
                    <a:pt x="1048" y="255"/>
                  </a:lnTo>
                  <a:lnTo>
                    <a:pt x="1051" y="260"/>
                  </a:lnTo>
                  <a:lnTo>
                    <a:pt x="1055" y="265"/>
                  </a:lnTo>
                  <a:lnTo>
                    <a:pt x="1058" y="267"/>
                  </a:lnTo>
                  <a:lnTo>
                    <a:pt x="1065" y="274"/>
                  </a:lnTo>
                  <a:lnTo>
                    <a:pt x="1072" y="283"/>
                  </a:lnTo>
                  <a:lnTo>
                    <a:pt x="1077" y="288"/>
                  </a:lnTo>
                  <a:lnTo>
                    <a:pt x="1079" y="288"/>
                  </a:lnTo>
                  <a:lnTo>
                    <a:pt x="1079" y="286"/>
                  </a:lnTo>
                  <a:lnTo>
                    <a:pt x="1079" y="286"/>
                  </a:lnTo>
                  <a:lnTo>
                    <a:pt x="1077" y="286"/>
                  </a:lnTo>
                  <a:lnTo>
                    <a:pt x="1074" y="286"/>
                  </a:lnTo>
                  <a:lnTo>
                    <a:pt x="1077" y="286"/>
                  </a:lnTo>
                  <a:lnTo>
                    <a:pt x="1077" y="283"/>
                  </a:lnTo>
                  <a:lnTo>
                    <a:pt x="1077" y="283"/>
                  </a:lnTo>
                  <a:lnTo>
                    <a:pt x="1077" y="283"/>
                  </a:lnTo>
                  <a:lnTo>
                    <a:pt x="1077" y="283"/>
                  </a:lnTo>
                  <a:lnTo>
                    <a:pt x="1077" y="283"/>
                  </a:lnTo>
                  <a:lnTo>
                    <a:pt x="1077" y="283"/>
                  </a:lnTo>
                  <a:lnTo>
                    <a:pt x="1077" y="283"/>
                  </a:lnTo>
                  <a:lnTo>
                    <a:pt x="1077" y="283"/>
                  </a:lnTo>
                  <a:lnTo>
                    <a:pt x="1077" y="281"/>
                  </a:lnTo>
                  <a:lnTo>
                    <a:pt x="1077" y="281"/>
                  </a:lnTo>
                  <a:lnTo>
                    <a:pt x="1077" y="281"/>
                  </a:lnTo>
                  <a:lnTo>
                    <a:pt x="1077" y="281"/>
                  </a:lnTo>
                  <a:lnTo>
                    <a:pt x="1077" y="283"/>
                  </a:lnTo>
                  <a:lnTo>
                    <a:pt x="1077" y="283"/>
                  </a:lnTo>
                  <a:lnTo>
                    <a:pt x="1077" y="283"/>
                  </a:lnTo>
                  <a:lnTo>
                    <a:pt x="1077" y="283"/>
                  </a:lnTo>
                  <a:lnTo>
                    <a:pt x="1079" y="283"/>
                  </a:lnTo>
                  <a:lnTo>
                    <a:pt x="1079" y="283"/>
                  </a:lnTo>
                  <a:lnTo>
                    <a:pt x="1084" y="286"/>
                  </a:lnTo>
                  <a:lnTo>
                    <a:pt x="1084" y="286"/>
                  </a:lnTo>
                  <a:lnTo>
                    <a:pt x="1081" y="286"/>
                  </a:lnTo>
                  <a:lnTo>
                    <a:pt x="1079" y="286"/>
                  </a:lnTo>
                  <a:lnTo>
                    <a:pt x="1084" y="288"/>
                  </a:lnTo>
                  <a:lnTo>
                    <a:pt x="1093" y="288"/>
                  </a:lnTo>
                  <a:lnTo>
                    <a:pt x="1093" y="288"/>
                  </a:lnTo>
                  <a:lnTo>
                    <a:pt x="1091" y="288"/>
                  </a:lnTo>
                  <a:lnTo>
                    <a:pt x="1100" y="293"/>
                  </a:lnTo>
                  <a:lnTo>
                    <a:pt x="1105" y="295"/>
                  </a:lnTo>
                  <a:lnTo>
                    <a:pt x="1108" y="298"/>
                  </a:lnTo>
                  <a:lnTo>
                    <a:pt x="1110" y="300"/>
                  </a:lnTo>
                  <a:lnTo>
                    <a:pt x="1112" y="305"/>
                  </a:lnTo>
                  <a:lnTo>
                    <a:pt x="1112" y="307"/>
                  </a:lnTo>
                  <a:lnTo>
                    <a:pt x="1112" y="307"/>
                  </a:lnTo>
                  <a:lnTo>
                    <a:pt x="1112" y="307"/>
                  </a:lnTo>
                  <a:lnTo>
                    <a:pt x="1112" y="309"/>
                  </a:lnTo>
                  <a:lnTo>
                    <a:pt x="1112" y="312"/>
                  </a:lnTo>
                  <a:lnTo>
                    <a:pt x="1112" y="314"/>
                  </a:lnTo>
                  <a:lnTo>
                    <a:pt x="1112" y="314"/>
                  </a:lnTo>
                  <a:lnTo>
                    <a:pt x="1115" y="314"/>
                  </a:lnTo>
                  <a:lnTo>
                    <a:pt x="1115" y="314"/>
                  </a:lnTo>
                  <a:lnTo>
                    <a:pt x="1117" y="312"/>
                  </a:lnTo>
                  <a:lnTo>
                    <a:pt x="1117" y="312"/>
                  </a:lnTo>
                  <a:lnTo>
                    <a:pt x="1119" y="312"/>
                  </a:lnTo>
                  <a:lnTo>
                    <a:pt x="1119" y="312"/>
                  </a:lnTo>
                  <a:lnTo>
                    <a:pt x="1119" y="309"/>
                  </a:lnTo>
                  <a:lnTo>
                    <a:pt x="1119" y="309"/>
                  </a:lnTo>
                  <a:lnTo>
                    <a:pt x="1119" y="309"/>
                  </a:lnTo>
                  <a:lnTo>
                    <a:pt x="1117" y="309"/>
                  </a:lnTo>
                  <a:lnTo>
                    <a:pt x="1117" y="309"/>
                  </a:lnTo>
                  <a:lnTo>
                    <a:pt x="1117" y="309"/>
                  </a:lnTo>
                  <a:lnTo>
                    <a:pt x="1117" y="307"/>
                  </a:lnTo>
                  <a:lnTo>
                    <a:pt x="1117" y="305"/>
                  </a:lnTo>
                  <a:lnTo>
                    <a:pt x="1115" y="305"/>
                  </a:lnTo>
                  <a:lnTo>
                    <a:pt x="1115" y="305"/>
                  </a:lnTo>
                  <a:lnTo>
                    <a:pt x="1115" y="302"/>
                  </a:lnTo>
                  <a:lnTo>
                    <a:pt x="1115" y="302"/>
                  </a:lnTo>
                  <a:lnTo>
                    <a:pt x="1115" y="300"/>
                  </a:lnTo>
                  <a:lnTo>
                    <a:pt x="1115" y="302"/>
                  </a:lnTo>
                  <a:lnTo>
                    <a:pt x="1119" y="300"/>
                  </a:lnTo>
                  <a:lnTo>
                    <a:pt x="1119" y="300"/>
                  </a:lnTo>
                  <a:lnTo>
                    <a:pt x="1122" y="302"/>
                  </a:lnTo>
                  <a:lnTo>
                    <a:pt x="1122" y="302"/>
                  </a:lnTo>
                  <a:lnTo>
                    <a:pt x="1122" y="305"/>
                  </a:lnTo>
                  <a:lnTo>
                    <a:pt x="1122" y="307"/>
                  </a:lnTo>
                  <a:lnTo>
                    <a:pt x="1122" y="307"/>
                  </a:lnTo>
                  <a:lnTo>
                    <a:pt x="1122" y="307"/>
                  </a:lnTo>
                  <a:lnTo>
                    <a:pt x="1122" y="307"/>
                  </a:lnTo>
                  <a:lnTo>
                    <a:pt x="1122" y="307"/>
                  </a:lnTo>
                  <a:lnTo>
                    <a:pt x="1122" y="309"/>
                  </a:lnTo>
                  <a:lnTo>
                    <a:pt x="1122" y="309"/>
                  </a:lnTo>
                  <a:lnTo>
                    <a:pt x="1122" y="309"/>
                  </a:lnTo>
                  <a:lnTo>
                    <a:pt x="1122" y="312"/>
                  </a:lnTo>
                  <a:lnTo>
                    <a:pt x="1122" y="312"/>
                  </a:lnTo>
                  <a:lnTo>
                    <a:pt x="1124" y="312"/>
                  </a:lnTo>
                  <a:lnTo>
                    <a:pt x="1124" y="312"/>
                  </a:lnTo>
                  <a:lnTo>
                    <a:pt x="1124" y="314"/>
                  </a:lnTo>
                  <a:lnTo>
                    <a:pt x="1124" y="314"/>
                  </a:lnTo>
                  <a:lnTo>
                    <a:pt x="1124" y="314"/>
                  </a:lnTo>
                  <a:lnTo>
                    <a:pt x="1124" y="314"/>
                  </a:lnTo>
                  <a:lnTo>
                    <a:pt x="1122" y="314"/>
                  </a:lnTo>
                  <a:lnTo>
                    <a:pt x="1122" y="317"/>
                  </a:lnTo>
                  <a:lnTo>
                    <a:pt x="1122" y="317"/>
                  </a:lnTo>
                  <a:lnTo>
                    <a:pt x="1122" y="317"/>
                  </a:lnTo>
                  <a:lnTo>
                    <a:pt x="1122" y="319"/>
                  </a:lnTo>
                  <a:lnTo>
                    <a:pt x="1122" y="319"/>
                  </a:lnTo>
                  <a:lnTo>
                    <a:pt x="1122" y="319"/>
                  </a:lnTo>
                  <a:lnTo>
                    <a:pt x="1119" y="321"/>
                  </a:lnTo>
                  <a:lnTo>
                    <a:pt x="1119" y="321"/>
                  </a:lnTo>
                  <a:lnTo>
                    <a:pt x="1119" y="324"/>
                  </a:lnTo>
                  <a:lnTo>
                    <a:pt x="1119" y="324"/>
                  </a:lnTo>
                  <a:lnTo>
                    <a:pt x="1122" y="324"/>
                  </a:lnTo>
                  <a:lnTo>
                    <a:pt x="1122" y="324"/>
                  </a:lnTo>
                  <a:lnTo>
                    <a:pt x="1124" y="324"/>
                  </a:lnTo>
                  <a:lnTo>
                    <a:pt x="1124" y="321"/>
                  </a:lnTo>
                  <a:lnTo>
                    <a:pt x="1126" y="321"/>
                  </a:lnTo>
                  <a:lnTo>
                    <a:pt x="1126" y="321"/>
                  </a:lnTo>
                  <a:lnTo>
                    <a:pt x="1126" y="321"/>
                  </a:lnTo>
                  <a:lnTo>
                    <a:pt x="1126" y="321"/>
                  </a:lnTo>
                  <a:lnTo>
                    <a:pt x="1126" y="319"/>
                  </a:lnTo>
                  <a:lnTo>
                    <a:pt x="1129" y="319"/>
                  </a:lnTo>
                  <a:lnTo>
                    <a:pt x="1129" y="319"/>
                  </a:lnTo>
                  <a:lnTo>
                    <a:pt x="1129" y="317"/>
                  </a:lnTo>
                  <a:lnTo>
                    <a:pt x="1131" y="317"/>
                  </a:lnTo>
                  <a:lnTo>
                    <a:pt x="1131" y="317"/>
                  </a:lnTo>
                  <a:lnTo>
                    <a:pt x="1134" y="317"/>
                  </a:lnTo>
                  <a:lnTo>
                    <a:pt x="1138" y="317"/>
                  </a:lnTo>
                  <a:lnTo>
                    <a:pt x="1141" y="317"/>
                  </a:lnTo>
                  <a:lnTo>
                    <a:pt x="1141" y="317"/>
                  </a:lnTo>
                  <a:lnTo>
                    <a:pt x="1141" y="317"/>
                  </a:lnTo>
                  <a:lnTo>
                    <a:pt x="1143" y="314"/>
                  </a:lnTo>
                  <a:lnTo>
                    <a:pt x="1143" y="314"/>
                  </a:lnTo>
                  <a:lnTo>
                    <a:pt x="1145" y="314"/>
                  </a:lnTo>
                  <a:lnTo>
                    <a:pt x="1145" y="314"/>
                  </a:lnTo>
                  <a:lnTo>
                    <a:pt x="1148" y="314"/>
                  </a:lnTo>
                  <a:lnTo>
                    <a:pt x="1148" y="314"/>
                  </a:lnTo>
                  <a:lnTo>
                    <a:pt x="1148" y="314"/>
                  </a:lnTo>
                  <a:lnTo>
                    <a:pt x="1148" y="314"/>
                  </a:lnTo>
                  <a:lnTo>
                    <a:pt x="1148" y="314"/>
                  </a:lnTo>
                  <a:lnTo>
                    <a:pt x="1150" y="317"/>
                  </a:lnTo>
                  <a:lnTo>
                    <a:pt x="1152" y="317"/>
                  </a:lnTo>
                  <a:lnTo>
                    <a:pt x="1152" y="317"/>
                  </a:lnTo>
                  <a:lnTo>
                    <a:pt x="1152" y="317"/>
                  </a:lnTo>
                  <a:lnTo>
                    <a:pt x="1155" y="317"/>
                  </a:lnTo>
                  <a:lnTo>
                    <a:pt x="1155" y="317"/>
                  </a:lnTo>
                  <a:lnTo>
                    <a:pt x="1155" y="317"/>
                  </a:lnTo>
                  <a:lnTo>
                    <a:pt x="1155" y="317"/>
                  </a:lnTo>
                  <a:lnTo>
                    <a:pt x="1157" y="317"/>
                  </a:lnTo>
                  <a:lnTo>
                    <a:pt x="1155" y="314"/>
                  </a:lnTo>
                  <a:lnTo>
                    <a:pt x="1155" y="314"/>
                  </a:lnTo>
                  <a:lnTo>
                    <a:pt x="1152" y="317"/>
                  </a:lnTo>
                  <a:lnTo>
                    <a:pt x="1152" y="317"/>
                  </a:lnTo>
                  <a:lnTo>
                    <a:pt x="1152" y="314"/>
                  </a:lnTo>
                  <a:lnTo>
                    <a:pt x="1155" y="314"/>
                  </a:lnTo>
                  <a:lnTo>
                    <a:pt x="1160" y="314"/>
                  </a:lnTo>
                  <a:lnTo>
                    <a:pt x="1160" y="314"/>
                  </a:lnTo>
                  <a:lnTo>
                    <a:pt x="1160" y="312"/>
                  </a:lnTo>
                  <a:lnTo>
                    <a:pt x="1157" y="312"/>
                  </a:lnTo>
                  <a:lnTo>
                    <a:pt x="1160" y="314"/>
                  </a:lnTo>
                  <a:lnTo>
                    <a:pt x="1160" y="314"/>
                  </a:lnTo>
                  <a:lnTo>
                    <a:pt x="1160" y="317"/>
                  </a:lnTo>
                  <a:lnTo>
                    <a:pt x="1160" y="317"/>
                  </a:lnTo>
                  <a:lnTo>
                    <a:pt x="1162" y="319"/>
                  </a:lnTo>
                  <a:lnTo>
                    <a:pt x="1162" y="319"/>
                  </a:lnTo>
                  <a:lnTo>
                    <a:pt x="1162" y="319"/>
                  </a:lnTo>
                  <a:lnTo>
                    <a:pt x="1162" y="319"/>
                  </a:lnTo>
                  <a:lnTo>
                    <a:pt x="1162" y="319"/>
                  </a:lnTo>
                  <a:lnTo>
                    <a:pt x="1162" y="319"/>
                  </a:lnTo>
                  <a:lnTo>
                    <a:pt x="1164" y="319"/>
                  </a:lnTo>
                  <a:lnTo>
                    <a:pt x="1164" y="319"/>
                  </a:lnTo>
                  <a:lnTo>
                    <a:pt x="1164" y="319"/>
                  </a:lnTo>
                  <a:lnTo>
                    <a:pt x="1167" y="319"/>
                  </a:lnTo>
                  <a:lnTo>
                    <a:pt x="1167" y="319"/>
                  </a:lnTo>
                  <a:lnTo>
                    <a:pt x="1167" y="319"/>
                  </a:lnTo>
                  <a:lnTo>
                    <a:pt x="1167" y="319"/>
                  </a:lnTo>
                  <a:lnTo>
                    <a:pt x="1169" y="319"/>
                  </a:lnTo>
                  <a:lnTo>
                    <a:pt x="1169" y="319"/>
                  </a:lnTo>
                  <a:lnTo>
                    <a:pt x="1169" y="319"/>
                  </a:lnTo>
                  <a:lnTo>
                    <a:pt x="1169" y="319"/>
                  </a:lnTo>
                  <a:lnTo>
                    <a:pt x="1169" y="317"/>
                  </a:lnTo>
                  <a:lnTo>
                    <a:pt x="1171" y="317"/>
                  </a:lnTo>
                  <a:lnTo>
                    <a:pt x="1171" y="317"/>
                  </a:lnTo>
                  <a:lnTo>
                    <a:pt x="1174" y="317"/>
                  </a:lnTo>
                  <a:lnTo>
                    <a:pt x="1174" y="317"/>
                  </a:lnTo>
                  <a:lnTo>
                    <a:pt x="1176" y="314"/>
                  </a:lnTo>
                  <a:lnTo>
                    <a:pt x="1176" y="314"/>
                  </a:lnTo>
                  <a:lnTo>
                    <a:pt x="1179" y="317"/>
                  </a:lnTo>
                  <a:lnTo>
                    <a:pt x="1179" y="317"/>
                  </a:lnTo>
                  <a:lnTo>
                    <a:pt x="1179" y="317"/>
                  </a:lnTo>
                  <a:lnTo>
                    <a:pt x="1179" y="317"/>
                  </a:lnTo>
                  <a:lnTo>
                    <a:pt x="1181" y="317"/>
                  </a:lnTo>
                  <a:lnTo>
                    <a:pt x="1181" y="317"/>
                  </a:lnTo>
                  <a:lnTo>
                    <a:pt x="1181" y="317"/>
                  </a:lnTo>
                  <a:lnTo>
                    <a:pt x="1181" y="317"/>
                  </a:lnTo>
                  <a:lnTo>
                    <a:pt x="1181" y="317"/>
                  </a:lnTo>
                  <a:lnTo>
                    <a:pt x="1179" y="317"/>
                  </a:lnTo>
                  <a:lnTo>
                    <a:pt x="1179" y="317"/>
                  </a:lnTo>
                  <a:lnTo>
                    <a:pt x="1179" y="317"/>
                  </a:lnTo>
                  <a:lnTo>
                    <a:pt x="1176" y="317"/>
                  </a:lnTo>
                  <a:lnTo>
                    <a:pt x="1176" y="317"/>
                  </a:lnTo>
                  <a:lnTo>
                    <a:pt x="1176" y="317"/>
                  </a:lnTo>
                  <a:lnTo>
                    <a:pt x="1176" y="321"/>
                  </a:lnTo>
                  <a:lnTo>
                    <a:pt x="1179" y="321"/>
                  </a:lnTo>
                  <a:lnTo>
                    <a:pt x="1179" y="324"/>
                  </a:lnTo>
                  <a:lnTo>
                    <a:pt x="1179" y="324"/>
                  </a:lnTo>
                  <a:lnTo>
                    <a:pt x="1179" y="326"/>
                  </a:lnTo>
                  <a:lnTo>
                    <a:pt x="1179" y="326"/>
                  </a:lnTo>
                  <a:lnTo>
                    <a:pt x="1179" y="328"/>
                  </a:lnTo>
                  <a:lnTo>
                    <a:pt x="1179" y="331"/>
                  </a:lnTo>
                  <a:lnTo>
                    <a:pt x="1179" y="331"/>
                  </a:lnTo>
                  <a:lnTo>
                    <a:pt x="1179" y="331"/>
                  </a:lnTo>
                  <a:lnTo>
                    <a:pt x="1179" y="333"/>
                  </a:lnTo>
                  <a:lnTo>
                    <a:pt x="1179" y="333"/>
                  </a:lnTo>
                  <a:lnTo>
                    <a:pt x="1179" y="333"/>
                  </a:lnTo>
                  <a:lnTo>
                    <a:pt x="1176" y="336"/>
                  </a:lnTo>
                  <a:lnTo>
                    <a:pt x="1174" y="338"/>
                  </a:lnTo>
                  <a:lnTo>
                    <a:pt x="1171" y="338"/>
                  </a:lnTo>
                  <a:lnTo>
                    <a:pt x="1169" y="338"/>
                  </a:lnTo>
                  <a:lnTo>
                    <a:pt x="1169" y="338"/>
                  </a:lnTo>
                  <a:lnTo>
                    <a:pt x="1169" y="338"/>
                  </a:lnTo>
                  <a:lnTo>
                    <a:pt x="1169" y="338"/>
                  </a:lnTo>
                  <a:lnTo>
                    <a:pt x="1167" y="338"/>
                  </a:lnTo>
                  <a:lnTo>
                    <a:pt x="1167" y="338"/>
                  </a:lnTo>
                  <a:lnTo>
                    <a:pt x="1167" y="340"/>
                  </a:lnTo>
                  <a:lnTo>
                    <a:pt x="1164" y="340"/>
                  </a:lnTo>
                  <a:lnTo>
                    <a:pt x="1164" y="340"/>
                  </a:lnTo>
                  <a:lnTo>
                    <a:pt x="1160" y="336"/>
                  </a:lnTo>
                  <a:lnTo>
                    <a:pt x="1160" y="333"/>
                  </a:lnTo>
                  <a:lnTo>
                    <a:pt x="1157" y="333"/>
                  </a:lnTo>
                  <a:lnTo>
                    <a:pt x="1157" y="333"/>
                  </a:lnTo>
                  <a:lnTo>
                    <a:pt x="1157" y="333"/>
                  </a:lnTo>
                  <a:lnTo>
                    <a:pt x="1157" y="333"/>
                  </a:lnTo>
                  <a:lnTo>
                    <a:pt x="1155" y="333"/>
                  </a:lnTo>
                  <a:lnTo>
                    <a:pt x="1155" y="333"/>
                  </a:lnTo>
                  <a:lnTo>
                    <a:pt x="1155" y="336"/>
                  </a:lnTo>
                  <a:lnTo>
                    <a:pt x="1155" y="336"/>
                  </a:lnTo>
                  <a:lnTo>
                    <a:pt x="1152" y="336"/>
                  </a:lnTo>
                  <a:lnTo>
                    <a:pt x="1152" y="336"/>
                  </a:lnTo>
                  <a:lnTo>
                    <a:pt x="1152" y="336"/>
                  </a:lnTo>
                  <a:lnTo>
                    <a:pt x="1152" y="336"/>
                  </a:lnTo>
                  <a:lnTo>
                    <a:pt x="1152" y="338"/>
                  </a:lnTo>
                  <a:lnTo>
                    <a:pt x="1150" y="338"/>
                  </a:lnTo>
                  <a:lnTo>
                    <a:pt x="1150" y="338"/>
                  </a:lnTo>
                  <a:lnTo>
                    <a:pt x="1150" y="340"/>
                  </a:lnTo>
                  <a:lnTo>
                    <a:pt x="1150" y="338"/>
                  </a:lnTo>
                  <a:lnTo>
                    <a:pt x="1152" y="338"/>
                  </a:lnTo>
                  <a:lnTo>
                    <a:pt x="1152" y="338"/>
                  </a:lnTo>
                  <a:lnTo>
                    <a:pt x="1152" y="338"/>
                  </a:lnTo>
                  <a:lnTo>
                    <a:pt x="1155" y="338"/>
                  </a:lnTo>
                  <a:lnTo>
                    <a:pt x="1155" y="340"/>
                  </a:lnTo>
                  <a:lnTo>
                    <a:pt x="1160" y="343"/>
                  </a:lnTo>
                  <a:lnTo>
                    <a:pt x="1160" y="343"/>
                  </a:lnTo>
                  <a:lnTo>
                    <a:pt x="1157" y="343"/>
                  </a:lnTo>
                  <a:lnTo>
                    <a:pt x="1157" y="343"/>
                  </a:lnTo>
                  <a:lnTo>
                    <a:pt x="1157" y="343"/>
                  </a:lnTo>
                  <a:lnTo>
                    <a:pt x="1157" y="343"/>
                  </a:lnTo>
                  <a:lnTo>
                    <a:pt x="1157" y="343"/>
                  </a:lnTo>
                  <a:lnTo>
                    <a:pt x="1157" y="345"/>
                  </a:lnTo>
                  <a:lnTo>
                    <a:pt x="1157" y="345"/>
                  </a:lnTo>
                  <a:lnTo>
                    <a:pt x="1157" y="345"/>
                  </a:lnTo>
                  <a:lnTo>
                    <a:pt x="1157" y="345"/>
                  </a:lnTo>
                  <a:lnTo>
                    <a:pt x="1157" y="345"/>
                  </a:lnTo>
                  <a:lnTo>
                    <a:pt x="1157" y="347"/>
                  </a:lnTo>
                  <a:lnTo>
                    <a:pt x="1157" y="350"/>
                  </a:lnTo>
                  <a:lnTo>
                    <a:pt x="1157" y="350"/>
                  </a:lnTo>
                  <a:lnTo>
                    <a:pt x="1157" y="350"/>
                  </a:lnTo>
                  <a:lnTo>
                    <a:pt x="1157" y="354"/>
                  </a:lnTo>
                  <a:lnTo>
                    <a:pt x="1157" y="354"/>
                  </a:lnTo>
                  <a:lnTo>
                    <a:pt x="1157" y="357"/>
                  </a:lnTo>
                  <a:lnTo>
                    <a:pt x="1155" y="364"/>
                  </a:lnTo>
                  <a:lnTo>
                    <a:pt x="1152" y="366"/>
                  </a:lnTo>
                  <a:lnTo>
                    <a:pt x="1150" y="376"/>
                  </a:lnTo>
                  <a:lnTo>
                    <a:pt x="1150" y="380"/>
                  </a:lnTo>
                  <a:lnTo>
                    <a:pt x="1145" y="383"/>
                  </a:lnTo>
                  <a:lnTo>
                    <a:pt x="1143" y="385"/>
                  </a:lnTo>
                  <a:lnTo>
                    <a:pt x="1143" y="385"/>
                  </a:lnTo>
                  <a:lnTo>
                    <a:pt x="1141" y="385"/>
                  </a:lnTo>
                  <a:lnTo>
                    <a:pt x="1138" y="388"/>
                  </a:lnTo>
                  <a:lnTo>
                    <a:pt x="1138" y="388"/>
                  </a:lnTo>
                  <a:lnTo>
                    <a:pt x="1136" y="388"/>
                  </a:lnTo>
                  <a:lnTo>
                    <a:pt x="1136" y="388"/>
                  </a:lnTo>
                  <a:lnTo>
                    <a:pt x="1136" y="388"/>
                  </a:lnTo>
                  <a:lnTo>
                    <a:pt x="1134" y="390"/>
                  </a:lnTo>
                  <a:lnTo>
                    <a:pt x="1129" y="390"/>
                  </a:lnTo>
                  <a:lnTo>
                    <a:pt x="1124" y="390"/>
                  </a:lnTo>
                  <a:lnTo>
                    <a:pt x="1122" y="390"/>
                  </a:lnTo>
                  <a:lnTo>
                    <a:pt x="1122" y="390"/>
                  </a:lnTo>
                  <a:lnTo>
                    <a:pt x="1122" y="390"/>
                  </a:lnTo>
                  <a:lnTo>
                    <a:pt x="1122" y="390"/>
                  </a:lnTo>
                  <a:lnTo>
                    <a:pt x="1122" y="388"/>
                  </a:lnTo>
                  <a:lnTo>
                    <a:pt x="1122" y="388"/>
                  </a:lnTo>
                  <a:lnTo>
                    <a:pt x="1122" y="388"/>
                  </a:lnTo>
                  <a:lnTo>
                    <a:pt x="1119" y="388"/>
                  </a:lnTo>
                  <a:lnTo>
                    <a:pt x="1119" y="388"/>
                  </a:lnTo>
                  <a:lnTo>
                    <a:pt x="1119" y="388"/>
                  </a:lnTo>
                  <a:lnTo>
                    <a:pt x="1117" y="388"/>
                  </a:lnTo>
                  <a:lnTo>
                    <a:pt x="1117" y="388"/>
                  </a:lnTo>
                  <a:lnTo>
                    <a:pt x="1117" y="385"/>
                  </a:lnTo>
                  <a:lnTo>
                    <a:pt x="1110" y="383"/>
                  </a:lnTo>
                  <a:lnTo>
                    <a:pt x="1103" y="380"/>
                  </a:lnTo>
                  <a:lnTo>
                    <a:pt x="1103" y="380"/>
                  </a:lnTo>
                  <a:lnTo>
                    <a:pt x="1105" y="380"/>
                  </a:lnTo>
                  <a:lnTo>
                    <a:pt x="1105" y="380"/>
                  </a:lnTo>
                  <a:lnTo>
                    <a:pt x="1105" y="380"/>
                  </a:lnTo>
                  <a:lnTo>
                    <a:pt x="1108" y="380"/>
                  </a:lnTo>
                  <a:lnTo>
                    <a:pt x="1108" y="380"/>
                  </a:lnTo>
                  <a:lnTo>
                    <a:pt x="1108" y="380"/>
                  </a:lnTo>
                  <a:lnTo>
                    <a:pt x="1110" y="380"/>
                  </a:lnTo>
                  <a:lnTo>
                    <a:pt x="1108" y="380"/>
                  </a:lnTo>
                  <a:lnTo>
                    <a:pt x="1108" y="378"/>
                  </a:lnTo>
                  <a:lnTo>
                    <a:pt x="1108" y="378"/>
                  </a:lnTo>
                  <a:lnTo>
                    <a:pt x="1108" y="378"/>
                  </a:lnTo>
                  <a:lnTo>
                    <a:pt x="1108" y="376"/>
                  </a:lnTo>
                  <a:lnTo>
                    <a:pt x="1108" y="376"/>
                  </a:lnTo>
                  <a:lnTo>
                    <a:pt x="1108" y="376"/>
                  </a:lnTo>
                  <a:lnTo>
                    <a:pt x="1105" y="373"/>
                  </a:lnTo>
                  <a:lnTo>
                    <a:pt x="1105" y="373"/>
                  </a:lnTo>
                  <a:lnTo>
                    <a:pt x="1105" y="373"/>
                  </a:lnTo>
                  <a:lnTo>
                    <a:pt x="1105" y="373"/>
                  </a:lnTo>
                  <a:lnTo>
                    <a:pt x="1105" y="373"/>
                  </a:lnTo>
                  <a:lnTo>
                    <a:pt x="1103" y="373"/>
                  </a:lnTo>
                  <a:lnTo>
                    <a:pt x="1103" y="376"/>
                  </a:lnTo>
                  <a:lnTo>
                    <a:pt x="1103" y="376"/>
                  </a:lnTo>
                  <a:lnTo>
                    <a:pt x="1103" y="376"/>
                  </a:lnTo>
                  <a:lnTo>
                    <a:pt x="1100" y="376"/>
                  </a:lnTo>
                  <a:lnTo>
                    <a:pt x="1100" y="376"/>
                  </a:lnTo>
                  <a:lnTo>
                    <a:pt x="1100" y="376"/>
                  </a:lnTo>
                  <a:lnTo>
                    <a:pt x="1098" y="376"/>
                  </a:lnTo>
                  <a:lnTo>
                    <a:pt x="1098" y="378"/>
                  </a:lnTo>
                  <a:lnTo>
                    <a:pt x="1096" y="378"/>
                  </a:lnTo>
                  <a:lnTo>
                    <a:pt x="1089" y="383"/>
                  </a:lnTo>
                  <a:lnTo>
                    <a:pt x="1084" y="383"/>
                  </a:lnTo>
                  <a:lnTo>
                    <a:pt x="1081" y="383"/>
                  </a:lnTo>
                  <a:lnTo>
                    <a:pt x="1081" y="383"/>
                  </a:lnTo>
                  <a:lnTo>
                    <a:pt x="1079" y="383"/>
                  </a:lnTo>
                  <a:lnTo>
                    <a:pt x="1079" y="383"/>
                  </a:lnTo>
                  <a:lnTo>
                    <a:pt x="1079" y="383"/>
                  </a:lnTo>
                  <a:lnTo>
                    <a:pt x="1079" y="385"/>
                  </a:lnTo>
                  <a:lnTo>
                    <a:pt x="1079" y="385"/>
                  </a:lnTo>
                  <a:lnTo>
                    <a:pt x="1077" y="385"/>
                  </a:lnTo>
                  <a:lnTo>
                    <a:pt x="1077" y="385"/>
                  </a:lnTo>
                  <a:lnTo>
                    <a:pt x="1074" y="385"/>
                  </a:lnTo>
                  <a:lnTo>
                    <a:pt x="1074" y="385"/>
                  </a:lnTo>
                  <a:lnTo>
                    <a:pt x="1074" y="385"/>
                  </a:lnTo>
                  <a:lnTo>
                    <a:pt x="1072" y="385"/>
                  </a:lnTo>
                  <a:lnTo>
                    <a:pt x="1072" y="385"/>
                  </a:lnTo>
                  <a:lnTo>
                    <a:pt x="1070" y="385"/>
                  </a:lnTo>
                  <a:lnTo>
                    <a:pt x="1070" y="385"/>
                  </a:lnTo>
                  <a:lnTo>
                    <a:pt x="1065" y="383"/>
                  </a:lnTo>
                  <a:lnTo>
                    <a:pt x="1063" y="383"/>
                  </a:lnTo>
                  <a:lnTo>
                    <a:pt x="1063" y="383"/>
                  </a:lnTo>
                  <a:lnTo>
                    <a:pt x="1063" y="380"/>
                  </a:lnTo>
                  <a:lnTo>
                    <a:pt x="1063" y="378"/>
                  </a:lnTo>
                  <a:lnTo>
                    <a:pt x="1063" y="378"/>
                  </a:lnTo>
                  <a:lnTo>
                    <a:pt x="1060" y="376"/>
                  </a:lnTo>
                  <a:lnTo>
                    <a:pt x="1060" y="376"/>
                  </a:lnTo>
                  <a:lnTo>
                    <a:pt x="1058" y="378"/>
                  </a:lnTo>
                  <a:lnTo>
                    <a:pt x="1055" y="378"/>
                  </a:lnTo>
                  <a:lnTo>
                    <a:pt x="1053" y="378"/>
                  </a:lnTo>
                  <a:lnTo>
                    <a:pt x="1051" y="378"/>
                  </a:lnTo>
                  <a:lnTo>
                    <a:pt x="1051" y="378"/>
                  </a:lnTo>
                  <a:lnTo>
                    <a:pt x="1055" y="378"/>
                  </a:lnTo>
                  <a:lnTo>
                    <a:pt x="1058" y="376"/>
                  </a:lnTo>
                  <a:lnTo>
                    <a:pt x="1060" y="376"/>
                  </a:lnTo>
                  <a:lnTo>
                    <a:pt x="1060" y="376"/>
                  </a:lnTo>
                  <a:lnTo>
                    <a:pt x="1060" y="376"/>
                  </a:lnTo>
                  <a:lnTo>
                    <a:pt x="1060" y="376"/>
                  </a:lnTo>
                  <a:lnTo>
                    <a:pt x="1060" y="373"/>
                  </a:lnTo>
                  <a:lnTo>
                    <a:pt x="1058" y="373"/>
                  </a:lnTo>
                  <a:lnTo>
                    <a:pt x="1058" y="373"/>
                  </a:lnTo>
                  <a:lnTo>
                    <a:pt x="1058" y="373"/>
                  </a:lnTo>
                  <a:lnTo>
                    <a:pt x="1060" y="373"/>
                  </a:lnTo>
                  <a:lnTo>
                    <a:pt x="1060" y="373"/>
                  </a:lnTo>
                  <a:lnTo>
                    <a:pt x="1060" y="373"/>
                  </a:lnTo>
                  <a:lnTo>
                    <a:pt x="1060" y="371"/>
                  </a:lnTo>
                  <a:lnTo>
                    <a:pt x="1060" y="371"/>
                  </a:lnTo>
                  <a:lnTo>
                    <a:pt x="1060" y="371"/>
                  </a:lnTo>
                  <a:lnTo>
                    <a:pt x="1060" y="369"/>
                  </a:lnTo>
                  <a:lnTo>
                    <a:pt x="1060" y="369"/>
                  </a:lnTo>
                  <a:lnTo>
                    <a:pt x="1060" y="369"/>
                  </a:lnTo>
                  <a:lnTo>
                    <a:pt x="1060" y="369"/>
                  </a:lnTo>
                  <a:lnTo>
                    <a:pt x="1060" y="369"/>
                  </a:lnTo>
                  <a:lnTo>
                    <a:pt x="1060" y="369"/>
                  </a:lnTo>
                  <a:lnTo>
                    <a:pt x="1060" y="366"/>
                  </a:lnTo>
                  <a:lnTo>
                    <a:pt x="1058" y="366"/>
                  </a:lnTo>
                  <a:lnTo>
                    <a:pt x="1055" y="362"/>
                  </a:lnTo>
                  <a:lnTo>
                    <a:pt x="1051" y="359"/>
                  </a:lnTo>
                  <a:lnTo>
                    <a:pt x="1046" y="357"/>
                  </a:lnTo>
                  <a:lnTo>
                    <a:pt x="1044" y="357"/>
                  </a:lnTo>
                  <a:lnTo>
                    <a:pt x="1041" y="359"/>
                  </a:lnTo>
                  <a:lnTo>
                    <a:pt x="1041" y="359"/>
                  </a:lnTo>
                  <a:lnTo>
                    <a:pt x="1039" y="359"/>
                  </a:lnTo>
                  <a:lnTo>
                    <a:pt x="1037" y="359"/>
                  </a:lnTo>
                  <a:lnTo>
                    <a:pt x="1037" y="359"/>
                  </a:lnTo>
                  <a:lnTo>
                    <a:pt x="1037" y="359"/>
                  </a:lnTo>
                  <a:lnTo>
                    <a:pt x="1037" y="362"/>
                  </a:lnTo>
                  <a:lnTo>
                    <a:pt x="1037" y="362"/>
                  </a:lnTo>
                  <a:lnTo>
                    <a:pt x="1037" y="362"/>
                  </a:lnTo>
                  <a:lnTo>
                    <a:pt x="1039" y="366"/>
                  </a:lnTo>
                  <a:lnTo>
                    <a:pt x="1041" y="366"/>
                  </a:lnTo>
                  <a:lnTo>
                    <a:pt x="1039" y="369"/>
                  </a:lnTo>
                  <a:lnTo>
                    <a:pt x="1039" y="369"/>
                  </a:lnTo>
                  <a:lnTo>
                    <a:pt x="1039" y="369"/>
                  </a:lnTo>
                  <a:lnTo>
                    <a:pt x="1039" y="369"/>
                  </a:lnTo>
                  <a:lnTo>
                    <a:pt x="1039" y="369"/>
                  </a:lnTo>
                  <a:lnTo>
                    <a:pt x="1039" y="369"/>
                  </a:lnTo>
                  <a:lnTo>
                    <a:pt x="1039" y="369"/>
                  </a:lnTo>
                  <a:lnTo>
                    <a:pt x="1037" y="369"/>
                  </a:lnTo>
                  <a:lnTo>
                    <a:pt x="1037" y="369"/>
                  </a:lnTo>
                  <a:lnTo>
                    <a:pt x="1037" y="366"/>
                  </a:lnTo>
                  <a:lnTo>
                    <a:pt x="1037" y="366"/>
                  </a:lnTo>
                  <a:lnTo>
                    <a:pt x="1037" y="366"/>
                  </a:lnTo>
                  <a:lnTo>
                    <a:pt x="1037" y="366"/>
                  </a:lnTo>
                  <a:lnTo>
                    <a:pt x="1037" y="366"/>
                  </a:lnTo>
                  <a:lnTo>
                    <a:pt x="1037" y="366"/>
                  </a:lnTo>
                  <a:lnTo>
                    <a:pt x="1037" y="366"/>
                  </a:lnTo>
                  <a:lnTo>
                    <a:pt x="1034" y="366"/>
                  </a:lnTo>
                  <a:lnTo>
                    <a:pt x="1034" y="366"/>
                  </a:lnTo>
                  <a:lnTo>
                    <a:pt x="1034" y="366"/>
                  </a:lnTo>
                  <a:lnTo>
                    <a:pt x="1032" y="364"/>
                  </a:lnTo>
                  <a:lnTo>
                    <a:pt x="1032" y="364"/>
                  </a:lnTo>
                  <a:lnTo>
                    <a:pt x="1029" y="364"/>
                  </a:lnTo>
                  <a:lnTo>
                    <a:pt x="1029" y="364"/>
                  </a:lnTo>
                  <a:lnTo>
                    <a:pt x="1025" y="366"/>
                  </a:lnTo>
                  <a:lnTo>
                    <a:pt x="1022" y="369"/>
                  </a:lnTo>
                  <a:lnTo>
                    <a:pt x="1022" y="369"/>
                  </a:lnTo>
                  <a:lnTo>
                    <a:pt x="1022" y="369"/>
                  </a:lnTo>
                  <a:lnTo>
                    <a:pt x="1022" y="369"/>
                  </a:lnTo>
                  <a:lnTo>
                    <a:pt x="1022" y="369"/>
                  </a:lnTo>
                  <a:lnTo>
                    <a:pt x="1022" y="369"/>
                  </a:lnTo>
                  <a:lnTo>
                    <a:pt x="1020" y="369"/>
                  </a:lnTo>
                  <a:lnTo>
                    <a:pt x="1020" y="371"/>
                  </a:lnTo>
                  <a:lnTo>
                    <a:pt x="1020" y="371"/>
                  </a:lnTo>
                  <a:lnTo>
                    <a:pt x="1022" y="373"/>
                  </a:lnTo>
                  <a:lnTo>
                    <a:pt x="1020" y="373"/>
                  </a:lnTo>
                  <a:lnTo>
                    <a:pt x="1020" y="373"/>
                  </a:lnTo>
                  <a:lnTo>
                    <a:pt x="1020" y="373"/>
                  </a:lnTo>
                  <a:lnTo>
                    <a:pt x="1020" y="373"/>
                  </a:lnTo>
                  <a:lnTo>
                    <a:pt x="1020" y="373"/>
                  </a:lnTo>
                  <a:lnTo>
                    <a:pt x="1020" y="373"/>
                  </a:lnTo>
                  <a:lnTo>
                    <a:pt x="1018" y="373"/>
                  </a:lnTo>
                  <a:lnTo>
                    <a:pt x="1018" y="373"/>
                  </a:lnTo>
                  <a:lnTo>
                    <a:pt x="1018" y="373"/>
                  </a:lnTo>
                  <a:lnTo>
                    <a:pt x="1018" y="373"/>
                  </a:lnTo>
                  <a:lnTo>
                    <a:pt x="1018" y="373"/>
                  </a:lnTo>
                  <a:lnTo>
                    <a:pt x="1018" y="373"/>
                  </a:lnTo>
                  <a:lnTo>
                    <a:pt x="1018" y="373"/>
                  </a:lnTo>
                  <a:lnTo>
                    <a:pt x="1018" y="373"/>
                  </a:lnTo>
                  <a:lnTo>
                    <a:pt x="1018" y="376"/>
                  </a:lnTo>
                  <a:lnTo>
                    <a:pt x="1018" y="376"/>
                  </a:lnTo>
                  <a:lnTo>
                    <a:pt x="1018" y="376"/>
                  </a:lnTo>
                  <a:lnTo>
                    <a:pt x="1018" y="376"/>
                  </a:lnTo>
                  <a:lnTo>
                    <a:pt x="1018" y="378"/>
                  </a:lnTo>
                  <a:lnTo>
                    <a:pt x="1015" y="378"/>
                  </a:lnTo>
                  <a:lnTo>
                    <a:pt x="1015" y="380"/>
                  </a:lnTo>
                  <a:lnTo>
                    <a:pt x="1015" y="383"/>
                  </a:lnTo>
                  <a:lnTo>
                    <a:pt x="1015" y="383"/>
                  </a:lnTo>
                  <a:lnTo>
                    <a:pt x="1018" y="383"/>
                  </a:lnTo>
                  <a:lnTo>
                    <a:pt x="1020" y="380"/>
                  </a:lnTo>
                  <a:lnTo>
                    <a:pt x="1022" y="380"/>
                  </a:lnTo>
                  <a:lnTo>
                    <a:pt x="1022" y="380"/>
                  </a:lnTo>
                  <a:lnTo>
                    <a:pt x="1025" y="380"/>
                  </a:lnTo>
                  <a:lnTo>
                    <a:pt x="1027" y="380"/>
                  </a:lnTo>
                  <a:lnTo>
                    <a:pt x="1027" y="380"/>
                  </a:lnTo>
                  <a:lnTo>
                    <a:pt x="1018" y="385"/>
                  </a:lnTo>
                  <a:lnTo>
                    <a:pt x="1013" y="383"/>
                  </a:lnTo>
                  <a:lnTo>
                    <a:pt x="1013" y="383"/>
                  </a:lnTo>
                  <a:lnTo>
                    <a:pt x="1013" y="383"/>
                  </a:lnTo>
                  <a:lnTo>
                    <a:pt x="1013" y="383"/>
                  </a:lnTo>
                  <a:lnTo>
                    <a:pt x="1013" y="383"/>
                  </a:lnTo>
                  <a:lnTo>
                    <a:pt x="1010" y="385"/>
                  </a:lnTo>
                  <a:lnTo>
                    <a:pt x="1010" y="385"/>
                  </a:lnTo>
                  <a:lnTo>
                    <a:pt x="1013" y="385"/>
                  </a:lnTo>
                  <a:lnTo>
                    <a:pt x="1013" y="385"/>
                  </a:lnTo>
                  <a:lnTo>
                    <a:pt x="1013" y="385"/>
                  </a:lnTo>
                  <a:lnTo>
                    <a:pt x="1013" y="388"/>
                  </a:lnTo>
                  <a:lnTo>
                    <a:pt x="1010" y="388"/>
                  </a:lnTo>
                  <a:lnTo>
                    <a:pt x="1010" y="388"/>
                  </a:lnTo>
                  <a:lnTo>
                    <a:pt x="1010" y="390"/>
                  </a:lnTo>
                  <a:lnTo>
                    <a:pt x="1013" y="390"/>
                  </a:lnTo>
                  <a:lnTo>
                    <a:pt x="1013" y="390"/>
                  </a:lnTo>
                  <a:lnTo>
                    <a:pt x="1013" y="390"/>
                  </a:lnTo>
                  <a:lnTo>
                    <a:pt x="1013" y="390"/>
                  </a:lnTo>
                  <a:lnTo>
                    <a:pt x="1013" y="390"/>
                  </a:lnTo>
                  <a:lnTo>
                    <a:pt x="1015" y="390"/>
                  </a:lnTo>
                  <a:lnTo>
                    <a:pt x="1015" y="390"/>
                  </a:lnTo>
                  <a:lnTo>
                    <a:pt x="1015" y="390"/>
                  </a:lnTo>
                  <a:lnTo>
                    <a:pt x="1013" y="390"/>
                  </a:lnTo>
                  <a:lnTo>
                    <a:pt x="1013" y="392"/>
                  </a:lnTo>
                  <a:lnTo>
                    <a:pt x="1013" y="392"/>
                  </a:lnTo>
                  <a:lnTo>
                    <a:pt x="1013" y="392"/>
                  </a:lnTo>
                  <a:lnTo>
                    <a:pt x="1015" y="395"/>
                  </a:lnTo>
                  <a:lnTo>
                    <a:pt x="1013" y="395"/>
                  </a:lnTo>
                  <a:lnTo>
                    <a:pt x="1013" y="395"/>
                  </a:lnTo>
                  <a:lnTo>
                    <a:pt x="1013" y="395"/>
                  </a:lnTo>
                  <a:lnTo>
                    <a:pt x="1013" y="395"/>
                  </a:lnTo>
                  <a:lnTo>
                    <a:pt x="1013" y="395"/>
                  </a:lnTo>
                  <a:lnTo>
                    <a:pt x="1010" y="395"/>
                  </a:lnTo>
                  <a:lnTo>
                    <a:pt x="1010" y="397"/>
                  </a:lnTo>
                  <a:lnTo>
                    <a:pt x="1008" y="397"/>
                  </a:lnTo>
                  <a:lnTo>
                    <a:pt x="1008" y="395"/>
                  </a:lnTo>
                  <a:lnTo>
                    <a:pt x="1008" y="395"/>
                  </a:lnTo>
                  <a:lnTo>
                    <a:pt x="1010" y="395"/>
                  </a:lnTo>
                  <a:lnTo>
                    <a:pt x="1010" y="395"/>
                  </a:lnTo>
                  <a:lnTo>
                    <a:pt x="1013" y="395"/>
                  </a:lnTo>
                  <a:lnTo>
                    <a:pt x="1013" y="395"/>
                  </a:lnTo>
                  <a:lnTo>
                    <a:pt x="1010" y="395"/>
                  </a:lnTo>
                  <a:lnTo>
                    <a:pt x="1010" y="392"/>
                  </a:lnTo>
                  <a:lnTo>
                    <a:pt x="1010" y="392"/>
                  </a:lnTo>
                  <a:lnTo>
                    <a:pt x="1010" y="392"/>
                  </a:lnTo>
                  <a:lnTo>
                    <a:pt x="1010" y="390"/>
                  </a:lnTo>
                  <a:lnTo>
                    <a:pt x="1010" y="390"/>
                  </a:lnTo>
                  <a:lnTo>
                    <a:pt x="1008" y="388"/>
                  </a:lnTo>
                  <a:lnTo>
                    <a:pt x="1008" y="388"/>
                  </a:lnTo>
                  <a:lnTo>
                    <a:pt x="1008" y="388"/>
                  </a:lnTo>
                  <a:lnTo>
                    <a:pt x="1010" y="388"/>
                  </a:lnTo>
                  <a:lnTo>
                    <a:pt x="1010" y="385"/>
                  </a:lnTo>
                  <a:lnTo>
                    <a:pt x="1010" y="385"/>
                  </a:lnTo>
                  <a:lnTo>
                    <a:pt x="1010" y="385"/>
                  </a:lnTo>
                  <a:lnTo>
                    <a:pt x="1010" y="385"/>
                  </a:lnTo>
                  <a:lnTo>
                    <a:pt x="1008" y="385"/>
                  </a:lnTo>
                  <a:lnTo>
                    <a:pt x="1006" y="383"/>
                  </a:lnTo>
                  <a:lnTo>
                    <a:pt x="1006" y="383"/>
                  </a:lnTo>
                  <a:lnTo>
                    <a:pt x="1006" y="383"/>
                  </a:lnTo>
                  <a:lnTo>
                    <a:pt x="1003" y="383"/>
                  </a:lnTo>
                  <a:lnTo>
                    <a:pt x="1001" y="383"/>
                  </a:lnTo>
                  <a:lnTo>
                    <a:pt x="996" y="385"/>
                  </a:lnTo>
                  <a:lnTo>
                    <a:pt x="996" y="385"/>
                  </a:lnTo>
                  <a:lnTo>
                    <a:pt x="996" y="385"/>
                  </a:lnTo>
                  <a:lnTo>
                    <a:pt x="994" y="385"/>
                  </a:lnTo>
                  <a:lnTo>
                    <a:pt x="994" y="388"/>
                  </a:lnTo>
                  <a:lnTo>
                    <a:pt x="989" y="388"/>
                  </a:lnTo>
                  <a:lnTo>
                    <a:pt x="982" y="392"/>
                  </a:lnTo>
                  <a:lnTo>
                    <a:pt x="980" y="392"/>
                  </a:lnTo>
                  <a:lnTo>
                    <a:pt x="977" y="392"/>
                  </a:lnTo>
                  <a:lnTo>
                    <a:pt x="977" y="392"/>
                  </a:lnTo>
                  <a:lnTo>
                    <a:pt x="977" y="392"/>
                  </a:lnTo>
                  <a:lnTo>
                    <a:pt x="975" y="395"/>
                  </a:lnTo>
                  <a:lnTo>
                    <a:pt x="975" y="395"/>
                  </a:lnTo>
                  <a:lnTo>
                    <a:pt x="975" y="395"/>
                  </a:lnTo>
                  <a:lnTo>
                    <a:pt x="975" y="395"/>
                  </a:lnTo>
                  <a:lnTo>
                    <a:pt x="973" y="397"/>
                  </a:lnTo>
                  <a:lnTo>
                    <a:pt x="970" y="397"/>
                  </a:lnTo>
                  <a:lnTo>
                    <a:pt x="970" y="399"/>
                  </a:lnTo>
                  <a:lnTo>
                    <a:pt x="970" y="399"/>
                  </a:lnTo>
                  <a:lnTo>
                    <a:pt x="970" y="402"/>
                  </a:lnTo>
                  <a:lnTo>
                    <a:pt x="970" y="404"/>
                  </a:lnTo>
                  <a:lnTo>
                    <a:pt x="970" y="406"/>
                  </a:lnTo>
                  <a:lnTo>
                    <a:pt x="970" y="406"/>
                  </a:lnTo>
                  <a:lnTo>
                    <a:pt x="970" y="409"/>
                  </a:lnTo>
                  <a:lnTo>
                    <a:pt x="970" y="409"/>
                  </a:lnTo>
                  <a:lnTo>
                    <a:pt x="968" y="406"/>
                  </a:lnTo>
                  <a:lnTo>
                    <a:pt x="966" y="406"/>
                  </a:lnTo>
                  <a:lnTo>
                    <a:pt x="966" y="406"/>
                  </a:lnTo>
                  <a:lnTo>
                    <a:pt x="966" y="406"/>
                  </a:lnTo>
                  <a:lnTo>
                    <a:pt x="963" y="406"/>
                  </a:lnTo>
                  <a:lnTo>
                    <a:pt x="963" y="404"/>
                  </a:lnTo>
                  <a:lnTo>
                    <a:pt x="961" y="404"/>
                  </a:lnTo>
                  <a:lnTo>
                    <a:pt x="961" y="404"/>
                  </a:lnTo>
                  <a:lnTo>
                    <a:pt x="956" y="402"/>
                  </a:lnTo>
                  <a:lnTo>
                    <a:pt x="956" y="404"/>
                  </a:lnTo>
                  <a:lnTo>
                    <a:pt x="956" y="406"/>
                  </a:lnTo>
                  <a:lnTo>
                    <a:pt x="956" y="409"/>
                  </a:lnTo>
                  <a:lnTo>
                    <a:pt x="956" y="409"/>
                  </a:lnTo>
                  <a:lnTo>
                    <a:pt x="956" y="409"/>
                  </a:lnTo>
                  <a:lnTo>
                    <a:pt x="956" y="411"/>
                  </a:lnTo>
                  <a:lnTo>
                    <a:pt x="956" y="411"/>
                  </a:lnTo>
                  <a:lnTo>
                    <a:pt x="958" y="411"/>
                  </a:lnTo>
                  <a:lnTo>
                    <a:pt x="958" y="411"/>
                  </a:lnTo>
                  <a:lnTo>
                    <a:pt x="958" y="411"/>
                  </a:lnTo>
                  <a:lnTo>
                    <a:pt x="958" y="411"/>
                  </a:lnTo>
                  <a:lnTo>
                    <a:pt x="958" y="414"/>
                  </a:lnTo>
                  <a:lnTo>
                    <a:pt x="958" y="414"/>
                  </a:lnTo>
                  <a:lnTo>
                    <a:pt x="961" y="414"/>
                  </a:lnTo>
                  <a:lnTo>
                    <a:pt x="961" y="414"/>
                  </a:lnTo>
                  <a:lnTo>
                    <a:pt x="961" y="414"/>
                  </a:lnTo>
                  <a:lnTo>
                    <a:pt x="954" y="411"/>
                  </a:lnTo>
                  <a:lnTo>
                    <a:pt x="951" y="411"/>
                  </a:lnTo>
                  <a:lnTo>
                    <a:pt x="951" y="411"/>
                  </a:lnTo>
                  <a:lnTo>
                    <a:pt x="951" y="411"/>
                  </a:lnTo>
                  <a:lnTo>
                    <a:pt x="951" y="411"/>
                  </a:lnTo>
                  <a:lnTo>
                    <a:pt x="951" y="409"/>
                  </a:lnTo>
                  <a:lnTo>
                    <a:pt x="951" y="409"/>
                  </a:lnTo>
                  <a:lnTo>
                    <a:pt x="951" y="409"/>
                  </a:lnTo>
                  <a:lnTo>
                    <a:pt x="954" y="406"/>
                  </a:lnTo>
                  <a:lnTo>
                    <a:pt x="951" y="406"/>
                  </a:lnTo>
                  <a:lnTo>
                    <a:pt x="951" y="406"/>
                  </a:lnTo>
                  <a:lnTo>
                    <a:pt x="949" y="409"/>
                  </a:lnTo>
                  <a:lnTo>
                    <a:pt x="949" y="409"/>
                  </a:lnTo>
                  <a:lnTo>
                    <a:pt x="949" y="411"/>
                  </a:lnTo>
                  <a:lnTo>
                    <a:pt x="947" y="411"/>
                  </a:lnTo>
                  <a:lnTo>
                    <a:pt x="947" y="411"/>
                  </a:lnTo>
                  <a:lnTo>
                    <a:pt x="947" y="411"/>
                  </a:lnTo>
                  <a:lnTo>
                    <a:pt x="947" y="411"/>
                  </a:lnTo>
                  <a:lnTo>
                    <a:pt x="947" y="416"/>
                  </a:lnTo>
                  <a:lnTo>
                    <a:pt x="947" y="418"/>
                  </a:lnTo>
                  <a:lnTo>
                    <a:pt x="947" y="418"/>
                  </a:lnTo>
                  <a:lnTo>
                    <a:pt x="947" y="418"/>
                  </a:lnTo>
                  <a:lnTo>
                    <a:pt x="947" y="418"/>
                  </a:lnTo>
                  <a:lnTo>
                    <a:pt x="947" y="416"/>
                  </a:lnTo>
                  <a:lnTo>
                    <a:pt x="947" y="416"/>
                  </a:lnTo>
                  <a:lnTo>
                    <a:pt x="949" y="416"/>
                  </a:lnTo>
                  <a:lnTo>
                    <a:pt x="951" y="418"/>
                  </a:lnTo>
                  <a:lnTo>
                    <a:pt x="954" y="418"/>
                  </a:lnTo>
                  <a:lnTo>
                    <a:pt x="954" y="418"/>
                  </a:lnTo>
                  <a:lnTo>
                    <a:pt x="954" y="418"/>
                  </a:lnTo>
                  <a:lnTo>
                    <a:pt x="954" y="421"/>
                  </a:lnTo>
                  <a:lnTo>
                    <a:pt x="954" y="421"/>
                  </a:lnTo>
                  <a:lnTo>
                    <a:pt x="954" y="423"/>
                  </a:lnTo>
                  <a:lnTo>
                    <a:pt x="954" y="423"/>
                  </a:lnTo>
                  <a:lnTo>
                    <a:pt x="954" y="423"/>
                  </a:lnTo>
                  <a:lnTo>
                    <a:pt x="954" y="425"/>
                  </a:lnTo>
                  <a:lnTo>
                    <a:pt x="954" y="425"/>
                  </a:lnTo>
                  <a:lnTo>
                    <a:pt x="951" y="425"/>
                  </a:lnTo>
                  <a:lnTo>
                    <a:pt x="951" y="425"/>
                  </a:lnTo>
                  <a:lnTo>
                    <a:pt x="951" y="425"/>
                  </a:lnTo>
                  <a:lnTo>
                    <a:pt x="951" y="425"/>
                  </a:lnTo>
                  <a:lnTo>
                    <a:pt x="949" y="425"/>
                  </a:lnTo>
                  <a:lnTo>
                    <a:pt x="947" y="425"/>
                  </a:lnTo>
                  <a:lnTo>
                    <a:pt x="947" y="425"/>
                  </a:lnTo>
                  <a:lnTo>
                    <a:pt x="947" y="430"/>
                  </a:lnTo>
                  <a:lnTo>
                    <a:pt x="947" y="430"/>
                  </a:lnTo>
                  <a:lnTo>
                    <a:pt x="947" y="432"/>
                  </a:lnTo>
                  <a:lnTo>
                    <a:pt x="949" y="435"/>
                  </a:lnTo>
                  <a:lnTo>
                    <a:pt x="949" y="435"/>
                  </a:lnTo>
                  <a:lnTo>
                    <a:pt x="951" y="437"/>
                  </a:lnTo>
                  <a:lnTo>
                    <a:pt x="949" y="437"/>
                  </a:lnTo>
                  <a:lnTo>
                    <a:pt x="949" y="437"/>
                  </a:lnTo>
                  <a:lnTo>
                    <a:pt x="949" y="437"/>
                  </a:lnTo>
                  <a:lnTo>
                    <a:pt x="949" y="437"/>
                  </a:lnTo>
                  <a:lnTo>
                    <a:pt x="949" y="437"/>
                  </a:lnTo>
                  <a:lnTo>
                    <a:pt x="949" y="437"/>
                  </a:lnTo>
                  <a:lnTo>
                    <a:pt x="949" y="437"/>
                  </a:lnTo>
                  <a:lnTo>
                    <a:pt x="947" y="440"/>
                  </a:lnTo>
                  <a:lnTo>
                    <a:pt x="947" y="440"/>
                  </a:lnTo>
                  <a:lnTo>
                    <a:pt x="947" y="440"/>
                  </a:lnTo>
                  <a:lnTo>
                    <a:pt x="947" y="440"/>
                  </a:lnTo>
                  <a:lnTo>
                    <a:pt x="947" y="440"/>
                  </a:lnTo>
                  <a:lnTo>
                    <a:pt x="947" y="440"/>
                  </a:lnTo>
                  <a:lnTo>
                    <a:pt x="947" y="442"/>
                  </a:lnTo>
                  <a:lnTo>
                    <a:pt x="947" y="440"/>
                  </a:lnTo>
                  <a:lnTo>
                    <a:pt x="947" y="440"/>
                  </a:lnTo>
                  <a:lnTo>
                    <a:pt x="947" y="442"/>
                  </a:lnTo>
                  <a:lnTo>
                    <a:pt x="947" y="444"/>
                  </a:lnTo>
                  <a:lnTo>
                    <a:pt x="944" y="444"/>
                  </a:lnTo>
                  <a:lnTo>
                    <a:pt x="944" y="447"/>
                  </a:lnTo>
                  <a:lnTo>
                    <a:pt x="947" y="447"/>
                  </a:lnTo>
                  <a:lnTo>
                    <a:pt x="947" y="447"/>
                  </a:lnTo>
                  <a:lnTo>
                    <a:pt x="949" y="449"/>
                  </a:lnTo>
                  <a:lnTo>
                    <a:pt x="949" y="451"/>
                  </a:lnTo>
                  <a:lnTo>
                    <a:pt x="949" y="451"/>
                  </a:lnTo>
                  <a:lnTo>
                    <a:pt x="949" y="451"/>
                  </a:lnTo>
                  <a:lnTo>
                    <a:pt x="951" y="449"/>
                  </a:lnTo>
                  <a:lnTo>
                    <a:pt x="951" y="449"/>
                  </a:lnTo>
                  <a:lnTo>
                    <a:pt x="951" y="449"/>
                  </a:lnTo>
                  <a:lnTo>
                    <a:pt x="954" y="447"/>
                  </a:lnTo>
                  <a:lnTo>
                    <a:pt x="954" y="447"/>
                  </a:lnTo>
                  <a:lnTo>
                    <a:pt x="954" y="444"/>
                  </a:lnTo>
                  <a:lnTo>
                    <a:pt x="954" y="442"/>
                  </a:lnTo>
                  <a:lnTo>
                    <a:pt x="956" y="442"/>
                  </a:lnTo>
                  <a:lnTo>
                    <a:pt x="956" y="442"/>
                  </a:lnTo>
                  <a:lnTo>
                    <a:pt x="958" y="442"/>
                  </a:lnTo>
                  <a:lnTo>
                    <a:pt x="958" y="444"/>
                  </a:lnTo>
                  <a:lnTo>
                    <a:pt x="961" y="442"/>
                  </a:lnTo>
                  <a:lnTo>
                    <a:pt x="961" y="442"/>
                  </a:lnTo>
                  <a:lnTo>
                    <a:pt x="961" y="442"/>
                  </a:lnTo>
                  <a:lnTo>
                    <a:pt x="961" y="442"/>
                  </a:lnTo>
                  <a:lnTo>
                    <a:pt x="961" y="440"/>
                  </a:lnTo>
                  <a:lnTo>
                    <a:pt x="961" y="440"/>
                  </a:lnTo>
                  <a:lnTo>
                    <a:pt x="958" y="440"/>
                  </a:lnTo>
                  <a:lnTo>
                    <a:pt x="961" y="440"/>
                  </a:lnTo>
                  <a:lnTo>
                    <a:pt x="961" y="440"/>
                  </a:lnTo>
                  <a:lnTo>
                    <a:pt x="961" y="440"/>
                  </a:lnTo>
                  <a:lnTo>
                    <a:pt x="961" y="440"/>
                  </a:lnTo>
                  <a:lnTo>
                    <a:pt x="961" y="437"/>
                  </a:lnTo>
                  <a:lnTo>
                    <a:pt x="963" y="437"/>
                  </a:lnTo>
                  <a:lnTo>
                    <a:pt x="963" y="440"/>
                  </a:lnTo>
                  <a:lnTo>
                    <a:pt x="963" y="437"/>
                  </a:lnTo>
                  <a:lnTo>
                    <a:pt x="963" y="437"/>
                  </a:lnTo>
                  <a:lnTo>
                    <a:pt x="966" y="437"/>
                  </a:lnTo>
                  <a:lnTo>
                    <a:pt x="966" y="437"/>
                  </a:lnTo>
                  <a:lnTo>
                    <a:pt x="966" y="437"/>
                  </a:lnTo>
                  <a:lnTo>
                    <a:pt x="968" y="437"/>
                  </a:lnTo>
                  <a:lnTo>
                    <a:pt x="968" y="437"/>
                  </a:lnTo>
                  <a:lnTo>
                    <a:pt x="968" y="437"/>
                  </a:lnTo>
                  <a:lnTo>
                    <a:pt x="968" y="437"/>
                  </a:lnTo>
                  <a:lnTo>
                    <a:pt x="968" y="437"/>
                  </a:lnTo>
                  <a:lnTo>
                    <a:pt x="968" y="437"/>
                  </a:lnTo>
                  <a:lnTo>
                    <a:pt x="968" y="437"/>
                  </a:lnTo>
                  <a:lnTo>
                    <a:pt x="968" y="437"/>
                  </a:lnTo>
                  <a:lnTo>
                    <a:pt x="968" y="437"/>
                  </a:lnTo>
                  <a:lnTo>
                    <a:pt x="970" y="435"/>
                  </a:lnTo>
                  <a:lnTo>
                    <a:pt x="970" y="435"/>
                  </a:lnTo>
                  <a:lnTo>
                    <a:pt x="970" y="435"/>
                  </a:lnTo>
                  <a:lnTo>
                    <a:pt x="970" y="435"/>
                  </a:lnTo>
                  <a:lnTo>
                    <a:pt x="970" y="437"/>
                  </a:lnTo>
                  <a:lnTo>
                    <a:pt x="970" y="437"/>
                  </a:lnTo>
                  <a:lnTo>
                    <a:pt x="970" y="437"/>
                  </a:lnTo>
                  <a:lnTo>
                    <a:pt x="970" y="435"/>
                  </a:lnTo>
                  <a:lnTo>
                    <a:pt x="973" y="435"/>
                  </a:lnTo>
                  <a:lnTo>
                    <a:pt x="973" y="435"/>
                  </a:lnTo>
                  <a:lnTo>
                    <a:pt x="973" y="435"/>
                  </a:lnTo>
                  <a:lnTo>
                    <a:pt x="973" y="435"/>
                  </a:lnTo>
                  <a:lnTo>
                    <a:pt x="975" y="437"/>
                  </a:lnTo>
                  <a:lnTo>
                    <a:pt x="975" y="437"/>
                  </a:lnTo>
                  <a:lnTo>
                    <a:pt x="980" y="435"/>
                  </a:lnTo>
                  <a:lnTo>
                    <a:pt x="980" y="435"/>
                  </a:lnTo>
                  <a:lnTo>
                    <a:pt x="980" y="435"/>
                  </a:lnTo>
                  <a:lnTo>
                    <a:pt x="982" y="435"/>
                  </a:lnTo>
                  <a:lnTo>
                    <a:pt x="982" y="435"/>
                  </a:lnTo>
                  <a:lnTo>
                    <a:pt x="982" y="435"/>
                  </a:lnTo>
                  <a:lnTo>
                    <a:pt x="982" y="435"/>
                  </a:lnTo>
                  <a:lnTo>
                    <a:pt x="982" y="435"/>
                  </a:lnTo>
                  <a:lnTo>
                    <a:pt x="982" y="432"/>
                  </a:lnTo>
                  <a:lnTo>
                    <a:pt x="982" y="432"/>
                  </a:lnTo>
                  <a:lnTo>
                    <a:pt x="982" y="432"/>
                  </a:lnTo>
                  <a:lnTo>
                    <a:pt x="982" y="432"/>
                  </a:lnTo>
                  <a:lnTo>
                    <a:pt x="982" y="432"/>
                  </a:lnTo>
                  <a:lnTo>
                    <a:pt x="982" y="435"/>
                  </a:lnTo>
                  <a:lnTo>
                    <a:pt x="982" y="435"/>
                  </a:lnTo>
                  <a:lnTo>
                    <a:pt x="982" y="435"/>
                  </a:lnTo>
                  <a:lnTo>
                    <a:pt x="980" y="437"/>
                  </a:lnTo>
                  <a:lnTo>
                    <a:pt x="980" y="437"/>
                  </a:lnTo>
                  <a:lnTo>
                    <a:pt x="980" y="437"/>
                  </a:lnTo>
                  <a:lnTo>
                    <a:pt x="980" y="437"/>
                  </a:lnTo>
                  <a:lnTo>
                    <a:pt x="977" y="437"/>
                  </a:lnTo>
                  <a:lnTo>
                    <a:pt x="977" y="437"/>
                  </a:lnTo>
                  <a:lnTo>
                    <a:pt x="977" y="437"/>
                  </a:lnTo>
                  <a:lnTo>
                    <a:pt x="977" y="437"/>
                  </a:lnTo>
                  <a:lnTo>
                    <a:pt x="977" y="437"/>
                  </a:lnTo>
                  <a:lnTo>
                    <a:pt x="975" y="437"/>
                  </a:lnTo>
                  <a:lnTo>
                    <a:pt x="975" y="437"/>
                  </a:lnTo>
                  <a:lnTo>
                    <a:pt x="975" y="437"/>
                  </a:lnTo>
                  <a:lnTo>
                    <a:pt x="973" y="437"/>
                  </a:lnTo>
                  <a:lnTo>
                    <a:pt x="973" y="437"/>
                  </a:lnTo>
                  <a:lnTo>
                    <a:pt x="973" y="437"/>
                  </a:lnTo>
                  <a:lnTo>
                    <a:pt x="970" y="437"/>
                  </a:lnTo>
                  <a:lnTo>
                    <a:pt x="970" y="437"/>
                  </a:lnTo>
                  <a:lnTo>
                    <a:pt x="970" y="437"/>
                  </a:lnTo>
                  <a:lnTo>
                    <a:pt x="970" y="437"/>
                  </a:lnTo>
                  <a:lnTo>
                    <a:pt x="970" y="437"/>
                  </a:lnTo>
                  <a:lnTo>
                    <a:pt x="970" y="437"/>
                  </a:lnTo>
                  <a:lnTo>
                    <a:pt x="968" y="437"/>
                  </a:lnTo>
                  <a:lnTo>
                    <a:pt x="966" y="437"/>
                  </a:lnTo>
                  <a:lnTo>
                    <a:pt x="966" y="437"/>
                  </a:lnTo>
                  <a:lnTo>
                    <a:pt x="963" y="440"/>
                  </a:lnTo>
                  <a:lnTo>
                    <a:pt x="963" y="440"/>
                  </a:lnTo>
                  <a:lnTo>
                    <a:pt x="963" y="440"/>
                  </a:lnTo>
                  <a:lnTo>
                    <a:pt x="963" y="440"/>
                  </a:lnTo>
                  <a:lnTo>
                    <a:pt x="963" y="440"/>
                  </a:lnTo>
                  <a:lnTo>
                    <a:pt x="961" y="440"/>
                  </a:lnTo>
                  <a:lnTo>
                    <a:pt x="961" y="440"/>
                  </a:lnTo>
                  <a:lnTo>
                    <a:pt x="961" y="440"/>
                  </a:lnTo>
                  <a:lnTo>
                    <a:pt x="961" y="440"/>
                  </a:lnTo>
                  <a:lnTo>
                    <a:pt x="961" y="442"/>
                  </a:lnTo>
                  <a:lnTo>
                    <a:pt x="961" y="442"/>
                  </a:lnTo>
                  <a:lnTo>
                    <a:pt x="961" y="442"/>
                  </a:lnTo>
                  <a:lnTo>
                    <a:pt x="961" y="444"/>
                  </a:lnTo>
                  <a:lnTo>
                    <a:pt x="958" y="444"/>
                  </a:lnTo>
                  <a:lnTo>
                    <a:pt x="958" y="444"/>
                  </a:lnTo>
                  <a:lnTo>
                    <a:pt x="958" y="444"/>
                  </a:lnTo>
                  <a:lnTo>
                    <a:pt x="956" y="442"/>
                  </a:lnTo>
                  <a:lnTo>
                    <a:pt x="956" y="444"/>
                  </a:lnTo>
                  <a:lnTo>
                    <a:pt x="954" y="444"/>
                  </a:lnTo>
                  <a:lnTo>
                    <a:pt x="954" y="444"/>
                  </a:lnTo>
                  <a:lnTo>
                    <a:pt x="954" y="444"/>
                  </a:lnTo>
                  <a:lnTo>
                    <a:pt x="956" y="449"/>
                  </a:lnTo>
                  <a:lnTo>
                    <a:pt x="956" y="449"/>
                  </a:lnTo>
                  <a:lnTo>
                    <a:pt x="958" y="449"/>
                  </a:lnTo>
                  <a:lnTo>
                    <a:pt x="958" y="449"/>
                  </a:lnTo>
                  <a:lnTo>
                    <a:pt x="958" y="449"/>
                  </a:lnTo>
                  <a:lnTo>
                    <a:pt x="958" y="449"/>
                  </a:lnTo>
                  <a:lnTo>
                    <a:pt x="958" y="449"/>
                  </a:lnTo>
                  <a:lnTo>
                    <a:pt x="961" y="449"/>
                  </a:lnTo>
                  <a:lnTo>
                    <a:pt x="961" y="449"/>
                  </a:lnTo>
                  <a:lnTo>
                    <a:pt x="961" y="449"/>
                  </a:lnTo>
                  <a:lnTo>
                    <a:pt x="961" y="447"/>
                  </a:lnTo>
                  <a:lnTo>
                    <a:pt x="961" y="447"/>
                  </a:lnTo>
                  <a:lnTo>
                    <a:pt x="961" y="447"/>
                  </a:lnTo>
                  <a:lnTo>
                    <a:pt x="961" y="444"/>
                  </a:lnTo>
                  <a:lnTo>
                    <a:pt x="961" y="449"/>
                  </a:lnTo>
                  <a:lnTo>
                    <a:pt x="961" y="449"/>
                  </a:lnTo>
                  <a:lnTo>
                    <a:pt x="958" y="449"/>
                  </a:lnTo>
                  <a:lnTo>
                    <a:pt x="958" y="451"/>
                  </a:lnTo>
                  <a:lnTo>
                    <a:pt x="956" y="451"/>
                  </a:lnTo>
                  <a:lnTo>
                    <a:pt x="956" y="451"/>
                  </a:lnTo>
                  <a:lnTo>
                    <a:pt x="956" y="451"/>
                  </a:lnTo>
                  <a:lnTo>
                    <a:pt x="956" y="451"/>
                  </a:lnTo>
                  <a:lnTo>
                    <a:pt x="956" y="454"/>
                  </a:lnTo>
                  <a:lnTo>
                    <a:pt x="956" y="454"/>
                  </a:lnTo>
                  <a:lnTo>
                    <a:pt x="956" y="454"/>
                  </a:lnTo>
                  <a:lnTo>
                    <a:pt x="956" y="456"/>
                  </a:lnTo>
                  <a:lnTo>
                    <a:pt x="956" y="456"/>
                  </a:lnTo>
                  <a:lnTo>
                    <a:pt x="956" y="456"/>
                  </a:lnTo>
                  <a:lnTo>
                    <a:pt x="958" y="456"/>
                  </a:lnTo>
                  <a:lnTo>
                    <a:pt x="958" y="456"/>
                  </a:lnTo>
                  <a:lnTo>
                    <a:pt x="958" y="456"/>
                  </a:lnTo>
                  <a:lnTo>
                    <a:pt x="958" y="454"/>
                  </a:lnTo>
                  <a:lnTo>
                    <a:pt x="961" y="456"/>
                  </a:lnTo>
                  <a:lnTo>
                    <a:pt x="963" y="456"/>
                  </a:lnTo>
                  <a:lnTo>
                    <a:pt x="963" y="459"/>
                  </a:lnTo>
                  <a:lnTo>
                    <a:pt x="966" y="459"/>
                  </a:lnTo>
                  <a:lnTo>
                    <a:pt x="966" y="459"/>
                  </a:lnTo>
                  <a:lnTo>
                    <a:pt x="963" y="459"/>
                  </a:lnTo>
                  <a:lnTo>
                    <a:pt x="963" y="459"/>
                  </a:lnTo>
                  <a:lnTo>
                    <a:pt x="963" y="459"/>
                  </a:lnTo>
                  <a:lnTo>
                    <a:pt x="961" y="459"/>
                  </a:lnTo>
                  <a:lnTo>
                    <a:pt x="961" y="459"/>
                  </a:lnTo>
                  <a:lnTo>
                    <a:pt x="961" y="456"/>
                  </a:lnTo>
                  <a:lnTo>
                    <a:pt x="961" y="456"/>
                  </a:lnTo>
                  <a:lnTo>
                    <a:pt x="958" y="459"/>
                  </a:lnTo>
                  <a:lnTo>
                    <a:pt x="958" y="459"/>
                  </a:lnTo>
                  <a:lnTo>
                    <a:pt x="958" y="461"/>
                  </a:lnTo>
                  <a:lnTo>
                    <a:pt x="956" y="459"/>
                  </a:lnTo>
                  <a:lnTo>
                    <a:pt x="954" y="459"/>
                  </a:lnTo>
                  <a:lnTo>
                    <a:pt x="954" y="459"/>
                  </a:lnTo>
                  <a:lnTo>
                    <a:pt x="951" y="459"/>
                  </a:lnTo>
                  <a:lnTo>
                    <a:pt x="949" y="461"/>
                  </a:lnTo>
                  <a:lnTo>
                    <a:pt x="949" y="463"/>
                  </a:lnTo>
                  <a:lnTo>
                    <a:pt x="951" y="463"/>
                  </a:lnTo>
                  <a:lnTo>
                    <a:pt x="951" y="463"/>
                  </a:lnTo>
                  <a:lnTo>
                    <a:pt x="954" y="463"/>
                  </a:lnTo>
                  <a:lnTo>
                    <a:pt x="956" y="463"/>
                  </a:lnTo>
                  <a:lnTo>
                    <a:pt x="956" y="463"/>
                  </a:lnTo>
                  <a:lnTo>
                    <a:pt x="956" y="463"/>
                  </a:lnTo>
                  <a:lnTo>
                    <a:pt x="956" y="466"/>
                  </a:lnTo>
                  <a:lnTo>
                    <a:pt x="958" y="466"/>
                  </a:lnTo>
                  <a:lnTo>
                    <a:pt x="958" y="466"/>
                  </a:lnTo>
                  <a:lnTo>
                    <a:pt x="956" y="468"/>
                  </a:lnTo>
                  <a:lnTo>
                    <a:pt x="958" y="468"/>
                  </a:lnTo>
                  <a:lnTo>
                    <a:pt x="958" y="468"/>
                  </a:lnTo>
                  <a:lnTo>
                    <a:pt x="958" y="468"/>
                  </a:lnTo>
                  <a:lnTo>
                    <a:pt x="958" y="468"/>
                  </a:lnTo>
                  <a:lnTo>
                    <a:pt x="961" y="468"/>
                  </a:lnTo>
                  <a:lnTo>
                    <a:pt x="961" y="468"/>
                  </a:lnTo>
                  <a:lnTo>
                    <a:pt x="963" y="470"/>
                  </a:lnTo>
                  <a:lnTo>
                    <a:pt x="963" y="470"/>
                  </a:lnTo>
                  <a:lnTo>
                    <a:pt x="963" y="473"/>
                  </a:lnTo>
                  <a:lnTo>
                    <a:pt x="963" y="473"/>
                  </a:lnTo>
                  <a:lnTo>
                    <a:pt x="961" y="473"/>
                  </a:lnTo>
                  <a:lnTo>
                    <a:pt x="961" y="473"/>
                  </a:lnTo>
                  <a:lnTo>
                    <a:pt x="961" y="475"/>
                  </a:lnTo>
                  <a:lnTo>
                    <a:pt x="961" y="475"/>
                  </a:lnTo>
                  <a:lnTo>
                    <a:pt x="968" y="477"/>
                  </a:lnTo>
                  <a:lnTo>
                    <a:pt x="973" y="480"/>
                  </a:lnTo>
                  <a:lnTo>
                    <a:pt x="975" y="482"/>
                  </a:lnTo>
                  <a:lnTo>
                    <a:pt x="977" y="485"/>
                  </a:lnTo>
                  <a:lnTo>
                    <a:pt x="977" y="482"/>
                  </a:lnTo>
                  <a:lnTo>
                    <a:pt x="980" y="482"/>
                  </a:lnTo>
                  <a:lnTo>
                    <a:pt x="980" y="482"/>
                  </a:lnTo>
                  <a:lnTo>
                    <a:pt x="980" y="482"/>
                  </a:lnTo>
                  <a:lnTo>
                    <a:pt x="980" y="482"/>
                  </a:lnTo>
                  <a:lnTo>
                    <a:pt x="982" y="482"/>
                  </a:lnTo>
                  <a:lnTo>
                    <a:pt x="982" y="482"/>
                  </a:lnTo>
                  <a:lnTo>
                    <a:pt x="982" y="482"/>
                  </a:lnTo>
                  <a:lnTo>
                    <a:pt x="982" y="482"/>
                  </a:lnTo>
                  <a:lnTo>
                    <a:pt x="984" y="482"/>
                  </a:lnTo>
                  <a:lnTo>
                    <a:pt x="984" y="480"/>
                  </a:lnTo>
                  <a:lnTo>
                    <a:pt x="984" y="482"/>
                  </a:lnTo>
                  <a:lnTo>
                    <a:pt x="987" y="482"/>
                  </a:lnTo>
                  <a:lnTo>
                    <a:pt x="987" y="482"/>
                  </a:lnTo>
                  <a:lnTo>
                    <a:pt x="987" y="482"/>
                  </a:lnTo>
                  <a:lnTo>
                    <a:pt x="987" y="482"/>
                  </a:lnTo>
                  <a:lnTo>
                    <a:pt x="984" y="482"/>
                  </a:lnTo>
                  <a:lnTo>
                    <a:pt x="984" y="482"/>
                  </a:lnTo>
                  <a:lnTo>
                    <a:pt x="984" y="482"/>
                  </a:lnTo>
                  <a:lnTo>
                    <a:pt x="984" y="485"/>
                  </a:lnTo>
                  <a:lnTo>
                    <a:pt x="987" y="487"/>
                  </a:lnTo>
                  <a:lnTo>
                    <a:pt x="987" y="487"/>
                  </a:lnTo>
                  <a:lnTo>
                    <a:pt x="987" y="489"/>
                  </a:lnTo>
                  <a:lnTo>
                    <a:pt x="987" y="489"/>
                  </a:lnTo>
                  <a:lnTo>
                    <a:pt x="987" y="489"/>
                  </a:lnTo>
                  <a:lnTo>
                    <a:pt x="982" y="487"/>
                  </a:lnTo>
                  <a:lnTo>
                    <a:pt x="982" y="487"/>
                  </a:lnTo>
                  <a:lnTo>
                    <a:pt x="982" y="485"/>
                  </a:lnTo>
                  <a:lnTo>
                    <a:pt x="982" y="485"/>
                  </a:lnTo>
                  <a:lnTo>
                    <a:pt x="980" y="485"/>
                  </a:lnTo>
                  <a:lnTo>
                    <a:pt x="977" y="485"/>
                  </a:lnTo>
                  <a:lnTo>
                    <a:pt x="977" y="485"/>
                  </a:lnTo>
                  <a:lnTo>
                    <a:pt x="977" y="487"/>
                  </a:lnTo>
                  <a:lnTo>
                    <a:pt x="984" y="494"/>
                  </a:lnTo>
                  <a:lnTo>
                    <a:pt x="987" y="496"/>
                  </a:lnTo>
                  <a:lnTo>
                    <a:pt x="987" y="499"/>
                  </a:lnTo>
                  <a:lnTo>
                    <a:pt x="984" y="496"/>
                  </a:lnTo>
                  <a:lnTo>
                    <a:pt x="984" y="496"/>
                  </a:lnTo>
                  <a:lnTo>
                    <a:pt x="984" y="499"/>
                  </a:lnTo>
                  <a:lnTo>
                    <a:pt x="984" y="499"/>
                  </a:lnTo>
                  <a:lnTo>
                    <a:pt x="984" y="501"/>
                  </a:lnTo>
                  <a:lnTo>
                    <a:pt x="982" y="501"/>
                  </a:lnTo>
                  <a:lnTo>
                    <a:pt x="975" y="501"/>
                  </a:lnTo>
                  <a:lnTo>
                    <a:pt x="975" y="501"/>
                  </a:lnTo>
                  <a:lnTo>
                    <a:pt x="973" y="501"/>
                  </a:lnTo>
                  <a:lnTo>
                    <a:pt x="973" y="501"/>
                  </a:lnTo>
                  <a:lnTo>
                    <a:pt x="970" y="501"/>
                  </a:lnTo>
                  <a:lnTo>
                    <a:pt x="970" y="499"/>
                  </a:lnTo>
                  <a:lnTo>
                    <a:pt x="970" y="499"/>
                  </a:lnTo>
                  <a:lnTo>
                    <a:pt x="973" y="499"/>
                  </a:lnTo>
                  <a:lnTo>
                    <a:pt x="973" y="496"/>
                  </a:lnTo>
                  <a:lnTo>
                    <a:pt x="973" y="496"/>
                  </a:lnTo>
                  <a:lnTo>
                    <a:pt x="973" y="496"/>
                  </a:lnTo>
                  <a:lnTo>
                    <a:pt x="975" y="496"/>
                  </a:lnTo>
                  <a:lnTo>
                    <a:pt x="973" y="494"/>
                  </a:lnTo>
                  <a:lnTo>
                    <a:pt x="975" y="494"/>
                  </a:lnTo>
                  <a:lnTo>
                    <a:pt x="975" y="494"/>
                  </a:lnTo>
                  <a:lnTo>
                    <a:pt x="975" y="492"/>
                  </a:lnTo>
                  <a:lnTo>
                    <a:pt x="977" y="492"/>
                  </a:lnTo>
                  <a:lnTo>
                    <a:pt x="977" y="492"/>
                  </a:lnTo>
                  <a:lnTo>
                    <a:pt x="975" y="489"/>
                  </a:lnTo>
                  <a:lnTo>
                    <a:pt x="975" y="489"/>
                  </a:lnTo>
                  <a:lnTo>
                    <a:pt x="973" y="489"/>
                  </a:lnTo>
                  <a:lnTo>
                    <a:pt x="973" y="487"/>
                  </a:lnTo>
                  <a:lnTo>
                    <a:pt x="973" y="487"/>
                  </a:lnTo>
                  <a:lnTo>
                    <a:pt x="970" y="487"/>
                  </a:lnTo>
                  <a:lnTo>
                    <a:pt x="970" y="489"/>
                  </a:lnTo>
                  <a:lnTo>
                    <a:pt x="968" y="489"/>
                  </a:lnTo>
                  <a:lnTo>
                    <a:pt x="966" y="492"/>
                  </a:lnTo>
                  <a:lnTo>
                    <a:pt x="966" y="492"/>
                  </a:lnTo>
                  <a:lnTo>
                    <a:pt x="966" y="492"/>
                  </a:lnTo>
                  <a:lnTo>
                    <a:pt x="963" y="489"/>
                  </a:lnTo>
                  <a:lnTo>
                    <a:pt x="963" y="489"/>
                  </a:lnTo>
                  <a:lnTo>
                    <a:pt x="961" y="489"/>
                  </a:lnTo>
                  <a:lnTo>
                    <a:pt x="961" y="489"/>
                  </a:lnTo>
                  <a:lnTo>
                    <a:pt x="958" y="492"/>
                  </a:lnTo>
                  <a:lnTo>
                    <a:pt x="956" y="492"/>
                  </a:lnTo>
                  <a:lnTo>
                    <a:pt x="956" y="492"/>
                  </a:lnTo>
                  <a:lnTo>
                    <a:pt x="956" y="492"/>
                  </a:lnTo>
                  <a:lnTo>
                    <a:pt x="956" y="492"/>
                  </a:lnTo>
                  <a:lnTo>
                    <a:pt x="956" y="492"/>
                  </a:lnTo>
                  <a:lnTo>
                    <a:pt x="956" y="492"/>
                  </a:lnTo>
                  <a:lnTo>
                    <a:pt x="956" y="489"/>
                  </a:lnTo>
                  <a:lnTo>
                    <a:pt x="958" y="489"/>
                  </a:lnTo>
                  <a:lnTo>
                    <a:pt x="958" y="489"/>
                  </a:lnTo>
                  <a:lnTo>
                    <a:pt x="958" y="489"/>
                  </a:lnTo>
                  <a:lnTo>
                    <a:pt x="958" y="489"/>
                  </a:lnTo>
                  <a:lnTo>
                    <a:pt x="958" y="489"/>
                  </a:lnTo>
                  <a:lnTo>
                    <a:pt x="958" y="489"/>
                  </a:lnTo>
                  <a:lnTo>
                    <a:pt x="958" y="489"/>
                  </a:lnTo>
                  <a:lnTo>
                    <a:pt x="958" y="489"/>
                  </a:lnTo>
                  <a:lnTo>
                    <a:pt x="958" y="489"/>
                  </a:lnTo>
                  <a:lnTo>
                    <a:pt x="961" y="489"/>
                  </a:lnTo>
                  <a:lnTo>
                    <a:pt x="961" y="489"/>
                  </a:lnTo>
                  <a:lnTo>
                    <a:pt x="961" y="489"/>
                  </a:lnTo>
                  <a:lnTo>
                    <a:pt x="961" y="489"/>
                  </a:lnTo>
                  <a:lnTo>
                    <a:pt x="961" y="489"/>
                  </a:lnTo>
                  <a:lnTo>
                    <a:pt x="966" y="489"/>
                  </a:lnTo>
                  <a:lnTo>
                    <a:pt x="966" y="487"/>
                  </a:lnTo>
                  <a:lnTo>
                    <a:pt x="966" y="487"/>
                  </a:lnTo>
                  <a:lnTo>
                    <a:pt x="966" y="487"/>
                  </a:lnTo>
                  <a:lnTo>
                    <a:pt x="966" y="487"/>
                  </a:lnTo>
                  <a:lnTo>
                    <a:pt x="966" y="487"/>
                  </a:lnTo>
                  <a:lnTo>
                    <a:pt x="966" y="485"/>
                  </a:lnTo>
                  <a:lnTo>
                    <a:pt x="966" y="485"/>
                  </a:lnTo>
                  <a:lnTo>
                    <a:pt x="966" y="485"/>
                  </a:lnTo>
                  <a:lnTo>
                    <a:pt x="966" y="485"/>
                  </a:lnTo>
                  <a:lnTo>
                    <a:pt x="966" y="482"/>
                  </a:lnTo>
                  <a:lnTo>
                    <a:pt x="966" y="482"/>
                  </a:lnTo>
                  <a:lnTo>
                    <a:pt x="966" y="482"/>
                  </a:lnTo>
                  <a:lnTo>
                    <a:pt x="966" y="482"/>
                  </a:lnTo>
                  <a:lnTo>
                    <a:pt x="966" y="482"/>
                  </a:lnTo>
                  <a:lnTo>
                    <a:pt x="963" y="480"/>
                  </a:lnTo>
                  <a:lnTo>
                    <a:pt x="963" y="480"/>
                  </a:lnTo>
                  <a:lnTo>
                    <a:pt x="963" y="480"/>
                  </a:lnTo>
                  <a:lnTo>
                    <a:pt x="963" y="477"/>
                  </a:lnTo>
                  <a:lnTo>
                    <a:pt x="958" y="475"/>
                  </a:lnTo>
                  <a:lnTo>
                    <a:pt x="958" y="475"/>
                  </a:lnTo>
                  <a:lnTo>
                    <a:pt x="958" y="473"/>
                  </a:lnTo>
                  <a:lnTo>
                    <a:pt x="958" y="473"/>
                  </a:lnTo>
                  <a:lnTo>
                    <a:pt x="961" y="470"/>
                  </a:lnTo>
                  <a:lnTo>
                    <a:pt x="961" y="470"/>
                  </a:lnTo>
                  <a:lnTo>
                    <a:pt x="961" y="470"/>
                  </a:lnTo>
                  <a:lnTo>
                    <a:pt x="961" y="470"/>
                  </a:lnTo>
                  <a:lnTo>
                    <a:pt x="958" y="468"/>
                  </a:lnTo>
                  <a:lnTo>
                    <a:pt x="958" y="470"/>
                  </a:lnTo>
                  <a:lnTo>
                    <a:pt x="956" y="470"/>
                  </a:lnTo>
                  <a:lnTo>
                    <a:pt x="956" y="470"/>
                  </a:lnTo>
                  <a:lnTo>
                    <a:pt x="956" y="470"/>
                  </a:lnTo>
                  <a:lnTo>
                    <a:pt x="956" y="468"/>
                  </a:lnTo>
                  <a:lnTo>
                    <a:pt x="956" y="468"/>
                  </a:lnTo>
                  <a:lnTo>
                    <a:pt x="956" y="468"/>
                  </a:lnTo>
                  <a:lnTo>
                    <a:pt x="956" y="466"/>
                  </a:lnTo>
                  <a:lnTo>
                    <a:pt x="956" y="466"/>
                  </a:lnTo>
                  <a:lnTo>
                    <a:pt x="954" y="466"/>
                  </a:lnTo>
                  <a:lnTo>
                    <a:pt x="954" y="468"/>
                  </a:lnTo>
                  <a:lnTo>
                    <a:pt x="954" y="468"/>
                  </a:lnTo>
                  <a:lnTo>
                    <a:pt x="954" y="470"/>
                  </a:lnTo>
                  <a:lnTo>
                    <a:pt x="951" y="470"/>
                  </a:lnTo>
                  <a:lnTo>
                    <a:pt x="949" y="470"/>
                  </a:lnTo>
                  <a:lnTo>
                    <a:pt x="949" y="470"/>
                  </a:lnTo>
                  <a:lnTo>
                    <a:pt x="949" y="470"/>
                  </a:lnTo>
                  <a:lnTo>
                    <a:pt x="949" y="470"/>
                  </a:lnTo>
                  <a:lnTo>
                    <a:pt x="949" y="470"/>
                  </a:lnTo>
                  <a:lnTo>
                    <a:pt x="947" y="470"/>
                  </a:lnTo>
                  <a:lnTo>
                    <a:pt x="947" y="473"/>
                  </a:lnTo>
                  <a:lnTo>
                    <a:pt x="947" y="475"/>
                  </a:lnTo>
                  <a:lnTo>
                    <a:pt x="947" y="475"/>
                  </a:lnTo>
                  <a:lnTo>
                    <a:pt x="944" y="475"/>
                  </a:lnTo>
                  <a:lnTo>
                    <a:pt x="944" y="475"/>
                  </a:lnTo>
                  <a:lnTo>
                    <a:pt x="942" y="475"/>
                  </a:lnTo>
                  <a:lnTo>
                    <a:pt x="939" y="475"/>
                  </a:lnTo>
                  <a:lnTo>
                    <a:pt x="937" y="475"/>
                  </a:lnTo>
                  <a:lnTo>
                    <a:pt x="937" y="475"/>
                  </a:lnTo>
                  <a:lnTo>
                    <a:pt x="937" y="475"/>
                  </a:lnTo>
                  <a:lnTo>
                    <a:pt x="935" y="475"/>
                  </a:lnTo>
                  <a:lnTo>
                    <a:pt x="935" y="475"/>
                  </a:lnTo>
                  <a:lnTo>
                    <a:pt x="935" y="477"/>
                  </a:lnTo>
                  <a:lnTo>
                    <a:pt x="935" y="475"/>
                  </a:lnTo>
                  <a:lnTo>
                    <a:pt x="932" y="475"/>
                  </a:lnTo>
                  <a:lnTo>
                    <a:pt x="932" y="475"/>
                  </a:lnTo>
                  <a:lnTo>
                    <a:pt x="932" y="475"/>
                  </a:lnTo>
                  <a:lnTo>
                    <a:pt x="930" y="475"/>
                  </a:lnTo>
                  <a:lnTo>
                    <a:pt x="930" y="477"/>
                  </a:lnTo>
                  <a:lnTo>
                    <a:pt x="930" y="477"/>
                  </a:lnTo>
                  <a:lnTo>
                    <a:pt x="935" y="482"/>
                  </a:lnTo>
                  <a:lnTo>
                    <a:pt x="935" y="482"/>
                  </a:lnTo>
                  <a:lnTo>
                    <a:pt x="935" y="482"/>
                  </a:lnTo>
                  <a:lnTo>
                    <a:pt x="937" y="482"/>
                  </a:lnTo>
                  <a:lnTo>
                    <a:pt x="939" y="482"/>
                  </a:lnTo>
                  <a:lnTo>
                    <a:pt x="942" y="482"/>
                  </a:lnTo>
                  <a:lnTo>
                    <a:pt x="942" y="485"/>
                  </a:lnTo>
                  <a:lnTo>
                    <a:pt x="939" y="485"/>
                  </a:lnTo>
                  <a:lnTo>
                    <a:pt x="939" y="485"/>
                  </a:lnTo>
                  <a:lnTo>
                    <a:pt x="939" y="485"/>
                  </a:lnTo>
                  <a:lnTo>
                    <a:pt x="939" y="485"/>
                  </a:lnTo>
                  <a:lnTo>
                    <a:pt x="939" y="485"/>
                  </a:lnTo>
                  <a:lnTo>
                    <a:pt x="937" y="487"/>
                  </a:lnTo>
                  <a:lnTo>
                    <a:pt x="937" y="487"/>
                  </a:lnTo>
                  <a:lnTo>
                    <a:pt x="937" y="487"/>
                  </a:lnTo>
                  <a:lnTo>
                    <a:pt x="937" y="487"/>
                  </a:lnTo>
                  <a:lnTo>
                    <a:pt x="937" y="487"/>
                  </a:lnTo>
                  <a:lnTo>
                    <a:pt x="935" y="485"/>
                  </a:lnTo>
                  <a:lnTo>
                    <a:pt x="935" y="485"/>
                  </a:lnTo>
                  <a:lnTo>
                    <a:pt x="935" y="487"/>
                  </a:lnTo>
                  <a:lnTo>
                    <a:pt x="932" y="489"/>
                  </a:lnTo>
                  <a:lnTo>
                    <a:pt x="935" y="489"/>
                  </a:lnTo>
                  <a:lnTo>
                    <a:pt x="935" y="492"/>
                  </a:lnTo>
                  <a:lnTo>
                    <a:pt x="935" y="492"/>
                  </a:lnTo>
                  <a:lnTo>
                    <a:pt x="935" y="494"/>
                  </a:lnTo>
                  <a:lnTo>
                    <a:pt x="937" y="499"/>
                  </a:lnTo>
                  <a:lnTo>
                    <a:pt x="937" y="499"/>
                  </a:lnTo>
                  <a:lnTo>
                    <a:pt x="937" y="499"/>
                  </a:lnTo>
                  <a:lnTo>
                    <a:pt x="939" y="499"/>
                  </a:lnTo>
                  <a:lnTo>
                    <a:pt x="942" y="499"/>
                  </a:lnTo>
                  <a:lnTo>
                    <a:pt x="942" y="499"/>
                  </a:lnTo>
                  <a:lnTo>
                    <a:pt x="939" y="501"/>
                  </a:lnTo>
                  <a:lnTo>
                    <a:pt x="939" y="501"/>
                  </a:lnTo>
                  <a:lnTo>
                    <a:pt x="939" y="501"/>
                  </a:lnTo>
                  <a:lnTo>
                    <a:pt x="939" y="501"/>
                  </a:lnTo>
                  <a:lnTo>
                    <a:pt x="939" y="501"/>
                  </a:lnTo>
                  <a:lnTo>
                    <a:pt x="939" y="503"/>
                  </a:lnTo>
                  <a:lnTo>
                    <a:pt x="939" y="506"/>
                  </a:lnTo>
                  <a:lnTo>
                    <a:pt x="939" y="506"/>
                  </a:lnTo>
                  <a:lnTo>
                    <a:pt x="942" y="508"/>
                  </a:lnTo>
                  <a:lnTo>
                    <a:pt x="942" y="508"/>
                  </a:lnTo>
                  <a:lnTo>
                    <a:pt x="942" y="511"/>
                  </a:lnTo>
                  <a:lnTo>
                    <a:pt x="939" y="511"/>
                  </a:lnTo>
                  <a:lnTo>
                    <a:pt x="939" y="511"/>
                  </a:lnTo>
                  <a:lnTo>
                    <a:pt x="939" y="511"/>
                  </a:lnTo>
                  <a:lnTo>
                    <a:pt x="939" y="511"/>
                  </a:lnTo>
                  <a:lnTo>
                    <a:pt x="939" y="513"/>
                  </a:lnTo>
                  <a:lnTo>
                    <a:pt x="939" y="513"/>
                  </a:lnTo>
                  <a:lnTo>
                    <a:pt x="939" y="513"/>
                  </a:lnTo>
                  <a:lnTo>
                    <a:pt x="939" y="515"/>
                  </a:lnTo>
                  <a:lnTo>
                    <a:pt x="939" y="515"/>
                  </a:lnTo>
                  <a:lnTo>
                    <a:pt x="939" y="515"/>
                  </a:lnTo>
                  <a:lnTo>
                    <a:pt x="942" y="518"/>
                  </a:lnTo>
                  <a:lnTo>
                    <a:pt x="944" y="520"/>
                  </a:lnTo>
                  <a:lnTo>
                    <a:pt x="944" y="522"/>
                  </a:lnTo>
                  <a:lnTo>
                    <a:pt x="944" y="525"/>
                  </a:lnTo>
                  <a:lnTo>
                    <a:pt x="944" y="525"/>
                  </a:lnTo>
                  <a:lnTo>
                    <a:pt x="944" y="525"/>
                  </a:lnTo>
                  <a:lnTo>
                    <a:pt x="944" y="525"/>
                  </a:lnTo>
                  <a:lnTo>
                    <a:pt x="944" y="525"/>
                  </a:lnTo>
                  <a:lnTo>
                    <a:pt x="944" y="525"/>
                  </a:lnTo>
                  <a:lnTo>
                    <a:pt x="944" y="525"/>
                  </a:lnTo>
                  <a:lnTo>
                    <a:pt x="944" y="525"/>
                  </a:lnTo>
                  <a:lnTo>
                    <a:pt x="942" y="525"/>
                  </a:lnTo>
                  <a:lnTo>
                    <a:pt x="939" y="525"/>
                  </a:lnTo>
                  <a:lnTo>
                    <a:pt x="939" y="527"/>
                  </a:lnTo>
                  <a:lnTo>
                    <a:pt x="939" y="529"/>
                  </a:lnTo>
                  <a:lnTo>
                    <a:pt x="939" y="529"/>
                  </a:lnTo>
                  <a:lnTo>
                    <a:pt x="939" y="532"/>
                  </a:lnTo>
                  <a:lnTo>
                    <a:pt x="939" y="532"/>
                  </a:lnTo>
                  <a:lnTo>
                    <a:pt x="944" y="539"/>
                  </a:lnTo>
                  <a:lnTo>
                    <a:pt x="951" y="541"/>
                  </a:lnTo>
                  <a:lnTo>
                    <a:pt x="958" y="546"/>
                  </a:lnTo>
                  <a:lnTo>
                    <a:pt x="966" y="548"/>
                  </a:lnTo>
                  <a:lnTo>
                    <a:pt x="975" y="548"/>
                  </a:lnTo>
                  <a:lnTo>
                    <a:pt x="977" y="548"/>
                  </a:lnTo>
                  <a:lnTo>
                    <a:pt x="977" y="546"/>
                  </a:lnTo>
                  <a:lnTo>
                    <a:pt x="980" y="548"/>
                  </a:lnTo>
                  <a:lnTo>
                    <a:pt x="980" y="548"/>
                  </a:lnTo>
                  <a:lnTo>
                    <a:pt x="982" y="551"/>
                  </a:lnTo>
                  <a:lnTo>
                    <a:pt x="984" y="551"/>
                  </a:lnTo>
                  <a:lnTo>
                    <a:pt x="984" y="551"/>
                  </a:lnTo>
                  <a:lnTo>
                    <a:pt x="984" y="548"/>
                  </a:lnTo>
                  <a:lnTo>
                    <a:pt x="987" y="548"/>
                  </a:lnTo>
                  <a:lnTo>
                    <a:pt x="987" y="548"/>
                  </a:lnTo>
                  <a:lnTo>
                    <a:pt x="987" y="546"/>
                  </a:lnTo>
                  <a:lnTo>
                    <a:pt x="987" y="546"/>
                  </a:lnTo>
                  <a:lnTo>
                    <a:pt x="987" y="546"/>
                  </a:lnTo>
                  <a:lnTo>
                    <a:pt x="989" y="544"/>
                  </a:lnTo>
                  <a:lnTo>
                    <a:pt x="989" y="544"/>
                  </a:lnTo>
                  <a:lnTo>
                    <a:pt x="989" y="544"/>
                  </a:lnTo>
                  <a:lnTo>
                    <a:pt x="992" y="541"/>
                  </a:lnTo>
                  <a:lnTo>
                    <a:pt x="992" y="541"/>
                  </a:lnTo>
                  <a:lnTo>
                    <a:pt x="992" y="541"/>
                  </a:lnTo>
                  <a:lnTo>
                    <a:pt x="992" y="537"/>
                  </a:lnTo>
                  <a:lnTo>
                    <a:pt x="989" y="534"/>
                  </a:lnTo>
                  <a:lnTo>
                    <a:pt x="987" y="534"/>
                  </a:lnTo>
                  <a:lnTo>
                    <a:pt x="992" y="537"/>
                  </a:lnTo>
                  <a:lnTo>
                    <a:pt x="992" y="537"/>
                  </a:lnTo>
                  <a:lnTo>
                    <a:pt x="992" y="537"/>
                  </a:lnTo>
                  <a:lnTo>
                    <a:pt x="992" y="537"/>
                  </a:lnTo>
                  <a:lnTo>
                    <a:pt x="992" y="534"/>
                  </a:lnTo>
                  <a:lnTo>
                    <a:pt x="992" y="534"/>
                  </a:lnTo>
                  <a:lnTo>
                    <a:pt x="992" y="534"/>
                  </a:lnTo>
                  <a:lnTo>
                    <a:pt x="992" y="534"/>
                  </a:lnTo>
                  <a:lnTo>
                    <a:pt x="994" y="534"/>
                  </a:lnTo>
                  <a:lnTo>
                    <a:pt x="994" y="534"/>
                  </a:lnTo>
                  <a:lnTo>
                    <a:pt x="992" y="532"/>
                  </a:lnTo>
                  <a:lnTo>
                    <a:pt x="992" y="532"/>
                  </a:lnTo>
                  <a:lnTo>
                    <a:pt x="994" y="532"/>
                  </a:lnTo>
                  <a:lnTo>
                    <a:pt x="994" y="532"/>
                  </a:lnTo>
                  <a:lnTo>
                    <a:pt x="994" y="532"/>
                  </a:lnTo>
                  <a:lnTo>
                    <a:pt x="994" y="532"/>
                  </a:lnTo>
                  <a:lnTo>
                    <a:pt x="994" y="532"/>
                  </a:lnTo>
                  <a:lnTo>
                    <a:pt x="994" y="532"/>
                  </a:lnTo>
                  <a:lnTo>
                    <a:pt x="994" y="532"/>
                  </a:lnTo>
                  <a:lnTo>
                    <a:pt x="994" y="532"/>
                  </a:lnTo>
                  <a:lnTo>
                    <a:pt x="994" y="532"/>
                  </a:lnTo>
                  <a:lnTo>
                    <a:pt x="996" y="532"/>
                  </a:lnTo>
                  <a:lnTo>
                    <a:pt x="996" y="532"/>
                  </a:lnTo>
                  <a:lnTo>
                    <a:pt x="996" y="532"/>
                  </a:lnTo>
                  <a:lnTo>
                    <a:pt x="996" y="532"/>
                  </a:lnTo>
                  <a:lnTo>
                    <a:pt x="999" y="532"/>
                  </a:lnTo>
                  <a:lnTo>
                    <a:pt x="999" y="532"/>
                  </a:lnTo>
                  <a:lnTo>
                    <a:pt x="996" y="532"/>
                  </a:lnTo>
                  <a:lnTo>
                    <a:pt x="999" y="532"/>
                  </a:lnTo>
                  <a:lnTo>
                    <a:pt x="999" y="532"/>
                  </a:lnTo>
                  <a:lnTo>
                    <a:pt x="999" y="532"/>
                  </a:lnTo>
                  <a:lnTo>
                    <a:pt x="999" y="529"/>
                  </a:lnTo>
                  <a:lnTo>
                    <a:pt x="999" y="529"/>
                  </a:lnTo>
                  <a:lnTo>
                    <a:pt x="1001" y="529"/>
                  </a:lnTo>
                  <a:lnTo>
                    <a:pt x="1001" y="529"/>
                  </a:lnTo>
                  <a:lnTo>
                    <a:pt x="1001" y="529"/>
                  </a:lnTo>
                  <a:lnTo>
                    <a:pt x="1001" y="529"/>
                  </a:lnTo>
                  <a:lnTo>
                    <a:pt x="1001" y="529"/>
                  </a:lnTo>
                  <a:lnTo>
                    <a:pt x="1003" y="529"/>
                  </a:lnTo>
                  <a:lnTo>
                    <a:pt x="1003" y="529"/>
                  </a:lnTo>
                  <a:lnTo>
                    <a:pt x="1006" y="527"/>
                  </a:lnTo>
                  <a:lnTo>
                    <a:pt x="1008" y="525"/>
                  </a:lnTo>
                  <a:lnTo>
                    <a:pt x="1008" y="525"/>
                  </a:lnTo>
                  <a:lnTo>
                    <a:pt x="1008" y="525"/>
                  </a:lnTo>
                  <a:lnTo>
                    <a:pt x="1008" y="525"/>
                  </a:lnTo>
                  <a:lnTo>
                    <a:pt x="1010" y="522"/>
                  </a:lnTo>
                  <a:lnTo>
                    <a:pt x="1010" y="522"/>
                  </a:lnTo>
                  <a:lnTo>
                    <a:pt x="1010" y="522"/>
                  </a:lnTo>
                  <a:lnTo>
                    <a:pt x="1013" y="522"/>
                  </a:lnTo>
                  <a:lnTo>
                    <a:pt x="1015" y="522"/>
                  </a:lnTo>
                  <a:lnTo>
                    <a:pt x="1015" y="522"/>
                  </a:lnTo>
                  <a:lnTo>
                    <a:pt x="1015" y="522"/>
                  </a:lnTo>
                  <a:lnTo>
                    <a:pt x="1015" y="522"/>
                  </a:lnTo>
                  <a:lnTo>
                    <a:pt x="1015" y="520"/>
                  </a:lnTo>
                  <a:lnTo>
                    <a:pt x="1015" y="518"/>
                  </a:lnTo>
                  <a:lnTo>
                    <a:pt x="1018" y="520"/>
                  </a:lnTo>
                  <a:lnTo>
                    <a:pt x="1018" y="520"/>
                  </a:lnTo>
                  <a:lnTo>
                    <a:pt x="1018" y="522"/>
                  </a:lnTo>
                  <a:lnTo>
                    <a:pt x="1015" y="522"/>
                  </a:lnTo>
                  <a:lnTo>
                    <a:pt x="1015" y="525"/>
                  </a:lnTo>
                  <a:lnTo>
                    <a:pt x="1020" y="525"/>
                  </a:lnTo>
                  <a:lnTo>
                    <a:pt x="1020" y="522"/>
                  </a:lnTo>
                  <a:lnTo>
                    <a:pt x="1022" y="525"/>
                  </a:lnTo>
                  <a:lnTo>
                    <a:pt x="1022" y="525"/>
                  </a:lnTo>
                  <a:lnTo>
                    <a:pt x="1020" y="525"/>
                  </a:lnTo>
                  <a:lnTo>
                    <a:pt x="1020" y="525"/>
                  </a:lnTo>
                  <a:lnTo>
                    <a:pt x="1020" y="525"/>
                  </a:lnTo>
                  <a:lnTo>
                    <a:pt x="1020" y="525"/>
                  </a:lnTo>
                  <a:lnTo>
                    <a:pt x="1018" y="527"/>
                  </a:lnTo>
                  <a:lnTo>
                    <a:pt x="1015" y="525"/>
                  </a:lnTo>
                  <a:lnTo>
                    <a:pt x="1015" y="525"/>
                  </a:lnTo>
                  <a:lnTo>
                    <a:pt x="1015" y="525"/>
                  </a:lnTo>
                  <a:lnTo>
                    <a:pt x="1010" y="525"/>
                  </a:lnTo>
                  <a:lnTo>
                    <a:pt x="1010" y="525"/>
                  </a:lnTo>
                  <a:lnTo>
                    <a:pt x="1010" y="525"/>
                  </a:lnTo>
                  <a:lnTo>
                    <a:pt x="1010" y="525"/>
                  </a:lnTo>
                  <a:lnTo>
                    <a:pt x="1008" y="527"/>
                  </a:lnTo>
                  <a:lnTo>
                    <a:pt x="1008" y="527"/>
                  </a:lnTo>
                  <a:lnTo>
                    <a:pt x="1008" y="527"/>
                  </a:lnTo>
                  <a:lnTo>
                    <a:pt x="1008" y="527"/>
                  </a:lnTo>
                  <a:lnTo>
                    <a:pt x="1008" y="529"/>
                  </a:lnTo>
                  <a:lnTo>
                    <a:pt x="1008" y="529"/>
                  </a:lnTo>
                  <a:lnTo>
                    <a:pt x="1006" y="529"/>
                  </a:lnTo>
                  <a:lnTo>
                    <a:pt x="1006" y="529"/>
                  </a:lnTo>
                  <a:lnTo>
                    <a:pt x="1003" y="529"/>
                  </a:lnTo>
                  <a:lnTo>
                    <a:pt x="1003" y="532"/>
                  </a:lnTo>
                  <a:lnTo>
                    <a:pt x="1003" y="532"/>
                  </a:lnTo>
                  <a:lnTo>
                    <a:pt x="1001" y="532"/>
                  </a:lnTo>
                  <a:lnTo>
                    <a:pt x="999" y="537"/>
                  </a:lnTo>
                  <a:lnTo>
                    <a:pt x="996" y="537"/>
                  </a:lnTo>
                  <a:lnTo>
                    <a:pt x="994" y="537"/>
                  </a:lnTo>
                  <a:lnTo>
                    <a:pt x="994" y="537"/>
                  </a:lnTo>
                  <a:lnTo>
                    <a:pt x="994" y="537"/>
                  </a:lnTo>
                  <a:lnTo>
                    <a:pt x="996" y="539"/>
                  </a:lnTo>
                  <a:lnTo>
                    <a:pt x="996" y="541"/>
                  </a:lnTo>
                  <a:lnTo>
                    <a:pt x="996" y="541"/>
                  </a:lnTo>
                  <a:lnTo>
                    <a:pt x="996" y="541"/>
                  </a:lnTo>
                  <a:lnTo>
                    <a:pt x="996" y="541"/>
                  </a:lnTo>
                  <a:lnTo>
                    <a:pt x="994" y="544"/>
                  </a:lnTo>
                  <a:lnTo>
                    <a:pt x="994" y="544"/>
                  </a:lnTo>
                  <a:lnTo>
                    <a:pt x="994" y="544"/>
                  </a:lnTo>
                  <a:lnTo>
                    <a:pt x="994" y="544"/>
                  </a:lnTo>
                  <a:lnTo>
                    <a:pt x="994" y="544"/>
                  </a:lnTo>
                  <a:lnTo>
                    <a:pt x="994" y="544"/>
                  </a:lnTo>
                  <a:lnTo>
                    <a:pt x="994" y="546"/>
                  </a:lnTo>
                  <a:lnTo>
                    <a:pt x="994" y="546"/>
                  </a:lnTo>
                  <a:lnTo>
                    <a:pt x="992" y="548"/>
                  </a:lnTo>
                  <a:lnTo>
                    <a:pt x="994" y="548"/>
                  </a:lnTo>
                  <a:lnTo>
                    <a:pt x="994" y="548"/>
                  </a:lnTo>
                  <a:lnTo>
                    <a:pt x="994" y="548"/>
                  </a:lnTo>
                  <a:lnTo>
                    <a:pt x="996" y="548"/>
                  </a:lnTo>
                  <a:lnTo>
                    <a:pt x="996" y="546"/>
                  </a:lnTo>
                  <a:lnTo>
                    <a:pt x="996" y="546"/>
                  </a:lnTo>
                  <a:lnTo>
                    <a:pt x="996" y="546"/>
                  </a:lnTo>
                  <a:lnTo>
                    <a:pt x="996" y="544"/>
                  </a:lnTo>
                  <a:lnTo>
                    <a:pt x="996" y="544"/>
                  </a:lnTo>
                  <a:lnTo>
                    <a:pt x="996" y="544"/>
                  </a:lnTo>
                  <a:lnTo>
                    <a:pt x="996" y="544"/>
                  </a:lnTo>
                  <a:lnTo>
                    <a:pt x="996" y="544"/>
                  </a:lnTo>
                  <a:lnTo>
                    <a:pt x="996" y="544"/>
                  </a:lnTo>
                  <a:lnTo>
                    <a:pt x="996" y="544"/>
                  </a:lnTo>
                  <a:lnTo>
                    <a:pt x="996" y="544"/>
                  </a:lnTo>
                  <a:lnTo>
                    <a:pt x="996" y="544"/>
                  </a:lnTo>
                  <a:lnTo>
                    <a:pt x="996" y="544"/>
                  </a:lnTo>
                  <a:lnTo>
                    <a:pt x="996" y="544"/>
                  </a:lnTo>
                  <a:lnTo>
                    <a:pt x="996" y="541"/>
                  </a:lnTo>
                  <a:lnTo>
                    <a:pt x="996" y="541"/>
                  </a:lnTo>
                  <a:lnTo>
                    <a:pt x="999" y="541"/>
                  </a:lnTo>
                  <a:lnTo>
                    <a:pt x="999" y="541"/>
                  </a:lnTo>
                  <a:lnTo>
                    <a:pt x="996" y="544"/>
                  </a:lnTo>
                  <a:lnTo>
                    <a:pt x="999" y="544"/>
                  </a:lnTo>
                  <a:lnTo>
                    <a:pt x="999" y="544"/>
                  </a:lnTo>
                  <a:lnTo>
                    <a:pt x="999" y="544"/>
                  </a:lnTo>
                  <a:lnTo>
                    <a:pt x="1001" y="544"/>
                  </a:lnTo>
                  <a:lnTo>
                    <a:pt x="999" y="544"/>
                  </a:lnTo>
                  <a:lnTo>
                    <a:pt x="999" y="544"/>
                  </a:lnTo>
                  <a:lnTo>
                    <a:pt x="999" y="544"/>
                  </a:lnTo>
                  <a:lnTo>
                    <a:pt x="1001" y="544"/>
                  </a:lnTo>
                  <a:lnTo>
                    <a:pt x="1001" y="544"/>
                  </a:lnTo>
                  <a:lnTo>
                    <a:pt x="1001" y="544"/>
                  </a:lnTo>
                  <a:lnTo>
                    <a:pt x="1001" y="544"/>
                  </a:lnTo>
                  <a:lnTo>
                    <a:pt x="1001" y="544"/>
                  </a:lnTo>
                  <a:lnTo>
                    <a:pt x="1001" y="544"/>
                  </a:lnTo>
                  <a:lnTo>
                    <a:pt x="999" y="544"/>
                  </a:lnTo>
                  <a:lnTo>
                    <a:pt x="999" y="544"/>
                  </a:lnTo>
                  <a:lnTo>
                    <a:pt x="996" y="544"/>
                  </a:lnTo>
                  <a:lnTo>
                    <a:pt x="996" y="544"/>
                  </a:lnTo>
                  <a:lnTo>
                    <a:pt x="996" y="546"/>
                  </a:lnTo>
                  <a:lnTo>
                    <a:pt x="996" y="546"/>
                  </a:lnTo>
                  <a:lnTo>
                    <a:pt x="996" y="548"/>
                  </a:lnTo>
                  <a:lnTo>
                    <a:pt x="996" y="548"/>
                  </a:lnTo>
                  <a:lnTo>
                    <a:pt x="996" y="548"/>
                  </a:lnTo>
                  <a:lnTo>
                    <a:pt x="996" y="548"/>
                  </a:lnTo>
                  <a:lnTo>
                    <a:pt x="994" y="548"/>
                  </a:lnTo>
                  <a:lnTo>
                    <a:pt x="994" y="548"/>
                  </a:lnTo>
                  <a:lnTo>
                    <a:pt x="994" y="551"/>
                  </a:lnTo>
                  <a:lnTo>
                    <a:pt x="994" y="551"/>
                  </a:lnTo>
                  <a:lnTo>
                    <a:pt x="992" y="553"/>
                  </a:lnTo>
                  <a:lnTo>
                    <a:pt x="992" y="556"/>
                  </a:lnTo>
                  <a:lnTo>
                    <a:pt x="992" y="556"/>
                  </a:lnTo>
                  <a:lnTo>
                    <a:pt x="992" y="558"/>
                  </a:lnTo>
                  <a:lnTo>
                    <a:pt x="994" y="558"/>
                  </a:lnTo>
                  <a:lnTo>
                    <a:pt x="994" y="558"/>
                  </a:lnTo>
                  <a:lnTo>
                    <a:pt x="992" y="560"/>
                  </a:lnTo>
                  <a:lnTo>
                    <a:pt x="992" y="563"/>
                  </a:lnTo>
                  <a:lnTo>
                    <a:pt x="992" y="563"/>
                  </a:lnTo>
                  <a:lnTo>
                    <a:pt x="992" y="567"/>
                  </a:lnTo>
                  <a:lnTo>
                    <a:pt x="992" y="574"/>
                  </a:lnTo>
                  <a:lnTo>
                    <a:pt x="992" y="574"/>
                  </a:lnTo>
                  <a:lnTo>
                    <a:pt x="992" y="574"/>
                  </a:lnTo>
                  <a:lnTo>
                    <a:pt x="992" y="574"/>
                  </a:lnTo>
                  <a:lnTo>
                    <a:pt x="989" y="577"/>
                  </a:lnTo>
                  <a:lnTo>
                    <a:pt x="989" y="577"/>
                  </a:lnTo>
                  <a:lnTo>
                    <a:pt x="989" y="577"/>
                  </a:lnTo>
                  <a:lnTo>
                    <a:pt x="989" y="579"/>
                  </a:lnTo>
                  <a:lnTo>
                    <a:pt x="989" y="586"/>
                  </a:lnTo>
                  <a:lnTo>
                    <a:pt x="989" y="589"/>
                  </a:lnTo>
                  <a:lnTo>
                    <a:pt x="987" y="589"/>
                  </a:lnTo>
                  <a:lnTo>
                    <a:pt x="987" y="589"/>
                  </a:lnTo>
                  <a:lnTo>
                    <a:pt x="987" y="589"/>
                  </a:lnTo>
                  <a:lnTo>
                    <a:pt x="987" y="589"/>
                  </a:lnTo>
                  <a:lnTo>
                    <a:pt x="987" y="586"/>
                  </a:lnTo>
                  <a:lnTo>
                    <a:pt x="984" y="589"/>
                  </a:lnTo>
                  <a:lnTo>
                    <a:pt x="984" y="589"/>
                  </a:lnTo>
                  <a:lnTo>
                    <a:pt x="982" y="589"/>
                  </a:lnTo>
                  <a:lnTo>
                    <a:pt x="982" y="589"/>
                  </a:lnTo>
                  <a:lnTo>
                    <a:pt x="982" y="589"/>
                  </a:lnTo>
                  <a:lnTo>
                    <a:pt x="982" y="589"/>
                  </a:lnTo>
                  <a:lnTo>
                    <a:pt x="980" y="589"/>
                  </a:lnTo>
                  <a:lnTo>
                    <a:pt x="980" y="589"/>
                  </a:lnTo>
                  <a:lnTo>
                    <a:pt x="980" y="589"/>
                  </a:lnTo>
                  <a:lnTo>
                    <a:pt x="977" y="591"/>
                  </a:lnTo>
                  <a:lnTo>
                    <a:pt x="977" y="591"/>
                  </a:lnTo>
                  <a:lnTo>
                    <a:pt x="977" y="591"/>
                  </a:lnTo>
                  <a:lnTo>
                    <a:pt x="977" y="591"/>
                  </a:lnTo>
                  <a:lnTo>
                    <a:pt x="977" y="593"/>
                  </a:lnTo>
                  <a:lnTo>
                    <a:pt x="975" y="593"/>
                  </a:lnTo>
                  <a:lnTo>
                    <a:pt x="975" y="593"/>
                  </a:lnTo>
                  <a:lnTo>
                    <a:pt x="975" y="596"/>
                  </a:lnTo>
                  <a:lnTo>
                    <a:pt x="973" y="596"/>
                  </a:lnTo>
                  <a:lnTo>
                    <a:pt x="973" y="596"/>
                  </a:lnTo>
                  <a:lnTo>
                    <a:pt x="973" y="593"/>
                  </a:lnTo>
                  <a:lnTo>
                    <a:pt x="973" y="593"/>
                  </a:lnTo>
                  <a:lnTo>
                    <a:pt x="975" y="593"/>
                  </a:lnTo>
                  <a:lnTo>
                    <a:pt x="975" y="593"/>
                  </a:lnTo>
                  <a:lnTo>
                    <a:pt x="975" y="593"/>
                  </a:lnTo>
                  <a:lnTo>
                    <a:pt x="973" y="593"/>
                  </a:lnTo>
                  <a:lnTo>
                    <a:pt x="973" y="596"/>
                  </a:lnTo>
                  <a:lnTo>
                    <a:pt x="973" y="596"/>
                  </a:lnTo>
                  <a:lnTo>
                    <a:pt x="970" y="603"/>
                  </a:lnTo>
                  <a:lnTo>
                    <a:pt x="970" y="603"/>
                  </a:lnTo>
                  <a:lnTo>
                    <a:pt x="970" y="605"/>
                  </a:lnTo>
                  <a:lnTo>
                    <a:pt x="973" y="608"/>
                  </a:lnTo>
                  <a:lnTo>
                    <a:pt x="973" y="608"/>
                  </a:lnTo>
                  <a:lnTo>
                    <a:pt x="970" y="605"/>
                  </a:lnTo>
                  <a:lnTo>
                    <a:pt x="973" y="605"/>
                  </a:lnTo>
                  <a:lnTo>
                    <a:pt x="973" y="605"/>
                  </a:lnTo>
                  <a:lnTo>
                    <a:pt x="973" y="605"/>
                  </a:lnTo>
                  <a:lnTo>
                    <a:pt x="977" y="608"/>
                  </a:lnTo>
                  <a:lnTo>
                    <a:pt x="977" y="608"/>
                  </a:lnTo>
                  <a:lnTo>
                    <a:pt x="977" y="608"/>
                  </a:lnTo>
                  <a:lnTo>
                    <a:pt x="980" y="608"/>
                  </a:lnTo>
                  <a:lnTo>
                    <a:pt x="980" y="608"/>
                  </a:lnTo>
                  <a:lnTo>
                    <a:pt x="980" y="608"/>
                  </a:lnTo>
                  <a:lnTo>
                    <a:pt x="980" y="608"/>
                  </a:lnTo>
                  <a:lnTo>
                    <a:pt x="980" y="608"/>
                  </a:lnTo>
                  <a:lnTo>
                    <a:pt x="980" y="608"/>
                  </a:lnTo>
                  <a:lnTo>
                    <a:pt x="980" y="608"/>
                  </a:lnTo>
                  <a:lnTo>
                    <a:pt x="980" y="610"/>
                  </a:lnTo>
                  <a:lnTo>
                    <a:pt x="980" y="610"/>
                  </a:lnTo>
                  <a:lnTo>
                    <a:pt x="980" y="610"/>
                  </a:lnTo>
                  <a:lnTo>
                    <a:pt x="980" y="610"/>
                  </a:lnTo>
                  <a:lnTo>
                    <a:pt x="980" y="610"/>
                  </a:lnTo>
                  <a:lnTo>
                    <a:pt x="980" y="610"/>
                  </a:lnTo>
                  <a:lnTo>
                    <a:pt x="977" y="610"/>
                  </a:lnTo>
                  <a:lnTo>
                    <a:pt x="977" y="610"/>
                  </a:lnTo>
                  <a:lnTo>
                    <a:pt x="975" y="610"/>
                  </a:lnTo>
                  <a:lnTo>
                    <a:pt x="975" y="610"/>
                  </a:lnTo>
                  <a:lnTo>
                    <a:pt x="973" y="610"/>
                  </a:lnTo>
                  <a:lnTo>
                    <a:pt x="973" y="610"/>
                  </a:lnTo>
                  <a:lnTo>
                    <a:pt x="973" y="610"/>
                  </a:lnTo>
                  <a:lnTo>
                    <a:pt x="970" y="610"/>
                  </a:lnTo>
                  <a:lnTo>
                    <a:pt x="970" y="610"/>
                  </a:lnTo>
                  <a:lnTo>
                    <a:pt x="970" y="610"/>
                  </a:lnTo>
                  <a:lnTo>
                    <a:pt x="970" y="610"/>
                  </a:lnTo>
                  <a:lnTo>
                    <a:pt x="970" y="610"/>
                  </a:lnTo>
                  <a:lnTo>
                    <a:pt x="973" y="610"/>
                  </a:lnTo>
                  <a:lnTo>
                    <a:pt x="973" y="608"/>
                  </a:lnTo>
                  <a:lnTo>
                    <a:pt x="973" y="608"/>
                  </a:lnTo>
                  <a:lnTo>
                    <a:pt x="973" y="608"/>
                  </a:lnTo>
                  <a:lnTo>
                    <a:pt x="970" y="608"/>
                  </a:lnTo>
                  <a:lnTo>
                    <a:pt x="970" y="608"/>
                  </a:lnTo>
                  <a:lnTo>
                    <a:pt x="970" y="608"/>
                  </a:lnTo>
                  <a:lnTo>
                    <a:pt x="970" y="608"/>
                  </a:lnTo>
                  <a:lnTo>
                    <a:pt x="970" y="610"/>
                  </a:lnTo>
                  <a:lnTo>
                    <a:pt x="970" y="610"/>
                  </a:lnTo>
                  <a:lnTo>
                    <a:pt x="970" y="610"/>
                  </a:lnTo>
                  <a:lnTo>
                    <a:pt x="970" y="612"/>
                  </a:lnTo>
                  <a:lnTo>
                    <a:pt x="970" y="612"/>
                  </a:lnTo>
                  <a:lnTo>
                    <a:pt x="970" y="612"/>
                  </a:lnTo>
                  <a:lnTo>
                    <a:pt x="970" y="612"/>
                  </a:lnTo>
                  <a:lnTo>
                    <a:pt x="968" y="617"/>
                  </a:lnTo>
                  <a:lnTo>
                    <a:pt x="968" y="617"/>
                  </a:lnTo>
                  <a:lnTo>
                    <a:pt x="968" y="619"/>
                  </a:lnTo>
                  <a:lnTo>
                    <a:pt x="968" y="619"/>
                  </a:lnTo>
                  <a:lnTo>
                    <a:pt x="968" y="619"/>
                  </a:lnTo>
                  <a:lnTo>
                    <a:pt x="966" y="619"/>
                  </a:lnTo>
                  <a:lnTo>
                    <a:pt x="966" y="622"/>
                  </a:lnTo>
                  <a:lnTo>
                    <a:pt x="966" y="622"/>
                  </a:lnTo>
                  <a:lnTo>
                    <a:pt x="966" y="622"/>
                  </a:lnTo>
                  <a:lnTo>
                    <a:pt x="966" y="622"/>
                  </a:lnTo>
                  <a:lnTo>
                    <a:pt x="966" y="622"/>
                  </a:lnTo>
                  <a:lnTo>
                    <a:pt x="966" y="622"/>
                  </a:lnTo>
                  <a:lnTo>
                    <a:pt x="968" y="622"/>
                  </a:lnTo>
                  <a:lnTo>
                    <a:pt x="968" y="622"/>
                  </a:lnTo>
                  <a:lnTo>
                    <a:pt x="968" y="622"/>
                  </a:lnTo>
                  <a:lnTo>
                    <a:pt x="968" y="624"/>
                  </a:lnTo>
                  <a:lnTo>
                    <a:pt x="966" y="624"/>
                  </a:lnTo>
                  <a:lnTo>
                    <a:pt x="966" y="624"/>
                  </a:lnTo>
                  <a:lnTo>
                    <a:pt x="963" y="624"/>
                  </a:lnTo>
                  <a:lnTo>
                    <a:pt x="963" y="624"/>
                  </a:lnTo>
                  <a:lnTo>
                    <a:pt x="963" y="624"/>
                  </a:lnTo>
                  <a:lnTo>
                    <a:pt x="963" y="624"/>
                  </a:lnTo>
                  <a:lnTo>
                    <a:pt x="961" y="624"/>
                  </a:lnTo>
                  <a:lnTo>
                    <a:pt x="961" y="624"/>
                  </a:lnTo>
                  <a:lnTo>
                    <a:pt x="961" y="626"/>
                  </a:lnTo>
                  <a:lnTo>
                    <a:pt x="958" y="626"/>
                  </a:lnTo>
                  <a:lnTo>
                    <a:pt x="958" y="626"/>
                  </a:lnTo>
                  <a:lnTo>
                    <a:pt x="956" y="626"/>
                  </a:lnTo>
                  <a:lnTo>
                    <a:pt x="956" y="626"/>
                  </a:lnTo>
                  <a:lnTo>
                    <a:pt x="956" y="626"/>
                  </a:lnTo>
                  <a:lnTo>
                    <a:pt x="956" y="626"/>
                  </a:lnTo>
                  <a:lnTo>
                    <a:pt x="956" y="624"/>
                  </a:lnTo>
                  <a:lnTo>
                    <a:pt x="956" y="624"/>
                  </a:lnTo>
                  <a:lnTo>
                    <a:pt x="956" y="624"/>
                  </a:lnTo>
                  <a:lnTo>
                    <a:pt x="956" y="624"/>
                  </a:lnTo>
                  <a:lnTo>
                    <a:pt x="956" y="624"/>
                  </a:lnTo>
                  <a:lnTo>
                    <a:pt x="956" y="624"/>
                  </a:lnTo>
                  <a:lnTo>
                    <a:pt x="956" y="624"/>
                  </a:lnTo>
                  <a:lnTo>
                    <a:pt x="956" y="624"/>
                  </a:lnTo>
                  <a:lnTo>
                    <a:pt x="954" y="622"/>
                  </a:lnTo>
                  <a:lnTo>
                    <a:pt x="954" y="624"/>
                  </a:lnTo>
                  <a:lnTo>
                    <a:pt x="951" y="622"/>
                  </a:lnTo>
                  <a:lnTo>
                    <a:pt x="951" y="622"/>
                  </a:lnTo>
                  <a:lnTo>
                    <a:pt x="951" y="624"/>
                  </a:lnTo>
                  <a:lnTo>
                    <a:pt x="951" y="624"/>
                  </a:lnTo>
                  <a:lnTo>
                    <a:pt x="954" y="626"/>
                  </a:lnTo>
                  <a:lnTo>
                    <a:pt x="954" y="626"/>
                  </a:lnTo>
                  <a:lnTo>
                    <a:pt x="954" y="626"/>
                  </a:lnTo>
                  <a:lnTo>
                    <a:pt x="956" y="626"/>
                  </a:lnTo>
                  <a:lnTo>
                    <a:pt x="956" y="626"/>
                  </a:lnTo>
                  <a:lnTo>
                    <a:pt x="956" y="626"/>
                  </a:lnTo>
                  <a:lnTo>
                    <a:pt x="958" y="629"/>
                  </a:lnTo>
                  <a:lnTo>
                    <a:pt x="958" y="629"/>
                  </a:lnTo>
                  <a:lnTo>
                    <a:pt x="958" y="631"/>
                  </a:lnTo>
                  <a:lnTo>
                    <a:pt x="958" y="631"/>
                  </a:lnTo>
                  <a:lnTo>
                    <a:pt x="961" y="631"/>
                  </a:lnTo>
                  <a:lnTo>
                    <a:pt x="961" y="629"/>
                  </a:lnTo>
                  <a:lnTo>
                    <a:pt x="961" y="629"/>
                  </a:lnTo>
                  <a:lnTo>
                    <a:pt x="961" y="629"/>
                  </a:lnTo>
                  <a:lnTo>
                    <a:pt x="961" y="629"/>
                  </a:lnTo>
                  <a:lnTo>
                    <a:pt x="961" y="629"/>
                  </a:lnTo>
                  <a:lnTo>
                    <a:pt x="961" y="631"/>
                  </a:lnTo>
                  <a:lnTo>
                    <a:pt x="961" y="631"/>
                  </a:lnTo>
                  <a:lnTo>
                    <a:pt x="961" y="631"/>
                  </a:lnTo>
                  <a:lnTo>
                    <a:pt x="958" y="634"/>
                  </a:lnTo>
                  <a:lnTo>
                    <a:pt x="958" y="634"/>
                  </a:lnTo>
                  <a:lnTo>
                    <a:pt x="958" y="634"/>
                  </a:lnTo>
                  <a:lnTo>
                    <a:pt x="961" y="634"/>
                  </a:lnTo>
                  <a:lnTo>
                    <a:pt x="961" y="634"/>
                  </a:lnTo>
                  <a:lnTo>
                    <a:pt x="961" y="634"/>
                  </a:lnTo>
                  <a:lnTo>
                    <a:pt x="961" y="634"/>
                  </a:lnTo>
                  <a:lnTo>
                    <a:pt x="961" y="634"/>
                  </a:lnTo>
                  <a:lnTo>
                    <a:pt x="963" y="634"/>
                  </a:lnTo>
                  <a:lnTo>
                    <a:pt x="963" y="634"/>
                  </a:lnTo>
                  <a:lnTo>
                    <a:pt x="963" y="634"/>
                  </a:lnTo>
                  <a:lnTo>
                    <a:pt x="963" y="634"/>
                  </a:lnTo>
                  <a:lnTo>
                    <a:pt x="966" y="634"/>
                  </a:lnTo>
                  <a:lnTo>
                    <a:pt x="966" y="634"/>
                  </a:lnTo>
                  <a:lnTo>
                    <a:pt x="966" y="634"/>
                  </a:lnTo>
                  <a:lnTo>
                    <a:pt x="968" y="634"/>
                  </a:lnTo>
                  <a:lnTo>
                    <a:pt x="973" y="634"/>
                  </a:lnTo>
                  <a:lnTo>
                    <a:pt x="975" y="634"/>
                  </a:lnTo>
                  <a:lnTo>
                    <a:pt x="973" y="634"/>
                  </a:lnTo>
                  <a:lnTo>
                    <a:pt x="973" y="634"/>
                  </a:lnTo>
                  <a:lnTo>
                    <a:pt x="973" y="634"/>
                  </a:lnTo>
                  <a:lnTo>
                    <a:pt x="973" y="634"/>
                  </a:lnTo>
                  <a:lnTo>
                    <a:pt x="973" y="634"/>
                  </a:lnTo>
                  <a:lnTo>
                    <a:pt x="973" y="631"/>
                  </a:lnTo>
                  <a:lnTo>
                    <a:pt x="975" y="631"/>
                  </a:lnTo>
                  <a:lnTo>
                    <a:pt x="975" y="631"/>
                  </a:lnTo>
                  <a:lnTo>
                    <a:pt x="977" y="631"/>
                  </a:lnTo>
                  <a:lnTo>
                    <a:pt x="977" y="631"/>
                  </a:lnTo>
                  <a:lnTo>
                    <a:pt x="977" y="631"/>
                  </a:lnTo>
                  <a:lnTo>
                    <a:pt x="977" y="629"/>
                  </a:lnTo>
                  <a:lnTo>
                    <a:pt x="977" y="629"/>
                  </a:lnTo>
                  <a:lnTo>
                    <a:pt x="977" y="629"/>
                  </a:lnTo>
                  <a:lnTo>
                    <a:pt x="977" y="629"/>
                  </a:lnTo>
                  <a:lnTo>
                    <a:pt x="977" y="629"/>
                  </a:lnTo>
                  <a:lnTo>
                    <a:pt x="977" y="629"/>
                  </a:lnTo>
                  <a:lnTo>
                    <a:pt x="980" y="629"/>
                  </a:lnTo>
                  <a:lnTo>
                    <a:pt x="980" y="629"/>
                  </a:lnTo>
                  <a:lnTo>
                    <a:pt x="977" y="629"/>
                  </a:lnTo>
                  <a:lnTo>
                    <a:pt x="977" y="629"/>
                  </a:lnTo>
                  <a:lnTo>
                    <a:pt x="977" y="629"/>
                  </a:lnTo>
                  <a:lnTo>
                    <a:pt x="977" y="631"/>
                  </a:lnTo>
                  <a:lnTo>
                    <a:pt x="980" y="631"/>
                  </a:lnTo>
                  <a:lnTo>
                    <a:pt x="980" y="631"/>
                  </a:lnTo>
                  <a:lnTo>
                    <a:pt x="982" y="631"/>
                  </a:lnTo>
                  <a:lnTo>
                    <a:pt x="982" y="631"/>
                  </a:lnTo>
                  <a:lnTo>
                    <a:pt x="984" y="631"/>
                  </a:lnTo>
                  <a:lnTo>
                    <a:pt x="987" y="631"/>
                  </a:lnTo>
                  <a:lnTo>
                    <a:pt x="987" y="631"/>
                  </a:lnTo>
                  <a:lnTo>
                    <a:pt x="987" y="631"/>
                  </a:lnTo>
                  <a:lnTo>
                    <a:pt x="989" y="631"/>
                  </a:lnTo>
                  <a:lnTo>
                    <a:pt x="989" y="631"/>
                  </a:lnTo>
                  <a:lnTo>
                    <a:pt x="992" y="631"/>
                  </a:lnTo>
                  <a:lnTo>
                    <a:pt x="992" y="631"/>
                  </a:lnTo>
                  <a:lnTo>
                    <a:pt x="992" y="634"/>
                  </a:lnTo>
                  <a:lnTo>
                    <a:pt x="992" y="634"/>
                  </a:lnTo>
                  <a:lnTo>
                    <a:pt x="992" y="634"/>
                  </a:lnTo>
                  <a:lnTo>
                    <a:pt x="989" y="636"/>
                  </a:lnTo>
                  <a:lnTo>
                    <a:pt x="994" y="634"/>
                  </a:lnTo>
                  <a:lnTo>
                    <a:pt x="996" y="631"/>
                  </a:lnTo>
                  <a:lnTo>
                    <a:pt x="999" y="631"/>
                  </a:lnTo>
                  <a:lnTo>
                    <a:pt x="1003" y="631"/>
                  </a:lnTo>
                  <a:lnTo>
                    <a:pt x="1008" y="631"/>
                  </a:lnTo>
                  <a:lnTo>
                    <a:pt x="1010" y="631"/>
                  </a:lnTo>
                  <a:lnTo>
                    <a:pt x="1010" y="631"/>
                  </a:lnTo>
                  <a:lnTo>
                    <a:pt x="1010" y="631"/>
                  </a:lnTo>
                  <a:lnTo>
                    <a:pt x="1010" y="631"/>
                  </a:lnTo>
                  <a:lnTo>
                    <a:pt x="1010" y="631"/>
                  </a:lnTo>
                  <a:lnTo>
                    <a:pt x="1010" y="634"/>
                  </a:lnTo>
                  <a:lnTo>
                    <a:pt x="1010" y="634"/>
                  </a:lnTo>
                  <a:lnTo>
                    <a:pt x="1010" y="634"/>
                  </a:lnTo>
                  <a:lnTo>
                    <a:pt x="1010" y="634"/>
                  </a:lnTo>
                  <a:lnTo>
                    <a:pt x="1010" y="634"/>
                  </a:lnTo>
                  <a:lnTo>
                    <a:pt x="1010" y="634"/>
                  </a:lnTo>
                  <a:lnTo>
                    <a:pt x="1010" y="636"/>
                  </a:lnTo>
                  <a:lnTo>
                    <a:pt x="1010" y="636"/>
                  </a:lnTo>
                  <a:lnTo>
                    <a:pt x="1010" y="636"/>
                  </a:lnTo>
                  <a:lnTo>
                    <a:pt x="1010" y="636"/>
                  </a:lnTo>
                  <a:lnTo>
                    <a:pt x="1010" y="636"/>
                  </a:lnTo>
                  <a:lnTo>
                    <a:pt x="1008" y="636"/>
                  </a:lnTo>
                  <a:lnTo>
                    <a:pt x="1008" y="636"/>
                  </a:lnTo>
                  <a:lnTo>
                    <a:pt x="1008" y="636"/>
                  </a:lnTo>
                  <a:lnTo>
                    <a:pt x="1008" y="636"/>
                  </a:lnTo>
                  <a:lnTo>
                    <a:pt x="1008" y="636"/>
                  </a:lnTo>
                  <a:lnTo>
                    <a:pt x="1006" y="636"/>
                  </a:lnTo>
                  <a:lnTo>
                    <a:pt x="1008" y="638"/>
                  </a:lnTo>
                  <a:lnTo>
                    <a:pt x="1008" y="638"/>
                  </a:lnTo>
                  <a:lnTo>
                    <a:pt x="1008" y="638"/>
                  </a:lnTo>
                  <a:lnTo>
                    <a:pt x="1008" y="638"/>
                  </a:lnTo>
                  <a:lnTo>
                    <a:pt x="1008" y="638"/>
                  </a:lnTo>
                  <a:lnTo>
                    <a:pt x="1008" y="641"/>
                  </a:lnTo>
                  <a:lnTo>
                    <a:pt x="1008" y="641"/>
                  </a:lnTo>
                  <a:lnTo>
                    <a:pt x="1008" y="641"/>
                  </a:lnTo>
                  <a:lnTo>
                    <a:pt x="1008" y="641"/>
                  </a:lnTo>
                  <a:lnTo>
                    <a:pt x="1008" y="641"/>
                  </a:lnTo>
                  <a:lnTo>
                    <a:pt x="1008" y="641"/>
                  </a:lnTo>
                  <a:lnTo>
                    <a:pt x="1010" y="641"/>
                  </a:lnTo>
                  <a:lnTo>
                    <a:pt x="1010" y="643"/>
                  </a:lnTo>
                  <a:lnTo>
                    <a:pt x="1010" y="643"/>
                  </a:lnTo>
                  <a:lnTo>
                    <a:pt x="1008" y="643"/>
                  </a:lnTo>
                  <a:lnTo>
                    <a:pt x="1008" y="643"/>
                  </a:lnTo>
                  <a:lnTo>
                    <a:pt x="1010" y="643"/>
                  </a:lnTo>
                  <a:lnTo>
                    <a:pt x="1010" y="645"/>
                  </a:lnTo>
                  <a:lnTo>
                    <a:pt x="1010" y="645"/>
                  </a:lnTo>
                  <a:lnTo>
                    <a:pt x="1010" y="645"/>
                  </a:lnTo>
                  <a:lnTo>
                    <a:pt x="1010" y="645"/>
                  </a:lnTo>
                  <a:lnTo>
                    <a:pt x="1010" y="643"/>
                  </a:lnTo>
                  <a:lnTo>
                    <a:pt x="1010" y="645"/>
                  </a:lnTo>
                  <a:lnTo>
                    <a:pt x="1013" y="645"/>
                  </a:lnTo>
                  <a:lnTo>
                    <a:pt x="1013" y="645"/>
                  </a:lnTo>
                  <a:lnTo>
                    <a:pt x="1013" y="645"/>
                  </a:lnTo>
                  <a:lnTo>
                    <a:pt x="1013" y="645"/>
                  </a:lnTo>
                  <a:lnTo>
                    <a:pt x="1013" y="645"/>
                  </a:lnTo>
                  <a:lnTo>
                    <a:pt x="1013" y="648"/>
                  </a:lnTo>
                  <a:lnTo>
                    <a:pt x="1013" y="648"/>
                  </a:lnTo>
                  <a:lnTo>
                    <a:pt x="1013" y="648"/>
                  </a:lnTo>
                  <a:lnTo>
                    <a:pt x="1013" y="648"/>
                  </a:lnTo>
                  <a:lnTo>
                    <a:pt x="1013" y="650"/>
                  </a:lnTo>
                  <a:lnTo>
                    <a:pt x="1013" y="652"/>
                  </a:lnTo>
                  <a:lnTo>
                    <a:pt x="1013" y="652"/>
                  </a:lnTo>
                  <a:lnTo>
                    <a:pt x="1013" y="652"/>
                  </a:lnTo>
                  <a:lnTo>
                    <a:pt x="1015" y="652"/>
                  </a:lnTo>
                  <a:lnTo>
                    <a:pt x="1015" y="652"/>
                  </a:lnTo>
                  <a:lnTo>
                    <a:pt x="1015" y="652"/>
                  </a:lnTo>
                  <a:lnTo>
                    <a:pt x="1018" y="652"/>
                  </a:lnTo>
                  <a:lnTo>
                    <a:pt x="1018" y="650"/>
                  </a:lnTo>
                  <a:lnTo>
                    <a:pt x="1018" y="650"/>
                  </a:lnTo>
                  <a:lnTo>
                    <a:pt x="1018" y="650"/>
                  </a:lnTo>
                  <a:lnTo>
                    <a:pt x="1018" y="650"/>
                  </a:lnTo>
                  <a:lnTo>
                    <a:pt x="1018" y="650"/>
                  </a:lnTo>
                  <a:lnTo>
                    <a:pt x="1018" y="650"/>
                  </a:lnTo>
                  <a:lnTo>
                    <a:pt x="1018" y="652"/>
                  </a:lnTo>
                  <a:lnTo>
                    <a:pt x="1018" y="650"/>
                  </a:lnTo>
                  <a:lnTo>
                    <a:pt x="1020" y="650"/>
                  </a:lnTo>
                  <a:lnTo>
                    <a:pt x="1020" y="650"/>
                  </a:lnTo>
                  <a:lnTo>
                    <a:pt x="1020" y="650"/>
                  </a:lnTo>
                  <a:lnTo>
                    <a:pt x="1020" y="648"/>
                  </a:lnTo>
                  <a:lnTo>
                    <a:pt x="1022" y="648"/>
                  </a:lnTo>
                  <a:lnTo>
                    <a:pt x="1022" y="648"/>
                  </a:lnTo>
                  <a:lnTo>
                    <a:pt x="1022" y="648"/>
                  </a:lnTo>
                  <a:lnTo>
                    <a:pt x="1022" y="648"/>
                  </a:lnTo>
                  <a:lnTo>
                    <a:pt x="1022" y="648"/>
                  </a:lnTo>
                  <a:lnTo>
                    <a:pt x="1025" y="648"/>
                  </a:lnTo>
                  <a:lnTo>
                    <a:pt x="1025" y="648"/>
                  </a:lnTo>
                  <a:lnTo>
                    <a:pt x="1025" y="648"/>
                  </a:lnTo>
                  <a:lnTo>
                    <a:pt x="1025" y="650"/>
                  </a:lnTo>
                  <a:lnTo>
                    <a:pt x="1025" y="650"/>
                  </a:lnTo>
                  <a:lnTo>
                    <a:pt x="1022" y="652"/>
                  </a:lnTo>
                  <a:lnTo>
                    <a:pt x="1020" y="652"/>
                  </a:lnTo>
                  <a:lnTo>
                    <a:pt x="1022" y="652"/>
                  </a:lnTo>
                  <a:lnTo>
                    <a:pt x="1022" y="655"/>
                  </a:lnTo>
                  <a:lnTo>
                    <a:pt x="1022" y="652"/>
                  </a:lnTo>
                  <a:lnTo>
                    <a:pt x="1025" y="655"/>
                  </a:lnTo>
                  <a:lnTo>
                    <a:pt x="1025" y="655"/>
                  </a:lnTo>
                  <a:lnTo>
                    <a:pt x="1025" y="655"/>
                  </a:lnTo>
                  <a:lnTo>
                    <a:pt x="1025" y="655"/>
                  </a:lnTo>
                  <a:lnTo>
                    <a:pt x="1025" y="657"/>
                  </a:lnTo>
                  <a:lnTo>
                    <a:pt x="1025" y="662"/>
                  </a:lnTo>
                  <a:lnTo>
                    <a:pt x="1025" y="667"/>
                  </a:lnTo>
                  <a:lnTo>
                    <a:pt x="1025" y="671"/>
                  </a:lnTo>
                  <a:lnTo>
                    <a:pt x="1025" y="676"/>
                  </a:lnTo>
                  <a:lnTo>
                    <a:pt x="1025" y="679"/>
                  </a:lnTo>
                  <a:lnTo>
                    <a:pt x="1025" y="679"/>
                  </a:lnTo>
                  <a:lnTo>
                    <a:pt x="1025" y="681"/>
                  </a:lnTo>
                  <a:lnTo>
                    <a:pt x="1025" y="681"/>
                  </a:lnTo>
                  <a:lnTo>
                    <a:pt x="1025" y="681"/>
                  </a:lnTo>
                  <a:lnTo>
                    <a:pt x="1027" y="681"/>
                  </a:lnTo>
                  <a:lnTo>
                    <a:pt x="1025" y="681"/>
                  </a:lnTo>
                  <a:lnTo>
                    <a:pt x="1025" y="683"/>
                  </a:lnTo>
                  <a:lnTo>
                    <a:pt x="1025" y="681"/>
                  </a:lnTo>
                  <a:lnTo>
                    <a:pt x="1025" y="681"/>
                  </a:lnTo>
                  <a:lnTo>
                    <a:pt x="1025" y="683"/>
                  </a:lnTo>
                  <a:lnTo>
                    <a:pt x="1025" y="683"/>
                  </a:lnTo>
                  <a:lnTo>
                    <a:pt x="1027" y="686"/>
                  </a:lnTo>
                  <a:lnTo>
                    <a:pt x="1027" y="686"/>
                  </a:lnTo>
                  <a:lnTo>
                    <a:pt x="1029" y="688"/>
                  </a:lnTo>
                  <a:lnTo>
                    <a:pt x="1032" y="686"/>
                  </a:lnTo>
                  <a:lnTo>
                    <a:pt x="1029" y="686"/>
                  </a:lnTo>
                  <a:lnTo>
                    <a:pt x="1029" y="686"/>
                  </a:lnTo>
                  <a:lnTo>
                    <a:pt x="1032" y="686"/>
                  </a:lnTo>
                  <a:lnTo>
                    <a:pt x="1032" y="686"/>
                  </a:lnTo>
                  <a:lnTo>
                    <a:pt x="1032" y="686"/>
                  </a:lnTo>
                  <a:lnTo>
                    <a:pt x="1034" y="686"/>
                  </a:lnTo>
                  <a:lnTo>
                    <a:pt x="1034" y="686"/>
                  </a:lnTo>
                  <a:lnTo>
                    <a:pt x="1037" y="686"/>
                  </a:lnTo>
                  <a:lnTo>
                    <a:pt x="1037" y="683"/>
                  </a:lnTo>
                  <a:lnTo>
                    <a:pt x="1034" y="683"/>
                  </a:lnTo>
                  <a:lnTo>
                    <a:pt x="1034" y="683"/>
                  </a:lnTo>
                  <a:lnTo>
                    <a:pt x="1034" y="683"/>
                  </a:lnTo>
                  <a:lnTo>
                    <a:pt x="1034" y="683"/>
                  </a:lnTo>
                  <a:lnTo>
                    <a:pt x="1034" y="683"/>
                  </a:lnTo>
                  <a:lnTo>
                    <a:pt x="1037" y="681"/>
                  </a:lnTo>
                  <a:lnTo>
                    <a:pt x="1037" y="681"/>
                  </a:lnTo>
                  <a:lnTo>
                    <a:pt x="1037" y="681"/>
                  </a:lnTo>
                  <a:lnTo>
                    <a:pt x="1037" y="679"/>
                  </a:lnTo>
                  <a:lnTo>
                    <a:pt x="1037" y="679"/>
                  </a:lnTo>
                  <a:lnTo>
                    <a:pt x="1037" y="676"/>
                  </a:lnTo>
                  <a:lnTo>
                    <a:pt x="1037" y="674"/>
                  </a:lnTo>
                  <a:lnTo>
                    <a:pt x="1037" y="671"/>
                  </a:lnTo>
                  <a:lnTo>
                    <a:pt x="1037" y="669"/>
                  </a:lnTo>
                  <a:lnTo>
                    <a:pt x="1039" y="669"/>
                  </a:lnTo>
                  <a:lnTo>
                    <a:pt x="1039" y="667"/>
                  </a:lnTo>
                  <a:lnTo>
                    <a:pt x="1039" y="667"/>
                  </a:lnTo>
                  <a:lnTo>
                    <a:pt x="1039" y="667"/>
                  </a:lnTo>
                  <a:lnTo>
                    <a:pt x="1041" y="667"/>
                  </a:lnTo>
                  <a:lnTo>
                    <a:pt x="1039" y="667"/>
                  </a:lnTo>
                  <a:lnTo>
                    <a:pt x="1041" y="667"/>
                  </a:lnTo>
                  <a:lnTo>
                    <a:pt x="1041" y="667"/>
                  </a:lnTo>
                  <a:lnTo>
                    <a:pt x="1041" y="667"/>
                  </a:lnTo>
                  <a:lnTo>
                    <a:pt x="1041" y="667"/>
                  </a:lnTo>
                  <a:lnTo>
                    <a:pt x="1041" y="669"/>
                  </a:lnTo>
                  <a:lnTo>
                    <a:pt x="1041" y="669"/>
                  </a:lnTo>
                  <a:lnTo>
                    <a:pt x="1039" y="669"/>
                  </a:lnTo>
                  <a:lnTo>
                    <a:pt x="1039" y="669"/>
                  </a:lnTo>
                  <a:lnTo>
                    <a:pt x="1039" y="669"/>
                  </a:lnTo>
                  <a:lnTo>
                    <a:pt x="1039" y="669"/>
                  </a:lnTo>
                  <a:lnTo>
                    <a:pt x="1039" y="669"/>
                  </a:lnTo>
                  <a:lnTo>
                    <a:pt x="1039" y="669"/>
                  </a:lnTo>
                  <a:lnTo>
                    <a:pt x="1039" y="669"/>
                  </a:lnTo>
                  <a:lnTo>
                    <a:pt x="1039" y="671"/>
                  </a:lnTo>
                  <a:lnTo>
                    <a:pt x="1039" y="671"/>
                  </a:lnTo>
                  <a:lnTo>
                    <a:pt x="1039" y="671"/>
                  </a:lnTo>
                  <a:lnTo>
                    <a:pt x="1041" y="671"/>
                  </a:lnTo>
                  <a:lnTo>
                    <a:pt x="1041" y="669"/>
                  </a:lnTo>
                  <a:lnTo>
                    <a:pt x="1041" y="669"/>
                  </a:lnTo>
                  <a:lnTo>
                    <a:pt x="1041" y="669"/>
                  </a:lnTo>
                  <a:lnTo>
                    <a:pt x="1044" y="669"/>
                  </a:lnTo>
                  <a:lnTo>
                    <a:pt x="1044" y="667"/>
                  </a:lnTo>
                  <a:lnTo>
                    <a:pt x="1046" y="662"/>
                  </a:lnTo>
                  <a:lnTo>
                    <a:pt x="1046" y="662"/>
                  </a:lnTo>
                  <a:lnTo>
                    <a:pt x="1046" y="660"/>
                  </a:lnTo>
                  <a:lnTo>
                    <a:pt x="1046" y="660"/>
                  </a:lnTo>
                  <a:lnTo>
                    <a:pt x="1048" y="660"/>
                  </a:lnTo>
                  <a:lnTo>
                    <a:pt x="1048" y="660"/>
                  </a:lnTo>
                  <a:lnTo>
                    <a:pt x="1048" y="660"/>
                  </a:lnTo>
                  <a:lnTo>
                    <a:pt x="1048" y="660"/>
                  </a:lnTo>
                  <a:lnTo>
                    <a:pt x="1048" y="660"/>
                  </a:lnTo>
                  <a:lnTo>
                    <a:pt x="1048" y="662"/>
                  </a:lnTo>
                  <a:lnTo>
                    <a:pt x="1048" y="662"/>
                  </a:lnTo>
                  <a:lnTo>
                    <a:pt x="1046" y="664"/>
                  </a:lnTo>
                  <a:lnTo>
                    <a:pt x="1046" y="664"/>
                  </a:lnTo>
                  <a:lnTo>
                    <a:pt x="1046" y="664"/>
                  </a:lnTo>
                  <a:lnTo>
                    <a:pt x="1046" y="664"/>
                  </a:lnTo>
                  <a:lnTo>
                    <a:pt x="1046" y="664"/>
                  </a:lnTo>
                  <a:lnTo>
                    <a:pt x="1046" y="664"/>
                  </a:lnTo>
                  <a:lnTo>
                    <a:pt x="1048" y="664"/>
                  </a:lnTo>
                  <a:lnTo>
                    <a:pt x="1048" y="664"/>
                  </a:lnTo>
                  <a:lnTo>
                    <a:pt x="1051" y="664"/>
                  </a:lnTo>
                  <a:lnTo>
                    <a:pt x="1053" y="664"/>
                  </a:lnTo>
                  <a:lnTo>
                    <a:pt x="1053" y="662"/>
                  </a:lnTo>
                  <a:lnTo>
                    <a:pt x="1053" y="662"/>
                  </a:lnTo>
                  <a:lnTo>
                    <a:pt x="1055" y="662"/>
                  </a:lnTo>
                  <a:lnTo>
                    <a:pt x="1055" y="662"/>
                  </a:lnTo>
                  <a:lnTo>
                    <a:pt x="1055" y="662"/>
                  </a:lnTo>
                  <a:lnTo>
                    <a:pt x="1055" y="662"/>
                  </a:lnTo>
                  <a:lnTo>
                    <a:pt x="1055" y="660"/>
                  </a:lnTo>
                  <a:lnTo>
                    <a:pt x="1055" y="660"/>
                  </a:lnTo>
                  <a:lnTo>
                    <a:pt x="1055" y="660"/>
                  </a:lnTo>
                  <a:lnTo>
                    <a:pt x="1058" y="660"/>
                  </a:lnTo>
                  <a:lnTo>
                    <a:pt x="1058" y="660"/>
                  </a:lnTo>
                  <a:lnTo>
                    <a:pt x="1060" y="660"/>
                  </a:lnTo>
                  <a:lnTo>
                    <a:pt x="1058" y="657"/>
                  </a:lnTo>
                  <a:lnTo>
                    <a:pt x="1060" y="655"/>
                  </a:lnTo>
                  <a:lnTo>
                    <a:pt x="1058" y="655"/>
                  </a:lnTo>
                  <a:lnTo>
                    <a:pt x="1058" y="655"/>
                  </a:lnTo>
                  <a:lnTo>
                    <a:pt x="1060" y="655"/>
                  </a:lnTo>
                  <a:lnTo>
                    <a:pt x="1060" y="652"/>
                  </a:lnTo>
                  <a:lnTo>
                    <a:pt x="1060" y="652"/>
                  </a:lnTo>
                  <a:lnTo>
                    <a:pt x="1060" y="655"/>
                  </a:lnTo>
                  <a:lnTo>
                    <a:pt x="1060" y="655"/>
                  </a:lnTo>
                  <a:lnTo>
                    <a:pt x="1060" y="655"/>
                  </a:lnTo>
                  <a:lnTo>
                    <a:pt x="1060" y="655"/>
                  </a:lnTo>
                  <a:lnTo>
                    <a:pt x="1060" y="655"/>
                  </a:lnTo>
                  <a:lnTo>
                    <a:pt x="1060" y="655"/>
                  </a:lnTo>
                  <a:lnTo>
                    <a:pt x="1060" y="655"/>
                  </a:lnTo>
                  <a:lnTo>
                    <a:pt x="1060" y="657"/>
                  </a:lnTo>
                  <a:lnTo>
                    <a:pt x="1060" y="657"/>
                  </a:lnTo>
                  <a:lnTo>
                    <a:pt x="1060" y="660"/>
                  </a:lnTo>
                  <a:lnTo>
                    <a:pt x="1060" y="660"/>
                  </a:lnTo>
                  <a:lnTo>
                    <a:pt x="1063" y="662"/>
                  </a:lnTo>
                  <a:lnTo>
                    <a:pt x="1065" y="664"/>
                  </a:lnTo>
                  <a:lnTo>
                    <a:pt x="1067" y="667"/>
                  </a:lnTo>
                  <a:lnTo>
                    <a:pt x="1067" y="667"/>
                  </a:lnTo>
                  <a:lnTo>
                    <a:pt x="1067" y="671"/>
                  </a:lnTo>
                  <a:lnTo>
                    <a:pt x="1067" y="671"/>
                  </a:lnTo>
                  <a:lnTo>
                    <a:pt x="1065" y="674"/>
                  </a:lnTo>
                  <a:lnTo>
                    <a:pt x="1065" y="674"/>
                  </a:lnTo>
                  <a:lnTo>
                    <a:pt x="1065" y="674"/>
                  </a:lnTo>
                  <a:lnTo>
                    <a:pt x="1067" y="674"/>
                  </a:lnTo>
                  <a:lnTo>
                    <a:pt x="1067" y="676"/>
                  </a:lnTo>
                  <a:lnTo>
                    <a:pt x="1065" y="674"/>
                  </a:lnTo>
                  <a:lnTo>
                    <a:pt x="1065" y="676"/>
                  </a:lnTo>
                  <a:lnTo>
                    <a:pt x="1065" y="676"/>
                  </a:lnTo>
                  <a:lnTo>
                    <a:pt x="1065" y="676"/>
                  </a:lnTo>
                  <a:lnTo>
                    <a:pt x="1065" y="676"/>
                  </a:lnTo>
                  <a:lnTo>
                    <a:pt x="1065" y="674"/>
                  </a:lnTo>
                  <a:lnTo>
                    <a:pt x="1065" y="674"/>
                  </a:lnTo>
                  <a:lnTo>
                    <a:pt x="1065" y="674"/>
                  </a:lnTo>
                  <a:lnTo>
                    <a:pt x="1065" y="674"/>
                  </a:lnTo>
                  <a:lnTo>
                    <a:pt x="1065" y="671"/>
                  </a:lnTo>
                  <a:lnTo>
                    <a:pt x="1065" y="671"/>
                  </a:lnTo>
                  <a:lnTo>
                    <a:pt x="1065" y="669"/>
                  </a:lnTo>
                  <a:lnTo>
                    <a:pt x="1065" y="669"/>
                  </a:lnTo>
                  <a:lnTo>
                    <a:pt x="1065" y="667"/>
                  </a:lnTo>
                  <a:lnTo>
                    <a:pt x="1060" y="662"/>
                  </a:lnTo>
                  <a:lnTo>
                    <a:pt x="1060" y="662"/>
                  </a:lnTo>
                  <a:lnTo>
                    <a:pt x="1058" y="662"/>
                  </a:lnTo>
                  <a:lnTo>
                    <a:pt x="1058" y="662"/>
                  </a:lnTo>
                  <a:lnTo>
                    <a:pt x="1058" y="662"/>
                  </a:lnTo>
                  <a:lnTo>
                    <a:pt x="1055" y="662"/>
                  </a:lnTo>
                  <a:lnTo>
                    <a:pt x="1055" y="662"/>
                  </a:lnTo>
                  <a:lnTo>
                    <a:pt x="1055" y="664"/>
                  </a:lnTo>
                  <a:lnTo>
                    <a:pt x="1055" y="664"/>
                  </a:lnTo>
                  <a:lnTo>
                    <a:pt x="1058" y="664"/>
                  </a:lnTo>
                  <a:lnTo>
                    <a:pt x="1058" y="664"/>
                  </a:lnTo>
                  <a:lnTo>
                    <a:pt x="1058" y="664"/>
                  </a:lnTo>
                  <a:lnTo>
                    <a:pt x="1058" y="664"/>
                  </a:lnTo>
                  <a:lnTo>
                    <a:pt x="1058" y="664"/>
                  </a:lnTo>
                  <a:lnTo>
                    <a:pt x="1058" y="664"/>
                  </a:lnTo>
                  <a:lnTo>
                    <a:pt x="1058" y="664"/>
                  </a:lnTo>
                  <a:lnTo>
                    <a:pt x="1055" y="664"/>
                  </a:lnTo>
                  <a:lnTo>
                    <a:pt x="1055" y="664"/>
                  </a:lnTo>
                  <a:lnTo>
                    <a:pt x="1053" y="667"/>
                  </a:lnTo>
                  <a:lnTo>
                    <a:pt x="1053" y="667"/>
                  </a:lnTo>
                  <a:lnTo>
                    <a:pt x="1053" y="669"/>
                  </a:lnTo>
                  <a:lnTo>
                    <a:pt x="1051" y="669"/>
                  </a:lnTo>
                  <a:lnTo>
                    <a:pt x="1051" y="669"/>
                  </a:lnTo>
                  <a:lnTo>
                    <a:pt x="1051" y="669"/>
                  </a:lnTo>
                  <a:lnTo>
                    <a:pt x="1051" y="669"/>
                  </a:lnTo>
                  <a:lnTo>
                    <a:pt x="1051" y="669"/>
                  </a:lnTo>
                  <a:lnTo>
                    <a:pt x="1048" y="669"/>
                  </a:lnTo>
                  <a:lnTo>
                    <a:pt x="1048" y="671"/>
                  </a:lnTo>
                  <a:lnTo>
                    <a:pt x="1048" y="671"/>
                  </a:lnTo>
                  <a:lnTo>
                    <a:pt x="1048" y="671"/>
                  </a:lnTo>
                  <a:lnTo>
                    <a:pt x="1051" y="676"/>
                  </a:lnTo>
                  <a:lnTo>
                    <a:pt x="1051" y="676"/>
                  </a:lnTo>
                  <a:lnTo>
                    <a:pt x="1053" y="676"/>
                  </a:lnTo>
                  <a:lnTo>
                    <a:pt x="1051" y="679"/>
                  </a:lnTo>
                  <a:lnTo>
                    <a:pt x="1051" y="681"/>
                  </a:lnTo>
                  <a:lnTo>
                    <a:pt x="1051" y="681"/>
                  </a:lnTo>
                  <a:lnTo>
                    <a:pt x="1051" y="683"/>
                  </a:lnTo>
                  <a:lnTo>
                    <a:pt x="1051" y="686"/>
                  </a:lnTo>
                  <a:lnTo>
                    <a:pt x="1053" y="686"/>
                  </a:lnTo>
                  <a:lnTo>
                    <a:pt x="1053" y="688"/>
                  </a:lnTo>
                  <a:lnTo>
                    <a:pt x="1060" y="688"/>
                  </a:lnTo>
                  <a:lnTo>
                    <a:pt x="1065" y="688"/>
                  </a:lnTo>
                  <a:lnTo>
                    <a:pt x="1070" y="688"/>
                  </a:lnTo>
                  <a:lnTo>
                    <a:pt x="1072" y="690"/>
                  </a:lnTo>
                  <a:lnTo>
                    <a:pt x="1077" y="688"/>
                  </a:lnTo>
                  <a:lnTo>
                    <a:pt x="1079" y="688"/>
                  </a:lnTo>
                  <a:lnTo>
                    <a:pt x="1079" y="688"/>
                  </a:lnTo>
                  <a:lnTo>
                    <a:pt x="1079" y="688"/>
                  </a:lnTo>
                  <a:lnTo>
                    <a:pt x="1079" y="688"/>
                  </a:lnTo>
                  <a:lnTo>
                    <a:pt x="1079" y="688"/>
                  </a:lnTo>
                  <a:lnTo>
                    <a:pt x="1084" y="690"/>
                  </a:lnTo>
                  <a:lnTo>
                    <a:pt x="1089" y="688"/>
                  </a:lnTo>
                  <a:lnTo>
                    <a:pt x="1089" y="690"/>
                  </a:lnTo>
                  <a:lnTo>
                    <a:pt x="1091" y="688"/>
                  </a:lnTo>
                  <a:lnTo>
                    <a:pt x="1091" y="688"/>
                  </a:lnTo>
                  <a:lnTo>
                    <a:pt x="1093" y="686"/>
                  </a:lnTo>
                  <a:lnTo>
                    <a:pt x="1093" y="686"/>
                  </a:lnTo>
                  <a:lnTo>
                    <a:pt x="1096" y="686"/>
                  </a:lnTo>
                  <a:lnTo>
                    <a:pt x="1096" y="686"/>
                  </a:lnTo>
                  <a:lnTo>
                    <a:pt x="1098" y="686"/>
                  </a:lnTo>
                  <a:lnTo>
                    <a:pt x="1098" y="686"/>
                  </a:lnTo>
                  <a:lnTo>
                    <a:pt x="1098" y="686"/>
                  </a:lnTo>
                  <a:lnTo>
                    <a:pt x="1100" y="686"/>
                  </a:lnTo>
                  <a:lnTo>
                    <a:pt x="1100" y="683"/>
                  </a:lnTo>
                  <a:lnTo>
                    <a:pt x="1100" y="683"/>
                  </a:lnTo>
                  <a:lnTo>
                    <a:pt x="1100" y="683"/>
                  </a:lnTo>
                  <a:lnTo>
                    <a:pt x="1100" y="681"/>
                  </a:lnTo>
                  <a:lnTo>
                    <a:pt x="1103" y="681"/>
                  </a:lnTo>
                  <a:lnTo>
                    <a:pt x="1103" y="681"/>
                  </a:lnTo>
                  <a:lnTo>
                    <a:pt x="1105" y="681"/>
                  </a:lnTo>
                  <a:lnTo>
                    <a:pt x="1105" y="681"/>
                  </a:lnTo>
                  <a:lnTo>
                    <a:pt x="1103" y="681"/>
                  </a:lnTo>
                  <a:lnTo>
                    <a:pt x="1103" y="681"/>
                  </a:lnTo>
                  <a:lnTo>
                    <a:pt x="1100" y="683"/>
                  </a:lnTo>
                  <a:lnTo>
                    <a:pt x="1100" y="686"/>
                  </a:lnTo>
                  <a:lnTo>
                    <a:pt x="1098" y="688"/>
                  </a:lnTo>
                  <a:lnTo>
                    <a:pt x="1098" y="688"/>
                  </a:lnTo>
                  <a:lnTo>
                    <a:pt x="1096" y="688"/>
                  </a:lnTo>
                  <a:lnTo>
                    <a:pt x="1096" y="688"/>
                  </a:lnTo>
                  <a:lnTo>
                    <a:pt x="1093" y="688"/>
                  </a:lnTo>
                  <a:lnTo>
                    <a:pt x="1093" y="688"/>
                  </a:lnTo>
                  <a:lnTo>
                    <a:pt x="1093" y="690"/>
                  </a:lnTo>
                  <a:lnTo>
                    <a:pt x="1093" y="690"/>
                  </a:lnTo>
                  <a:lnTo>
                    <a:pt x="1093" y="690"/>
                  </a:lnTo>
                  <a:lnTo>
                    <a:pt x="1093" y="690"/>
                  </a:lnTo>
                  <a:lnTo>
                    <a:pt x="1093" y="690"/>
                  </a:lnTo>
                  <a:lnTo>
                    <a:pt x="1091" y="690"/>
                  </a:lnTo>
                  <a:lnTo>
                    <a:pt x="1091" y="690"/>
                  </a:lnTo>
                  <a:lnTo>
                    <a:pt x="1091" y="690"/>
                  </a:lnTo>
                  <a:lnTo>
                    <a:pt x="1091" y="693"/>
                  </a:lnTo>
                  <a:lnTo>
                    <a:pt x="1086" y="695"/>
                  </a:lnTo>
                  <a:lnTo>
                    <a:pt x="1086" y="695"/>
                  </a:lnTo>
                  <a:lnTo>
                    <a:pt x="1086" y="697"/>
                  </a:lnTo>
                  <a:lnTo>
                    <a:pt x="1086" y="697"/>
                  </a:lnTo>
                  <a:lnTo>
                    <a:pt x="1089" y="697"/>
                  </a:lnTo>
                  <a:lnTo>
                    <a:pt x="1089" y="700"/>
                  </a:lnTo>
                  <a:lnTo>
                    <a:pt x="1089" y="700"/>
                  </a:lnTo>
                  <a:lnTo>
                    <a:pt x="1089" y="700"/>
                  </a:lnTo>
                  <a:lnTo>
                    <a:pt x="1086" y="700"/>
                  </a:lnTo>
                  <a:lnTo>
                    <a:pt x="1084" y="697"/>
                  </a:lnTo>
                  <a:lnTo>
                    <a:pt x="1084" y="697"/>
                  </a:lnTo>
                  <a:lnTo>
                    <a:pt x="1081" y="700"/>
                  </a:lnTo>
                  <a:lnTo>
                    <a:pt x="1077" y="700"/>
                  </a:lnTo>
                  <a:lnTo>
                    <a:pt x="1072" y="702"/>
                  </a:lnTo>
                  <a:lnTo>
                    <a:pt x="1072" y="702"/>
                  </a:lnTo>
                  <a:lnTo>
                    <a:pt x="1070" y="702"/>
                  </a:lnTo>
                  <a:lnTo>
                    <a:pt x="1070" y="702"/>
                  </a:lnTo>
                  <a:lnTo>
                    <a:pt x="1067" y="705"/>
                  </a:lnTo>
                  <a:lnTo>
                    <a:pt x="1063" y="709"/>
                  </a:lnTo>
                  <a:lnTo>
                    <a:pt x="1060" y="712"/>
                  </a:lnTo>
                  <a:lnTo>
                    <a:pt x="1060" y="712"/>
                  </a:lnTo>
                  <a:lnTo>
                    <a:pt x="1060" y="714"/>
                  </a:lnTo>
                  <a:lnTo>
                    <a:pt x="1060" y="714"/>
                  </a:lnTo>
                  <a:lnTo>
                    <a:pt x="1060" y="716"/>
                  </a:lnTo>
                  <a:lnTo>
                    <a:pt x="1060" y="716"/>
                  </a:lnTo>
                  <a:lnTo>
                    <a:pt x="1060" y="719"/>
                  </a:lnTo>
                  <a:lnTo>
                    <a:pt x="1063" y="719"/>
                  </a:lnTo>
                  <a:lnTo>
                    <a:pt x="1065" y="719"/>
                  </a:lnTo>
                  <a:lnTo>
                    <a:pt x="1067" y="721"/>
                  </a:lnTo>
                  <a:lnTo>
                    <a:pt x="1067" y="723"/>
                  </a:lnTo>
                  <a:lnTo>
                    <a:pt x="1067" y="726"/>
                  </a:lnTo>
                  <a:lnTo>
                    <a:pt x="1067" y="723"/>
                  </a:lnTo>
                  <a:lnTo>
                    <a:pt x="1067" y="723"/>
                  </a:lnTo>
                  <a:lnTo>
                    <a:pt x="1067" y="723"/>
                  </a:lnTo>
                  <a:lnTo>
                    <a:pt x="1067" y="723"/>
                  </a:lnTo>
                  <a:lnTo>
                    <a:pt x="1067" y="723"/>
                  </a:lnTo>
                  <a:lnTo>
                    <a:pt x="1063" y="719"/>
                  </a:lnTo>
                  <a:lnTo>
                    <a:pt x="1063" y="719"/>
                  </a:lnTo>
                  <a:lnTo>
                    <a:pt x="1063" y="719"/>
                  </a:lnTo>
                  <a:lnTo>
                    <a:pt x="1060" y="719"/>
                  </a:lnTo>
                  <a:lnTo>
                    <a:pt x="1060" y="721"/>
                  </a:lnTo>
                  <a:lnTo>
                    <a:pt x="1060" y="721"/>
                  </a:lnTo>
                  <a:lnTo>
                    <a:pt x="1058" y="719"/>
                  </a:lnTo>
                  <a:lnTo>
                    <a:pt x="1058" y="719"/>
                  </a:lnTo>
                  <a:lnTo>
                    <a:pt x="1058" y="719"/>
                  </a:lnTo>
                  <a:lnTo>
                    <a:pt x="1055" y="719"/>
                  </a:lnTo>
                  <a:lnTo>
                    <a:pt x="1055" y="719"/>
                  </a:lnTo>
                  <a:lnTo>
                    <a:pt x="1055" y="721"/>
                  </a:lnTo>
                  <a:lnTo>
                    <a:pt x="1053" y="721"/>
                  </a:lnTo>
                  <a:lnTo>
                    <a:pt x="1053" y="721"/>
                  </a:lnTo>
                  <a:lnTo>
                    <a:pt x="1051" y="723"/>
                  </a:lnTo>
                  <a:lnTo>
                    <a:pt x="1048" y="726"/>
                  </a:lnTo>
                  <a:lnTo>
                    <a:pt x="1046" y="731"/>
                  </a:lnTo>
                  <a:lnTo>
                    <a:pt x="1046" y="731"/>
                  </a:lnTo>
                  <a:lnTo>
                    <a:pt x="1044" y="735"/>
                  </a:lnTo>
                  <a:lnTo>
                    <a:pt x="1041" y="738"/>
                  </a:lnTo>
                  <a:lnTo>
                    <a:pt x="1039" y="738"/>
                  </a:lnTo>
                  <a:lnTo>
                    <a:pt x="1039" y="740"/>
                  </a:lnTo>
                  <a:lnTo>
                    <a:pt x="1039" y="740"/>
                  </a:lnTo>
                  <a:lnTo>
                    <a:pt x="1039" y="740"/>
                  </a:lnTo>
                  <a:lnTo>
                    <a:pt x="1037" y="742"/>
                  </a:lnTo>
                  <a:lnTo>
                    <a:pt x="1037" y="742"/>
                  </a:lnTo>
                  <a:lnTo>
                    <a:pt x="1037" y="742"/>
                  </a:lnTo>
                  <a:lnTo>
                    <a:pt x="1037" y="745"/>
                  </a:lnTo>
                  <a:lnTo>
                    <a:pt x="1039" y="745"/>
                  </a:lnTo>
                  <a:lnTo>
                    <a:pt x="1039" y="745"/>
                  </a:lnTo>
                  <a:lnTo>
                    <a:pt x="1039" y="745"/>
                  </a:lnTo>
                  <a:lnTo>
                    <a:pt x="1039" y="745"/>
                  </a:lnTo>
                  <a:lnTo>
                    <a:pt x="1039" y="745"/>
                  </a:lnTo>
                  <a:lnTo>
                    <a:pt x="1039" y="745"/>
                  </a:lnTo>
                  <a:lnTo>
                    <a:pt x="1039" y="745"/>
                  </a:lnTo>
                  <a:lnTo>
                    <a:pt x="1039" y="745"/>
                  </a:lnTo>
                  <a:lnTo>
                    <a:pt x="1039" y="745"/>
                  </a:lnTo>
                  <a:lnTo>
                    <a:pt x="1039" y="745"/>
                  </a:lnTo>
                  <a:lnTo>
                    <a:pt x="1039" y="745"/>
                  </a:lnTo>
                  <a:lnTo>
                    <a:pt x="1039" y="745"/>
                  </a:lnTo>
                  <a:lnTo>
                    <a:pt x="1039" y="745"/>
                  </a:lnTo>
                  <a:lnTo>
                    <a:pt x="1039" y="747"/>
                  </a:lnTo>
                  <a:lnTo>
                    <a:pt x="1039" y="747"/>
                  </a:lnTo>
                  <a:lnTo>
                    <a:pt x="1039" y="747"/>
                  </a:lnTo>
                  <a:lnTo>
                    <a:pt x="1037" y="749"/>
                  </a:lnTo>
                  <a:lnTo>
                    <a:pt x="1037" y="752"/>
                  </a:lnTo>
                  <a:lnTo>
                    <a:pt x="1037" y="752"/>
                  </a:lnTo>
                  <a:lnTo>
                    <a:pt x="1037" y="752"/>
                  </a:lnTo>
                  <a:lnTo>
                    <a:pt x="1037" y="752"/>
                  </a:lnTo>
                  <a:lnTo>
                    <a:pt x="1037" y="752"/>
                  </a:lnTo>
                  <a:lnTo>
                    <a:pt x="1037" y="752"/>
                  </a:lnTo>
                  <a:lnTo>
                    <a:pt x="1039" y="752"/>
                  </a:lnTo>
                  <a:lnTo>
                    <a:pt x="1039" y="752"/>
                  </a:lnTo>
                  <a:lnTo>
                    <a:pt x="1041" y="754"/>
                  </a:lnTo>
                  <a:lnTo>
                    <a:pt x="1041" y="754"/>
                  </a:lnTo>
                  <a:lnTo>
                    <a:pt x="1041" y="752"/>
                  </a:lnTo>
                  <a:lnTo>
                    <a:pt x="1041" y="752"/>
                  </a:lnTo>
                  <a:lnTo>
                    <a:pt x="1041" y="752"/>
                  </a:lnTo>
                  <a:lnTo>
                    <a:pt x="1044" y="752"/>
                  </a:lnTo>
                  <a:lnTo>
                    <a:pt x="1044" y="752"/>
                  </a:lnTo>
                  <a:lnTo>
                    <a:pt x="1044" y="752"/>
                  </a:lnTo>
                  <a:lnTo>
                    <a:pt x="1044" y="752"/>
                  </a:lnTo>
                  <a:lnTo>
                    <a:pt x="1041" y="752"/>
                  </a:lnTo>
                  <a:lnTo>
                    <a:pt x="1041" y="752"/>
                  </a:lnTo>
                  <a:lnTo>
                    <a:pt x="1041" y="754"/>
                  </a:lnTo>
                  <a:lnTo>
                    <a:pt x="1041" y="754"/>
                  </a:lnTo>
                  <a:lnTo>
                    <a:pt x="1041" y="754"/>
                  </a:lnTo>
                  <a:lnTo>
                    <a:pt x="1041" y="754"/>
                  </a:lnTo>
                  <a:lnTo>
                    <a:pt x="1041" y="754"/>
                  </a:lnTo>
                  <a:lnTo>
                    <a:pt x="1039" y="754"/>
                  </a:lnTo>
                  <a:lnTo>
                    <a:pt x="1039" y="754"/>
                  </a:lnTo>
                  <a:lnTo>
                    <a:pt x="1037" y="754"/>
                  </a:lnTo>
                  <a:lnTo>
                    <a:pt x="1037" y="754"/>
                  </a:lnTo>
                  <a:lnTo>
                    <a:pt x="1039" y="754"/>
                  </a:lnTo>
                  <a:lnTo>
                    <a:pt x="1034" y="752"/>
                  </a:lnTo>
                  <a:lnTo>
                    <a:pt x="1034" y="752"/>
                  </a:lnTo>
                  <a:lnTo>
                    <a:pt x="1034" y="749"/>
                  </a:lnTo>
                  <a:lnTo>
                    <a:pt x="1034" y="747"/>
                  </a:lnTo>
                  <a:lnTo>
                    <a:pt x="1034" y="747"/>
                  </a:lnTo>
                  <a:lnTo>
                    <a:pt x="1037" y="747"/>
                  </a:lnTo>
                  <a:lnTo>
                    <a:pt x="1034" y="747"/>
                  </a:lnTo>
                  <a:lnTo>
                    <a:pt x="1034" y="747"/>
                  </a:lnTo>
                  <a:lnTo>
                    <a:pt x="1034" y="747"/>
                  </a:lnTo>
                  <a:lnTo>
                    <a:pt x="1034" y="745"/>
                  </a:lnTo>
                  <a:lnTo>
                    <a:pt x="1032" y="745"/>
                  </a:lnTo>
                  <a:lnTo>
                    <a:pt x="1029" y="747"/>
                  </a:lnTo>
                  <a:lnTo>
                    <a:pt x="1027" y="747"/>
                  </a:lnTo>
                  <a:lnTo>
                    <a:pt x="1027" y="747"/>
                  </a:lnTo>
                  <a:lnTo>
                    <a:pt x="1025" y="747"/>
                  </a:lnTo>
                  <a:lnTo>
                    <a:pt x="1022" y="747"/>
                  </a:lnTo>
                  <a:lnTo>
                    <a:pt x="1020" y="749"/>
                  </a:lnTo>
                  <a:lnTo>
                    <a:pt x="1020" y="749"/>
                  </a:lnTo>
                  <a:lnTo>
                    <a:pt x="1020" y="749"/>
                  </a:lnTo>
                  <a:lnTo>
                    <a:pt x="1020" y="749"/>
                  </a:lnTo>
                  <a:lnTo>
                    <a:pt x="1020" y="749"/>
                  </a:lnTo>
                  <a:lnTo>
                    <a:pt x="1020" y="752"/>
                  </a:lnTo>
                  <a:lnTo>
                    <a:pt x="1018" y="749"/>
                  </a:lnTo>
                  <a:lnTo>
                    <a:pt x="1013" y="749"/>
                  </a:lnTo>
                  <a:lnTo>
                    <a:pt x="1013" y="749"/>
                  </a:lnTo>
                  <a:lnTo>
                    <a:pt x="1010" y="749"/>
                  </a:lnTo>
                  <a:lnTo>
                    <a:pt x="999" y="754"/>
                  </a:lnTo>
                  <a:lnTo>
                    <a:pt x="996" y="757"/>
                  </a:lnTo>
                  <a:lnTo>
                    <a:pt x="994" y="759"/>
                  </a:lnTo>
                  <a:lnTo>
                    <a:pt x="992" y="759"/>
                  </a:lnTo>
                  <a:lnTo>
                    <a:pt x="992" y="759"/>
                  </a:lnTo>
                  <a:lnTo>
                    <a:pt x="992" y="761"/>
                  </a:lnTo>
                  <a:lnTo>
                    <a:pt x="992" y="761"/>
                  </a:lnTo>
                  <a:lnTo>
                    <a:pt x="989" y="764"/>
                  </a:lnTo>
                  <a:lnTo>
                    <a:pt x="989" y="766"/>
                  </a:lnTo>
                  <a:lnTo>
                    <a:pt x="989" y="768"/>
                  </a:lnTo>
                  <a:lnTo>
                    <a:pt x="989" y="768"/>
                  </a:lnTo>
                  <a:lnTo>
                    <a:pt x="989" y="768"/>
                  </a:lnTo>
                  <a:lnTo>
                    <a:pt x="987" y="768"/>
                  </a:lnTo>
                  <a:lnTo>
                    <a:pt x="987" y="771"/>
                  </a:lnTo>
                  <a:lnTo>
                    <a:pt x="987" y="771"/>
                  </a:lnTo>
                  <a:lnTo>
                    <a:pt x="987" y="768"/>
                  </a:lnTo>
                  <a:lnTo>
                    <a:pt x="987" y="768"/>
                  </a:lnTo>
                  <a:lnTo>
                    <a:pt x="984" y="768"/>
                  </a:lnTo>
                  <a:lnTo>
                    <a:pt x="984" y="768"/>
                  </a:lnTo>
                  <a:lnTo>
                    <a:pt x="984" y="768"/>
                  </a:lnTo>
                  <a:lnTo>
                    <a:pt x="984" y="768"/>
                  </a:lnTo>
                  <a:lnTo>
                    <a:pt x="982" y="768"/>
                  </a:lnTo>
                  <a:lnTo>
                    <a:pt x="982" y="766"/>
                  </a:lnTo>
                  <a:lnTo>
                    <a:pt x="982" y="766"/>
                  </a:lnTo>
                  <a:lnTo>
                    <a:pt x="982" y="764"/>
                  </a:lnTo>
                  <a:lnTo>
                    <a:pt x="982" y="764"/>
                  </a:lnTo>
                  <a:lnTo>
                    <a:pt x="980" y="761"/>
                  </a:lnTo>
                  <a:lnTo>
                    <a:pt x="980" y="764"/>
                  </a:lnTo>
                  <a:lnTo>
                    <a:pt x="980" y="764"/>
                  </a:lnTo>
                  <a:lnTo>
                    <a:pt x="977" y="766"/>
                  </a:lnTo>
                  <a:lnTo>
                    <a:pt x="977" y="764"/>
                  </a:lnTo>
                  <a:lnTo>
                    <a:pt x="977" y="764"/>
                  </a:lnTo>
                  <a:lnTo>
                    <a:pt x="977" y="764"/>
                  </a:lnTo>
                  <a:lnTo>
                    <a:pt x="977" y="764"/>
                  </a:lnTo>
                  <a:lnTo>
                    <a:pt x="977" y="764"/>
                  </a:lnTo>
                  <a:lnTo>
                    <a:pt x="980" y="761"/>
                  </a:lnTo>
                  <a:lnTo>
                    <a:pt x="982" y="761"/>
                  </a:lnTo>
                  <a:lnTo>
                    <a:pt x="984" y="761"/>
                  </a:lnTo>
                  <a:lnTo>
                    <a:pt x="984" y="761"/>
                  </a:lnTo>
                  <a:lnTo>
                    <a:pt x="984" y="761"/>
                  </a:lnTo>
                  <a:lnTo>
                    <a:pt x="982" y="761"/>
                  </a:lnTo>
                  <a:lnTo>
                    <a:pt x="980" y="761"/>
                  </a:lnTo>
                  <a:lnTo>
                    <a:pt x="977" y="761"/>
                  </a:lnTo>
                  <a:lnTo>
                    <a:pt x="975" y="764"/>
                  </a:lnTo>
                  <a:lnTo>
                    <a:pt x="973" y="764"/>
                  </a:lnTo>
                  <a:lnTo>
                    <a:pt x="973" y="764"/>
                  </a:lnTo>
                  <a:lnTo>
                    <a:pt x="968" y="764"/>
                  </a:lnTo>
                  <a:lnTo>
                    <a:pt x="968" y="764"/>
                  </a:lnTo>
                  <a:lnTo>
                    <a:pt x="970" y="764"/>
                  </a:lnTo>
                  <a:lnTo>
                    <a:pt x="970" y="766"/>
                  </a:lnTo>
                  <a:lnTo>
                    <a:pt x="970" y="766"/>
                  </a:lnTo>
                  <a:lnTo>
                    <a:pt x="968" y="766"/>
                  </a:lnTo>
                  <a:lnTo>
                    <a:pt x="968" y="764"/>
                  </a:lnTo>
                  <a:lnTo>
                    <a:pt x="966" y="764"/>
                  </a:lnTo>
                  <a:lnTo>
                    <a:pt x="966" y="764"/>
                  </a:lnTo>
                  <a:lnTo>
                    <a:pt x="961" y="764"/>
                  </a:lnTo>
                  <a:lnTo>
                    <a:pt x="961" y="764"/>
                  </a:lnTo>
                  <a:lnTo>
                    <a:pt x="958" y="764"/>
                  </a:lnTo>
                  <a:lnTo>
                    <a:pt x="958" y="764"/>
                  </a:lnTo>
                  <a:lnTo>
                    <a:pt x="958" y="764"/>
                  </a:lnTo>
                  <a:lnTo>
                    <a:pt x="961" y="764"/>
                  </a:lnTo>
                  <a:lnTo>
                    <a:pt x="951" y="764"/>
                  </a:lnTo>
                  <a:lnTo>
                    <a:pt x="949" y="764"/>
                  </a:lnTo>
                  <a:lnTo>
                    <a:pt x="944" y="764"/>
                  </a:lnTo>
                  <a:lnTo>
                    <a:pt x="939" y="764"/>
                  </a:lnTo>
                  <a:lnTo>
                    <a:pt x="935" y="764"/>
                  </a:lnTo>
                  <a:lnTo>
                    <a:pt x="932" y="766"/>
                  </a:lnTo>
                  <a:lnTo>
                    <a:pt x="925" y="766"/>
                  </a:lnTo>
                  <a:lnTo>
                    <a:pt x="925" y="768"/>
                  </a:lnTo>
                  <a:lnTo>
                    <a:pt x="925" y="768"/>
                  </a:lnTo>
                  <a:lnTo>
                    <a:pt x="923" y="771"/>
                  </a:lnTo>
                  <a:lnTo>
                    <a:pt x="921" y="771"/>
                  </a:lnTo>
                  <a:lnTo>
                    <a:pt x="921" y="771"/>
                  </a:lnTo>
                  <a:lnTo>
                    <a:pt x="921" y="771"/>
                  </a:lnTo>
                  <a:lnTo>
                    <a:pt x="918" y="773"/>
                  </a:lnTo>
                  <a:lnTo>
                    <a:pt x="918" y="773"/>
                  </a:lnTo>
                  <a:lnTo>
                    <a:pt x="916" y="775"/>
                  </a:lnTo>
                  <a:lnTo>
                    <a:pt x="916" y="775"/>
                  </a:lnTo>
                  <a:lnTo>
                    <a:pt x="913" y="778"/>
                  </a:lnTo>
                  <a:lnTo>
                    <a:pt x="911" y="778"/>
                  </a:lnTo>
                  <a:lnTo>
                    <a:pt x="913" y="778"/>
                  </a:lnTo>
                  <a:lnTo>
                    <a:pt x="913" y="778"/>
                  </a:lnTo>
                  <a:lnTo>
                    <a:pt x="913" y="778"/>
                  </a:lnTo>
                  <a:lnTo>
                    <a:pt x="913" y="780"/>
                  </a:lnTo>
                  <a:lnTo>
                    <a:pt x="911" y="780"/>
                  </a:lnTo>
                  <a:lnTo>
                    <a:pt x="911" y="780"/>
                  </a:lnTo>
                  <a:lnTo>
                    <a:pt x="911" y="780"/>
                  </a:lnTo>
                  <a:lnTo>
                    <a:pt x="911" y="780"/>
                  </a:lnTo>
                  <a:lnTo>
                    <a:pt x="911" y="780"/>
                  </a:lnTo>
                  <a:lnTo>
                    <a:pt x="911" y="780"/>
                  </a:lnTo>
                  <a:lnTo>
                    <a:pt x="916" y="787"/>
                  </a:lnTo>
                  <a:lnTo>
                    <a:pt x="916" y="790"/>
                  </a:lnTo>
                  <a:lnTo>
                    <a:pt x="916" y="790"/>
                  </a:lnTo>
                  <a:lnTo>
                    <a:pt x="916" y="790"/>
                  </a:lnTo>
                  <a:lnTo>
                    <a:pt x="913" y="790"/>
                  </a:lnTo>
                  <a:lnTo>
                    <a:pt x="913" y="790"/>
                  </a:lnTo>
                  <a:lnTo>
                    <a:pt x="913" y="792"/>
                  </a:lnTo>
                  <a:lnTo>
                    <a:pt x="913" y="792"/>
                  </a:lnTo>
                  <a:lnTo>
                    <a:pt x="916" y="794"/>
                  </a:lnTo>
                  <a:lnTo>
                    <a:pt x="913" y="792"/>
                  </a:lnTo>
                  <a:lnTo>
                    <a:pt x="913" y="792"/>
                  </a:lnTo>
                  <a:lnTo>
                    <a:pt x="913" y="792"/>
                  </a:lnTo>
                  <a:lnTo>
                    <a:pt x="911" y="790"/>
                  </a:lnTo>
                  <a:lnTo>
                    <a:pt x="911" y="790"/>
                  </a:lnTo>
                  <a:lnTo>
                    <a:pt x="911" y="790"/>
                  </a:lnTo>
                  <a:lnTo>
                    <a:pt x="911" y="790"/>
                  </a:lnTo>
                  <a:lnTo>
                    <a:pt x="911" y="790"/>
                  </a:lnTo>
                  <a:lnTo>
                    <a:pt x="911" y="790"/>
                  </a:lnTo>
                  <a:lnTo>
                    <a:pt x="911" y="790"/>
                  </a:lnTo>
                  <a:lnTo>
                    <a:pt x="909" y="790"/>
                  </a:lnTo>
                  <a:lnTo>
                    <a:pt x="909" y="787"/>
                  </a:lnTo>
                  <a:lnTo>
                    <a:pt x="909" y="787"/>
                  </a:lnTo>
                  <a:lnTo>
                    <a:pt x="911" y="787"/>
                  </a:lnTo>
                  <a:lnTo>
                    <a:pt x="911" y="785"/>
                  </a:lnTo>
                  <a:lnTo>
                    <a:pt x="911" y="785"/>
                  </a:lnTo>
                  <a:lnTo>
                    <a:pt x="911" y="785"/>
                  </a:lnTo>
                  <a:lnTo>
                    <a:pt x="906" y="783"/>
                  </a:lnTo>
                  <a:lnTo>
                    <a:pt x="904" y="780"/>
                  </a:lnTo>
                  <a:lnTo>
                    <a:pt x="904" y="780"/>
                  </a:lnTo>
                  <a:lnTo>
                    <a:pt x="904" y="780"/>
                  </a:lnTo>
                  <a:lnTo>
                    <a:pt x="904" y="780"/>
                  </a:lnTo>
                  <a:lnTo>
                    <a:pt x="904" y="778"/>
                  </a:lnTo>
                  <a:lnTo>
                    <a:pt x="904" y="780"/>
                  </a:lnTo>
                  <a:lnTo>
                    <a:pt x="904" y="780"/>
                  </a:lnTo>
                  <a:lnTo>
                    <a:pt x="902" y="780"/>
                  </a:lnTo>
                  <a:lnTo>
                    <a:pt x="902" y="780"/>
                  </a:lnTo>
                  <a:lnTo>
                    <a:pt x="904" y="780"/>
                  </a:lnTo>
                  <a:lnTo>
                    <a:pt x="902" y="780"/>
                  </a:lnTo>
                  <a:lnTo>
                    <a:pt x="902" y="783"/>
                  </a:lnTo>
                  <a:lnTo>
                    <a:pt x="902" y="785"/>
                  </a:lnTo>
                  <a:lnTo>
                    <a:pt x="902" y="785"/>
                  </a:lnTo>
                  <a:lnTo>
                    <a:pt x="902" y="787"/>
                  </a:lnTo>
                  <a:lnTo>
                    <a:pt x="902" y="787"/>
                  </a:lnTo>
                  <a:lnTo>
                    <a:pt x="902" y="787"/>
                  </a:lnTo>
                  <a:lnTo>
                    <a:pt x="902" y="787"/>
                  </a:lnTo>
                  <a:lnTo>
                    <a:pt x="902" y="787"/>
                  </a:lnTo>
                  <a:lnTo>
                    <a:pt x="902" y="790"/>
                  </a:lnTo>
                  <a:lnTo>
                    <a:pt x="902" y="790"/>
                  </a:lnTo>
                  <a:lnTo>
                    <a:pt x="902" y="790"/>
                  </a:lnTo>
                  <a:lnTo>
                    <a:pt x="902" y="790"/>
                  </a:lnTo>
                  <a:lnTo>
                    <a:pt x="902" y="790"/>
                  </a:lnTo>
                  <a:lnTo>
                    <a:pt x="899" y="790"/>
                  </a:lnTo>
                  <a:lnTo>
                    <a:pt x="902" y="787"/>
                  </a:lnTo>
                  <a:lnTo>
                    <a:pt x="899" y="787"/>
                  </a:lnTo>
                  <a:lnTo>
                    <a:pt x="899" y="785"/>
                  </a:lnTo>
                  <a:lnTo>
                    <a:pt x="899" y="785"/>
                  </a:lnTo>
                  <a:lnTo>
                    <a:pt x="897" y="787"/>
                  </a:lnTo>
                  <a:lnTo>
                    <a:pt x="899" y="785"/>
                  </a:lnTo>
                  <a:lnTo>
                    <a:pt x="897" y="780"/>
                  </a:lnTo>
                  <a:lnTo>
                    <a:pt x="897" y="780"/>
                  </a:lnTo>
                  <a:lnTo>
                    <a:pt x="897" y="780"/>
                  </a:lnTo>
                  <a:lnTo>
                    <a:pt x="897" y="778"/>
                  </a:lnTo>
                  <a:lnTo>
                    <a:pt x="899" y="778"/>
                  </a:lnTo>
                  <a:lnTo>
                    <a:pt x="899" y="778"/>
                  </a:lnTo>
                  <a:lnTo>
                    <a:pt x="899" y="778"/>
                  </a:lnTo>
                  <a:lnTo>
                    <a:pt x="897" y="778"/>
                  </a:lnTo>
                  <a:lnTo>
                    <a:pt x="897" y="778"/>
                  </a:lnTo>
                  <a:lnTo>
                    <a:pt x="897" y="775"/>
                  </a:lnTo>
                  <a:lnTo>
                    <a:pt x="897" y="775"/>
                  </a:lnTo>
                  <a:lnTo>
                    <a:pt x="897" y="775"/>
                  </a:lnTo>
                  <a:lnTo>
                    <a:pt x="897" y="775"/>
                  </a:lnTo>
                  <a:lnTo>
                    <a:pt x="899" y="773"/>
                  </a:lnTo>
                  <a:lnTo>
                    <a:pt x="899" y="773"/>
                  </a:lnTo>
                  <a:lnTo>
                    <a:pt x="902" y="773"/>
                  </a:lnTo>
                  <a:lnTo>
                    <a:pt x="902" y="775"/>
                  </a:lnTo>
                  <a:lnTo>
                    <a:pt x="904" y="775"/>
                  </a:lnTo>
                  <a:lnTo>
                    <a:pt x="904" y="775"/>
                  </a:lnTo>
                  <a:lnTo>
                    <a:pt x="904" y="773"/>
                  </a:lnTo>
                  <a:lnTo>
                    <a:pt x="904" y="773"/>
                  </a:lnTo>
                  <a:lnTo>
                    <a:pt x="902" y="771"/>
                  </a:lnTo>
                  <a:lnTo>
                    <a:pt x="902" y="771"/>
                  </a:lnTo>
                  <a:lnTo>
                    <a:pt x="902" y="771"/>
                  </a:lnTo>
                  <a:lnTo>
                    <a:pt x="899" y="771"/>
                  </a:lnTo>
                  <a:lnTo>
                    <a:pt x="899" y="773"/>
                  </a:lnTo>
                  <a:lnTo>
                    <a:pt x="897" y="773"/>
                  </a:lnTo>
                  <a:lnTo>
                    <a:pt x="897" y="771"/>
                  </a:lnTo>
                  <a:lnTo>
                    <a:pt x="897" y="771"/>
                  </a:lnTo>
                  <a:lnTo>
                    <a:pt x="897" y="771"/>
                  </a:lnTo>
                  <a:lnTo>
                    <a:pt x="895" y="771"/>
                  </a:lnTo>
                  <a:lnTo>
                    <a:pt x="895" y="771"/>
                  </a:lnTo>
                  <a:lnTo>
                    <a:pt x="895" y="768"/>
                  </a:lnTo>
                  <a:lnTo>
                    <a:pt x="890" y="766"/>
                  </a:lnTo>
                  <a:lnTo>
                    <a:pt x="892" y="766"/>
                  </a:lnTo>
                  <a:lnTo>
                    <a:pt x="895" y="766"/>
                  </a:lnTo>
                  <a:lnTo>
                    <a:pt x="895" y="766"/>
                  </a:lnTo>
                  <a:lnTo>
                    <a:pt x="897" y="766"/>
                  </a:lnTo>
                  <a:lnTo>
                    <a:pt x="890" y="766"/>
                  </a:lnTo>
                  <a:lnTo>
                    <a:pt x="890" y="766"/>
                  </a:lnTo>
                  <a:lnTo>
                    <a:pt x="890" y="766"/>
                  </a:lnTo>
                  <a:lnTo>
                    <a:pt x="887" y="764"/>
                  </a:lnTo>
                  <a:lnTo>
                    <a:pt x="885" y="764"/>
                  </a:lnTo>
                  <a:lnTo>
                    <a:pt x="880" y="764"/>
                  </a:lnTo>
                  <a:lnTo>
                    <a:pt x="880" y="764"/>
                  </a:lnTo>
                  <a:lnTo>
                    <a:pt x="878" y="761"/>
                  </a:lnTo>
                  <a:lnTo>
                    <a:pt x="876" y="761"/>
                  </a:lnTo>
                  <a:lnTo>
                    <a:pt x="876" y="761"/>
                  </a:lnTo>
                  <a:lnTo>
                    <a:pt x="873" y="764"/>
                  </a:lnTo>
                  <a:lnTo>
                    <a:pt x="871" y="764"/>
                  </a:lnTo>
                  <a:lnTo>
                    <a:pt x="866" y="764"/>
                  </a:lnTo>
                  <a:lnTo>
                    <a:pt x="866" y="764"/>
                  </a:lnTo>
                  <a:lnTo>
                    <a:pt x="864" y="764"/>
                  </a:lnTo>
                  <a:lnTo>
                    <a:pt x="864" y="764"/>
                  </a:lnTo>
                  <a:lnTo>
                    <a:pt x="861" y="764"/>
                  </a:lnTo>
                  <a:lnTo>
                    <a:pt x="859" y="764"/>
                  </a:lnTo>
                  <a:lnTo>
                    <a:pt x="842" y="771"/>
                  </a:lnTo>
                  <a:lnTo>
                    <a:pt x="842" y="771"/>
                  </a:lnTo>
                  <a:lnTo>
                    <a:pt x="842" y="771"/>
                  </a:lnTo>
                  <a:lnTo>
                    <a:pt x="840" y="771"/>
                  </a:lnTo>
                  <a:lnTo>
                    <a:pt x="840" y="771"/>
                  </a:lnTo>
                  <a:lnTo>
                    <a:pt x="840" y="771"/>
                  </a:lnTo>
                  <a:lnTo>
                    <a:pt x="842" y="771"/>
                  </a:lnTo>
                  <a:lnTo>
                    <a:pt x="842" y="771"/>
                  </a:lnTo>
                  <a:lnTo>
                    <a:pt x="842" y="771"/>
                  </a:lnTo>
                  <a:lnTo>
                    <a:pt x="845" y="771"/>
                  </a:lnTo>
                  <a:lnTo>
                    <a:pt x="842" y="773"/>
                  </a:lnTo>
                  <a:lnTo>
                    <a:pt x="842" y="773"/>
                  </a:lnTo>
                  <a:lnTo>
                    <a:pt x="842" y="773"/>
                  </a:lnTo>
                  <a:lnTo>
                    <a:pt x="842" y="773"/>
                  </a:lnTo>
                  <a:lnTo>
                    <a:pt x="842" y="773"/>
                  </a:lnTo>
                  <a:lnTo>
                    <a:pt x="842" y="773"/>
                  </a:lnTo>
                  <a:lnTo>
                    <a:pt x="842" y="775"/>
                  </a:lnTo>
                  <a:lnTo>
                    <a:pt x="842" y="775"/>
                  </a:lnTo>
                  <a:lnTo>
                    <a:pt x="842" y="775"/>
                  </a:lnTo>
                  <a:lnTo>
                    <a:pt x="842" y="775"/>
                  </a:lnTo>
                  <a:lnTo>
                    <a:pt x="842" y="775"/>
                  </a:lnTo>
                  <a:lnTo>
                    <a:pt x="840" y="775"/>
                  </a:lnTo>
                  <a:lnTo>
                    <a:pt x="840" y="775"/>
                  </a:lnTo>
                  <a:lnTo>
                    <a:pt x="840" y="775"/>
                  </a:lnTo>
                  <a:lnTo>
                    <a:pt x="838" y="775"/>
                  </a:lnTo>
                  <a:lnTo>
                    <a:pt x="838" y="773"/>
                  </a:lnTo>
                  <a:lnTo>
                    <a:pt x="838" y="773"/>
                  </a:lnTo>
                  <a:lnTo>
                    <a:pt x="838" y="771"/>
                  </a:lnTo>
                  <a:lnTo>
                    <a:pt x="838" y="773"/>
                  </a:lnTo>
                  <a:lnTo>
                    <a:pt x="835" y="773"/>
                  </a:lnTo>
                  <a:lnTo>
                    <a:pt x="833" y="773"/>
                  </a:lnTo>
                  <a:lnTo>
                    <a:pt x="831" y="773"/>
                  </a:lnTo>
                  <a:lnTo>
                    <a:pt x="831" y="773"/>
                  </a:lnTo>
                  <a:lnTo>
                    <a:pt x="828" y="773"/>
                  </a:lnTo>
                  <a:lnTo>
                    <a:pt x="828" y="773"/>
                  </a:lnTo>
                  <a:lnTo>
                    <a:pt x="828" y="775"/>
                  </a:lnTo>
                  <a:lnTo>
                    <a:pt x="828" y="775"/>
                  </a:lnTo>
                  <a:lnTo>
                    <a:pt x="826" y="775"/>
                  </a:lnTo>
                  <a:lnTo>
                    <a:pt x="826" y="775"/>
                  </a:lnTo>
                  <a:lnTo>
                    <a:pt x="824" y="775"/>
                  </a:lnTo>
                  <a:lnTo>
                    <a:pt x="824" y="775"/>
                  </a:lnTo>
                  <a:lnTo>
                    <a:pt x="824" y="775"/>
                  </a:lnTo>
                  <a:lnTo>
                    <a:pt x="824" y="775"/>
                  </a:lnTo>
                  <a:lnTo>
                    <a:pt x="824" y="775"/>
                  </a:lnTo>
                  <a:lnTo>
                    <a:pt x="824" y="775"/>
                  </a:lnTo>
                  <a:lnTo>
                    <a:pt x="824" y="775"/>
                  </a:lnTo>
                  <a:lnTo>
                    <a:pt x="821" y="773"/>
                  </a:lnTo>
                  <a:lnTo>
                    <a:pt x="821" y="773"/>
                  </a:lnTo>
                  <a:lnTo>
                    <a:pt x="821" y="773"/>
                  </a:lnTo>
                  <a:lnTo>
                    <a:pt x="821" y="773"/>
                  </a:lnTo>
                  <a:lnTo>
                    <a:pt x="824" y="773"/>
                  </a:lnTo>
                  <a:lnTo>
                    <a:pt x="824" y="773"/>
                  </a:lnTo>
                  <a:lnTo>
                    <a:pt x="824" y="773"/>
                  </a:lnTo>
                  <a:lnTo>
                    <a:pt x="824" y="771"/>
                  </a:lnTo>
                  <a:lnTo>
                    <a:pt x="819" y="773"/>
                  </a:lnTo>
                  <a:lnTo>
                    <a:pt x="812" y="773"/>
                  </a:lnTo>
                  <a:lnTo>
                    <a:pt x="812" y="773"/>
                  </a:lnTo>
                  <a:lnTo>
                    <a:pt x="812" y="773"/>
                  </a:lnTo>
                  <a:lnTo>
                    <a:pt x="812" y="773"/>
                  </a:lnTo>
                  <a:lnTo>
                    <a:pt x="812" y="773"/>
                  </a:lnTo>
                  <a:lnTo>
                    <a:pt x="812" y="773"/>
                  </a:lnTo>
                  <a:lnTo>
                    <a:pt x="812" y="773"/>
                  </a:lnTo>
                  <a:lnTo>
                    <a:pt x="812" y="773"/>
                  </a:lnTo>
                  <a:lnTo>
                    <a:pt x="812" y="775"/>
                  </a:lnTo>
                  <a:lnTo>
                    <a:pt x="812" y="775"/>
                  </a:lnTo>
                  <a:lnTo>
                    <a:pt x="809" y="778"/>
                  </a:lnTo>
                  <a:lnTo>
                    <a:pt x="809" y="780"/>
                  </a:lnTo>
                  <a:lnTo>
                    <a:pt x="809" y="780"/>
                  </a:lnTo>
                  <a:lnTo>
                    <a:pt x="809" y="783"/>
                  </a:lnTo>
                  <a:lnTo>
                    <a:pt x="807" y="780"/>
                  </a:lnTo>
                  <a:lnTo>
                    <a:pt x="807" y="780"/>
                  </a:lnTo>
                  <a:lnTo>
                    <a:pt x="807" y="780"/>
                  </a:lnTo>
                  <a:lnTo>
                    <a:pt x="807" y="780"/>
                  </a:lnTo>
                  <a:lnTo>
                    <a:pt x="805" y="783"/>
                  </a:lnTo>
                  <a:lnTo>
                    <a:pt x="807" y="783"/>
                  </a:lnTo>
                  <a:lnTo>
                    <a:pt x="807" y="783"/>
                  </a:lnTo>
                  <a:lnTo>
                    <a:pt x="807" y="783"/>
                  </a:lnTo>
                  <a:lnTo>
                    <a:pt x="807" y="783"/>
                  </a:lnTo>
                  <a:lnTo>
                    <a:pt x="807" y="783"/>
                  </a:lnTo>
                  <a:lnTo>
                    <a:pt x="805" y="783"/>
                  </a:lnTo>
                  <a:lnTo>
                    <a:pt x="805" y="783"/>
                  </a:lnTo>
                  <a:lnTo>
                    <a:pt x="805" y="783"/>
                  </a:lnTo>
                  <a:lnTo>
                    <a:pt x="805" y="783"/>
                  </a:lnTo>
                  <a:lnTo>
                    <a:pt x="805" y="783"/>
                  </a:lnTo>
                  <a:lnTo>
                    <a:pt x="802" y="783"/>
                  </a:lnTo>
                  <a:lnTo>
                    <a:pt x="802" y="785"/>
                  </a:lnTo>
                  <a:lnTo>
                    <a:pt x="802" y="785"/>
                  </a:lnTo>
                  <a:lnTo>
                    <a:pt x="802" y="785"/>
                  </a:lnTo>
                  <a:lnTo>
                    <a:pt x="802" y="787"/>
                  </a:lnTo>
                  <a:lnTo>
                    <a:pt x="802" y="787"/>
                  </a:lnTo>
                  <a:lnTo>
                    <a:pt x="805" y="787"/>
                  </a:lnTo>
                  <a:lnTo>
                    <a:pt x="805" y="787"/>
                  </a:lnTo>
                  <a:lnTo>
                    <a:pt x="807" y="787"/>
                  </a:lnTo>
                  <a:lnTo>
                    <a:pt x="807" y="787"/>
                  </a:lnTo>
                  <a:lnTo>
                    <a:pt x="809" y="787"/>
                  </a:lnTo>
                  <a:lnTo>
                    <a:pt x="809" y="785"/>
                  </a:lnTo>
                  <a:lnTo>
                    <a:pt x="814" y="785"/>
                  </a:lnTo>
                  <a:lnTo>
                    <a:pt x="814" y="785"/>
                  </a:lnTo>
                  <a:lnTo>
                    <a:pt x="814" y="785"/>
                  </a:lnTo>
                  <a:lnTo>
                    <a:pt x="814" y="783"/>
                  </a:lnTo>
                  <a:lnTo>
                    <a:pt x="814" y="783"/>
                  </a:lnTo>
                  <a:lnTo>
                    <a:pt x="814" y="783"/>
                  </a:lnTo>
                  <a:lnTo>
                    <a:pt x="812" y="780"/>
                  </a:lnTo>
                  <a:lnTo>
                    <a:pt x="812" y="780"/>
                  </a:lnTo>
                  <a:lnTo>
                    <a:pt x="812" y="778"/>
                  </a:lnTo>
                  <a:lnTo>
                    <a:pt x="814" y="775"/>
                  </a:lnTo>
                  <a:lnTo>
                    <a:pt x="814" y="775"/>
                  </a:lnTo>
                  <a:lnTo>
                    <a:pt x="814" y="775"/>
                  </a:lnTo>
                  <a:lnTo>
                    <a:pt x="814" y="775"/>
                  </a:lnTo>
                  <a:lnTo>
                    <a:pt x="814" y="775"/>
                  </a:lnTo>
                  <a:lnTo>
                    <a:pt x="814" y="775"/>
                  </a:lnTo>
                  <a:lnTo>
                    <a:pt x="814" y="775"/>
                  </a:lnTo>
                  <a:lnTo>
                    <a:pt x="814" y="775"/>
                  </a:lnTo>
                  <a:lnTo>
                    <a:pt x="814" y="775"/>
                  </a:lnTo>
                  <a:lnTo>
                    <a:pt x="814" y="775"/>
                  </a:lnTo>
                  <a:lnTo>
                    <a:pt x="816" y="775"/>
                  </a:lnTo>
                  <a:lnTo>
                    <a:pt x="816" y="773"/>
                  </a:lnTo>
                  <a:lnTo>
                    <a:pt x="816" y="773"/>
                  </a:lnTo>
                  <a:lnTo>
                    <a:pt x="816" y="775"/>
                  </a:lnTo>
                  <a:lnTo>
                    <a:pt x="816" y="775"/>
                  </a:lnTo>
                  <a:lnTo>
                    <a:pt x="819" y="775"/>
                  </a:lnTo>
                  <a:lnTo>
                    <a:pt x="816" y="775"/>
                  </a:lnTo>
                  <a:lnTo>
                    <a:pt x="816" y="775"/>
                  </a:lnTo>
                  <a:lnTo>
                    <a:pt x="816" y="775"/>
                  </a:lnTo>
                  <a:lnTo>
                    <a:pt x="816" y="775"/>
                  </a:lnTo>
                  <a:lnTo>
                    <a:pt x="816" y="775"/>
                  </a:lnTo>
                  <a:lnTo>
                    <a:pt x="816" y="775"/>
                  </a:lnTo>
                  <a:lnTo>
                    <a:pt x="819" y="778"/>
                  </a:lnTo>
                  <a:lnTo>
                    <a:pt x="819" y="778"/>
                  </a:lnTo>
                  <a:lnTo>
                    <a:pt x="819" y="778"/>
                  </a:lnTo>
                  <a:lnTo>
                    <a:pt x="819" y="778"/>
                  </a:lnTo>
                  <a:lnTo>
                    <a:pt x="819" y="780"/>
                  </a:lnTo>
                  <a:lnTo>
                    <a:pt x="819" y="780"/>
                  </a:lnTo>
                  <a:lnTo>
                    <a:pt x="819" y="783"/>
                  </a:lnTo>
                  <a:lnTo>
                    <a:pt x="819" y="783"/>
                  </a:lnTo>
                  <a:lnTo>
                    <a:pt x="819" y="785"/>
                  </a:lnTo>
                  <a:lnTo>
                    <a:pt x="819" y="785"/>
                  </a:lnTo>
                  <a:lnTo>
                    <a:pt x="819" y="785"/>
                  </a:lnTo>
                  <a:lnTo>
                    <a:pt x="819" y="783"/>
                  </a:lnTo>
                  <a:lnTo>
                    <a:pt x="819" y="785"/>
                  </a:lnTo>
                  <a:lnTo>
                    <a:pt x="819" y="785"/>
                  </a:lnTo>
                  <a:lnTo>
                    <a:pt x="819" y="787"/>
                  </a:lnTo>
                  <a:lnTo>
                    <a:pt x="819" y="787"/>
                  </a:lnTo>
                  <a:lnTo>
                    <a:pt x="819" y="787"/>
                  </a:lnTo>
                  <a:lnTo>
                    <a:pt x="819" y="790"/>
                  </a:lnTo>
                  <a:lnTo>
                    <a:pt x="819" y="790"/>
                  </a:lnTo>
                  <a:lnTo>
                    <a:pt x="821" y="790"/>
                  </a:lnTo>
                  <a:lnTo>
                    <a:pt x="821" y="790"/>
                  </a:lnTo>
                  <a:lnTo>
                    <a:pt x="821" y="790"/>
                  </a:lnTo>
                  <a:lnTo>
                    <a:pt x="824" y="790"/>
                  </a:lnTo>
                  <a:lnTo>
                    <a:pt x="824" y="790"/>
                  </a:lnTo>
                  <a:lnTo>
                    <a:pt x="824" y="790"/>
                  </a:lnTo>
                  <a:lnTo>
                    <a:pt x="824" y="790"/>
                  </a:lnTo>
                  <a:lnTo>
                    <a:pt x="824" y="790"/>
                  </a:lnTo>
                  <a:lnTo>
                    <a:pt x="826" y="790"/>
                  </a:lnTo>
                  <a:lnTo>
                    <a:pt x="826" y="787"/>
                  </a:lnTo>
                  <a:lnTo>
                    <a:pt x="826" y="787"/>
                  </a:lnTo>
                  <a:lnTo>
                    <a:pt x="828" y="787"/>
                  </a:lnTo>
                  <a:lnTo>
                    <a:pt x="828" y="787"/>
                  </a:lnTo>
                  <a:lnTo>
                    <a:pt x="828" y="787"/>
                  </a:lnTo>
                  <a:lnTo>
                    <a:pt x="828" y="790"/>
                  </a:lnTo>
                  <a:lnTo>
                    <a:pt x="828" y="790"/>
                  </a:lnTo>
                  <a:lnTo>
                    <a:pt x="828" y="790"/>
                  </a:lnTo>
                  <a:lnTo>
                    <a:pt x="826" y="790"/>
                  </a:lnTo>
                  <a:lnTo>
                    <a:pt x="826" y="790"/>
                  </a:lnTo>
                  <a:lnTo>
                    <a:pt x="826" y="792"/>
                  </a:lnTo>
                  <a:lnTo>
                    <a:pt x="828" y="792"/>
                  </a:lnTo>
                  <a:lnTo>
                    <a:pt x="828" y="792"/>
                  </a:lnTo>
                  <a:lnTo>
                    <a:pt x="828" y="787"/>
                  </a:lnTo>
                  <a:lnTo>
                    <a:pt x="831" y="787"/>
                  </a:lnTo>
                  <a:lnTo>
                    <a:pt x="828" y="787"/>
                  </a:lnTo>
                  <a:lnTo>
                    <a:pt x="828" y="787"/>
                  </a:lnTo>
                  <a:lnTo>
                    <a:pt x="831" y="785"/>
                  </a:lnTo>
                  <a:lnTo>
                    <a:pt x="831" y="785"/>
                  </a:lnTo>
                  <a:lnTo>
                    <a:pt x="831" y="785"/>
                  </a:lnTo>
                  <a:lnTo>
                    <a:pt x="831" y="785"/>
                  </a:lnTo>
                  <a:lnTo>
                    <a:pt x="831" y="785"/>
                  </a:lnTo>
                  <a:lnTo>
                    <a:pt x="831" y="783"/>
                  </a:lnTo>
                  <a:lnTo>
                    <a:pt x="831" y="783"/>
                  </a:lnTo>
                  <a:lnTo>
                    <a:pt x="831" y="785"/>
                  </a:lnTo>
                  <a:lnTo>
                    <a:pt x="831" y="785"/>
                  </a:lnTo>
                  <a:lnTo>
                    <a:pt x="831" y="785"/>
                  </a:lnTo>
                  <a:lnTo>
                    <a:pt x="831" y="785"/>
                  </a:lnTo>
                  <a:lnTo>
                    <a:pt x="833" y="785"/>
                  </a:lnTo>
                  <a:lnTo>
                    <a:pt x="833" y="783"/>
                  </a:lnTo>
                  <a:lnTo>
                    <a:pt x="833" y="783"/>
                  </a:lnTo>
                  <a:lnTo>
                    <a:pt x="833" y="783"/>
                  </a:lnTo>
                  <a:lnTo>
                    <a:pt x="833" y="783"/>
                  </a:lnTo>
                  <a:lnTo>
                    <a:pt x="833" y="780"/>
                  </a:lnTo>
                  <a:lnTo>
                    <a:pt x="831" y="780"/>
                  </a:lnTo>
                  <a:lnTo>
                    <a:pt x="831" y="778"/>
                  </a:lnTo>
                  <a:lnTo>
                    <a:pt x="833" y="778"/>
                  </a:lnTo>
                  <a:lnTo>
                    <a:pt x="833" y="775"/>
                  </a:lnTo>
                  <a:lnTo>
                    <a:pt x="833" y="775"/>
                  </a:lnTo>
                  <a:lnTo>
                    <a:pt x="835" y="775"/>
                  </a:lnTo>
                  <a:lnTo>
                    <a:pt x="835" y="775"/>
                  </a:lnTo>
                  <a:lnTo>
                    <a:pt x="838" y="775"/>
                  </a:lnTo>
                  <a:lnTo>
                    <a:pt x="838" y="775"/>
                  </a:lnTo>
                  <a:lnTo>
                    <a:pt x="838" y="778"/>
                  </a:lnTo>
                  <a:lnTo>
                    <a:pt x="838" y="778"/>
                  </a:lnTo>
                  <a:lnTo>
                    <a:pt x="835" y="778"/>
                  </a:lnTo>
                  <a:lnTo>
                    <a:pt x="838" y="778"/>
                  </a:lnTo>
                  <a:lnTo>
                    <a:pt x="838" y="780"/>
                  </a:lnTo>
                  <a:lnTo>
                    <a:pt x="835" y="783"/>
                  </a:lnTo>
                  <a:lnTo>
                    <a:pt x="835" y="785"/>
                  </a:lnTo>
                  <a:lnTo>
                    <a:pt x="835" y="787"/>
                  </a:lnTo>
                  <a:lnTo>
                    <a:pt x="838" y="787"/>
                  </a:lnTo>
                  <a:lnTo>
                    <a:pt x="838" y="790"/>
                  </a:lnTo>
                  <a:lnTo>
                    <a:pt x="835" y="790"/>
                  </a:lnTo>
                  <a:lnTo>
                    <a:pt x="835" y="790"/>
                  </a:lnTo>
                  <a:lnTo>
                    <a:pt x="835" y="787"/>
                  </a:lnTo>
                  <a:lnTo>
                    <a:pt x="835" y="787"/>
                  </a:lnTo>
                  <a:lnTo>
                    <a:pt x="833" y="787"/>
                  </a:lnTo>
                  <a:lnTo>
                    <a:pt x="833" y="787"/>
                  </a:lnTo>
                  <a:lnTo>
                    <a:pt x="833" y="787"/>
                  </a:lnTo>
                  <a:lnTo>
                    <a:pt x="833" y="790"/>
                  </a:lnTo>
                  <a:lnTo>
                    <a:pt x="833" y="790"/>
                  </a:lnTo>
                  <a:lnTo>
                    <a:pt x="833" y="792"/>
                  </a:lnTo>
                  <a:lnTo>
                    <a:pt x="833" y="792"/>
                  </a:lnTo>
                  <a:lnTo>
                    <a:pt x="835" y="792"/>
                  </a:lnTo>
                  <a:lnTo>
                    <a:pt x="835" y="792"/>
                  </a:lnTo>
                  <a:lnTo>
                    <a:pt x="838" y="792"/>
                  </a:lnTo>
                  <a:lnTo>
                    <a:pt x="838" y="792"/>
                  </a:lnTo>
                  <a:lnTo>
                    <a:pt x="838" y="792"/>
                  </a:lnTo>
                  <a:lnTo>
                    <a:pt x="838" y="792"/>
                  </a:lnTo>
                  <a:lnTo>
                    <a:pt x="838" y="794"/>
                  </a:lnTo>
                  <a:lnTo>
                    <a:pt x="838" y="794"/>
                  </a:lnTo>
                  <a:lnTo>
                    <a:pt x="838" y="794"/>
                  </a:lnTo>
                  <a:lnTo>
                    <a:pt x="838" y="794"/>
                  </a:lnTo>
                  <a:lnTo>
                    <a:pt x="838" y="794"/>
                  </a:lnTo>
                  <a:lnTo>
                    <a:pt x="838" y="794"/>
                  </a:lnTo>
                  <a:lnTo>
                    <a:pt x="840" y="794"/>
                  </a:lnTo>
                  <a:lnTo>
                    <a:pt x="840" y="794"/>
                  </a:lnTo>
                  <a:lnTo>
                    <a:pt x="840" y="792"/>
                  </a:lnTo>
                  <a:lnTo>
                    <a:pt x="840" y="792"/>
                  </a:lnTo>
                  <a:lnTo>
                    <a:pt x="842" y="790"/>
                  </a:lnTo>
                  <a:lnTo>
                    <a:pt x="847" y="792"/>
                  </a:lnTo>
                  <a:lnTo>
                    <a:pt x="847" y="792"/>
                  </a:lnTo>
                  <a:lnTo>
                    <a:pt x="845" y="792"/>
                  </a:lnTo>
                  <a:lnTo>
                    <a:pt x="845" y="792"/>
                  </a:lnTo>
                  <a:lnTo>
                    <a:pt x="845" y="792"/>
                  </a:lnTo>
                  <a:lnTo>
                    <a:pt x="845" y="792"/>
                  </a:lnTo>
                  <a:lnTo>
                    <a:pt x="845" y="792"/>
                  </a:lnTo>
                  <a:lnTo>
                    <a:pt x="845" y="792"/>
                  </a:lnTo>
                  <a:lnTo>
                    <a:pt x="845" y="794"/>
                  </a:lnTo>
                  <a:lnTo>
                    <a:pt x="845" y="794"/>
                  </a:lnTo>
                  <a:lnTo>
                    <a:pt x="845" y="797"/>
                  </a:lnTo>
                  <a:lnTo>
                    <a:pt x="845" y="797"/>
                  </a:lnTo>
                  <a:lnTo>
                    <a:pt x="845" y="797"/>
                  </a:lnTo>
                  <a:lnTo>
                    <a:pt x="847" y="797"/>
                  </a:lnTo>
                  <a:lnTo>
                    <a:pt x="847" y="797"/>
                  </a:lnTo>
                  <a:lnTo>
                    <a:pt x="850" y="797"/>
                  </a:lnTo>
                  <a:lnTo>
                    <a:pt x="850" y="794"/>
                  </a:lnTo>
                  <a:lnTo>
                    <a:pt x="850" y="794"/>
                  </a:lnTo>
                  <a:lnTo>
                    <a:pt x="850" y="794"/>
                  </a:lnTo>
                  <a:lnTo>
                    <a:pt x="850" y="794"/>
                  </a:lnTo>
                  <a:lnTo>
                    <a:pt x="850" y="792"/>
                  </a:lnTo>
                  <a:lnTo>
                    <a:pt x="850" y="792"/>
                  </a:lnTo>
                  <a:lnTo>
                    <a:pt x="850" y="792"/>
                  </a:lnTo>
                  <a:lnTo>
                    <a:pt x="850" y="790"/>
                  </a:lnTo>
                  <a:lnTo>
                    <a:pt x="850" y="790"/>
                  </a:lnTo>
                  <a:lnTo>
                    <a:pt x="852" y="790"/>
                  </a:lnTo>
                  <a:lnTo>
                    <a:pt x="852" y="790"/>
                  </a:lnTo>
                  <a:lnTo>
                    <a:pt x="852" y="790"/>
                  </a:lnTo>
                  <a:lnTo>
                    <a:pt x="854" y="792"/>
                  </a:lnTo>
                  <a:lnTo>
                    <a:pt x="852" y="792"/>
                  </a:lnTo>
                  <a:lnTo>
                    <a:pt x="852" y="792"/>
                  </a:lnTo>
                  <a:lnTo>
                    <a:pt x="852" y="792"/>
                  </a:lnTo>
                  <a:lnTo>
                    <a:pt x="852" y="792"/>
                  </a:lnTo>
                  <a:lnTo>
                    <a:pt x="852" y="792"/>
                  </a:lnTo>
                  <a:lnTo>
                    <a:pt x="852" y="792"/>
                  </a:lnTo>
                  <a:lnTo>
                    <a:pt x="854" y="792"/>
                  </a:lnTo>
                  <a:lnTo>
                    <a:pt x="854" y="792"/>
                  </a:lnTo>
                  <a:lnTo>
                    <a:pt x="854" y="792"/>
                  </a:lnTo>
                  <a:lnTo>
                    <a:pt x="854" y="792"/>
                  </a:lnTo>
                  <a:lnTo>
                    <a:pt x="857" y="790"/>
                  </a:lnTo>
                  <a:lnTo>
                    <a:pt x="857" y="790"/>
                  </a:lnTo>
                  <a:lnTo>
                    <a:pt x="859" y="790"/>
                  </a:lnTo>
                  <a:lnTo>
                    <a:pt x="864" y="787"/>
                  </a:lnTo>
                  <a:lnTo>
                    <a:pt x="864" y="787"/>
                  </a:lnTo>
                  <a:lnTo>
                    <a:pt x="864" y="787"/>
                  </a:lnTo>
                  <a:lnTo>
                    <a:pt x="864" y="785"/>
                  </a:lnTo>
                  <a:lnTo>
                    <a:pt x="866" y="785"/>
                  </a:lnTo>
                  <a:lnTo>
                    <a:pt x="866" y="783"/>
                  </a:lnTo>
                  <a:lnTo>
                    <a:pt x="866" y="783"/>
                  </a:lnTo>
                  <a:lnTo>
                    <a:pt x="866" y="783"/>
                  </a:lnTo>
                  <a:lnTo>
                    <a:pt x="866" y="783"/>
                  </a:lnTo>
                  <a:lnTo>
                    <a:pt x="866" y="783"/>
                  </a:lnTo>
                  <a:lnTo>
                    <a:pt x="866" y="780"/>
                  </a:lnTo>
                  <a:lnTo>
                    <a:pt x="869" y="780"/>
                  </a:lnTo>
                  <a:lnTo>
                    <a:pt x="871" y="780"/>
                  </a:lnTo>
                  <a:lnTo>
                    <a:pt x="871" y="780"/>
                  </a:lnTo>
                  <a:lnTo>
                    <a:pt x="871" y="780"/>
                  </a:lnTo>
                  <a:lnTo>
                    <a:pt x="873" y="780"/>
                  </a:lnTo>
                  <a:lnTo>
                    <a:pt x="873" y="778"/>
                  </a:lnTo>
                  <a:lnTo>
                    <a:pt x="873" y="778"/>
                  </a:lnTo>
                  <a:lnTo>
                    <a:pt x="878" y="780"/>
                  </a:lnTo>
                  <a:lnTo>
                    <a:pt x="880" y="780"/>
                  </a:lnTo>
                  <a:lnTo>
                    <a:pt x="880" y="783"/>
                  </a:lnTo>
                  <a:lnTo>
                    <a:pt x="880" y="785"/>
                  </a:lnTo>
                  <a:lnTo>
                    <a:pt x="880" y="785"/>
                  </a:lnTo>
                  <a:lnTo>
                    <a:pt x="880" y="785"/>
                  </a:lnTo>
                  <a:lnTo>
                    <a:pt x="880" y="785"/>
                  </a:lnTo>
                  <a:lnTo>
                    <a:pt x="880" y="787"/>
                  </a:lnTo>
                  <a:lnTo>
                    <a:pt x="880" y="787"/>
                  </a:lnTo>
                  <a:lnTo>
                    <a:pt x="883" y="790"/>
                  </a:lnTo>
                  <a:lnTo>
                    <a:pt x="883" y="790"/>
                  </a:lnTo>
                  <a:lnTo>
                    <a:pt x="883" y="790"/>
                  </a:lnTo>
                  <a:lnTo>
                    <a:pt x="883" y="790"/>
                  </a:lnTo>
                  <a:lnTo>
                    <a:pt x="880" y="787"/>
                  </a:lnTo>
                  <a:lnTo>
                    <a:pt x="878" y="787"/>
                  </a:lnTo>
                  <a:lnTo>
                    <a:pt x="878" y="785"/>
                  </a:lnTo>
                  <a:lnTo>
                    <a:pt x="878" y="785"/>
                  </a:lnTo>
                  <a:lnTo>
                    <a:pt x="878" y="785"/>
                  </a:lnTo>
                  <a:lnTo>
                    <a:pt x="876" y="785"/>
                  </a:lnTo>
                  <a:lnTo>
                    <a:pt x="876" y="785"/>
                  </a:lnTo>
                  <a:lnTo>
                    <a:pt x="873" y="785"/>
                  </a:lnTo>
                  <a:lnTo>
                    <a:pt x="873" y="787"/>
                  </a:lnTo>
                  <a:lnTo>
                    <a:pt x="873" y="787"/>
                  </a:lnTo>
                  <a:lnTo>
                    <a:pt x="871" y="790"/>
                  </a:lnTo>
                  <a:lnTo>
                    <a:pt x="871" y="790"/>
                  </a:lnTo>
                  <a:lnTo>
                    <a:pt x="869" y="790"/>
                  </a:lnTo>
                  <a:lnTo>
                    <a:pt x="869" y="792"/>
                  </a:lnTo>
                  <a:lnTo>
                    <a:pt x="869" y="792"/>
                  </a:lnTo>
                  <a:lnTo>
                    <a:pt x="869" y="792"/>
                  </a:lnTo>
                  <a:lnTo>
                    <a:pt x="873" y="794"/>
                  </a:lnTo>
                  <a:lnTo>
                    <a:pt x="873" y="794"/>
                  </a:lnTo>
                  <a:lnTo>
                    <a:pt x="873" y="794"/>
                  </a:lnTo>
                  <a:lnTo>
                    <a:pt x="873" y="797"/>
                  </a:lnTo>
                  <a:lnTo>
                    <a:pt x="873" y="797"/>
                  </a:lnTo>
                  <a:lnTo>
                    <a:pt x="883" y="797"/>
                  </a:lnTo>
                  <a:lnTo>
                    <a:pt x="883" y="797"/>
                  </a:lnTo>
                  <a:lnTo>
                    <a:pt x="885" y="797"/>
                  </a:lnTo>
                  <a:lnTo>
                    <a:pt x="887" y="794"/>
                  </a:lnTo>
                  <a:lnTo>
                    <a:pt x="890" y="794"/>
                  </a:lnTo>
                  <a:lnTo>
                    <a:pt x="890" y="794"/>
                  </a:lnTo>
                  <a:lnTo>
                    <a:pt x="892" y="797"/>
                  </a:lnTo>
                  <a:lnTo>
                    <a:pt x="892" y="797"/>
                  </a:lnTo>
                  <a:lnTo>
                    <a:pt x="890" y="797"/>
                  </a:lnTo>
                  <a:lnTo>
                    <a:pt x="890" y="797"/>
                  </a:lnTo>
                  <a:lnTo>
                    <a:pt x="890" y="797"/>
                  </a:lnTo>
                  <a:lnTo>
                    <a:pt x="890" y="799"/>
                  </a:lnTo>
                  <a:lnTo>
                    <a:pt x="890" y="799"/>
                  </a:lnTo>
                  <a:lnTo>
                    <a:pt x="890" y="799"/>
                  </a:lnTo>
                  <a:lnTo>
                    <a:pt x="890" y="799"/>
                  </a:lnTo>
                  <a:lnTo>
                    <a:pt x="890" y="799"/>
                  </a:lnTo>
                  <a:lnTo>
                    <a:pt x="895" y="802"/>
                  </a:lnTo>
                  <a:lnTo>
                    <a:pt x="895" y="802"/>
                  </a:lnTo>
                  <a:lnTo>
                    <a:pt x="895" y="799"/>
                  </a:lnTo>
                  <a:lnTo>
                    <a:pt x="895" y="799"/>
                  </a:lnTo>
                  <a:lnTo>
                    <a:pt x="895" y="797"/>
                  </a:lnTo>
                  <a:lnTo>
                    <a:pt x="895" y="797"/>
                  </a:lnTo>
                  <a:lnTo>
                    <a:pt x="895" y="797"/>
                  </a:lnTo>
                  <a:lnTo>
                    <a:pt x="895" y="797"/>
                  </a:lnTo>
                  <a:lnTo>
                    <a:pt x="895" y="797"/>
                  </a:lnTo>
                  <a:lnTo>
                    <a:pt x="897" y="797"/>
                  </a:lnTo>
                  <a:lnTo>
                    <a:pt x="897" y="797"/>
                  </a:lnTo>
                  <a:lnTo>
                    <a:pt x="897" y="797"/>
                  </a:lnTo>
                  <a:lnTo>
                    <a:pt x="899" y="797"/>
                  </a:lnTo>
                  <a:lnTo>
                    <a:pt x="899" y="794"/>
                  </a:lnTo>
                  <a:lnTo>
                    <a:pt x="899" y="797"/>
                  </a:lnTo>
                  <a:lnTo>
                    <a:pt x="899" y="797"/>
                  </a:lnTo>
                  <a:lnTo>
                    <a:pt x="899" y="797"/>
                  </a:lnTo>
                  <a:lnTo>
                    <a:pt x="899" y="799"/>
                  </a:lnTo>
                  <a:lnTo>
                    <a:pt x="899" y="802"/>
                  </a:lnTo>
                  <a:lnTo>
                    <a:pt x="899" y="804"/>
                  </a:lnTo>
                  <a:lnTo>
                    <a:pt x="899" y="804"/>
                  </a:lnTo>
                  <a:lnTo>
                    <a:pt x="899" y="804"/>
                  </a:lnTo>
                  <a:lnTo>
                    <a:pt x="902" y="802"/>
                  </a:lnTo>
                  <a:lnTo>
                    <a:pt x="902" y="802"/>
                  </a:lnTo>
                  <a:lnTo>
                    <a:pt x="902" y="802"/>
                  </a:lnTo>
                  <a:lnTo>
                    <a:pt x="902" y="802"/>
                  </a:lnTo>
                  <a:lnTo>
                    <a:pt x="902" y="802"/>
                  </a:lnTo>
                  <a:lnTo>
                    <a:pt x="902" y="802"/>
                  </a:lnTo>
                  <a:lnTo>
                    <a:pt x="904" y="799"/>
                  </a:lnTo>
                  <a:lnTo>
                    <a:pt x="904" y="799"/>
                  </a:lnTo>
                  <a:lnTo>
                    <a:pt x="904" y="799"/>
                  </a:lnTo>
                  <a:lnTo>
                    <a:pt x="906" y="799"/>
                  </a:lnTo>
                  <a:lnTo>
                    <a:pt x="906" y="799"/>
                  </a:lnTo>
                  <a:lnTo>
                    <a:pt x="906" y="799"/>
                  </a:lnTo>
                  <a:lnTo>
                    <a:pt x="906" y="797"/>
                  </a:lnTo>
                  <a:lnTo>
                    <a:pt x="906" y="797"/>
                  </a:lnTo>
                  <a:lnTo>
                    <a:pt x="906" y="797"/>
                  </a:lnTo>
                  <a:lnTo>
                    <a:pt x="906" y="797"/>
                  </a:lnTo>
                  <a:lnTo>
                    <a:pt x="909" y="797"/>
                  </a:lnTo>
                  <a:lnTo>
                    <a:pt x="911" y="799"/>
                  </a:lnTo>
                  <a:lnTo>
                    <a:pt x="911" y="799"/>
                  </a:lnTo>
                  <a:lnTo>
                    <a:pt x="911" y="799"/>
                  </a:lnTo>
                  <a:lnTo>
                    <a:pt x="913" y="802"/>
                  </a:lnTo>
                  <a:lnTo>
                    <a:pt x="916" y="799"/>
                  </a:lnTo>
                  <a:lnTo>
                    <a:pt x="916" y="799"/>
                  </a:lnTo>
                  <a:lnTo>
                    <a:pt x="916" y="797"/>
                  </a:lnTo>
                  <a:lnTo>
                    <a:pt x="916" y="797"/>
                  </a:lnTo>
                  <a:lnTo>
                    <a:pt x="916" y="797"/>
                  </a:lnTo>
                  <a:lnTo>
                    <a:pt x="916" y="797"/>
                  </a:lnTo>
                  <a:lnTo>
                    <a:pt x="916" y="797"/>
                  </a:lnTo>
                  <a:lnTo>
                    <a:pt x="916" y="799"/>
                  </a:lnTo>
                  <a:lnTo>
                    <a:pt x="916" y="799"/>
                  </a:lnTo>
                  <a:lnTo>
                    <a:pt x="916" y="799"/>
                  </a:lnTo>
                  <a:lnTo>
                    <a:pt x="918" y="799"/>
                  </a:lnTo>
                  <a:lnTo>
                    <a:pt x="918" y="799"/>
                  </a:lnTo>
                  <a:lnTo>
                    <a:pt x="918" y="799"/>
                  </a:lnTo>
                  <a:lnTo>
                    <a:pt x="918" y="799"/>
                  </a:lnTo>
                  <a:lnTo>
                    <a:pt x="918" y="799"/>
                  </a:lnTo>
                  <a:lnTo>
                    <a:pt x="918" y="799"/>
                  </a:lnTo>
                  <a:lnTo>
                    <a:pt x="918" y="799"/>
                  </a:lnTo>
                  <a:lnTo>
                    <a:pt x="921" y="799"/>
                  </a:lnTo>
                  <a:lnTo>
                    <a:pt x="921" y="797"/>
                  </a:lnTo>
                  <a:lnTo>
                    <a:pt x="921" y="797"/>
                  </a:lnTo>
                  <a:lnTo>
                    <a:pt x="921" y="797"/>
                  </a:lnTo>
                  <a:lnTo>
                    <a:pt x="921" y="797"/>
                  </a:lnTo>
                  <a:lnTo>
                    <a:pt x="921" y="797"/>
                  </a:lnTo>
                  <a:lnTo>
                    <a:pt x="921" y="797"/>
                  </a:lnTo>
                  <a:lnTo>
                    <a:pt x="921" y="797"/>
                  </a:lnTo>
                  <a:lnTo>
                    <a:pt x="923" y="797"/>
                  </a:lnTo>
                  <a:lnTo>
                    <a:pt x="923" y="797"/>
                  </a:lnTo>
                  <a:lnTo>
                    <a:pt x="923" y="797"/>
                  </a:lnTo>
                  <a:lnTo>
                    <a:pt x="923" y="797"/>
                  </a:lnTo>
                  <a:lnTo>
                    <a:pt x="923" y="797"/>
                  </a:lnTo>
                  <a:lnTo>
                    <a:pt x="923" y="797"/>
                  </a:lnTo>
                  <a:lnTo>
                    <a:pt x="923" y="797"/>
                  </a:lnTo>
                  <a:lnTo>
                    <a:pt x="923" y="797"/>
                  </a:lnTo>
                  <a:lnTo>
                    <a:pt x="923" y="799"/>
                  </a:lnTo>
                  <a:lnTo>
                    <a:pt x="925" y="799"/>
                  </a:lnTo>
                  <a:lnTo>
                    <a:pt x="925" y="799"/>
                  </a:lnTo>
                  <a:lnTo>
                    <a:pt x="925" y="799"/>
                  </a:lnTo>
                  <a:lnTo>
                    <a:pt x="925" y="799"/>
                  </a:lnTo>
                  <a:lnTo>
                    <a:pt x="928" y="797"/>
                  </a:lnTo>
                  <a:lnTo>
                    <a:pt x="928" y="797"/>
                  </a:lnTo>
                  <a:lnTo>
                    <a:pt x="928" y="797"/>
                  </a:lnTo>
                  <a:lnTo>
                    <a:pt x="928" y="797"/>
                  </a:lnTo>
                  <a:lnTo>
                    <a:pt x="932" y="799"/>
                  </a:lnTo>
                  <a:lnTo>
                    <a:pt x="932" y="799"/>
                  </a:lnTo>
                  <a:lnTo>
                    <a:pt x="932" y="802"/>
                  </a:lnTo>
                  <a:lnTo>
                    <a:pt x="932" y="802"/>
                  </a:lnTo>
                  <a:lnTo>
                    <a:pt x="932" y="802"/>
                  </a:lnTo>
                  <a:lnTo>
                    <a:pt x="932" y="802"/>
                  </a:lnTo>
                  <a:lnTo>
                    <a:pt x="930" y="804"/>
                  </a:lnTo>
                  <a:lnTo>
                    <a:pt x="930" y="804"/>
                  </a:lnTo>
                  <a:lnTo>
                    <a:pt x="930" y="804"/>
                  </a:lnTo>
                  <a:lnTo>
                    <a:pt x="930" y="804"/>
                  </a:lnTo>
                  <a:lnTo>
                    <a:pt x="930" y="804"/>
                  </a:lnTo>
                  <a:lnTo>
                    <a:pt x="930" y="806"/>
                  </a:lnTo>
                  <a:lnTo>
                    <a:pt x="930" y="806"/>
                  </a:lnTo>
                  <a:lnTo>
                    <a:pt x="930" y="806"/>
                  </a:lnTo>
                  <a:lnTo>
                    <a:pt x="928" y="806"/>
                  </a:lnTo>
                  <a:lnTo>
                    <a:pt x="925" y="806"/>
                  </a:lnTo>
                  <a:lnTo>
                    <a:pt x="925" y="809"/>
                  </a:lnTo>
                  <a:lnTo>
                    <a:pt x="928" y="809"/>
                  </a:lnTo>
                  <a:lnTo>
                    <a:pt x="928" y="811"/>
                  </a:lnTo>
                  <a:lnTo>
                    <a:pt x="928" y="811"/>
                  </a:lnTo>
                  <a:lnTo>
                    <a:pt x="928" y="811"/>
                  </a:lnTo>
                  <a:lnTo>
                    <a:pt x="928" y="811"/>
                  </a:lnTo>
                  <a:lnTo>
                    <a:pt x="928" y="811"/>
                  </a:lnTo>
                  <a:lnTo>
                    <a:pt x="928" y="811"/>
                  </a:lnTo>
                  <a:lnTo>
                    <a:pt x="928" y="811"/>
                  </a:lnTo>
                  <a:lnTo>
                    <a:pt x="925" y="811"/>
                  </a:lnTo>
                  <a:lnTo>
                    <a:pt x="925" y="811"/>
                  </a:lnTo>
                  <a:lnTo>
                    <a:pt x="925" y="809"/>
                  </a:lnTo>
                  <a:lnTo>
                    <a:pt x="923" y="809"/>
                  </a:lnTo>
                  <a:lnTo>
                    <a:pt x="923" y="811"/>
                  </a:lnTo>
                  <a:lnTo>
                    <a:pt x="923" y="811"/>
                  </a:lnTo>
                  <a:lnTo>
                    <a:pt x="925" y="811"/>
                  </a:lnTo>
                  <a:lnTo>
                    <a:pt x="925" y="811"/>
                  </a:lnTo>
                  <a:lnTo>
                    <a:pt x="923" y="811"/>
                  </a:lnTo>
                  <a:lnTo>
                    <a:pt x="923" y="811"/>
                  </a:lnTo>
                  <a:lnTo>
                    <a:pt x="923" y="811"/>
                  </a:lnTo>
                  <a:lnTo>
                    <a:pt x="925" y="813"/>
                  </a:lnTo>
                  <a:lnTo>
                    <a:pt x="925" y="813"/>
                  </a:lnTo>
                  <a:lnTo>
                    <a:pt x="928" y="811"/>
                  </a:lnTo>
                  <a:lnTo>
                    <a:pt x="928" y="811"/>
                  </a:lnTo>
                  <a:lnTo>
                    <a:pt x="928" y="811"/>
                  </a:lnTo>
                  <a:lnTo>
                    <a:pt x="930" y="811"/>
                  </a:lnTo>
                  <a:lnTo>
                    <a:pt x="930" y="811"/>
                  </a:lnTo>
                  <a:lnTo>
                    <a:pt x="930" y="811"/>
                  </a:lnTo>
                  <a:lnTo>
                    <a:pt x="930" y="811"/>
                  </a:lnTo>
                  <a:lnTo>
                    <a:pt x="930" y="811"/>
                  </a:lnTo>
                  <a:lnTo>
                    <a:pt x="930" y="811"/>
                  </a:lnTo>
                  <a:lnTo>
                    <a:pt x="930" y="811"/>
                  </a:lnTo>
                  <a:lnTo>
                    <a:pt x="930" y="809"/>
                  </a:lnTo>
                  <a:lnTo>
                    <a:pt x="930" y="809"/>
                  </a:lnTo>
                  <a:lnTo>
                    <a:pt x="932" y="809"/>
                  </a:lnTo>
                  <a:lnTo>
                    <a:pt x="932" y="809"/>
                  </a:lnTo>
                  <a:lnTo>
                    <a:pt x="932" y="806"/>
                  </a:lnTo>
                  <a:lnTo>
                    <a:pt x="932" y="806"/>
                  </a:lnTo>
                  <a:lnTo>
                    <a:pt x="935" y="806"/>
                  </a:lnTo>
                  <a:lnTo>
                    <a:pt x="935" y="806"/>
                  </a:lnTo>
                  <a:lnTo>
                    <a:pt x="935" y="806"/>
                  </a:lnTo>
                  <a:lnTo>
                    <a:pt x="935" y="806"/>
                  </a:lnTo>
                  <a:lnTo>
                    <a:pt x="935" y="806"/>
                  </a:lnTo>
                  <a:lnTo>
                    <a:pt x="935" y="806"/>
                  </a:lnTo>
                  <a:lnTo>
                    <a:pt x="935" y="806"/>
                  </a:lnTo>
                  <a:lnTo>
                    <a:pt x="935" y="806"/>
                  </a:lnTo>
                  <a:lnTo>
                    <a:pt x="935" y="804"/>
                  </a:lnTo>
                  <a:lnTo>
                    <a:pt x="935" y="804"/>
                  </a:lnTo>
                  <a:lnTo>
                    <a:pt x="935" y="804"/>
                  </a:lnTo>
                  <a:lnTo>
                    <a:pt x="937" y="802"/>
                  </a:lnTo>
                  <a:lnTo>
                    <a:pt x="937" y="802"/>
                  </a:lnTo>
                  <a:lnTo>
                    <a:pt x="937" y="799"/>
                  </a:lnTo>
                  <a:lnTo>
                    <a:pt x="937" y="799"/>
                  </a:lnTo>
                  <a:lnTo>
                    <a:pt x="937" y="799"/>
                  </a:lnTo>
                  <a:lnTo>
                    <a:pt x="939" y="799"/>
                  </a:lnTo>
                  <a:lnTo>
                    <a:pt x="939" y="799"/>
                  </a:lnTo>
                  <a:lnTo>
                    <a:pt x="939" y="802"/>
                  </a:lnTo>
                  <a:lnTo>
                    <a:pt x="937" y="802"/>
                  </a:lnTo>
                  <a:lnTo>
                    <a:pt x="937" y="802"/>
                  </a:lnTo>
                  <a:lnTo>
                    <a:pt x="937" y="804"/>
                  </a:lnTo>
                  <a:lnTo>
                    <a:pt x="937" y="804"/>
                  </a:lnTo>
                  <a:lnTo>
                    <a:pt x="937" y="806"/>
                  </a:lnTo>
                  <a:lnTo>
                    <a:pt x="937" y="806"/>
                  </a:lnTo>
                  <a:lnTo>
                    <a:pt x="937" y="806"/>
                  </a:lnTo>
                  <a:lnTo>
                    <a:pt x="937" y="806"/>
                  </a:lnTo>
                  <a:lnTo>
                    <a:pt x="939" y="804"/>
                  </a:lnTo>
                  <a:lnTo>
                    <a:pt x="939" y="804"/>
                  </a:lnTo>
                  <a:lnTo>
                    <a:pt x="942" y="804"/>
                  </a:lnTo>
                  <a:lnTo>
                    <a:pt x="942" y="804"/>
                  </a:lnTo>
                  <a:lnTo>
                    <a:pt x="942" y="804"/>
                  </a:lnTo>
                  <a:lnTo>
                    <a:pt x="942" y="804"/>
                  </a:lnTo>
                  <a:lnTo>
                    <a:pt x="944" y="804"/>
                  </a:lnTo>
                  <a:lnTo>
                    <a:pt x="944" y="804"/>
                  </a:lnTo>
                  <a:lnTo>
                    <a:pt x="947" y="804"/>
                  </a:lnTo>
                  <a:lnTo>
                    <a:pt x="947" y="804"/>
                  </a:lnTo>
                  <a:lnTo>
                    <a:pt x="949" y="804"/>
                  </a:lnTo>
                  <a:lnTo>
                    <a:pt x="949" y="804"/>
                  </a:lnTo>
                  <a:lnTo>
                    <a:pt x="949" y="804"/>
                  </a:lnTo>
                  <a:lnTo>
                    <a:pt x="949" y="804"/>
                  </a:lnTo>
                  <a:lnTo>
                    <a:pt x="951" y="804"/>
                  </a:lnTo>
                  <a:lnTo>
                    <a:pt x="951" y="806"/>
                  </a:lnTo>
                  <a:lnTo>
                    <a:pt x="951" y="806"/>
                  </a:lnTo>
                  <a:lnTo>
                    <a:pt x="951" y="806"/>
                  </a:lnTo>
                  <a:lnTo>
                    <a:pt x="951" y="806"/>
                  </a:lnTo>
                  <a:lnTo>
                    <a:pt x="951" y="806"/>
                  </a:lnTo>
                  <a:lnTo>
                    <a:pt x="951" y="809"/>
                  </a:lnTo>
                  <a:lnTo>
                    <a:pt x="951" y="809"/>
                  </a:lnTo>
                  <a:lnTo>
                    <a:pt x="951" y="809"/>
                  </a:lnTo>
                  <a:lnTo>
                    <a:pt x="951" y="806"/>
                  </a:lnTo>
                  <a:lnTo>
                    <a:pt x="951" y="806"/>
                  </a:lnTo>
                  <a:lnTo>
                    <a:pt x="951" y="806"/>
                  </a:lnTo>
                  <a:lnTo>
                    <a:pt x="951" y="806"/>
                  </a:lnTo>
                  <a:lnTo>
                    <a:pt x="951" y="806"/>
                  </a:lnTo>
                  <a:lnTo>
                    <a:pt x="951" y="806"/>
                  </a:lnTo>
                  <a:lnTo>
                    <a:pt x="954" y="806"/>
                  </a:lnTo>
                  <a:lnTo>
                    <a:pt x="954" y="806"/>
                  </a:lnTo>
                  <a:lnTo>
                    <a:pt x="954" y="806"/>
                  </a:lnTo>
                  <a:lnTo>
                    <a:pt x="954" y="806"/>
                  </a:lnTo>
                  <a:lnTo>
                    <a:pt x="954" y="806"/>
                  </a:lnTo>
                  <a:lnTo>
                    <a:pt x="954" y="809"/>
                  </a:lnTo>
                  <a:lnTo>
                    <a:pt x="954" y="809"/>
                  </a:lnTo>
                  <a:lnTo>
                    <a:pt x="958" y="806"/>
                  </a:lnTo>
                  <a:lnTo>
                    <a:pt x="958" y="804"/>
                  </a:lnTo>
                  <a:lnTo>
                    <a:pt x="961" y="804"/>
                  </a:lnTo>
                  <a:lnTo>
                    <a:pt x="961" y="806"/>
                  </a:lnTo>
                  <a:lnTo>
                    <a:pt x="961" y="806"/>
                  </a:lnTo>
                  <a:lnTo>
                    <a:pt x="961" y="806"/>
                  </a:lnTo>
                  <a:lnTo>
                    <a:pt x="961" y="806"/>
                  </a:lnTo>
                  <a:lnTo>
                    <a:pt x="961" y="806"/>
                  </a:lnTo>
                  <a:lnTo>
                    <a:pt x="961" y="806"/>
                  </a:lnTo>
                  <a:lnTo>
                    <a:pt x="963" y="806"/>
                  </a:lnTo>
                  <a:lnTo>
                    <a:pt x="963" y="806"/>
                  </a:lnTo>
                  <a:lnTo>
                    <a:pt x="963" y="806"/>
                  </a:lnTo>
                  <a:lnTo>
                    <a:pt x="963" y="809"/>
                  </a:lnTo>
                  <a:lnTo>
                    <a:pt x="961" y="809"/>
                  </a:lnTo>
                  <a:lnTo>
                    <a:pt x="961" y="809"/>
                  </a:lnTo>
                  <a:lnTo>
                    <a:pt x="961" y="809"/>
                  </a:lnTo>
                  <a:lnTo>
                    <a:pt x="961" y="809"/>
                  </a:lnTo>
                  <a:lnTo>
                    <a:pt x="961" y="809"/>
                  </a:lnTo>
                  <a:lnTo>
                    <a:pt x="961" y="809"/>
                  </a:lnTo>
                  <a:lnTo>
                    <a:pt x="961" y="809"/>
                  </a:lnTo>
                  <a:lnTo>
                    <a:pt x="963" y="811"/>
                  </a:lnTo>
                  <a:lnTo>
                    <a:pt x="963" y="809"/>
                  </a:lnTo>
                  <a:lnTo>
                    <a:pt x="963" y="809"/>
                  </a:lnTo>
                  <a:lnTo>
                    <a:pt x="963" y="809"/>
                  </a:lnTo>
                  <a:lnTo>
                    <a:pt x="963" y="809"/>
                  </a:lnTo>
                  <a:lnTo>
                    <a:pt x="963" y="809"/>
                  </a:lnTo>
                  <a:lnTo>
                    <a:pt x="963" y="809"/>
                  </a:lnTo>
                  <a:lnTo>
                    <a:pt x="966" y="809"/>
                  </a:lnTo>
                  <a:lnTo>
                    <a:pt x="966" y="809"/>
                  </a:lnTo>
                  <a:lnTo>
                    <a:pt x="966" y="806"/>
                  </a:lnTo>
                  <a:lnTo>
                    <a:pt x="966" y="806"/>
                  </a:lnTo>
                  <a:lnTo>
                    <a:pt x="963" y="806"/>
                  </a:lnTo>
                  <a:lnTo>
                    <a:pt x="963" y="806"/>
                  </a:lnTo>
                  <a:lnTo>
                    <a:pt x="963" y="804"/>
                  </a:lnTo>
                  <a:lnTo>
                    <a:pt x="966" y="806"/>
                  </a:lnTo>
                  <a:lnTo>
                    <a:pt x="966" y="804"/>
                  </a:lnTo>
                  <a:lnTo>
                    <a:pt x="968" y="804"/>
                  </a:lnTo>
                  <a:lnTo>
                    <a:pt x="968" y="804"/>
                  </a:lnTo>
                  <a:lnTo>
                    <a:pt x="966" y="802"/>
                  </a:lnTo>
                  <a:lnTo>
                    <a:pt x="968" y="802"/>
                  </a:lnTo>
                  <a:lnTo>
                    <a:pt x="968" y="802"/>
                  </a:lnTo>
                  <a:lnTo>
                    <a:pt x="968" y="802"/>
                  </a:lnTo>
                  <a:lnTo>
                    <a:pt x="968" y="802"/>
                  </a:lnTo>
                  <a:lnTo>
                    <a:pt x="968" y="802"/>
                  </a:lnTo>
                  <a:lnTo>
                    <a:pt x="968" y="802"/>
                  </a:lnTo>
                  <a:lnTo>
                    <a:pt x="968" y="802"/>
                  </a:lnTo>
                  <a:lnTo>
                    <a:pt x="968" y="802"/>
                  </a:lnTo>
                  <a:lnTo>
                    <a:pt x="968" y="804"/>
                  </a:lnTo>
                  <a:lnTo>
                    <a:pt x="970" y="802"/>
                  </a:lnTo>
                  <a:lnTo>
                    <a:pt x="970" y="802"/>
                  </a:lnTo>
                  <a:lnTo>
                    <a:pt x="973" y="802"/>
                  </a:lnTo>
                  <a:lnTo>
                    <a:pt x="970" y="802"/>
                  </a:lnTo>
                  <a:lnTo>
                    <a:pt x="970" y="799"/>
                  </a:lnTo>
                  <a:lnTo>
                    <a:pt x="970" y="799"/>
                  </a:lnTo>
                  <a:lnTo>
                    <a:pt x="973" y="799"/>
                  </a:lnTo>
                  <a:lnTo>
                    <a:pt x="975" y="802"/>
                  </a:lnTo>
                  <a:lnTo>
                    <a:pt x="975" y="802"/>
                  </a:lnTo>
                  <a:lnTo>
                    <a:pt x="975" y="802"/>
                  </a:lnTo>
                  <a:lnTo>
                    <a:pt x="975" y="802"/>
                  </a:lnTo>
                  <a:lnTo>
                    <a:pt x="973" y="802"/>
                  </a:lnTo>
                  <a:lnTo>
                    <a:pt x="973" y="802"/>
                  </a:lnTo>
                  <a:lnTo>
                    <a:pt x="973" y="804"/>
                  </a:lnTo>
                  <a:lnTo>
                    <a:pt x="973" y="804"/>
                  </a:lnTo>
                  <a:lnTo>
                    <a:pt x="973" y="804"/>
                  </a:lnTo>
                  <a:lnTo>
                    <a:pt x="973" y="804"/>
                  </a:lnTo>
                  <a:lnTo>
                    <a:pt x="973" y="804"/>
                  </a:lnTo>
                  <a:lnTo>
                    <a:pt x="973" y="802"/>
                  </a:lnTo>
                  <a:lnTo>
                    <a:pt x="973" y="802"/>
                  </a:lnTo>
                  <a:lnTo>
                    <a:pt x="973" y="804"/>
                  </a:lnTo>
                  <a:lnTo>
                    <a:pt x="970" y="804"/>
                  </a:lnTo>
                  <a:lnTo>
                    <a:pt x="970" y="804"/>
                  </a:lnTo>
                  <a:lnTo>
                    <a:pt x="970" y="804"/>
                  </a:lnTo>
                  <a:lnTo>
                    <a:pt x="968" y="804"/>
                  </a:lnTo>
                  <a:lnTo>
                    <a:pt x="968" y="804"/>
                  </a:lnTo>
                  <a:lnTo>
                    <a:pt x="968" y="806"/>
                  </a:lnTo>
                  <a:lnTo>
                    <a:pt x="968" y="806"/>
                  </a:lnTo>
                  <a:lnTo>
                    <a:pt x="968" y="806"/>
                  </a:lnTo>
                  <a:lnTo>
                    <a:pt x="968" y="806"/>
                  </a:lnTo>
                  <a:lnTo>
                    <a:pt x="968" y="806"/>
                  </a:lnTo>
                  <a:lnTo>
                    <a:pt x="968" y="809"/>
                  </a:lnTo>
                  <a:lnTo>
                    <a:pt x="968" y="809"/>
                  </a:lnTo>
                  <a:lnTo>
                    <a:pt x="970" y="809"/>
                  </a:lnTo>
                  <a:lnTo>
                    <a:pt x="970" y="809"/>
                  </a:lnTo>
                  <a:lnTo>
                    <a:pt x="968" y="809"/>
                  </a:lnTo>
                  <a:lnTo>
                    <a:pt x="968" y="809"/>
                  </a:lnTo>
                  <a:lnTo>
                    <a:pt x="968" y="811"/>
                  </a:lnTo>
                  <a:lnTo>
                    <a:pt x="968" y="811"/>
                  </a:lnTo>
                  <a:lnTo>
                    <a:pt x="968" y="811"/>
                  </a:lnTo>
                  <a:lnTo>
                    <a:pt x="968" y="811"/>
                  </a:lnTo>
                  <a:lnTo>
                    <a:pt x="970" y="809"/>
                  </a:lnTo>
                  <a:lnTo>
                    <a:pt x="970" y="809"/>
                  </a:lnTo>
                  <a:lnTo>
                    <a:pt x="970" y="809"/>
                  </a:lnTo>
                  <a:lnTo>
                    <a:pt x="970" y="809"/>
                  </a:lnTo>
                  <a:lnTo>
                    <a:pt x="970" y="811"/>
                  </a:lnTo>
                  <a:lnTo>
                    <a:pt x="970" y="811"/>
                  </a:lnTo>
                  <a:lnTo>
                    <a:pt x="970" y="811"/>
                  </a:lnTo>
                  <a:lnTo>
                    <a:pt x="973" y="811"/>
                  </a:lnTo>
                  <a:lnTo>
                    <a:pt x="973" y="811"/>
                  </a:lnTo>
                  <a:lnTo>
                    <a:pt x="970" y="809"/>
                  </a:lnTo>
                  <a:lnTo>
                    <a:pt x="970" y="809"/>
                  </a:lnTo>
                  <a:lnTo>
                    <a:pt x="970" y="809"/>
                  </a:lnTo>
                  <a:lnTo>
                    <a:pt x="970" y="809"/>
                  </a:lnTo>
                  <a:lnTo>
                    <a:pt x="970" y="809"/>
                  </a:lnTo>
                  <a:lnTo>
                    <a:pt x="970" y="809"/>
                  </a:lnTo>
                  <a:lnTo>
                    <a:pt x="970" y="809"/>
                  </a:lnTo>
                  <a:lnTo>
                    <a:pt x="973" y="809"/>
                  </a:lnTo>
                  <a:lnTo>
                    <a:pt x="973" y="806"/>
                  </a:lnTo>
                  <a:lnTo>
                    <a:pt x="973" y="806"/>
                  </a:lnTo>
                  <a:lnTo>
                    <a:pt x="973" y="806"/>
                  </a:lnTo>
                  <a:lnTo>
                    <a:pt x="973" y="806"/>
                  </a:lnTo>
                  <a:lnTo>
                    <a:pt x="973" y="806"/>
                  </a:lnTo>
                  <a:lnTo>
                    <a:pt x="973" y="806"/>
                  </a:lnTo>
                  <a:lnTo>
                    <a:pt x="973" y="809"/>
                  </a:lnTo>
                  <a:lnTo>
                    <a:pt x="973" y="809"/>
                  </a:lnTo>
                  <a:lnTo>
                    <a:pt x="973" y="809"/>
                  </a:lnTo>
                  <a:lnTo>
                    <a:pt x="975" y="809"/>
                  </a:lnTo>
                  <a:lnTo>
                    <a:pt x="975" y="806"/>
                  </a:lnTo>
                  <a:lnTo>
                    <a:pt x="975" y="806"/>
                  </a:lnTo>
                  <a:lnTo>
                    <a:pt x="975" y="806"/>
                  </a:lnTo>
                  <a:lnTo>
                    <a:pt x="975" y="806"/>
                  </a:lnTo>
                  <a:lnTo>
                    <a:pt x="975" y="804"/>
                  </a:lnTo>
                  <a:lnTo>
                    <a:pt x="975" y="804"/>
                  </a:lnTo>
                  <a:lnTo>
                    <a:pt x="977" y="804"/>
                  </a:lnTo>
                  <a:lnTo>
                    <a:pt x="977" y="804"/>
                  </a:lnTo>
                  <a:lnTo>
                    <a:pt x="977" y="804"/>
                  </a:lnTo>
                  <a:lnTo>
                    <a:pt x="977" y="806"/>
                  </a:lnTo>
                  <a:lnTo>
                    <a:pt x="975" y="806"/>
                  </a:lnTo>
                  <a:lnTo>
                    <a:pt x="977" y="806"/>
                  </a:lnTo>
                  <a:lnTo>
                    <a:pt x="977" y="806"/>
                  </a:lnTo>
                  <a:lnTo>
                    <a:pt x="977" y="806"/>
                  </a:lnTo>
                  <a:lnTo>
                    <a:pt x="980" y="806"/>
                  </a:lnTo>
                  <a:lnTo>
                    <a:pt x="980" y="806"/>
                  </a:lnTo>
                  <a:lnTo>
                    <a:pt x="980" y="806"/>
                  </a:lnTo>
                  <a:lnTo>
                    <a:pt x="980" y="806"/>
                  </a:lnTo>
                  <a:lnTo>
                    <a:pt x="982" y="806"/>
                  </a:lnTo>
                  <a:lnTo>
                    <a:pt x="982" y="806"/>
                  </a:lnTo>
                  <a:lnTo>
                    <a:pt x="982" y="806"/>
                  </a:lnTo>
                  <a:lnTo>
                    <a:pt x="982" y="806"/>
                  </a:lnTo>
                  <a:lnTo>
                    <a:pt x="982" y="806"/>
                  </a:lnTo>
                  <a:lnTo>
                    <a:pt x="984" y="806"/>
                  </a:lnTo>
                  <a:lnTo>
                    <a:pt x="984" y="806"/>
                  </a:lnTo>
                  <a:lnTo>
                    <a:pt x="984" y="806"/>
                  </a:lnTo>
                  <a:lnTo>
                    <a:pt x="984" y="806"/>
                  </a:lnTo>
                  <a:lnTo>
                    <a:pt x="984" y="806"/>
                  </a:lnTo>
                  <a:lnTo>
                    <a:pt x="987" y="806"/>
                  </a:lnTo>
                  <a:lnTo>
                    <a:pt x="984" y="804"/>
                  </a:lnTo>
                  <a:lnTo>
                    <a:pt x="984" y="804"/>
                  </a:lnTo>
                  <a:lnTo>
                    <a:pt x="982" y="804"/>
                  </a:lnTo>
                  <a:lnTo>
                    <a:pt x="982" y="804"/>
                  </a:lnTo>
                  <a:lnTo>
                    <a:pt x="980" y="806"/>
                  </a:lnTo>
                  <a:lnTo>
                    <a:pt x="980" y="806"/>
                  </a:lnTo>
                  <a:lnTo>
                    <a:pt x="977" y="804"/>
                  </a:lnTo>
                  <a:lnTo>
                    <a:pt x="980" y="804"/>
                  </a:lnTo>
                  <a:lnTo>
                    <a:pt x="980" y="804"/>
                  </a:lnTo>
                  <a:lnTo>
                    <a:pt x="980" y="802"/>
                  </a:lnTo>
                  <a:lnTo>
                    <a:pt x="977" y="802"/>
                  </a:lnTo>
                  <a:lnTo>
                    <a:pt x="977" y="802"/>
                  </a:lnTo>
                  <a:lnTo>
                    <a:pt x="977" y="802"/>
                  </a:lnTo>
                  <a:lnTo>
                    <a:pt x="977" y="802"/>
                  </a:lnTo>
                  <a:lnTo>
                    <a:pt x="977" y="802"/>
                  </a:lnTo>
                  <a:lnTo>
                    <a:pt x="977" y="802"/>
                  </a:lnTo>
                  <a:lnTo>
                    <a:pt x="977" y="802"/>
                  </a:lnTo>
                  <a:lnTo>
                    <a:pt x="980" y="802"/>
                  </a:lnTo>
                  <a:lnTo>
                    <a:pt x="980" y="802"/>
                  </a:lnTo>
                  <a:lnTo>
                    <a:pt x="980" y="802"/>
                  </a:lnTo>
                  <a:lnTo>
                    <a:pt x="980" y="802"/>
                  </a:lnTo>
                  <a:lnTo>
                    <a:pt x="980" y="802"/>
                  </a:lnTo>
                  <a:lnTo>
                    <a:pt x="982" y="802"/>
                  </a:lnTo>
                  <a:lnTo>
                    <a:pt x="982" y="802"/>
                  </a:lnTo>
                  <a:lnTo>
                    <a:pt x="984" y="802"/>
                  </a:lnTo>
                  <a:lnTo>
                    <a:pt x="984" y="802"/>
                  </a:lnTo>
                  <a:lnTo>
                    <a:pt x="984" y="802"/>
                  </a:lnTo>
                  <a:lnTo>
                    <a:pt x="984" y="799"/>
                  </a:lnTo>
                  <a:lnTo>
                    <a:pt x="982" y="799"/>
                  </a:lnTo>
                  <a:lnTo>
                    <a:pt x="982" y="799"/>
                  </a:lnTo>
                  <a:lnTo>
                    <a:pt x="982" y="797"/>
                  </a:lnTo>
                  <a:lnTo>
                    <a:pt x="982" y="797"/>
                  </a:lnTo>
                  <a:lnTo>
                    <a:pt x="982" y="797"/>
                  </a:lnTo>
                  <a:lnTo>
                    <a:pt x="980" y="797"/>
                  </a:lnTo>
                  <a:lnTo>
                    <a:pt x="980" y="797"/>
                  </a:lnTo>
                  <a:lnTo>
                    <a:pt x="980" y="797"/>
                  </a:lnTo>
                  <a:lnTo>
                    <a:pt x="980" y="797"/>
                  </a:lnTo>
                  <a:lnTo>
                    <a:pt x="980" y="797"/>
                  </a:lnTo>
                  <a:lnTo>
                    <a:pt x="980" y="797"/>
                  </a:lnTo>
                  <a:lnTo>
                    <a:pt x="980" y="797"/>
                  </a:lnTo>
                  <a:lnTo>
                    <a:pt x="980" y="794"/>
                  </a:lnTo>
                  <a:lnTo>
                    <a:pt x="980" y="794"/>
                  </a:lnTo>
                  <a:lnTo>
                    <a:pt x="977" y="794"/>
                  </a:lnTo>
                  <a:lnTo>
                    <a:pt x="975" y="794"/>
                  </a:lnTo>
                  <a:lnTo>
                    <a:pt x="975" y="797"/>
                  </a:lnTo>
                  <a:lnTo>
                    <a:pt x="975" y="797"/>
                  </a:lnTo>
                  <a:lnTo>
                    <a:pt x="975" y="797"/>
                  </a:lnTo>
                  <a:lnTo>
                    <a:pt x="975" y="797"/>
                  </a:lnTo>
                  <a:lnTo>
                    <a:pt x="975" y="799"/>
                  </a:lnTo>
                  <a:lnTo>
                    <a:pt x="973" y="797"/>
                  </a:lnTo>
                  <a:lnTo>
                    <a:pt x="973" y="794"/>
                  </a:lnTo>
                  <a:lnTo>
                    <a:pt x="973" y="794"/>
                  </a:lnTo>
                  <a:lnTo>
                    <a:pt x="975" y="794"/>
                  </a:lnTo>
                  <a:lnTo>
                    <a:pt x="977" y="794"/>
                  </a:lnTo>
                  <a:lnTo>
                    <a:pt x="977" y="794"/>
                  </a:lnTo>
                  <a:lnTo>
                    <a:pt x="977" y="794"/>
                  </a:lnTo>
                  <a:lnTo>
                    <a:pt x="980" y="792"/>
                  </a:lnTo>
                  <a:lnTo>
                    <a:pt x="980" y="792"/>
                  </a:lnTo>
                  <a:lnTo>
                    <a:pt x="980" y="792"/>
                  </a:lnTo>
                  <a:lnTo>
                    <a:pt x="982" y="792"/>
                  </a:lnTo>
                  <a:lnTo>
                    <a:pt x="982" y="792"/>
                  </a:lnTo>
                  <a:lnTo>
                    <a:pt x="982" y="790"/>
                  </a:lnTo>
                  <a:lnTo>
                    <a:pt x="982" y="790"/>
                  </a:lnTo>
                  <a:lnTo>
                    <a:pt x="984" y="790"/>
                  </a:lnTo>
                  <a:lnTo>
                    <a:pt x="987" y="790"/>
                  </a:lnTo>
                  <a:lnTo>
                    <a:pt x="987" y="790"/>
                  </a:lnTo>
                  <a:lnTo>
                    <a:pt x="987" y="790"/>
                  </a:lnTo>
                  <a:lnTo>
                    <a:pt x="989" y="792"/>
                  </a:lnTo>
                  <a:lnTo>
                    <a:pt x="989" y="792"/>
                  </a:lnTo>
                  <a:lnTo>
                    <a:pt x="989" y="792"/>
                  </a:lnTo>
                  <a:lnTo>
                    <a:pt x="989" y="792"/>
                  </a:lnTo>
                  <a:lnTo>
                    <a:pt x="989" y="792"/>
                  </a:lnTo>
                  <a:lnTo>
                    <a:pt x="992" y="794"/>
                  </a:lnTo>
                  <a:lnTo>
                    <a:pt x="992" y="794"/>
                  </a:lnTo>
                  <a:lnTo>
                    <a:pt x="994" y="792"/>
                  </a:lnTo>
                  <a:lnTo>
                    <a:pt x="994" y="792"/>
                  </a:lnTo>
                  <a:lnTo>
                    <a:pt x="992" y="792"/>
                  </a:lnTo>
                  <a:lnTo>
                    <a:pt x="992" y="792"/>
                  </a:lnTo>
                  <a:lnTo>
                    <a:pt x="992" y="792"/>
                  </a:lnTo>
                  <a:lnTo>
                    <a:pt x="994" y="792"/>
                  </a:lnTo>
                  <a:lnTo>
                    <a:pt x="994" y="792"/>
                  </a:lnTo>
                  <a:lnTo>
                    <a:pt x="996" y="792"/>
                  </a:lnTo>
                  <a:lnTo>
                    <a:pt x="996" y="797"/>
                  </a:lnTo>
                  <a:lnTo>
                    <a:pt x="999" y="797"/>
                  </a:lnTo>
                  <a:lnTo>
                    <a:pt x="999" y="797"/>
                  </a:lnTo>
                  <a:lnTo>
                    <a:pt x="999" y="797"/>
                  </a:lnTo>
                  <a:lnTo>
                    <a:pt x="1001" y="797"/>
                  </a:lnTo>
                  <a:lnTo>
                    <a:pt x="1001" y="797"/>
                  </a:lnTo>
                  <a:lnTo>
                    <a:pt x="1001" y="797"/>
                  </a:lnTo>
                  <a:lnTo>
                    <a:pt x="1001" y="794"/>
                  </a:lnTo>
                  <a:lnTo>
                    <a:pt x="1001" y="794"/>
                  </a:lnTo>
                  <a:lnTo>
                    <a:pt x="1001" y="794"/>
                  </a:lnTo>
                  <a:lnTo>
                    <a:pt x="1003" y="794"/>
                  </a:lnTo>
                  <a:lnTo>
                    <a:pt x="1003" y="794"/>
                  </a:lnTo>
                  <a:lnTo>
                    <a:pt x="1003" y="792"/>
                  </a:lnTo>
                  <a:lnTo>
                    <a:pt x="1001" y="792"/>
                  </a:lnTo>
                  <a:lnTo>
                    <a:pt x="999" y="792"/>
                  </a:lnTo>
                  <a:lnTo>
                    <a:pt x="996" y="792"/>
                  </a:lnTo>
                  <a:lnTo>
                    <a:pt x="994" y="790"/>
                  </a:lnTo>
                  <a:lnTo>
                    <a:pt x="994" y="790"/>
                  </a:lnTo>
                  <a:lnTo>
                    <a:pt x="996" y="790"/>
                  </a:lnTo>
                  <a:lnTo>
                    <a:pt x="996" y="790"/>
                  </a:lnTo>
                  <a:lnTo>
                    <a:pt x="996" y="790"/>
                  </a:lnTo>
                  <a:lnTo>
                    <a:pt x="996" y="790"/>
                  </a:lnTo>
                  <a:lnTo>
                    <a:pt x="999" y="790"/>
                  </a:lnTo>
                  <a:lnTo>
                    <a:pt x="999" y="790"/>
                  </a:lnTo>
                  <a:lnTo>
                    <a:pt x="999" y="790"/>
                  </a:lnTo>
                  <a:lnTo>
                    <a:pt x="999" y="790"/>
                  </a:lnTo>
                  <a:lnTo>
                    <a:pt x="999" y="790"/>
                  </a:lnTo>
                  <a:lnTo>
                    <a:pt x="1001" y="790"/>
                  </a:lnTo>
                  <a:lnTo>
                    <a:pt x="1001" y="790"/>
                  </a:lnTo>
                  <a:lnTo>
                    <a:pt x="1003" y="787"/>
                  </a:lnTo>
                  <a:lnTo>
                    <a:pt x="1003" y="787"/>
                  </a:lnTo>
                  <a:lnTo>
                    <a:pt x="1003" y="787"/>
                  </a:lnTo>
                  <a:lnTo>
                    <a:pt x="1006" y="790"/>
                  </a:lnTo>
                  <a:lnTo>
                    <a:pt x="1006" y="790"/>
                  </a:lnTo>
                  <a:lnTo>
                    <a:pt x="1006" y="790"/>
                  </a:lnTo>
                  <a:lnTo>
                    <a:pt x="1008" y="790"/>
                  </a:lnTo>
                  <a:lnTo>
                    <a:pt x="1008" y="790"/>
                  </a:lnTo>
                  <a:lnTo>
                    <a:pt x="1008" y="790"/>
                  </a:lnTo>
                  <a:lnTo>
                    <a:pt x="1008" y="792"/>
                  </a:lnTo>
                  <a:lnTo>
                    <a:pt x="1008" y="792"/>
                  </a:lnTo>
                  <a:lnTo>
                    <a:pt x="1008" y="794"/>
                  </a:lnTo>
                  <a:lnTo>
                    <a:pt x="1010" y="794"/>
                  </a:lnTo>
                  <a:lnTo>
                    <a:pt x="1010" y="794"/>
                  </a:lnTo>
                  <a:lnTo>
                    <a:pt x="1013" y="794"/>
                  </a:lnTo>
                  <a:lnTo>
                    <a:pt x="1013" y="797"/>
                  </a:lnTo>
                  <a:lnTo>
                    <a:pt x="1015" y="797"/>
                  </a:lnTo>
                  <a:lnTo>
                    <a:pt x="1015" y="797"/>
                  </a:lnTo>
                  <a:lnTo>
                    <a:pt x="1015" y="797"/>
                  </a:lnTo>
                  <a:lnTo>
                    <a:pt x="1015" y="797"/>
                  </a:lnTo>
                  <a:lnTo>
                    <a:pt x="1015" y="794"/>
                  </a:lnTo>
                  <a:lnTo>
                    <a:pt x="1015" y="794"/>
                  </a:lnTo>
                  <a:lnTo>
                    <a:pt x="1015" y="794"/>
                  </a:lnTo>
                  <a:lnTo>
                    <a:pt x="1015" y="794"/>
                  </a:lnTo>
                  <a:lnTo>
                    <a:pt x="1015" y="792"/>
                  </a:lnTo>
                  <a:lnTo>
                    <a:pt x="1013" y="792"/>
                  </a:lnTo>
                  <a:lnTo>
                    <a:pt x="1015" y="792"/>
                  </a:lnTo>
                  <a:lnTo>
                    <a:pt x="1013" y="792"/>
                  </a:lnTo>
                  <a:lnTo>
                    <a:pt x="1013" y="790"/>
                  </a:lnTo>
                  <a:lnTo>
                    <a:pt x="1013" y="790"/>
                  </a:lnTo>
                  <a:lnTo>
                    <a:pt x="1013" y="790"/>
                  </a:lnTo>
                  <a:lnTo>
                    <a:pt x="1013" y="790"/>
                  </a:lnTo>
                  <a:lnTo>
                    <a:pt x="1015" y="790"/>
                  </a:lnTo>
                  <a:lnTo>
                    <a:pt x="1015" y="790"/>
                  </a:lnTo>
                  <a:lnTo>
                    <a:pt x="1015" y="790"/>
                  </a:lnTo>
                  <a:lnTo>
                    <a:pt x="1018" y="790"/>
                  </a:lnTo>
                  <a:lnTo>
                    <a:pt x="1018" y="790"/>
                  </a:lnTo>
                  <a:lnTo>
                    <a:pt x="1018" y="790"/>
                  </a:lnTo>
                  <a:lnTo>
                    <a:pt x="1020" y="790"/>
                  </a:lnTo>
                  <a:lnTo>
                    <a:pt x="1020" y="790"/>
                  </a:lnTo>
                  <a:lnTo>
                    <a:pt x="1020" y="790"/>
                  </a:lnTo>
                  <a:lnTo>
                    <a:pt x="1020" y="790"/>
                  </a:lnTo>
                  <a:lnTo>
                    <a:pt x="1020" y="790"/>
                  </a:lnTo>
                  <a:lnTo>
                    <a:pt x="1020" y="790"/>
                  </a:lnTo>
                  <a:lnTo>
                    <a:pt x="1020" y="790"/>
                  </a:lnTo>
                  <a:lnTo>
                    <a:pt x="1020" y="790"/>
                  </a:lnTo>
                  <a:lnTo>
                    <a:pt x="1020" y="790"/>
                  </a:lnTo>
                  <a:lnTo>
                    <a:pt x="1020" y="790"/>
                  </a:lnTo>
                  <a:lnTo>
                    <a:pt x="1020" y="790"/>
                  </a:lnTo>
                  <a:lnTo>
                    <a:pt x="1020" y="790"/>
                  </a:lnTo>
                  <a:lnTo>
                    <a:pt x="1020" y="787"/>
                  </a:lnTo>
                  <a:lnTo>
                    <a:pt x="1020" y="787"/>
                  </a:lnTo>
                  <a:lnTo>
                    <a:pt x="1020" y="787"/>
                  </a:lnTo>
                  <a:lnTo>
                    <a:pt x="1020" y="787"/>
                  </a:lnTo>
                  <a:lnTo>
                    <a:pt x="1020" y="787"/>
                  </a:lnTo>
                  <a:lnTo>
                    <a:pt x="1020" y="785"/>
                  </a:lnTo>
                  <a:lnTo>
                    <a:pt x="1022" y="785"/>
                  </a:lnTo>
                  <a:lnTo>
                    <a:pt x="1022" y="785"/>
                  </a:lnTo>
                  <a:lnTo>
                    <a:pt x="1022" y="785"/>
                  </a:lnTo>
                  <a:lnTo>
                    <a:pt x="1025" y="785"/>
                  </a:lnTo>
                  <a:lnTo>
                    <a:pt x="1025" y="787"/>
                  </a:lnTo>
                  <a:lnTo>
                    <a:pt x="1025" y="790"/>
                  </a:lnTo>
                  <a:lnTo>
                    <a:pt x="1025" y="790"/>
                  </a:lnTo>
                  <a:lnTo>
                    <a:pt x="1025" y="792"/>
                  </a:lnTo>
                  <a:lnTo>
                    <a:pt x="1027" y="792"/>
                  </a:lnTo>
                  <a:lnTo>
                    <a:pt x="1027" y="794"/>
                  </a:lnTo>
                  <a:lnTo>
                    <a:pt x="1027" y="792"/>
                  </a:lnTo>
                  <a:lnTo>
                    <a:pt x="1029" y="792"/>
                  </a:lnTo>
                  <a:lnTo>
                    <a:pt x="1029" y="792"/>
                  </a:lnTo>
                  <a:lnTo>
                    <a:pt x="1029" y="790"/>
                  </a:lnTo>
                  <a:lnTo>
                    <a:pt x="1029" y="790"/>
                  </a:lnTo>
                  <a:lnTo>
                    <a:pt x="1029" y="790"/>
                  </a:lnTo>
                  <a:lnTo>
                    <a:pt x="1029" y="792"/>
                  </a:lnTo>
                  <a:lnTo>
                    <a:pt x="1029" y="792"/>
                  </a:lnTo>
                  <a:lnTo>
                    <a:pt x="1032" y="792"/>
                  </a:lnTo>
                  <a:lnTo>
                    <a:pt x="1034" y="790"/>
                  </a:lnTo>
                  <a:lnTo>
                    <a:pt x="1034" y="790"/>
                  </a:lnTo>
                  <a:lnTo>
                    <a:pt x="1034" y="790"/>
                  </a:lnTo>
                  <a:lnTo>
                    <a:pt x="1037" y="790"/>
                  </a:lnTo>
                  <a:lnTo>
                    <a:pt x="1037" y="790"/>
                  </a:lnTo>
                  <a:lnTo>
                    <a:pt x="1037" y="790"/>
                  </a:lnTo>
                  <a:lnTo>
                    <a:pt x="1037" y="790"/>
                  </a:lnTo>
                  <a:lnTo>
                    <a:pt x="1037" y="790"/>
                  </a:lnTo>
                  <a:lnTo>
                    <a:pt x="1037" y="790"/>
                  </a:lnTo>
                  <a:lnTo>
                    <a:pt x="1039" y="790"/>
                  </a:lnTo>
                  <a:lnTo>
                    <a:pt x="1039" y="787"/>
                  </a:lnTo>
                  <a:lnTo>
                    <a:pt x="1039" y="787"/>
                  </a:lnTo>
                  <a:lnTo>
                    <a:pt x="1039" y="787"/>
                  </a:lnTo>
                  <a:lnTo>
                    <a:pt x="1039" y="787"/>
                  </a:lnTo>
                  <a:lnTo>
                    <a:pt x="1039" y="787"/>
                  </a:lnTo>
                  <a:lnTo>
                    <a:pt x="1039" y="790"/>
                  </a:lnTo>
                  <a:lnTo>
                    <a:pt x="1039" y="790"/>
                  </a:lnTo>
                  <a:lnTo>
                    <a:pt x="1039" y="792"/>
                  </a:lnTo>
                  <a:lnTo>
                    <a:pt x="1039" y="792"/>
                  </a:lnTo>
                  <a:lnTo>
                    <a:pt x="1041" y="792"/>
                  </a:lnTo>
                  <a:lnTo>
                    <a:pt x="1041" y="792"/>
                  </a:lnTo>
                  <a:lnTo>
                    <a:pt x="1041" y="792"/>
                  </a:lnTo>
                  <a:lnTo>
                    <a:pt x="1041" y="792"/>
                  </a:lnTo>
                  <a:lnTo>
                    <a:pt x="1044" y="790"/>
                  </a:lnTo>
                  <a:lnTo>
                    <a:pt x="1044" y="790"/>
                  </a:lnTo>
                  <a:lnTo>
                    <a:pt x="1044" y="790"/>
                  </a:lnTo>
                  <a:lnTo>
                    <a:pt x="1044" y="790"/>
                  </a:lnTo>
                  <a:lnTo>
                    <a:pt x="1044" y="790"/>
                  </a:lnTo>
                  <a:lnTo>
                    <a:pt x="1044" y="790"/>
                  </a:lnTo>
                  <a:lnTo>
                    <a:pt x="1044" y="787"/>
                  </a:lnTo>
                  <a:lnTo>
                    <a:pt x="1044" y="787"/>
                  </a:lnTo>
                  <a:lnTo>
                    <a:pt x="1044" y="787"/>
                  </a:lnTo>
                  <a:lnTo>
                    <a:pt x="1044" y="787"/>
                  </a:lnTo>
                  <a:lnTo>
                    <a:pt x="1044" y="787"/>
                  </a:lnTo>
                  <a:lnTo>
                    <a:pt x="1046" y="787"/>
                  </a:lnTo>
                  <a:lnTo>
                    <a:pt x="1046" y="785"/>
                  </a:lnTo>
                  <a:lnTo>
                    <a:pt x="1046" y="785"/>
                  </a:lnTo>
                  <a:lnTo>
                    <a:pt x="1046" y="787"/>
                  </a:lnTo>
                  <a:lnTo>
                    <a:pt x="1046" y="787"/>
                  </a:lnTo>
                  <a:lnTo>
                    <a:pt x="1046" y="787"/>
                  </a:lnTo>
                  <a:lnTo>
                    <a:pt x="1046" y="787"/>
                  </a:lnTo>
                  <a:lnTo>
                    <a:pt x="1046" y="790"/>
                  </a:lnTo>
                  <a:lnTo>
                    <a:pt x="1046" y="790"/>
                  </a:lnTo>
                  <a:lnTo>
                    <a:pt x="1046" y="790"/>
                  </a:lnTo>
                  <a:lnTo>
                    <a:pt x="1046" y="790"/>
                  </a:lnTo>
                  <a:lnTo>
                    <a:pt x="1048" y="790"/>
                  </a:lnTo>
                  <a:lnTo>
                    <a:pt x="1048" y="792"/>
                  </a:lnTo>
                  <a:lnTo>
                    <a:pt x="1051" y="792"/>
                  </a:lnTo>
                  <a:lnTo>
                    <a:pt x="1051" y="792"/>
                  </a:lnTo>
                  <a:lnTo>
                    <a:pt x="1048" y="787"/>
                  </a:lnTo>
                  <a:lnTo>
                    <a:pt x="1051" y="787"/>
                  </a:lnTo>
                  <a:lnTo>
                    <a:pt x="1051" y="787"/>
                  </a:lnTo>
                  <a:lnTo>
                    <a:pt x="1051" y="787"/>
                  </a:lnTo>
                  <a:lnTo>
                    <a:pt x="1051" y="790"/>
                  </a:lnTo>
                  <a:lnTo>
                    <a:pt x="1051" y="790"/>
                  </a:lnTo>
                  <a:lnTo>
                    <a:pt x="1051" y="790"/>
                  </a:lnTo>
                  <a:lnTo>
                    <a:pt x="1051" y="790"/>
                  </a:lnTo>
                  <a:lnTo>
                    <a:pt x="1053" y="790"/>
                  </a:lnTo>
                  <a:lnTo>
                    <a:pt x="1053" y="790"/>
                  </a:lnTo>
                  <a:lnTo>
                    <a:pt x="1053" y="790"/>
                  </a:lnTo>
                  <a:lnTo>
                    <a:pt x="1053" y="787"/>
                  </a:lnTo>
                  <a:lnTo>
                    <a:pt x="1055" y="787"/>
                  </a:lnTo>
                  <a:lnTo>
                    <a:pt x="1055" y="787"/>
                  </a:lnTo>
                  <a:lnTo>
                    <a:pt x="1055" y="790"/>
                  </a:lnTo>
                  <a:lnTo>
                    <a:pt x="1055" y="790"/>
                  </a:lnTo>
                  <a:lnTo>
                    <a:pt x="1055" y="790"/>
                  </a:lnTo>
                  <a:lnTo>
                    <a:pt x="1055" y="787"/>
                  </a:lnTo>
                  <a:lnTo>
                    <a:pt x="1055" y="787"/>
                  </a:lnTo>
                  <a:lnTo>
                    <a:pt x="1055" y="787"/>
                  </a:lnTo>
                  <a:lnTo>
                    <a:pt x="1058" y="787"/>
                  </a:lnTo>
                  <a:lnTo>
                    <a:pt x="1060" y="787"/>
                  </a:lnTo>
                  <a:lnTo>
                    <a:pt x="1060" y="787"/>
                  </a:lnTo>
                  <a:lnTo>
                    <a:pt x="1060" y="787"/>
                  </a:lnTo>
                  <a:lnTo>
                    <a:pt x="1060" y="787"/>
                  </a:lnTo>
                  <a:lnTo>
                    <a:pt x="1060" y="785"/>
                  </a:lnTo>
                  <a:lnTo>
                    <a:pt x="1060" y="785"/>
                  </a:lnTo>
                  <a:lnTo>
                    <a:pt x="1060" y="785"/>
                  </a:lnTo>
                  <a:lnTo>
                    <a:pt x="1060" y="785"/>
                  </a:lnTo>
                  <a:lnTo>
                    <a:pt x="1060" y="785"/>
                  </a:lnTo>
                  <a:lnTo>
                    <a:pt x="1060" y="783"/>
                  </a:lnTo>
                  <a:lnTo>
                    <a:pt x="1060" y="783"/>
                  </a:lnTo>
                  <a:lnTo>
                    <a:pt x="1060" y="783"/>
                  </a:lnTo>
                  <a:lnTo>
                    <a:pt x="1060" y="783"/>
                  </a:lnTo>
                  <a:lnTo>
                    <a:pt x="1063" y="783"/>
                  </a:lnTo>
                  <a:lnTo>
                    <a:pt x="1063" y="783"/>
                  </a:lnTo>
                  <a:lnTo>
                    <a:pt x="1063" y="780"/>
                  </a:lnTo>
                  <a:lnTo>
                    <a:pt x="1063" y="783"/>
                  </a:lnTo>
                  <a:lnTo>
                    <a:pt x="1063" y="783"/>
                  </a:lnTo>
                  <a:lnTo>
                    <a:pt x="1063" y="783"/>
                  </a:lnTo>
                  <a:lnTo>
                    <a:pt x="1063" y="783"/>
                  </a:lnTo>
                  <a:lnTo>
                    <a:pt x="1065" y="780"/>
                  </a:lnTo>
                  <a:lnTo>
                    <a:pt x="1065" y="780"/>
                  </a:lnTo>
                  <a:lnTo>
                    <a:pt x="1065" y="780"/>
                  </a:lnTo>
                  <a:lnTo>
                    <a:pt x="1065" y="780"/>
                  </a:lnTo>
                  <a:lnTo>
                    <a:pt x="1063" y="778"/>
                  </a:lnTo>
                  <a:lnTo>
                    <a:pt x="1058" y="778"/>
                  </a:lnTo>
                  <a:lnTo>
                    <a:pt x="1058" y="778"/>
                  </a:lnTo>
                  <a:lnTo>
                    <a:pt x="1058" y="778"/>
                  </a:lnTo>
                  <a:lnTo>
                    <a:pt x="1060" y="775"/>
                  </a:lnTo>
                  <a:lnTo>
                    <a:pt x="1060" y="775"/>
                  </a:lnTo>
                  <a:lnTo>
                    <a:pt x="1060" y="775"/>
                  </a:lnTo>
                  <a:lnTo>
                    <a:pt x="1063" y="775"/>
                  </a:lnTo>
                  <a:lnTo>
                    <a:pt x="1067" y="775"/>
                  </a:lnTo>
                  <a:lnTo>
                    <a:pt x="1070" y="775"/>
                  </a:lnTo>
                  <a:lnTo>
                    <a:pt x="1070" y="775"/>
                  </a:lnTo>
                  <a:lnTo>
                    <a:pt x="1072" y="775"/>
                  </a:lnTo>
                  <a:lnTo>
                    <a:pt x="1072" y="775"/>
                  </a:lnTo>
                  <a:lnTo>
                    <a:pt x="1072" y="773"/>
                  </a:lnTo>
                  <a:lnTo>
                    <a:pt x="1072" y="773"/>
                  </a:lnTo>
                  <a:lnTo>
                    <a:pt x="1072" y="773"/>
                  </a:lnTo>
                  <a:lnTo>
                    <a:pt x="1074" y="773"/>
                  </a:lnTo>
                  <a:lnTo>
                    <a:pt x="1074" y="775"/>
                  </a:lnTo>
                  <a:lnTo>
                    <a:pt x="1074" y="778"/>
                  </a:lnTo>
                  <a:lnTo>
                    <a:pt x="1077" y="778"/>
                  </a:lnTo>
                  <a:lnTo>
                    <a:pt x="1077" y="778"/>
                  </a:lnTo>
                  <a:lnTo>
                    <a:pt x="1077" y="775"/>
                  </a:lnTo>
                  <a:lnTo>
                    <a:pt x="1077" y="775"/>
                  </a:lnTo>
                  <a:lnTo>
                    <a:pt x="1079" y="775"/>
                  </a:lnTo>
                  <a:lnTo>
                    <a:pt x="1079" y="773"/>
                  </a:lnTo>
                  <a:lnTo>
                    <a:pt x="1077" y="773"/>
                  </a:lnTo>
                  <a:lnTo>
                    <a:pt x="1077" y="773"/>
                  </a:lnTo>
                  <a:lnTo>
                    <a:pt x="1077" y="773"/>
                  </a:lnTo>
                  <a:lnTo>
                    <a:pt x="1079" y="773"/>
                  </a:lnTo>
                  <a:lnTo>
                    <a:pt x="1079" y="773"/>
                  </a:lnTo>
                  <a:lnTo>
                    <a:pt x="1079" y="773"/>
                  </a:lnTo>
                  <a:lnTo>
                    <a:pt x="1079" y="771"/>
                  </a:lnTo>
                  <a:lnTo>
                    <a:pt x="1081" y="771"/>
                  </a:lnTo>
                  <a:lnTo>
                    <a:pt x="1081" y="773"/>
                  </a:lnTo>
                  <a:lnTo>
                    <a:pt x="1081" y="775"/>
                  </a:lnTo>
                  <a:lnTo>
                    <a:pt x="1081" y="775"/>
                  </a:lnTo>
                  <a:lnTo>
                    <a:pt x="1084" y="775"/>
                  </a:lnTo>
                  <a:lnTo>
                    <a:pt x="1084" y="773"/>
                  </a:lnTo>
                  <a:lnTo>
                    <a:pt x="1084" y="775"/>
                  </a:lnTo>
                  <a:lnTo>
                    <a:pt x="1084" y="775"/>
                  </a:lnTo>
                  <a:lnTo>
                    <a:pt x="1086" y="773"/>
                  </a:lnTo>
                  <a:lnTo>
                    <a:pt x="1086" y="773"/>
                  </a:lnTo>
                  <a:lnTo>
                    <a:pt x="1086" y="775"/>
                  </a:lnTo>
                  <a:lnTo>
                    <a:pt x="1086" y="775"/>
                  </a:lnTo>
                  <a:lnTo>
                    <a:pt x="1086" y="775"/>
                  </a:lnTo>
                  <a:lnTo>
                    <a:pt x="1086" y="775"/>
                  </a:lnTo>
                  <a:lnTo>
                    <a:pt x="1086" y="775"/>
                  </a:lnTo>
                  <a:lnTo>
                    <a:pt x="1089" y="778"/>
                  </a:lnTo>
                  <a:lnTo>
                    <a:pt x="1089" y="775"/>
                  </a:lnTo>
                  <a:lnTo>
                    <a:pt x="1089" y="775"/>
                  </a:lnTo>
                  <a:lnTo>
                    <a:pt x="1089" y="775"/>
                  </a:lnTo>
                  <a:lnTo>
                    <a:pt x="1089" y="773"/>
                  </a:lnTo>
                  <a:lnTo>
                    <a:pt x="1089" y="773"/>
                  </a:lnTo>
                  <a:lnTo>
                    <a:pt x="1089" y="773"/>
                  </a:lnTo>
                  <a:lnTo>
                    <a:pt x="1089" y="773"/>
                  </a:lnTo>
                  <a:lnTo>
                    <a:pt x="1089" y="773"/>
                  </a:lnTo>
                  <a:lnTo>
                    <a:pt x="1089" y="773"/>
                  </a:lnTo>
                  <a:lnTo>
                    <a:pt x="1089" y="771"/>
                  </a:lnTo>
                  <a:lnTo>
                    <a:pt x="1089" y="771"/>
                  </a:lnTo>
                  <a:lnTo>
                    <a:pt x="1091" y="773"/>
                  </a:lnTo>
                  <a:lnTo>
                    <a:pt x="1093" y="773"/>
                  </a:lnTo>
                  <a:lnTo>
                    <a:pt x="1096" y="773"/>
                  </a:lnTo>
                  <a:lnTo>
                    <a:pt x="1096" y="773"/>
                  </a:lnTo>
                  <a:lnTo>
                    <a:pt x="1096" y="771"/>
                  </a:lnTo>
                  <a:lnTo>
                    <a:pt x="1096" y="768"/>
                  </a:lnTo>
                  <a:lnTo>
                    <a:pt x="1096" y="768"/>
                  </a:lnTo>
                  <a:lnTo>
                    <a:pt x="1096" y="768"/>
                  </a:lnTo>
                  <a:lnTo>
                    <a:pt x="1098" y="766"/>
                  </a:lnTo>
                  <a:lnTo>
                    <a:pt x="1098" y="766"/>
                  </a:lnTo>
                  <a:lnTo>
                    <a:pt x="1098" y="766"/>
                  </a:lnTo>
                  <a:lnTo>
                    <a:pt x="1098" y="768"/>
                  </a:lnTo>
                  <a:lnTo>
                    <a:pt x="1100" y="768"/>
                  </a:lnTo>
                  <a:lnTo>
                    <a:pt x="1100" y="768"/>
                  </a:lnTo>
                  <a:lnTo>
                    <a:pt x="1100" y="771"/>
                  </a:lnTo>
                  <a:lnTo>
                    <a:pt x="1100" y="771"/>
                  </a:lnTo>
                  <a:lnTo>
                    <a:pt x="1100" y="773"/>
                  </a:lnTo>
                  <a:lnTo>
                    <a:pt x="1103" y="773"/>
                  </a:lnTo>
                  <a:lnTo>
                    <a:pt x="1103" y="773"/>
                  </a:lnTo>
                  <a:lnTo>
                    <a:pt x="1103" y="773"/>
                  </a:lnTo>
                  <a:lnTo>
                    <a:pt x="1103" y="773"/>
                  </a:lnTo>
                  <a:lnTo>
                    <a:pt x="1103" y="773"/>
                  </a:lnTo>
                  <a:lnTo>
                    <a:pt x="1105" y="773"/>
                  </a:lnTo>
                  <a:lnTo>
                    <a:pt x="1105" y="773"/>
                  </a:lnTo>
                  <a:lnTo>
                    <a:pt x="1105" y="771"/>
                  </a:lnTo>
                  <a:lnTo>
                    <a:pt x="1105" y="771"/>
                  </a:lnTo>
                  <a:lnTo>
                    <a:pt x="1105" y="771"/>
                  </a:lnTo>
                  <a:lnTo>
                    <a:pt x="1105" y="771"/>
                  </a:lnTo>
                  <a:lnTo>
                    <a:pt x="1105" y="771"/>
                  </a:lnTo>
                  <a:lnTo>
                    <a:pt x="1105" y="771"/>
                  </a:lnTo>
                  <a:lnTo>
                    <a:pt x="1105" y="768"/>
                  </a:lnTo>
                  <a:lnTo>
                    <a:pt x="1105" y="768"/>
                  </a:lnTo>
                  <a:lnTo>
                    <a:pt x="1108" y="768"/>
                  </a:lnTo>
                  <a:lnTo>
                    <a:pt x="1108" y="768"/>
                  </a:lnTo>
                  <a:lnTo>
                    <a:pt x="1108" y="768"/>
                  </a:lnTo>
                  <a:lnTo>
                    <a:pt x="1110" y="771"/>
                  </a:lnTo>
                  <a:lnTo>
                    <a:pt x="1110" y="771"/>
                  </a:lnTo>
                  <a:lnTo>
                    <a:pt x="1110" y="768"/>
                  </a:lnTo>
                  <a:lnTo>
                    <a:pt x="1110" y="768"/>
                  </a:lnTo>
                  <a:lnTo>
                    <a:pt x="1110" y="768"/>
                  </a:lnTo>
                  <a:lnTo>
                    <a:pt x="1112" y="768"/>
                  </a:lnTo>
                  <a:lnTo>
                    <a:pt x="1115" y="771"/>
                  </a:lnTo>
                  <a:lnTo>
                    <a:pt x="1115" y="768"/>
                  </a:lnTo>
                  <a:lnTo>
                    <a:pt x="1115" y="768"/>
                  </a:lnTo>
                  <a:lnTo>
                    <a:pt x="1115" y="766"/>
                  </a:lnTo>
                  <a:lnTo>
                    <a:pt x="1117" y="766"/>
                  </a:lnTo>
                  <a:lnTo>
                    <a:pt x="1117" y="766"/>
                  </a:lnTo>
                  <a:lnTo>
                    <a:pt x="1117" y="766"/>
                  </a:lnTo>
                  <a:lnTo>
                    <a:pt x="1119" y="764"/>
                  </a:lnTo>
                  <a:lnTo>
                    <a:pt x="1119" y="764"/>
                  </a:lnTo>
                  <a:lnTo>
                    <a:pt x="1119" y="764"/>
                  </a:lnTo>
                  <a:lnTo>
                    <a:pt x="1122" y="764"/>
                  </a:lnTo>
                  <a:lnTo>
                    <a:pt x="1124" y="766"/>
                  </a:lnTo>
                  <a:lnTo>
                    <a:pt x="1124" y="766"/>
                  </a:lnTo>
                  <a:lnTo>
                    <a:pt x="1124" y="768"/>
                  </a:lnTo>
                  <a:lnTo>
                    <a:pt x="1126" y="768"/>
                  </a:lnTo>
                  <a:lnTo>
                    <a:pt x="1126" y="768"/>
                  </a:lnTo>
                  <a:lnTo>
                    <a:pt x="1126" y="768"/>
                  </a:lnTo>
                  <a:lnTo>
                    <a:pt x="1126" y="768"/>
                  </a:lnTo>
                  <a:lnTo>
                    <a:pt x="1126" y="768"/>
                  </a:lnTo>
                  <a:lnTo>
                    <a:pt x="1126" y="768"/>
                  </a:lnTo>
                  <a:lnTo>
                    <a:pt x="1129" y="766"/>
                  </a:lnTo>
                  <a:lnTo>
                    <a:pt x="1129" y="766"/>
                  </a:lnTo>
                  <a:lnTo>
                    <a:pt x="1129" y="766"/>
                  </a:lnTo>
                  <a:lnTo>
                    <a:pt x="1131" y="766"/>
                  </a:lnTo>
                  <a:lnTo>
                    <a:pt x="1131" y="766"/>
                  </a:lnTo>
                  <a:lnTo>
                    <a:pt x="1131" y="766"/>
                  </a:lnTo>
                  <a:lnTo>
                    <a:pt x="1131" y="768"/>
                  </a:lnTo>
                  <a:lnTo>
                    <a:pt x="1131" y="768"/>
                  </a:lnTo>
                  <a:lnTo>
                    <a:pt x="1131" y="768"/>
                  </a:lnTo>
                  <a:lnTo>
                    <a:pt x="1131" y="768"/>
                  </a:lnTo>
                  <a:lnTo>
                    <a:pt x="1131" y="771"/>
                  </a:lnTo>
                  <a:lnTo>
                    <a:pt x="1134" y="771"/>
                  </a:lnTo>
                  <a:lnTo>
                    <a:pt x="1134" y="768"/>
                  </a:lnTo>
                  <a:lnTo>
                    <a:pt x="1134" y="768"/>
                  </a:lnTo>
                  <a:lnTo>
                    <a:pt x="1134" y="768"/>
                  </a:lnTo>
                  <a:lnTo>
                    <a:pt x="1134" y="768"/>
                  </a:lnTo>
                  <a:lnTo>
                    <a:pt x="1134" y="766"/>
                  </a:lnTo>
                  <a:lnTo>
                    <a:pt x="1134" y="764"/>
                  </a:lnTo>
                  <a:lnTo>
                    <a:pt x="1134" y="766"/>
                  </a:lnTo>
                  <a:lnTo>
                    <a:pt x="1136" y="768"/>
                  </a:lnTo>
                  <a:lnTo>
                    <a:pt x="1136" y="768"/>
                  </a:lnTo>
                  <a:lnTo>
                    <a:pt x="1138" y="766"/>
                  </a:lnTo>
                  <a:lnTo>
                    <a:pt x="1138" y="766"/>
                  </a:lnTo>
                  <a:lnTo>
                    <a:pt x="1138" y="761"/>
                  </a:lnTo>
                  <a:lnTo>
                    <a:pt x="1138" y="764"/>
                  </a:lnTo>
                  <a:lnTo>
                    <a:pt x="1141" y="764"/>
                  </a:lnTo>
                  <a:lnTo>
                    <a:pt x="1141" y="764"/>
                  </a:lnTo>
                  <a:lnTo>
                    <a:pt x="1138" y="764"/>
                  </a:lnTo>
                  <a:lnTo>
                    <a:pt x="1138" y="766"/>
                  </a:lnTo>
                  <a:lnTo>
                    <a:pt x="1138" y="766"/>
                  </a:lnTo>
                  <a:lnTo>
                    <a:pt x="1138" y="766"/>
                  </a:lnTo>
                  <a:lnTo>
                    <a:pt x="1138" y="766"/>
                  </a:lnTo>
                  <a:lnTo>
                    <a:pt x="1138" y="768"/>
                  </a:lnTo>
                  <a:lnTo>
                    <a:pt x="1141" y="768"/>
                  </a:lnTo>
                  <a:lnTo>
                    <a:pt x="1138" y="771"/>
                  </a:lnTo>
                  <a:lnTo>
                    <a:pt x="1141" y="771"/>
                  </a:lnTo>
                  <a:lnTo>
                    <a:pt x="1141" y="771"/>
                  </a:lnTo>
                  <a:lnTo>
                    <a:pt x="1141" y="768"/>
                  </a:lnTo>
                  <a:lnTo>
                    <a:pt x="1141" y="768"/>
                  </a:lnTo>
                  <a:lnTo>
                    <a:pt x="1141" y="768"/>
                  </a:lnTo>
                  <a:lnTo>
                    <a:pt x="1141" y="766"/>
                  </a:lnTo>
                  <a:lnTo>
                    <a:pt x="1143" y="766"/>
                  </a:lnTo>
                  <a:lnTo>
                    <a:pt x="1143" y="768"/>
                  </a:lnTo>
                  <a:lnTo>
                    <a:pt x="1143" y="771"/>
                  </a:lnTo>
                  <a:lnTo>
                    <a:pt x="1145" y="768"/>
                  </a:lnTo>
                  <a:lnTo>
                    <a:pt x="1145" y="768"/>
                  </a:lnTo>
                  <a:lnTo>
                    <a:pt x="1143" y="766"/>
                  </a:lnTo>
                  <a:lnTo>
                    <a:pt x="1143" y="766"/>
                  </a:lnTo>
                  <a:lnTo>
                    <a:pt x="1145" y="766"/>
                  </a:lnTo>
                  <a:lnTo>
                    <a:pt x="1145" y="766"/>
                  </a:lnTo>
                  <a:lnTo>
                    <a:pt x="1145" y="766"/>
                  </a:lnTo>
                  <a:lnTo>
                    <a:pt x="1145" y="766"/>
                  </a:lnTo>
                  <a:lnTo>
                    <a:pt x="1148" y="766"/>
                  </a:lnTo>
                  <a:lnTo>
                    <a:pt x="1148" y="766"/>
                  </a:lnTo>
                  <a:lnTo>
                    <a:pt x="1148" y="766"/>
                  </a:lnTo>
                  <a:lnTo>
                    <a:pt x="1148" y="764"/>
                  </a:lnTo>
                  <a:lnTo>
                    <a:pt x="1148" y="764"/>
                  </a:lnTo>
                  <a:lnTo>
                    <a:pt x="1148" y="764"/>
                  </a:lnTo>
                  <a:lnTo>
                    <a:pt x="1150" y="764"/>
                  </a:lnTo>
                  <a:lnTo>
                    <a:pt x="1150" y="764"/>
                  </a:lnTo>
                  <a:lnTo>
                    <a:pt x="1150" y="761"/>
                  </a:lnTo>
                  <a:lnTo>
                    <a:pt x="1150" y="761"/>
                  </a:lnTo>
                  <a:lnTo>
                    <a:pt x="1150" y="761"/>
                  </a:lnTo>
                  <a:lnTo>
                    <a:pt x="1150" y="761"/>
                  </a:lnTo>
                  <a:lnTo>
                    <a:pt x="1150" y="761"/>
                  </a:lnTo>
                  <a:lnTo>
                    <a:pt x="1150" y="761"/>
                  </a:lnTo>
                  <a:lnTo>
                    <a:pt x="1150" y="761"/>
                  </a:lnTo>
                  <a:lnTo>
                    <a:pt x="1150" y="761"/>
                  </a:lnTo>
                  <a:lnTo>
                    <a:pt x="1148" y="761"/>
                  </a:lnTo>
                  <a:lnTo>
                    <a:pt x="1148" y="761"/>
                  </a:lnTo>
                  <a:lnTo>
                    <a:pt x="1148" y="761"/>
                  </a:lnTo>
                  <a:lnTo>
                    <a:pt x="1148" y="761"/>
                  </a:lnTo>
                  <a:lnTo>
                    <a:pt x="1145" y="761"/>
                  </a:lnTo>
                  <a:lnTo>
                    <a:pt x="1145" y="761"/>
                  </a:lnTo>
                  <a:lnTo>
                    <a:pt x="1145" y="761"/>
                  </a:lnTo>
                  <a:lnTo>
                    <a:pt x="1145" y="761"/>
                  </a:lnTo>
                  <a:lnTo>
                    <a:pt x="1145" y="761"/>
                  </a:lnTo>
                  <a:lnTo>
                    <a:pt x="1143" y="761"/>
                  </a:lnTo>
                  <a:lnTo>
                    <a:pt x="1145" y="761"/>
                  </a:lnTo>
                  <a:lnTo>
                    <a:pt x="1145" y="761"/>
                  </a:lnTo>
                  <a:lnTo>
                    <a:pt x="1145" y="761"/>
                  </a:lnTo>
                  <a:lnTo>
                    <a:pt x="1145" y="759"/>
                  </a:lnTo>
                  <a:lnTo>
                    <a:pt x="1145" y="759"/>
                  </a:lnTo>
                  <a:lnTo>
                    <a:pt x="1148" y="759"/>
                  </a:lnTo>
                  <a:lnTo>
                    <a:pt x="1148" y="759"/>
                  </a:lnTo>
                  <a:lnTo>
                    <a:pt x="1150" y="759"/>
                  </a:lnTo>
                  <a:lnTo>
                    <a:pt x="1150" y="759"/>
                  </a:lnTo>
                  <a:lnTo>
                    <a:pt x="1150" y="759"/>
                  </a:lnTo>
                  <a:lnTo>
                    <a:pt x="1150" y="759"/>
                  </a:lnTo>
                  <a:lnTo>
                    <a:pt x="1150" y="759"/>
                  </a:lnTo>
                  <a:lnTo>
                    <a:pt x="1150" y="759"/>
                  </a:lnTo>
                  <a:lnTo>
                    <a:pt x="1152" y="759"/>
                  </a:lnTo>
                  <a:lnTo>
                    <a:pt x="1155" y="759"/>
                  </a:lnTo>
                  <a:lnTo>
                    <a:pt x="1155" y="761"/>
                  </a:lnTo>
                  <a:lnTo>
                    <a:pt x="1157" y="759"/>
                  </a:lnTo>
                  <a:lnTo>
                    <a:pt x="1157" y="759"/>
                  </a:lnTo>
                  <a:lnTo>
                    <a:pt x="1157" y="759"/>
                  </a:lnTo>
                  <a:lnTo>
                    <a:pt x="1157" y="759"/>
                  </a:lnTo>
                  <a:lnTo>
                    <a:pt x="1157" y="759"/>
                  </a:lnTo>
                  <a:lnTo>
                    <a:pt x="1157" y="759"/>
                  </a:lnTo>
                  <a:lnTo>
                    <a:pt x="1157" y="759"/>
                  </a:lnTo>
                  <a:lnTo>
                    <a:pt x="1157" y="757"/>
                  </a:lnTo>
                  <a:lnTo>
                    <a:pt x="1157" y="757"/>
                  </a:lnTo>
                  <a:lnTo>
                    <a:pt x="1157" y="757"/>
                  </a:lnTo>
                  <a:lnTo>
                    <a:pt x="1157" y="757"/>
                  </a:lnTo>
                  <a:lnTo>
                    <a:pt x="1157" y="757"/>
                  </a:lnTo>
                  <a:lnTo>
                    <a:pt x="1157" y="754"/>
                  </a:lnTo>
                  <a:lnTo>
                    <a:pt x="1157" y="754"/>
                  </a:lnTo>
                  <a:lnTo>
                    <a:pt x="1157" y="754"/>
                  </a:lnTo>
                  <a:lnTo>
                    <a:pt x="1160" y="754"/>
                  </a:lnTo>
                  <a:lnTo>
                    <a:pt x="1160" y="754"/>
                  </a:lnTo>
                  <a:lnTo>
                    <a:pt x="1162" y="754"/>
                  </a:lnTo>
                  <a:lnTo>
                    <a:pt x="1162" y="754"/>
                  </a:lnTo>
                  <a:lnTo>
                    <a:pt x="1162" y="754"/>
                  </a:lnTo>
                  <a:lnTo>
                    <a:pt x="1162" y="754"/>
                  </a:lnTo>
                  <a:lnTo>
                    <a:pt x="1162" y="754"/>
                  </a:lnTo>
                  <a:lnTo>
                    <a:pt x="1162" y="754"/>
                  </a:lnTo>
                  <a:lnTo>
                    <a:pt x="1162" y="754"/>
                  </a:lnTo>
                  <a:lnTo>
                    <a:pt x="1162" y="752"/>
                  </a:lnTo>
                  <a:lnTo>
                    <a:pt x="1162" y="752"/>
                  </a:lnTo>
                  <a:lnTo>
                    <a:pt x="1162" y="752"/>
                  </a:lnTo>
                  <a:lnTo>
                    <a:pt x="1162" y="754"/>
                  </a:lnTo>
                  <a:lnTo>
                    <a:pt x="1162" y="754"/>
                  </a:lnTo>
                  <a:lnTo>
                    <a:pt x="1164" y="754"/>
                  </a:lnTo>
                  <a:lnTo>
                    <a:pt x="1164" y="754"/>
                  </a:lnTo>
                  <a:lnTo>
                    <a:pt x="1164" y="752"/>
                  </a:lnTo>
                  <a:lnTo>
                    <a:pt x="1164" y="752"/>
                  </a:lnTo>
                  <a:lnTo>
                    <a:pt x="1164" y="752"/>
                  </a:lnTo>
                  <a:lnTo>
                    <a:pt x="1164" y="752"/>
                  </a:lnTo>
                  <a:lnTo>
                    <a:pt x="1164" y="752"/>
                  </a:lnTo>
                  <a:lnTo>
                    <a:pt x="1164" y="752"/>
                  </a:lnTo>
                  <a:lnTo>
                    <a:pt x="1164" y="749"/>
                  </a:lnTo>
                  <a:lnTo>
                    <a:pt x="1164" y="749"/>
                  </a:lnTo>
                  <a:lnTo>
                    <a:pt x="1167" y="749"/>
                  </a:lnTo>
                  <a:lnTo>
                    <a:pt x="1167" y="749"/>
                  </a:lnTo>
                  <a:lnTo>
                    <a:pt x="1169" y="752"/>
                  </a:lnTo>
                  <a:lnTo>
                    <a:pt x="1171" y="752"/>
                  </a:lnTo>
                  <a:lnTo>
                    <a:pt x="1174" y="752"/>
                  </a:lnTo>
                  <a:lnTo>
                    <a:pt x="1174" y="752"/>
                  </a:lnTo>
                  <a:lnTo>
                    <a:pt x="1176" y="752"/>
                  </a:lnTo>
                  <a:lnTo>
                    <a:pt x="1176" y="752"/>
                  </a:lnTo>
                  <a:lnTo>
                    <a:pt x="1176" y="749"/>
                  </a:lnTo>
                  <a:lnTo>
                    <a:pt x="1179" y="749"/>
                  </a:lnTo>
                  <a:lnTo>
                    <a:pt x="1179" y="752"/>
                  </a:lnTo>
                  <a:lnTo>
                    <a:pt x="1181" y="749"/>
                  </a:lnTo>
                  <a:lnTo>
                    <a:pt x="1183" y="749"/>
                  </a:lnTo>
                  <a:lnTo>
                    <a:pt x="1183" y="749"/>
                  </a:lnTo>
                  <a:lnTo>
                    <a:pt x="1183" y="747"/>
                  </a:lnTo>
                  <a:lnTo>
                    <a:pt x="1186" y="747"/>
                  </a:lnTo>
                  <a:lnTo>
                    <a:pt x="1188" y="745"/>
                  </a:lnTo>
                  <a:lnTo>
                    <a:pt x="1188" y="745"/>
                  </a:lnTo>
                  <a:lnTo>
                    <a:pt x="1188" y="747"/>
                  </a:lnTo>
                  <a:lnTo>
                    <a:pt x="1190" y="747"/>
                  </a:lnTo>
                  <a:lnTo>
                    <a:pt x="1190" y="745"/>
                  </a:lnTo>
                  <a:lnTo>
                    <a:pt x="1190" y="745"/>
                  </a:lnTo>
                  <a:lnTo>
                    <a:pt x="1188" y="745"/>
                  </a:lnTo>
                  <a:lnTo>
                    <a:pt x="1188" y="745"/>
                  </a:lnTo>
                  <a:lnTo>
                    <a:pt x="1188" y="745"/>
                  </a:lnTo>
                  <a:lnTo>
                    <a:pt x="1188" y="745"/>
                  </a:lnTo>
                  <a:lnTo>
                    <a:pt x="1190" y="745"/>
                  </a:lnTo>
                  <a:lnTo>
                    <a:pt x="1190" y="745"/>
                  </a:lnTo>
                  <a:lnTo>
                    <a:pt x="1190" y="745"/>
                  </a:lnTo>
                  <a:lnTo>
                    <a:pt x="1190" y="742"/>
                  </a:lnTo>
                  <a:lnTo>
                    <a:pt x="1190" y="742"/>
                  </a:lnTo>
                  <a:lnTo>
                    <a:pt x="1190" y="742"/>
                  </a:lnTo>
                  <a:lnTo>
                    <a:pt x="1190" y="742"/>
                  </a:lnTo>
                  <a:lnTo>
                    <a:pt x="1190" y="742"/>
                  </a:lnTo>
                  <a:lnTo>
                    <a:pt x="1190" y="740"/>
                  </a:lnTo>
                  <a:lnTo>
                    <a:pt x="1188" y="740"/>
                  </a:lnTo>
                  <a:lnTo>
                    <a:pt x="1188" y="740"/>
                  </a:lnTo>
                  <a:lnTo>
                    <a:pt x="1188" y="738"/>
                  </a:lnTo>
                  <a:lnTo>
                    <a:pt x="1188" y="738"/>
                  </a:lnTo>
                  <a:lnTo>
                    <a:pt x="1188" y="735"/>
                  </a:lnTo>
                  <a:lnTo>
                    <a:pt x="1188" y="735"/>
                  </a:lnTo>
                  <a:lnTo>
                    <a:pt x="1188" y="735"/>
                  </a:lnTo>
                  <a:lnTo>
                    <a:pt x="1188" y="735"/>
                  </a:lnTo>
                  <a:lnTo>
                    <a:pt x="1186" y="735"/>
                  </a:lnTo>
                  <a:lnTo>
                    <a:pt x="1186" y="735"/>
                  </a:lnTo>
                  <a:lnTo>
                    <a:pt x="1186" y="735"/>
                  </a:lnTo>
                  <a:lnTo>
                    <a:pt x="1186" y="735"/>
                  </a:lnTo>
                  <a:lnTo>
                    <a:pt x="1186" y="735"/>
                  </a:lnTo>
                  <a:lnTo>
                    <a:pt x="1183" y="733"/>
                  </a:lnTo>
                  <a:lnTo>
                    <a:pt x="1183" y="733"/>
                  </a:lnTo>
                  <a:lnTo>
                    <a:pt x="1183" y="731"/>
                  </a:lnTo>
                  <a:lnTo>
                    <a:pt x="1183" y="731"/>
                  </a:lnTo>
                  <a:lnTo>
                    <a:pt x="1183" y="731"/>
                  </a:lnTo>
                  <a:lnTo>
                    <a:pt x="1183" y="728"/>
                  </a:lnTo>
                  <a:lnTo>
                    <a:pt x="1181" y="728"/>
                  </a:lnTo>
                  <a:lnTo>
                    <a:pt x="1181" y="728"/>
                  </a:lnTo>
                  <a:lnTo>
                    <a:pt x="1181" y="728"/>
                  </a:lnTo>
                  <a:lnTo>
                    <a:pt x="1179" y="726"/>
                  </a:lnTo>
                  <a:lnTo>
                    <a:pt x="1176" y="723"/>
                  </a:lnTo>
                  <a:lnTo>
                    <a:pt x="1174" y="723"/>
                  </a:lnTo>
                  <a:lnTo>
                    <a:pt x="1174" y="723"/>
                  </a:lnTo>
                  <a:lnTo>
                    <a:pt x="1171" y="723"/>
                  </a:lnTo>
                  <a:lnTo>
                    <a:pt x="1171" y="726"/>
                  </a:lnTo>
                  <a:lnTo>
                    <a:pt x="1171" y="726"/>
                  </a:lnTo>
                  <a:lnTo>
                    <a:pt x="1169" y="723"/>
                  </a:lnTo>
                  <a:lnTo>
                    <a:pt x="1171" y="723"/>
                  </a:lnTo>
                  <a:lnTo>
                    <a:pt x="1171" y="721"/>
                  </a:lnTo>
                  <a:lnTo>
                    <a:pt x="1171" y="721"/>
                  </a:lnTo>
                  <a:lnTo>
                    <a:pt x="1171" y="721"/>
                  </a:lnTo>
                  <a:lnTo>
                    <a:pt x="1171" y="721"/>
                  </a:lnTo>
                  <a:lnTo>
                    <a:pt x="1171" y="721"/>
                  </a:lnTo>
                  <a:lnTo>
                    <a:pt x="1171" y="721"/>
                  </a:lnTo>
                  <a:lnTo>
                    <a:pt x="1174" y="719"/>
                  </a:lnTo>
                  <a:lnTo>
                    <a:pt x="1174" y="719"/>
                  </a:lnTo>
                  <a:lnTo>
                    <a:pt x="1174" y="719"/>
                  </a:lnTo>
                  <a:lnTo>
                    <a:pt x="1171" y="719"/>
                  </a:lnTo>
                  <a:lnTo>
                    <a:pt x="1171" y="719"/>
                  </a:lnTo>
                  <a:lnTo>
                    <a:pt x="1171" y="716"/>
                  </a:lnTo>
                  <a:lnTo>
                    <a:pt x="1171" y="716"/>
                  </a:lnTo>
                  <a:lnTo>
                    <a:pt x="1171" y="716"/>
                  </a:lnTo>
                  <a:lnTo>
                    <a:pt x="1171" y="716"/>
                  </a:lnTo>
                  <a:lnTo>
                    <a:pt x="1174" y="716"/>
                  </a:lnTo>
                  <a:lnTo>
                    <a:pt x="1171" y="716"/>
                  </a:lnTo>
                  <a:lnTo>
                    <a:pt x="1171" y="716"/>
                  </a:lnTo>
                  <a:lnTo>
                    <a:pt x="1174" y="716"/>
                  </a:lnTo>
                  <a:lnTo>
                    <a:pt x="1174" y="716"/>
                  </a:lnTo>
                  <a:lnTo>
                    <a:pt x="1174" y="716"/>
                  </a:lnTo>
                  <a:lnTo>
                    <a:pt x="1174" y="716"/>
                  </a:lnTo>
                  <a:lnTo>
                    <a:pt x="1176" y="716"/>
                  </a:lnTo>
                  <a:lnTo>
                    <a:pt x="1176" y="716"/>
                  </a:lnTo>
                  <a:lnTo>
                    <a:pt x="1176" y="714"/>
                  </a:lnTo>
                  <a:lnTo>
                    <a:pt x="1176" y="714"/>
                  </a:lnTo>
                  <a:lnTo>
                    <a:pt x="1176" y="714"/>
                  </a:lnTo>
                  <a:lnTo>
                    <a:pt x="1179" y="712"/>
                  </a:lnTo>
                  <a:lnTo>
                    <a:pt x="1179" y="712"/>
                  </a:lnTo>
                  <a:lnTo>
                    <a:pt x="1179" y="712"/>
                  </a:lnTo>
                  <a:lnTo>
                    <a:pt x="1179" y="712"/>
                  </a:lnTo>
                  <a:lnTo>
                    <a:pt x="1183" y="709"/>
                  </a:lnTo>
                  <a:lnTo>
                    <a:pt x="1186" y="712"/>
                  </a:lnTo>
                  <a:lnTo>
                    <a:pt x="1186" y="709"/>
                  </a:lnTo>
                  <a:lnTo>
                    <a:pt x="1186" y="709"/>
                  </a:lnTo>
                  <a:lnTo>
                    <a:pt x="1186" y="709"/>
                  </a:lnTo>
                  <a:lnTo>
                    <a:pt x="1186" y="709"/>
                  </a:lnTo>
                  <a:lnTo>
                    <a:pt x="1186" y="709"/>
                  </a:lnTo>
                  <a:lnTo>
                    <a:pt x="1183" y="709"/>
                  </a:lnTo>
                  <a:lnTo>
                    <a:pt x="1181" y="709"/>
                  </a:lnTo>
                  <a:lnTo>
                    <a:pt x="1181" y="709"/>
                  </a:lnTo>
                  <a:lnTo>
                    <a:pt x="1181" y="707"/>
                  </a:lnTo>
                  <a:lnTo>
                    <a:pt x="1181" y="707"/>
                  </a:lnTo>
                  <a:lnTo>
                    <a:pt x="1183" y="707"/>
                  </a:lnTo>
                  <a:lnTo>
                    <a:pt x="1183" y="707"/>
                  </a:lnTo>
                  <a:lnTo>
                    <a:pt x="1183" y="707"/>
                  </a:lnTo>
                  <a:lnTo>
                    <a:pt x="1183" y="707"/>
                  </a:lnTo>
                  <a:lnTo>
                    <a:pt x="1183" y="707"/>
                  </a:lnTo>
                  <a:lnTo>
                    <a:pt x="1183" y="707"/>
                  </a:lnTo>
                  <a:lnTo>
                    <a:pt x="1183" y="707"/>
                  </a:lnTo>
                  <a:lnTo>
                    <a:pt x="1186" y="709"/>
                  </a:lnTo>
                  <a:lnTo>
                    <a:pt x="1188" y="709"/>
                  </a:lnTo>
                  <a:lnTo>
                    <a:pt x="1188" y="707"/>
                  </a:lnTo>
                  <a:lnTo>
                    <a:pt x="1188" y="707"/>
                  </a:lnTo>
                  <a:lnTo>
                    <a:pt x="1188" y="707"/>
                  </a:lnTo>
                  <a:lnTo>
                    <a:pt x="1190" y="709"/>
                  </a:lnTo>
                  <a:lnTo>
                    <a:pt x="1193" y="709"/>
                  </a:lnTo>
                  <a:lnTo>
                    <a:pt x="1193" y="709"/>
                  </a:lnTo>
                  <a:lnTo>
                    <a:pt x="1193" y="709"/>
                  </a:lnTo>
                  <a:lnTo>
                    <a:pt x="1195" y="709"/>
                  </a:lnTo>
                  <a:lnTo>
                    <a:pt x="1195" y="707"/>
                  </a:lnTo>
                  <a:lnTo>
                    <a:pt x="1195" y="707"/>
                  </a:lnTo>
                  <a:lnTo>
                    <a:pt x="1195" y="705"/>
                  </a:lnTo>
                  <a:lnTo>
                    <a:pt x="1193" y="702"/>
                  </a:lnTo>
                  <a:lnTo>
                    <a:pt x="1193" y="702"/>
                  </a:lnTo>
                  <a:lnTo>
                    <a:pt x="1193" y="702"/>
                  </a:lnTo>
                  <a:lnTo>
                    <a:pt x="1193" y="702"/>
                  </a:lnTo>
                  <a:lnTo>
                    <a:pt x="1193" y="702"/>
                  </a:lnTo>
                  <a:lnTo>
                    <a:pt x="1195" y="702"/>
                  </a:lnTo>
                  <a:lnTo>
                    <a:pt x="1195" y="702"/>
                  </a:lnTo>
                  <a:lnTo>
                    <a:pt x="1200" y="705"/>
                  </a:lnTo>
                  <a:lnTo>
                    <a:pt x="1200" y="705"/>
                  </a:lnTo>
                  <a:lnTo>
                    <a:pt x="1202" y="705"/>
                  </a:lnTo>
                  <a:lnTo>
                    <a:pt x="1202" y="702"/>
                  </a:lnTo>
                  <a:lnTo>
                    <a:pt x="1202" y="702"/>
                  </a:lnTo>
                  <a:lnTo>
                    <a:pt x="1202" y="702"/>
                  </a:lnTo>
                  <a:lnTo>
                    <a:pt x="1202" y="702"/>
                  </a:lnTo>
                  <a:lnTo>
                    <a:pt x="1200" y="700"/>
                  </a:lnTo>
                  <a:lnTo>
                    <a:pt x="1200" y="700"/>
                  </a:lnTo>
                  <a:lnTo>
                    <a:pt x="1202" y="700"/>
                  </a:lnTo>
                  <a:lnTo>
                    <a:pt x="1202" y="700"/>
                  </a:lnTo>
                  <a:lnTo>
                    <a:pt x="1202" y="700"/>
                  </a:lnTo>
                  <a:lnTo>
                    <a:pt x="1202" y="697"/>
                  </a:lnTo>
                  <a:lnTo>
                    <a:pt x="1202" y="697"/>
                  </a:lnTo>
                  <a:lnTo>
                    <a:pt x="1205" y="697"/>
                  </a:lnTo>
                  <a:lnTo>
                    <a:pt x="1205" y="697"/>
                  </a:lnTo>
                  <a:lnTo>
                    <a:pt x="1205" y="697"/>
                  </a:lnTo>
                  <a:lnTo>
                    <a:pt x="1205" y="697"/>
                  </a:lnTo>
                  <a:lnTo>
                    <a:pt x="1202" y="697"/>
                  </a:lnTo>
                  <a:lnTo>
                    <a:pt x="1202" y="700"/>
                  </a:lnTo>
                  <a:lnTo>
                    <a:pt x="1202" y="702"/>
                  </a:lnTo>
                  <a:lnTo>
                    <a:pt x="1202" y="702"/>
                  </a:lnTo>
                  <a:lnTo>
                    <a:pt x="1205" y="702"/>
                  </a:lnTo>
                  <a:lnTo>
                    <a:pt x="1205" y="702"/>
                  </a:lnTo>
                  <a:lnTo>
                    <a:pt x="1205" y="702"/>
                  </a:lnTo>
                  <a:lnTo>
                    <a:pt x="1207" y="702"/>
                  </a:lnTo>
                  <a:lnTo>
                    <a:pt x="1207" y="702"/>
                  </a:lnTo>
                  <a:lnTo>
                    <a:pt x="1209" y="700"/>
                  </a:lnTo>
                  <a:lnTo>
                    <a:pt x="1209" y="697"/>
                  </a:lnTo>
                  <a:lnTo>
                    <a:pt x="1209" y="697"/>
                  </a:lnTo>
                  <a:lnTo>
                    <a:pt x="1209" y="697"/>
                  </a:lnTo>
                  <a:lnTo>
                    <a:pt x="1209" y="695"/>
                  </a:lnTo>
                  <a:lnTo>
                    <a:pt x="1209" y="695"/>
                  </a:lnTo>
                  <a:lnTo>
                    <a:pt x="1212" y="700"/>
                  </a:lnTo>
                  <a:lnTo>
                    <a:pt x="1212" y="700"/>
                  </a:lnTo>
                  <a:lnTo>
                    <a:pt x="1212" y="700"/>
                  </a:lnTo>
                  <a:lnTo>
                    <a:pt x="1212" y="700"/>
                  </a:lnTo>
                  <a:lnTo>
                    <a:pt x="1212" y="700"/>
                  </a:lnTo>
                  <a:lnTo>
                    <a:pt x="1209" y="702"/>
                  </a:lnTo>
                  <a:lnTo>
                    <a:pt x="1207" y="702"/>
                  </a:lnTo>
                  <a:lnTo>
                    <a:pt x="1207" y="702"/>
                  </a:lnTo>
                  <a:lnTo>
                    <a:pt x="1207" y="702"/>
                  </a:lnTo>
                  <a:lnTo>
                    <a:pt x="1207" y="702"/>
                  </a:lnTo>
                  <a:lnTo>
                    <a:pt x="1207" y="705"/>
                  </a:lnTo>
                  <a:lnTo>
                    <a:pt x="1209" y="705"/>
                  </a:lnTo>
                  <a:lnTo>
                    <a:pt x="1209" y="705"/>
                  </a:lnTo>
                  <a:lnTo>
                    <a:pt x="1209" y="705"/>
                  </a:lnTo>
                  <a:lnTo>
                    <a:pt x="1209" y="705"/>
                  </a:lnTo>
                  <a:lnTo>
                    <a:pt x="1209" y="705"/>
                  </a:lnTo>
                  <a:lnTo>
                    <a:pt x="1209" y="705"/>
                  </a:lnTo>
                  <a:lnTo>
                    <a:pt x="1209" y="705"/>
                  </a:lnTo>
                  <a:lnTo>
                    <a:pt x="1212" y="702"/>
                  </a:lnTo>
                  <a:lnTo>
                    <a:pt x="1212" y="702"/>
                  </a:lnTo>
                  <a:lnTo>
                    <a:pt x="1212" y="702"/>
                  </a:lnTo>
                  <a:lnTo>
                    <a:pt x="1212" y="705"/>
                  </a:lnTo>
                  <a:lnTo>
                    <a:pt x="1212" y="705"/>
                  </a:lnTo>
                  <a:lnTo>
                    <a:pt x="1212" y="705"/>
                  </a:lnTo>
                  <a:lnTo>
                    <a:pt x="1212" y="705"/>
                  </a:lnTo>
                  <a:lnTo>
                    <a:pt x="1214" y="707"/>
                  </a:lnTo>
                  <a:lnTo>
                    <a:pt x="1214" y="705"/>
                  </a:lnTo>
                  <a:lnTo>
                    <a:pt x="1214" y="705"/>
                  </a:lnTo>
                  <a:lnTo>
                    <a:pt x="1216" y="705"/>
                  </a:lnTo>
                  <a:lnTo>
                    <a:pt x="1219" y="705"/>
                  </a:lnTo>
                  <a:lnTo>
                    <a:pt x="1219" y="705"/>
                  </a:lnTo>
                  <a:lnTo>
                    <a:pt x="1219" y="705"/>
                  </a:lnTo>
                  <a:lnTo>
                    <a:pt x="1221" y="702"/>
                  </a:lnTo>
                  <a:lnTo>
                    <a:pt x="1221" y="702"/>
                  </a:lnTo>
                  <a:lnTo>
                    <a:pt x="1221" y="702"/>
                  </a:lnTo>
                  <a:lnTo>
                    <a:pt x="1223" y="700"/>
                  </a:lnTo>
                  <a:lnTo>
                    <a:pt x="1223" y="700"/>
                  </a:lnTo>
                  <a:lnTo>
                    <a:pt x="1223" y="700"/>
                  </a:lnTo>
                  <a:lnTo>
                    <a:pt x="1223" y="700"/>
                  </a:lnTo>
                  <a:lnTo>
                    <a:pt x="1221" y="697"/>
                  </a:lnTo>
                  <a:lnTo>
                    <a:pt x="1219" y="697"/>
                  </a:lnTo>
                  <a:lnTo>
                    <a:pt x="1219" y="697"/>
                  </a:lnTo>
                  <a:lnTo>
                    <a:pt x="1219" y="697"/>
                  </a:lnTo>
                  <a:lnTo>
                    <a:pt x="1219" y="697"/>
                  </a:lnTo>
                  <a:lnTo>
                    <a:pt x="1216" y="697"/>
                  </a:lnTo>
                  <a:lnTo>
                    <a:pt x="1216" y="697"/>
                  </a:lnTo>
                  <a:lnTo>
                    <a:pt x="1216" y="695"/>
                  </a:lnTo>
                  <a:lnTo>
                    <a:pt x="1216" y="695"/>
                  </a:lnTo>
                  <a:lnTo>
                    <a:pt x="1216" y="695"/>
                  </a:lnTo>
                  <a:lnTo>
                    <a:pt x="1219" y="695"/>
                  </a:lnTo>
                  <a:lnTo>
                    <a:pt x="1219" y="695"/>
                  </a:lnTo>
                  <a:lnTo>
                    <a:pt x="1221" y="695"/>
                  </a:lnTo>
                  <a:lnTo>
                    <a:pt x="1223" y="695"/>
                  </a:lnTo>
                  <a:lnTo>
                    <a:pt x="1223" y="695"/>
                  </a:lnTo>
                  <a:lnTo>
                    <a:pt x="1226" y="697"/>
                  </a:lnTo>
                  <a:lnTo>
                    <a:pt x="1226" y="697"/>
                  </a:lnTo>
                  <a:lnTo>
                    <a:pt x="1228" y="697"/>
                  </a:lnTo>
                  <a:lnTo>
                    <a:pt x="1228" y="697"/>
                  </a:lnTo>
                  <a:lnTo>
                    <a:pt x="1228" y="700"/>
                  </a:lnTo>
                  <a:lnTo>
                    <a:pt x="1228" y="700"/>
                  </a:lnTo>
                  <a:lnTo>
                    <a:pt x="1231" y="697"/>
                  </a:lnTo>
                  <a:lnTo>
                    <a:pt x="1233" y="700"/>
                  </a:lnTo>
                  <a:lnTo>
                    <a:pt x="1233" y="700"/>
                  </a:lnTo>
                  <a:lnTo>
                    <a:pt x="1233" y="697"/>
                  </a:lnTo>
                  <a:lnTo>
                    <a:pt x="1235" y="697"/>
                  </a:lnTo>
                  <a:lnTo>
                    <a:pt x="1235" y="695"/>
                  </a:lnTo>
                  <a:lnTo>
                    <a:pt x="1235" y="695"/>
                  </a:lnTo>
                  <a:lnTo>
                    <a:pt x="1238" y="695"/>
                  </a:lnTo>
                  <a:lnTo>
                    <a:pt x="1238" y="695"/>
                  </a:lnTo>
                  <a:lnTo>
                    <a:pt x="1238" y="695"/>
                  </a:lnTo>
                  <a:lnTo>
                    <a:pt x="1238" y="693"/>
                  </a:lnTo>
                  <a:lnTo>
                    <a:pt x="1240" y="695"/>
                  </a:lnTo>
                  <a:lnTo>
                    <a:pt x="1240" y="693"/>
                  </a:lnTo>
                  <a:lnTo>
                    <a:pt x="1240" y="693"/>
                  </a:lnTo>
                  <a:lnTo>
                    <a:pt x="1240" y="693"/>
                  </a:lnTo>
                  <a:lnTo>
                    <a:pt x="1240" y="690"/>
                  </a:lnTo>
                  <a:lnTo>
                    <a:pt x="1240" y="688"/>
                  </a:lnTo>
                  <a:lnTo>
                    <a:pt x="1240" y="688"/>
                  </a:lnTo>
                  <a:lnTo>
                    <a:pt x="1240" y="688"/>
                  </a:lnTo>
                  <a:lnTo>
                    <a:pt x="1240" y="688"/>
                  </a:lnTo>
                  <a:lnTo>
                    <a:pt x="1240" y="686"/>
                  </a:lnTo>
                  <a:lnTo>
                    <a:pt x="1240" y="686"/>
                  </a:lnTo>
                  <a:lnTo>
                    <a:pt x="1240" y="686"/>
                  </a:lnTo>
                  <a:lnTo>
                    <a:pt x="1240" y="686"/>
                  </a:lnTo>
                  <a:lnTo>
                    <a:pt x="1240" y="686"/>
                  </a:lnTo>
                  <a:lnTo>
                    <a:pt x="1240" y="686"/>
                  </a:lnTo>
                  <a:lnTo>
                    <a:pt x="1240" y="686"/>
                  </a:lnTo>
                  <a:lnTo>
                    <a:pt x="1240" y="686"/>
                  </a:lnTo>
                  <a:lnTo>
                    <a:pt x="1240" y="686"/>
                  </a:lnTo>
                  <a:lnTo>
                    <a:pt x="1240" y="683"/>
                  </a:lnTo>
                  <a:lnTo>
                    <a:pt x="1238" y="681"/>
                  </a:lnTo>
                  <a:lnTo>
                    <a:pt x="1238" y="681"/>
                  </a:lnTo>
                  <a:lnTo>
                    <a:pt x="1235" y="679"/>
                  </a:lnTo>
                  <a:lnTo>
                    <a:pt x="1235" y="679"/>
                  </a:lnTo>
                  <a:lnTo>
                    <a:pt x="1235" y="679"/>
                  </a:lnTo>
                  <a:lnTo>
                    <a:pt x="1238" y="676"/>
                  </a:lnTo>
                  <a:lnTo>
                    <a:pt x="1238" y="676"/>
                  </a:lnTo>
                  <a:lnTo>
                    <a:pt x="1238" y="676"/>
                  </a:lnTo>
                  <a:lnTo>
                    <a:pt x="1235" y="674"/>
                  </a:lnTo>
                  <a:lnTo>
                    <a:pt x="1235" y="674"/>
                  </a:lnTo>
                  <a:lnTo>
                    <a:pt x="1233" y="674"/>
                  </a:lnTo>
                  <a:lnTo>
                    <a:pt x="1233" y="674"/>
                  </a:lnTo>
                  <a:lnTo>
                    <a:pt x="1233" y="674"/>
                  </a:lnTo>
                  <a:lnTo>
                    <a:pt x="1233" y="674"/>
                  </a:lnTo>
                  <a:lnTo>
                    <a:pt x="1233" y="674"/>
                  </a:lnTo>
                  <a:lnTo>
                    <a:pt x="1235" y="674"/>
                  </a:lnTo>
                  <a:lnTo>
                    <a:pt x="1235" y="674"/>
                  </a:lnTo>
                  <a:lnTo>
                    <a:pt x="1238" y="674"/>
                  </a:lnTo>
                  <a:lnTo>
                    <a:pt x="1238" y="676"/>
                  </a:lnTo>
                  <a:lnTo>
                    <a:pt x="1238" y="676"/>
                  </a:lnTo>
                  <a:lnTo>
                    <a:pt x="1238" y="679"/>
                  </a:lnTo>
                  <a:lnTo>
                    <a:pt x="1238" y="679"/>
                  </a:lnTo>
                  <a:lnTo>
                    <a:pt x="1238" y="679"/>
                  </a:lnTo>
                  <a:lnTo>
                    <a:pt x="1240" y="679"/>
                  </a:lnTo>
                  <a:lnTo>
                    <a:pt x="1240" y="681"/>
                  </a:lnTo>
                  <a:lnTo>
                    <a:pt x="1240" y="681"/>
                  </a:lnTo>
                  <a:lnTo>
                    <a:pt x="1240" y="681"/>
                  </a:lnTo>
                  <a:lnTo>
                    <a:pt x="1240" y="679"/>
                  </a:lnTo>
                  <a:lnTo>
                    <a:pt x="1240" y="679"/>
                  </a:lnTo>
                  <a:lnTo>
                    <a:pt x="1238" y="679"/>
                  </a:lnTo>
                  <a:lnTo>
                    <a:pt x="1240" y="681"/>
                  </a:lnTo>
                  <a:lnTo>
                    <a:pt x="1242" y="681"/>
                  </a:lnTo>
                  <a:lnTo>
                    <a:pt x="1242" y="683"/>
                  </a:lnTo>
                  <a:lnTo>
                    <a:pt x="1245" y="683"/>
                  </a:lnTo>
                  <a:lnTo>
                    <a:pt x="1245" y="683"/>
                  </a:lnTo>
                  <a:lnTo>
                    <a:pt x="1245" y="683"/>
                  </a:lnTo>
                  <a:lnTo>
                    <a:pt x="1247" y="683"/>
                  </a:lnTo>
                  <a:lnTo>
                    <a:pt x="1247" y="683"/>
                  </a:lnTo>
                  <a:lnTo>
                    <a:pt x="1249" y="683"/>
                  </a:lnTo>
                  <a:lnTo>
                    <a:pt x="1252" y="683"/>
                  </a:lnTo>
                  <a:lnTo>
                    <a:pt x="1252" y="683"/>
                  </a:lnTo>
                  <a:lnTo>
                    <a:pt x="1252" y="683"/>
                  </a:lnTo>
                  <a:lnTo>
                    <a:pt x="1252" y="681"/>
                  </a:lnTo>
                  <a:lnTo>
                    <a:pt x="1252" y="681"/>
                  </a:lnTo>
                  <a:lnTo>
                    <a:pt x="1254" y="681"/>
                  </a:lnTo>
                  <a:lnTo>
                    <a:pt x="1259" y="681"/>
                  </a:lnTo>
                  <a:lnTo>
                    <a:pt x="1259" y="679"/>
                  </a:lnTo>
                  <a:lnTo>
                    <a:pt x="1257" y="679"/>
                  </a:lnTo>
                  <a:lnTo>
                    <a:pt x="1257" y="679"/>
                  </a:lnTo>
                  <a:lnTo>
                    <a:pt x="1257" y="676"/>
                  </a:lnTo>
                  <a:lnTo>
                    <a:pt x="1257" y="676"/>
                  </a:lnTo>
                  <a:lnTo>
                    <a:pt x="1259" y="674"/>
                  </a:lnTo>
                  <a:lnTo>
                    <a:pt x="1259" y="674"/>
                  </a:lnTo>
                  <a:lnTo>
                    <a:pt x="1259" y="674"/>
                  </a:lnTo>
                  <a:lnTo>
                    <a:pt x="1264" y="671"/>
                  </a:lnTo>
                  <a:lnTo>
                    <a:pt x="1266" y="671"/>
                  </a:lnTo>
                  <a:lnTo>
                    <a:pt x="1266" y="671"/>
                  </a:lnTo>
                  <a:lnTo>
                    <a:pt x="1266" y="671"/>
                  </a:lnTo>
                  <a:lnTo>
                    <a:pt x="1268" y="671"/>
                  </a:lnTo>
                  <a:lnTo>
                    <a:pt x="1268" y="669"/>
                  </a:lnTo>
                  <a:lnTo>
                    <a:pt x="1271" y="669"/>
                  </a:lnTo>
                  <a:lnTo>
                    <a:pt x="1271" y="669"/>
                  </a:lnTo>
                  <a:lnTo>
                    <a:pt x="1271" y="667"/>
                  </a:lnTo>
                  <a:lnTo>
                    <a:pt x="1271" y="667"/>
                  </a:lnTo>
                  <a:lnTo>
                    <a:pt x="1271" y="667"/>
                  </a:lnTo>
                  <a:lnTo>
                    <a:pt x="1273" y="667"/>
                  </a:lnTo>
                  <a:lnTo>
                    <a:pt x="1273" y="667"/>
                  </a:lnTo>
                  <a:lnTo>
                    <a:pt x="1276" y="667"/>
                  </a:lnTo>
                  <a:lnTo>
                    <a:pt x="1276" y="667"/>
                  </a:lnTo>
                  <a:lnTo>
                    <a:pt x="1278" y="667"/>
                  </a:lnTo>
                  <a:lnTo>
                    <a:pt x="1278" y="667"/>
                  </a:lnTo>
                  <a:lnTo>
                    <a:pt x="1278" y="667"/>
                  </a:lnTo>
                  <a:lnTo>
                    <a:pt x="1278" y="667"/>
                  </a:lnTo>
                  <a:lnTo>
                    <a:pt x="1278" y="667"/>
                  </a:lnTo>
                  <a:lnTo>
                    <a:pt x="1280" y="669"/>
                  </a:lnTo>
                  <a:lnTo>
                    <a:pt x="1280" y="669"/>
                  </a:lnTo>
                  <a:lnTo>
                    <a:pt x="1280" y="669"/>
                  </a:lnTo>
                  <a:lnTo>
                    <a:pt x="1283" y="669"/>
                  </a:lnTo>
                  <a:lnTo>
                    <a:pt x="1283" y="662"/>
                  </a:lnTo>
                  <a:lnTo>
                    <a:pt x="1283" y="662"/>
                  </a:lnTo>
                  <a:lnTo>
                    <a:pt x="1283" y="662"/>
                  </a:lnTo>
                  <a:lnTo>
                    <a:pt x="1283" y="660"/>
                  </a:lnTo>
                  <a:lnTo>
                    <a:pt x="1285" y="660"/>
                  </a:lnTo>
                  <a:lnTo>
                    <a:pt x="1285" y="660"/>
                  </a:lnTo>
                  <a:lnTo>
                    <a:pt x="1285" y="660"/>
                  </a:lnTo>
                  <a:lnTo>
                    <a:pt x="1287" y="660"/>
                  </a:lnTo>
                  <a:lnTo>
                    <a:pt x="1290" y="657"/>
                  </a:lnTo>
                  <a:lnTo>
                    <a:pt x="1290" y="657"/>
                  </a:lnTo>
                  <a:lnTo>
                    <a:pt x="1292" y="657"/>
                  </a:lnTo>
                  <a:lnTo>
                    <a:pt x="1294" y="657"/>
                  </a:lnTo>
                  <a:lnTo>
                    <a:pt x="1294" y="657"/>
                  </a:lnTo>
                  <a:lnTo>
                    <a:pt x="1297" y="657"/>
                  </a:lnTo>
                  <a:lnTo>
                    <a:pt x="1297" y="660"/>
                  </a:lnTo>
                  <a:lnTo>
                    <a:pt x="1299" y="660"/>
                  </a:lnTo>
                  <a:lnTo>
                    <a:pt x="1299" y="657"/>
                  </a:lnTo>
                  <a:lnTo>
                    <a:pt x="1299" y="657"/>
                  </a:lnTo>
                  <a:lnTo>
                    <a:pt x="1302" y="660"/>
                  </a:lnTo>
                  <a:lnTo>
                    <a:pt x="1304" y="660"/>
                  </a:lnTo>
                  <a:lnTo>
                    <a:pt x="1304" y="660"/>
                  </a:lnTo>
                  <a:lnTo>
                    <a:pt x="1306" y="657"/>
                  </a:lnTo>
                  <a:lnTo>
                    <a:pt x="1306" y="657"/>
                  </a:lnTo>
                  <a:lnTo>
                    <a:pt x="1309" y="655"/>
                  </a:lnTo>
                  <a:lnTo>
                    <a:pt x="1311" y="655"/>
                  </a:lnTo>
                  <a:lnTo>
                    <a:pt x="1311" y="655"/>
                  </a:lnTo>
                  <a:lnTo>
                    <a:pt x="1311" y="655"/>
                  </a:lnTo>
                  <a:lnTo>
                    <a:pt x="1313" y="655"/>
                  </a:lnTo>
                  <a:lnTo>
                    <a:pt x="1313" y="655"/>
                  </a:lnTo>
                  <a:lnTo>
                    <a:pt x="1313" y="652"/>
                  </a:lnTo>
                  <a:lnTo>
                    <a:pt x="1313" y="652"/>
                  </a:lnTo>
                  <a:lnTo>
                    <a:pt x="1316" y="655"/>
                  </a:lnTo>
                  <a:lnTo>
                    <a:pt x="1320" y="655"/>
                  </a:lnTo>
                  <a:lnTo>
                    <a:pt x="1323" y="652"/>
                  </a:lnTo>
                  <a:lnTo>
                    <a:pt x="1325" y="652"/>
                  </a:lnTo>
                  <a:lnTo>
                    <a:pt x="1325" y="652"/>
                  </a:lnTo>
                  <a:lnTo>
                    <a:pt x="1325" y="652"/>
                  </a:lnTo>
                  <a:lnTo>
                    <a:pt x="1325" y="652"/>
                  </a:lnTo>
                  <a:lnTo>
                    <a:pt x="1325" y="652"/>
                  </a:lnTo>
                  <a:lnTo>
                    <a:pt x="1328" y="650"/>
                  </a:lnTo>
                  <a:lnTo>
                    <a:pt x="1328" y="650"/>
                  </a:lnTo>
                  <a:lnTo>
                    <a:pt x="1328" y="650"/>
                  </a:lnTo>
                  <a:lnTo>
                    <a:pt x="1328" y="652"/>
                  </a:lnTo>
                  <a:lnTo>
                    <a:pt x="1328" y="655"/>
                  </a:lnTo>
                  <a:lnTo>
                    <a:pt x="1328" y="657"/>
                  </a:lnTo>
                  <a:lnTo>
                    <a:pt x="1328" y="657"/>
                  </a:lnTo>
                  <a:lnTo>
                    <a:pt x="1330" y="660"/>
                  </a:lnTo>
                  <a:lnTo>
                    <a:pt x="1330" y="660"/>
                  </a:lnTo>
                  <a:lnTo>
                    <a:pt x="1332" y="660"/>
                  </a:lnTo>
                  <a:lnTo>
                    <a:pt x="1332" y="660"/>
                  </a:lnTo>
                  <a:lnTo>
                    <a:pt x="1332" y="657"/>
                  </a:lnTo>
                  <a:lnTo>
                    <a:pt x="1332" y="657"/>
                  </a:lnTo>
                  <a:lnTo>
                    <a:pt x="1332" y="657"/>
                  </a:lnTo>
                  <a:lnTo>
                    <a:pt x="1332" y="657"/>
                  </a:lnTo>
                  <a:lnTo>
                    <a:pt x="1332" y="657"/>
                  </a:lnTo>
                  <a:lnTo>
                    <a:pt x="1332" y="660"/>
                  </a:lnTo>
                  <a:lnTo>
                    <a:pt x="1332" y="660"/>
                  </a:lnTo>
                  <a:lnTo>
                    <a:pt x="1339" y="664"/>
                  </a:lnTo>
                  <a:lnTo>
                    <a:pt x="1342" y="664"/>
                  </a:lnTo>
                  <a:lnTo>
                    <a:pt x="1342" y="662"/>
                  </a:lnTo>
                  <a:lnTo>
                    <a:pt x="1342" y="662"/>
                  </a:lnTo>
                  <a:lnTo>
                    <a:pt x="1344" y="662"/>
                  </a:lnTo>
                  <a:lnTo>
                    <a:pt x="1344" y="660"/>
                  </a:lnTo>
                  <a:lnTo>
                    <a:pt x="1347" y="657"/>
                  </a:lnTo>
                  <a:lnTo>
                    <a:pt x="1347" y="657"/>
                  </a:lnTo>
                  <a:lnTo>
                    <a:pt x="1347" y="657"/>
                  </a:lnTo>
                  <a:lnTo>
                    <a:pt x="1349" y="657"/>
                  </a:lnTo>
                  <a:lnTo>
                    <a:pt x="1349" y="657"/>
                  </a:lnTo>
                  <a:lnTo>
                    <a:pt x="1351" y="655"/>
                  </a:lnTo>
                  <a:lnTo>
                    <a:pt x="1356" y="655"/>
                  </a:lnTo>
                  <a:lnTo>
                    <a:pt x="1361" y="657"/>
                  </a:lnTo>
                  <a:lnTo>
                    <a:pt x="1361" y="657"/>
                  </a:lnTo>
                  <a:lnTo>
                    <a:pt x="1361" y="657"/>
                  </a:lnTo>
                  <a:lnTo>
                    <a:pt x="1365" y="660"/>
                  </a:lnTo>
                  <a:lnTo>
                    <a:pt x="1365" y="660"/>
                  </a:lnTo>
                  <a:lnTo>
                    <a:pt x="1365" y="660"/>
                  </a:lnTo>
                  <a:lnTo>
                    <a:pt x="1365" y="660"/>
                  </a:lnTo>
                  <a:lnTo>
                    <a:pt x="1363" y="660"/>
                  </a:lnTo>
                  <a:lnTo>
                    <a:pt x="1354" y="660"/>
                  </a:lnTo>
                  <a:lnTo>
                    <a:pt x="1351" y="660"/>
                  </a:lnTo>
                  <a:lnTo>
                    <a:pt x="1351" y="660"/>
                  </a:lnTo>
                  <a:lnTo>
                    <a:pt x="1349" y="662"/>
                  </a:lnTo>
                  <a:lnTo>
                    <a:pt x="1349" y="662"/>
                  </a:lnTo>
                  <a:lnTo>
                    <a:pt x="1349" y="662"/>
                  </a:lnTo>
                  <a:lnTo>
                    <a:pt x="1347" y="662"/>
                  </a:lnTo>
                  <a:lnTo>
                    <a:pt x="1347" y="662"/>
                  </a:lnTo>
                  <a:lnTo>
                    <a:pt x="1347" y="662"/>
                  </a:lnTo>
                  <a:lnTo>
                    <a:pt x="1344" y="664"/>
                  </a:lnTo>
                  <a:lnTo>
                    <a:pt x="1344" y="664"/>
                  </a:lnTo>
                  <a:lnTo>
                    <a:pt x="1342" y="664"/>
                  </a:lnTo>
                  <a:lnTo>
                    <a:pt x="1342" y="667"/>
                  </a:lnTo>
                  <a:lnTo>
                    <a:pt x="1342" y="667"/>
                  </a:lnTo>
                  <a:lnTo>
                    <a:pt x="1339" y="667"/>
                  </a:lnTo>
                  <a:lnTo>
                    <a:pt x="1339" y="667"/>
                  </a:lnTo>
                  <a:lnTo>
                    <a:pt x="1339" y="667"/>
                  </a:lnTo>
                  <a:lnTo>
                    <a:pt x="1337" y="667"/>
                  </a:lnTo>
                  <a:lnTo>
                    <a:pt x="1337" y="667"/>
                  </a:lnTo>
                  <a:lnTo>
                    <a:pt x="1337" y="667"/>
                  </a:lnTo>
                  <a:lnTo>
                    <a:pt x="1335" y="667"/>
                  </a:lnTo>
                  <a:lnTo>
                    <a:pt x="1337" y="674"/>
                  </a:lnTo>
                  <a:lnTo>
                    <a:pt x="1339" y="676"/>
                  </a:lnTo>
                  <a:lnTo>
                    <a:pt x="1339" y="676"/>
                  </a:lnTo>
                  <a:lnTo>
                    <a:pt x="1342" y="683"/>
                  </a:lnTo>
                  <a:lnTo>
                    <a:pt x="1347" y="683"/>
                  </a:lnTo>
                  <a:lnTo>
                    <a:pt x="1347" y="683"/>
                  </a:lnTo>
                  <a:lnTo>
                    <a:pt x="1349" y="688"/>
                  </a:lnTo>
                  <a:lnTo>
                    <a:pt x="1349" y="688"/>
                  </a:lnTo>
                  <a:lnTo>
                    <a:pt x="1349" y="688"/>
                  </a:lnTo>
                  <a:lnTo>
                    <a:pt x="1351" y="690"/>
                  </a:lnTo>
                  <a:lnTo>
                    <a:pt x="1354" y="690"/>
                  </a:lnTo>
                  <a:lnTo>
                    <a:pt x="1354" y="693"/>
                  </a:lnTo>
                  <a:lnTo>
                    <a:pt x="1356" y="695"/>
                  </a:lnTo>
                  <a:lnTo>
                    <a:pt x="1354" y="697"/>
                  </a:lnTo>
                  <a:lnTo>
                    <a:pt x="1354" y="697"/>
                  </a:lnTo>
                  <a:lnTo>
                    <a:pt x="1354" y="697"/>
                  </a:lnTo>
                  <a:lnTo>
                    <a:pt x="1354" y="695"/>
                  </a:lnTo>
                  <a:lnTo>
                    <a:pt x="1354" y="695"/>
                  </a:lnTo>
                  <a:lnTo>
                    <a:pt x="1354" y="695"/>
                  </a:lnTo>
                  <a:lnTo>
                    <a:pt x="1354" y="695"/>
                  </a:lnTo>
                  <a:lnTo>
                    <a:pt x="1344" y="688"/>
                  </a:lnTo>
                  <a:lnTo>
                    <a:pt x="1344" y="686"/>
                  </a:lnTo>
                  <a:lnTo>
                    <a:pt x="1344" y="686"/>
                  </a:lnTo>
                  <a:lnTo>
                    <a:pt x="1342" y="686"/>
                  </a:lnTo>
                  <a:lnTo>
                    <a:pt x="1342" y="686"/>
                  </a:lnTo>
                  <a:lnTo>
                    <a:pt x="1339" y="683"/>
                  </a:lnTo>
                  <a:lnTo>
                    <a:pt x="1339" y="683"/>
                  </a:lnTo>
                  <a:lnTo>
                    <a:pt x="1339" y="681"/>
                  </a:lnTo>
                  <a:lnTo>
                    <a:pt x="1337" y="681"/>
                  </a:lnTo>
                  <a:lnTo>
                    <a:pt x="1337" y="681"/>
                  </a:lnTo>
                  <a:lnTo>
                    <a:pt x="1332" y="681"/>
                  </a:lnTo>
                  <a:lnTo>
                    <a:pt x="1332" y="681"/>
                  </a:lnTo>
                  <a:lnTo>
                    <a:pt x="1330" y="681"/>
                  </a:lnTo>
                  <a:lnTo>
                    <a:pt x="1325" y="679"/>
                  </a:lnTo>
                  <a:lnTo>
                    <a:pt x="1325" y="676"/>
                  </a:lnTo>
                  <a:lnTo>
                    <a:pt x="1325" y="676"/>
                  </a:lnTo>
                  <a:lnTo>
                    <a:pt x="1325" y="674"/>
                  </a:lnTo>
                  <a:lnTo>
                    <a:pt x="1325" y="674"/>
                  </a:lnTo>
                  <a:lnTo>
                    <a:pt x="1325" y="671"/>
                  </a:lnTo>
                  <a:lnTo>
                    <a:pt x="1325" y="671"/>
                  </a:lnTo>
                  <a:lnTo>
                    <a:pt x="1325" y="669"/>
                  </a:lnTo>
                  <a:lnTo>
                    <a:pt x="1323" y="669"/>
                  </a:lnTo>
                  <a:lnTo>
                    <a:pt x="1316" y="671"/>
                  </a:lnTo>
                  <a:lnTo>
                    <a:pt x="1311" y="671"/>
                  </a:lnTo>
                  <a:lnTo>
                    <a:pt x="1302" y="674"/>
                  </a:lnTo>
                  <a:lnTo>
                    <a:pt x="1302" y="674"/>
                  </a:lnTo>
                  <a:lnTo>
                    <a:pt x="1299" y="674"/>
                  </a:lnTo>
                  <a:lnTo>
                    <a:pt x="1294" y="674"/>
                  </a:lnTo>
                  <a:lnTo>
                    <a:pt x="1294" y="674"/>
                  </a:lnTo>
                  <a:lnTo>
                    <a:pt x="1292" y="674"/>
                  </a:lnTo>
                  <a:lnTo>
                    <a:pt x="1292" y="674"/>
                  </a:lnTo>
                  <a:lnTo>
                    <a:pt x="1290" y="674"/>
                  </a:lnTo>
                  <a:lnTo>
                    <a:pt x="1290" y="674"/>
                  </a:lnTo>
                  <a:lnTo>
                    <a:pt x="1287" y="674"/>
                  </a:lnTo>
                  <a:lnTo>
                    <a:pt x="1287" y="676"/>
                  </a:lnTo>
                  <a:lnTo>
                    <a:pt x="1287" y="679"/>
                  </a:lnTo>
                  <a:lnTo>
                    <a:pt x="1287" y="679"/>
                  </a:lnTo>
                  <a:lnTo>
                    <a:pt x="1287" y="681"/>
                  </a:lnTo>
                  <a:lnTo>
                    <a:pt x="1287" y="683"/>
                  </a:lnTo>
                  <a:lnTo>
                    <a:pt x="1287" y="683"/>
                  </a:lnTo>
                  <a:lnTo>
                    <a:pt x="1287" y="686"/>
                  </a:lnTo>
                  <a:lnTo>
                    <a:pt x="1287" y="686"/>
                  </a:lnTo>
                  <a:lnTo>
                    <a:pt x="1285" y="688"/>
                  </a:lnTo>
                  <a:lnTo>
                    <a:pt x="1283" y="690"/>
                  </a:lnTo>
                  <a:lnTo>
                    <a:pt x="1283" y="693"/>
                  </a:lnTo>
                  <a:lnTo>
                    <a:pt x="1283" y="693"/>
                  </a:lnTo>
                  <a:lnTo>
                    <a:pt x="1283" y="693"/>
                  </a:lnTo>
                  <a:lnTo>
                    <a:pt x="1280" y="693"/>
                  </a:lnTo>
                  <a:lnTo>
                    <a:pt x="1280" y="693"/>
                  </a:lnTo>
                  <a:lnTo>
                    <a:pt x="1280" y="693"/>
                  </a:lnTo>
                  <a:lnTo>
                    <a:pt x="1280" y="693"/>
                  </a:lnTo>
                  <a:lnTo>
                    <a:pt x="1280" y="693"/>
                  </a:lnTo>
                  <a:lnTo>
                    <a:pt x="1278" y="697"/>
                  </a:lnTo>
                  <a:lnTo>
                    <a:pt x="1276" y="697"/>
                  </a:lnTo>
                  <a:lnTo>
                    <a:pt x="1276" y="700"/>
                  </a:lnTo>
                  <a:lnTo>
                    <a:pt x="1273" y="702"/>
                  </a:lnTo>
                  <a:lnTo>
                    <a:pt x="1264" y="705"/>
                  </a:lnTo>
                  <a:lnTo>
                    <a:pt x="1261" y="707"/>
                  </a:lnTo>
                  <a:lnTo>
                    <a:pt x="1261" y="707"/>
                  </a:lnTo>
                  <a:lnTo>
                    <a:pt x="1261" y="709"/>
                  </a:lnTo>
                  <a:lnTo>
                    <a:pt x="1254" y="714"/>
                  </a:lnTo>
                  <a:lnTo>
                    <a:pt x="1254" y="714"/>
                  </a:lnTo>
                  <a:lnTo>
                    <a:pt x="1254" y="716"/>
                  </a:lnTo>
                  <a:lnTo>
                    <a:pt x="1252" y="716"/>
                  </a:lnTo>
                  <a:lnTo>
                    <a:pt x="1252" y="716"/>
                  </a:lnTo>
                  <a:lnTo>
                    <a:pt x="1252" y="719"/>
                  </a:lnTo>
                  <a:lnTo>
                    <a:pt x="1252" y="721"/>
                  </a:lnTo>
                  <a:lnTo>
                    <a:pt x="1252" y="723"/>
                  </a:lnTo>
                  <a:lnTo>
                    <a:pt x="1252" y="723"/>
                  </a:lnTo>
                  <a:lnTo>
                    <a:pt x="1259" y="733"/>
                  </a:lnTo>
                  <a:lnTo>
                    <a:pt x="1259" y="733"/>
                  </a:lnTo>
                  <a:lnTo>
                    <a:pt x="1259" y="733"/>
                  </a:lnTo>
                  <a:lnTo>
                    <a:pt x="1259" y="733"/>
                  </a:lnTo>
                  <a:lnTo>
                    <a:pt x="1259" y="731"/>
                  </a:lnTo>
                  <a:lnTo>
                    <a:pt x="1259" y="731"/>
                  </a:lnTo>
                  <a:lnTo>
                    <a:pt x="1259" y="731"/>
                  </a:lnTo>
                  <a:lnTo>
                    <a:pt x="1259" y="731"/>
                  </a:lnTo>
                  <a:lnTo>
                    <a:pt x="1259" y="728"/>
                  </a:lnTo>
                  <a:lnTo>
                    <a:pt x="1261" y="728"/>
                  </a:lnTo>
                  <a:lnTo>
                    <a:pt x="1261" y="728"/>
                  </a:lnTo>
                  <a:lnTo>
                    <a:pt x="1261" y="728"/>
                  </a:lnTo>
                  <a:lnTo>
                    <a:pt x="1268" y="728"/>
                  </a:lnTo>
                  <a:lnTo>
                    <a:pt x="1271" y="728"/>
                  </a:lnTo>
                  <a:lnTo>
                    <a:pt x="1273" y="728"/>
                  </a:lnTo>
                  <a:lnTo>
                    <a:pt x="1273" y="728"/>
                  </a:lnTo>
                  <a:lnTo>
                    <a:pt x="1276" y="728"/>
                  </a:lnTo>
                  <a:lnTo>
                    <a:pt x="1276" y="728"/>
                  </a:lnTo>
                  <a:lnTo>
                    <a:pt x="1271" y="731"/>
                  </a:lnTo>
                  <a:lnTo>
                    <a:pt x="1271" y="731"/>
                  </a:lnTo>
                  <a:lnTo>
                    <a:pt x="1271" y="731"/>
                  </a:lnTo>
                  <a:lnTo>
                    <a:pt x="1268" y="733"/>
                  </a:lnTo>
                  <a:lnTo>
                    <a:pt x="1268" y="733"/>
                  </a:lnTo>
                  <a:lnTo>
                    <a:pt x="1268" y="733"/>
                  </a:lnTo>
                  <a:lnTo>
                    <a:pt x="1266" y="733"/>
                  </a:lnTo>
                  <a:lnTo>
                    <a:pt x="1266" y="733"/>
                  </a:lnTo>
                  <a:lnTo>
                    <a:pt x="1266" y="733"/>
                  </a:lnTo>
                  <a:lnTo>
                    <a:pt x="1266" y="733"/>
                  </a:lnTo>
                  <a:lnTo>
                    <a:pt x="1266" y="735"/>
                  </a:lnTo>
                  <a:lnTo>
                    <a:pt x="1266" y="735"/>
                  </a:lnTo>
                  <a:lnTo>
                    <a:pt x="1264" y="735"/>
                  </a:lnTo>
                  <a:lnTo>
                    <a:pt x="1264" y="735"/>
                  </a:lnTo>
                  <a:lnTo>
                    <a:pt x="1264" y="735"/>
                  </a:lnTo>
                  <a:lnTo>
                    <a:pt x="1264" y="735"/>
                  </a:lnTo>
                  <a:lnTo>
                    <a:pt x="1261" y="735"/>
                  </a:lnTo>
                  <a:lnTo>
                    <a:pt x="1261" y="738"/>
                  </a:lnTo>
                  <a:lnTo>
                    <a:pt x="1261" y="738"/>
                  </a:lnTo>
                  <a:lnTo>
                    <a:pt x="1259" y="735"/>
                  </a:lnTo>
                  <a:lnTo>
                    <a:pt x="1259" y="735"/>
                  </a:lnTo>
                  <a:lnTo>
                    <a:pt x="1257" y="735"/>
                  </a:lnTo>
                  <a:lnTo>
                    <a:pt x="1257" y="735"/>
                  </a:lnTo>
                  <a:lnTo>
                    <a:pt x="1257" y="738"/>
                  </a:lnTo>
                  <a:lnTo>
                    <a:pt x="1257" y="738"/>
                  </a:lnTo>
                  <a:lnTo>
                    <a:pt x="1257" y="740"/>
                  </a:lnTo>
                  <a:lnTo>
                    <a:pt x="1257" y="740"/>
                  </a:lnTo>
                  <a:lnTo>
                    <a:pt x="1257" y="742"/>
                  </a:lnTo>
                  <a:lnTo>
                    <a:pt x="1254" y="740"/>
                  </a:lnTo>
                  <a:lnTo>
                    <a:pt x="1254" y="740"/>
                  </a:lnTo>
                  <a:lnTo>
                    <a:pt x="1254" y="740"/>
                  </a:lnTo>
                  <a:lnTo>
                    <a:pt x="1254" y="738"/>
                  </a:lnTo>
                  <a:lnTo>
                    <a:pt x="1249" y="735"/>
                  </a:lnTo>
                  <a:lnTo>
                    <a:pt x="1249" y="735"/>
                  </a:lnTo>
                  <a:lnTo>
                    <a:pt x="1247" y="735"/>
                  </a:lnTo>
                  <a:lnTo>
                    <a:pt x="1247" y="738"/>
                  </a:lnTo>
                  <a:lnTo>
                    <a:pt x="1247" y="735"/>
                  </a:lnTo>
                  <a:lnTo>
                    <a:pt x="1245" y="735"/>
                  </a:lnTo>
                  <a:lnTo>
                    <a:pt x="1242" y="735"/>
                  </a:lnTo>
                  <a:lnTo>
                    <a:pt x="1242" y="735"/>
                  </a:lnTo>
                  <a:lnTo>
                    <a:pt x="1240" y="738"/>
                  </a:lnTo>
                  <a:lnTo>
                    <a:pt x="1240" y="738"/>
                  </a:lnTo>
                  <a:lnTo>
                    <a:pt x="1242" y="740"/>
                  </a:lnTo>
                  <a:lnTo>
                    <a:pt x="1242" y="740"/>
                  </a:lnTo>
                  <a:lnTo>
                    <a:pt x="1240" y="740"/>
                  </a:lnTo>
                  <a:lnTo>
                    <a:pt x="1240" y="738"/>
                  </a:lnTo>
                  <a:lnTo>
                    <a:pt x="1238" y="740"/>
                  </a:lnTo>
                  <a:lnTo>
                    <a:pt x="1238" y="740"/>
                  </a:lnTo>
                  <a:lnTo>
                    <a:pt x="1235" y="740"/>
                  </a:lnTo>
                  <a:lnTo>
                    <a:pt x="1235" y="740"/>
                  </a:lnTo>
                  <a:lnTo>
                    <a:pt x="1235" y="742"/>
                  </a:lnTo>
                  <a:lnTo>
                    <a:pt x="1235" y="742"/>
                  </a:lnTo>
                  <a:lnTo>
                    <a:pt x="1235" y="742"/>
                  </a:lnTo>
                  <a:lnTo>
                    <a:pt x="1238" y="745"/>
                  </a:lnTo>
                  <a:lnTo>
                    <a:pt x="1238" y="745"/>
                  </a:lnTo>
                  <a:lnTo>
                    <a:pt x="1238" y="745"/>
                  </a:lnTo>
                  <a:lnTo>
                    <a:pt x="1238" y="745"/>
                  </a:lnTo>
                  <a:lnTo>
                    <a:pt x="1238" y="745"/>
                  </a:lnTo>
                  <a:lnTo>
                    <a:pt x="1235" y="745"/>
                  </a:lnTo>
                  <a:lnTo>
                    <a:pt x="1235" y="747"/>
                  </a:lnTo>
                  <a:lnTo>
                    <a:pt x="1238" y="747"/>
                  </a:lnTo>
                  <a:lnTo>
                    <a:pt x="1238" y="747"/>
                  </a:lnTo>
                  <a:lnTo>
                    <a:pt x="1240" y="747"/>
                  </a:lnTo>
                  <a:lnTo>
                    <a:pt x="1240" y="747"/>
                  </a:lnTo>
                  <a:lnTo>
                    <a:pt x="1240" y="749"/>
                  </a:lnTo>
                  <a:lnTo>
                    <a:pt x="1238" y="749"/>
                  </a:lnTo>
                  <a:lnTo>
                    <a:pt x="1238" y="752"/>
                  </a:lnTo>
                  <a:lnTo>
                    <a:pt x="1240" y="752"/>
                  </a:lnTo>
                  <a:lnTo>
                    <a:pt x="1245" y="752"/>
                  </a:lnTo>
                  <a:lnTo>
                    <a:pt x="1245" y="752"/>
                  </a:lnTo>
                  <a:lnTo>
                    <a:pt x="1242" y="752"/>
                  </a:lnTo>
                  <a:lnTo>
                    <a:pt x="1242" y="752"/>
                  </a:lnTo>
                  <a:lnTo>
                    <a:pt x="1242" y="752"/>
                  </a:lnTo>
                  <a:lnTo>
                    <a:pt x="1242" y="752"/>
                  </a:lnTo>
                  <a:lnTo>
                    <a:pt x="1245" y="752"/>
                  </a:lnTo>
                  <a:lnTo>
                    <a:pt x="1245" y="752"/>
                  </a:lnTo>
                  <a:lnTo>
                    <a:pt x="1247" y="752"/>
                  </a:lnTo>
                  <a:lnTo>
                    <a:pt x="1247" y="752"/>
                  </a:lnTo>
                  <a:lnTo>
                    <a:pt x="1247" y="752"/>
                  </a:lnTo>
                  <a:lnTo>
                    <a:pt x="1247" y="752"/>
                  </a:lnTo>
                  <a:lnTo>
                    <a:pt x="1247" y="752"/>
                  </a:lnTo>
                  <a:lnTo>
                    <a:pt x="1247" y="752"/>
                  </a:lnTo>
                  <a:lnTo>
                    <a:pt x="1249" y="749"/>
                  </a:lnTo>
                  <a:lnTo>
                    <a:pt x="1249" y="752"/>
                  </a:lnTo>
                  <a:lnTo>
                    <a:pt x="1249" y="752"/>
                  </a:lnTo>
                  <a:lnTo>
                    <a:pt x="1249" y="752"/>
                  </a:lnTo>
                  <a:lnTo>
                    <a:pt x="1252" y="752"/>
                  </a:lnTo>
                  <a:lnTo>
                    <a:pt x="1252" y="752"/>
                  </a:lnTo>
                  <a:lnTo>
                    <a:pt x="1252" y="754"/>
                  </a:lnTo>
                  <a:lnTo>
                    <a:pt x="1252" y="754"/>
                  </a:lnTo>
                  <a:lnTo>
                    <a:pt x="1254" y="754"/>
                  </a:lnTo>
                  <a:lnTo>
                    <a:pt x="1254" y="754"/>
                  </a:lnTo>
                  <a:lnTo>
                    <a:pt x="1254" y="757"/>
                  </a:lnTo>
                  <a:lnTo>
                    <a:pt x="1257" y="757"/>
                  </a:lnTo>
                  <a:lnTo>
                    <a:pt x="1257" y="757"/>
                  </a:lnTo>
                  <a:lnTo>
                    <a:pt x="1257" y="757"/>
                  </a:lnTo>
                  <a:lnTo>
                    <a:pt x="1257" y="757"/>
                  </a:lnTo>
                  <a:lnTo>
                    <a:pt x="1259" y="757"/>
                  </a:lnTo>
                  <a:lnTo>
                    <a:pt x="1259" y="757"/>
                  </a:lnTo>
                  <a:lnTo>
                    <a:pt x="1259" y="757"/>
                  </a:lnTo>
                  <a:lnTo>
                    <a:pt x="1259" y="754"/>
                  </a:lnTo>
                  <a:lnTo>
                    <a:pt x="1257" y="754"/>
                  </a:lnTo>
                  <a:lnTo>
                    <a:pt x="1257" y="752"/>
                  </a:lnTo>
                  <a:lnTo>
                    <a:pt x="1257" y="752"/>
                  </a:lnTo>
                  <a:lnTo>
                    <a:pt x="1257" y="752"/>
                  </a:lnTo>
                  <a:lnTo>
                    <a:pt x="1257" y="752"/>
                  </a:lnTo>
                  <a:lnTo>
                    <a:pt x="1254" y="752"/>
                  </a:lnTo>
                  <a:lnTo>
                    <a:pt x="1254" y="749"/>
                  </a:lnTo>
                  <a:lnTo>
                    <a:pt x="1257" y="749"/>
                  </a:lnTo>
                  <a:lnTo>
                    <a:pt x="1257" y="749"/>
                  </a:lnTo>
                  <a:lnTo>
                    <a:pt x="1257" y="749"/>
                  </a:lnTo>
                  <a:lnTo>
                    <a:pt x="1257" y="752"/>
                  </a:lnTo>
                  <a:lnTo>
                    <a:pt x="1259" y="752"/>
                  </a:lnTo>
                  <a:lnTo>
                    <a:pt x="1259" y="754"/>
                  </a:lnTo>
                  <a:lnTo>
                    <a:pt x="1259" y="754"/>
                  </a:lnTo>
                  <a:lnTo>
                    <a:pt x="1261" y="754"/>
                  </a:lnTo>
                  <a:lnTo>
                    <a:pt x="1261" y="754"/>
                  </a:lnTo>
                  <a:lnTo>
                    <a:pt x="1261" y="754"/>
                  </a:lnTo>
                  <a:lnTo>
                    <a:pt x="1261" y="754"/>
                  </a:lnTo>
                  <a:lnTo>
                    <a:pt x="1261" y="754"/>
                  </a:lnTo>
                  <a:lnTo>
                    <a:pt x="1261" y="754"/>
                  </a:lnTo>
                  <a:lnTo>
                    <a:pt x="1261" y="757"/>
                  </a:lnTo>
                  <a:lnTo>
                    <a:pt x="1261" y="757"/>
                  </a:lnTo>
                  <a:lnTo>
                    <a:pt x="1261" y="757"/>
                  </a:lnTo>
                  <a:lnTo>
                    <a:pt x="1261" y="757"/>
                  </a:lnTo>
                  <a:lnTo>
                    <a:pt x="1261" y="759"/>
                  </a:lnTo>
                  <a:lnTo>
                    <a:pt x="1261" y="759"/>
                  </a:lnTo>
                  <a:lnTo>
                    <a:pt x="1261" y="759"/>
                  </a:lnTo>
                  <a:lnTo>
                    <a:pt x="1264" y="757"/>
                  </a:lnTo>
                  <a:lnTo>
                    <a:pt x="1264" y="757"/>
                  </a:lnTo>
                  <a:lnTo>
                    <a:pt x="1264" y="757"/>
                  </a:lnTo>
                  <a:lnTo>
                    <a:pt x="1264" y="754"/>
                  </a:lnTo>
                  <a:lnTo>
                    <a:pt x="1264" y="754"/>
                  </a:lnTo>
                  <a:lnTo>
                    <a:pt x="1266" y="754"/>
                  </a:lnTo>
                  <a:lnTo>
                    <a:pt x="1266" y="754"/>
                  </a:lnTo>
                  <a:lnTo>
                    <a:pt x="1266" y="754"/>
                  </a:lnTo>
                  <a:lnTo>
                    <a:pt x="1268" y="754"/>
                  </a:lnTo>
                  <a:lnTo>
                    <a:pt x="1271" y="754"/>
                  </a:lnTo>
                  <a:lnTo>
                    <a:pt x="1271" y="754"/>
                  </a:lnTo>
                  <a:lnTo>
                    <a:pt x="1271" y="754"/>
                  </a:lnTo>
                  <a:lnTo>
                    <a:pt x="1271" y="752"/>
                  </a:lnTo>
                  <a:lnTo>
                    <a:pt x="1273" y="752"/>
                  </a:lnTo>
                  <a:lnTo>
                    <a:pt x="1273" y="752"/>
                  </a:lnTo>
                  <a:lnTo>
                    <a:pt x="1276" y="752"/>
                  </a:lnTo>
                  <a:lnTo>
                    <a:pt x="1276" y="752"/>
                  </a:lnTo>
                  <a:lnTo>
                    <a:pt x="1276" y="752"/>
                  </a:lnTo>
                  <a:lnTo>
                    <a:pt x="1276" y="752"/>
                  </a:lnTo>
                  <a:lnTo>
                    <a:pt x="1276" y="752"/>
                  </a:lnTo>
                  <a:lnTo>
                    <a:pt x="1276" y="752"/>
                  </a:lnTo>
                  <a:lnTo>
                    <a:pt x="1276" y="749"/>
                  </a:lnTo>
                  <a:lnTo>
                    <a:pt x="1278" y="749"/>
                  </a:lnTo>
                  <a:lnTo>
                    <a:pt x="1278" y="749"/>
                  </a:lnTo>
                  <a:lnTo>
                    <a:pt x="1278" y="749"/>
                  </a:lnTo>
                  <a:lnTo>
                    <a:pt x="1278" y="749"/>
                  </a:lnTo>
                  <a:lnTo>
                    <a:pt x="1278" y="747"/>
                  </a:lnTo>
                  <a:lnTo>
                    <a:pt x="1278" y="747"/>
                  </a:lnTo>
                  <a:lnTo>
                    <a:pt x="1278" y="745"/>
                  </a:lnTo>
                  <a:lnTo>
                    <a:pt x="1278" y="745"/>
                  </a:lnTo>
                  <a:lnTo>
                    <a:pt x="1280" y="745"/>
                  </a:lnTo>
                  <a:lnTo>
                    <a:pt x="1283" y="745"/>
                  </a:lnTo>
                  <a:lnTo>
                    <a:pt x="1283" y="745"/>
                  </a:lnTo>
                  <a:lnTo>
                    <a:pt x="1283" y="745"/>
                  </a:lnTo>
                  <a:lnTo>
                    <a:pt x="1280" y="747"/>
                  </a:lnTo>
                  <a:lnTo>
                    <a:pt x="1280" y="747"/>
                  </a:lnTo>
                  <a:lnTo>
                    <a:pt x="1280" y="749"/>
                  </a:lnTo>
                  <a:lnTo>
                    <a:pt x="1280" y="749"/>
                  </a:lnTo>
                  <a:lnTo>
                    <a:pt x="1280" y="752"/>
                  </a:lnTo>
                  <a:lnTo>
                    <a:pt x="1280" y="752"/>
                  </a:lnTo>
                  <a:lnTo>
                    <a:pt x="1280" y="752"/>
                  </a:lnTo>
                  <a:lnTo>
                    <a:pt x="1280" y="752"/>
                  </a:lnTo>
                  <a:lnTo>
                    <a:pt x="1283" y="752"/>
                  </a:lnTo>
                  <a:lnTo>
                    <a:pt x="1283" y="749"/>
                  </a:lnTo>
                  <a:lnTo>
                    <a:pt x="1285" y="747"/>
                  </a:lnTo>
                  <a:lnTo>
                    <a:pt x="1287" y="747"/>
                  </a:lnTo>
                  <a:lnTo>
                    <a:pt x="1287" y="747"/>
                  </a:lnTo>
                  <a:lnTo>
                    <a:pt x="1292" y="742"/>
                  </a:lnTo>
                  <a:lnTo>
                    <a:pt x="1292" y="742"/>
                  </a:lnTo>
                  <a:lnTo>
                    <a:pt x="1294" y="742"/>
                  </a:lnTo>
                  <a:lnTo>
                    <a:pt x="1292" y="742"/>
                  </a:lnTo>
                  <a:lnTo>
                    <a:pt x="1292" y="745"/>
                  </a:lnTo>
                  <a:lnTo>
                    <a:pt x="1290" y="745"/>
                  </a:lnTo>
                  <a:lnTo>
                    <a:pt x="1290" y="747"/>
                  </a:lnTo>
                  <a:lnTo>
                    <a:pt x="1290" y="747"/>
                  </a:lnTo>
                  <a:lnTo>
                    <a:pt x="1290" y="747"/>
                  </a:lnTo>
                  <a:lnTo>
                    <a:pt x="1290" y="747"/>
                  </a:lnTo>
                  <a:lnTo>
                    <a:pt x="1290" y="747"/>
                  </a:lnTo>
                  <a:lnTo>
                    <a:pt x="1287" y="749"/>
                  </a:lnTo>
                  <a:lnTo>
                    <a:pt x="1287" y="749"/>
                  </a:lnTo>
                  <a:lnTo>
                    <a:pt x="1287" y="749"/>
                  </a:lnTo>
                  <a:lnTo>
                    <a:pt x="1287" y="749"/>
                  </a:lnTo>
                  <a:lnTo>
                    <a:pt x="1285" y="749"/>
                  </a:lnTo>
                  <a:lnTo>
                    <a:pt x="1285" y="749"/>
                  </a:lnTo>
                  <a:lnTo>
                    <a:pt x="1285" y="752"/>
                  </a:lnTo>
                  <a:lnTo>
                    <a:pt x="1285" y="752"/>
                  </a:lnTo>
                  <a:lnTo>
                    <a:pt x="1285" y="752"/>
                  </a:lnTo>
                  <a:lnTo>
                    <a:pt x="1285" y="752"/>
                  </a:lnTo>
                  <a:lnTo>
                    <a:pt x="1285" y="752"/>
                  </a:lnTo>
                  <a:lnTo>
                    <a:pt x="1285" y="752"/>
                  </a:lnTo>
                  <a:lnTo>
                    <a:pt x="1285" y="752"/>
                  </a:lnTo>
                  <a:lnTo>
                    <a:pt x="1285" y="752"/>
                  </a:lnTo>
                  <a:lnTo>
                    <a:pt x="1285" y="752"/>
                  </a:lnTo>
                  <a:lnTo>
                    <a:pt x="1285" y="752"/>
                  </a:lnTo>
                  <a:lnTo>
                    <a:pt x="1283" y="752"/>
                  </a:lnTo>
                  <a:lnTo>
                    <a:pt x="1283" y="752"/>
                  </a:lnTo>
                  <a:lnTo>
                    <a:pt x="1283" y="754"/>
                  </a:lnTo>
                  <a:lnTo>
                    <a:pt x="1285" y="754"/>
                  </a:lnTo>
                  <a:lnTo>
                    <a:pt x="1285" y="754"/>
                  </a:lnTo>
                  <a:lnTo>
                    <a:pt x="1285" y="754"/>
                  </a:lnTo>
                  <a:lnTo>
                    <a:pt x="1287" y="754"/>
                  </a:lnTo>
                  <a:lnTo>
                    <a:pt x="1287" y="754"/>
                  </a:lnTo>
                  <a:lnTo>
                    <a:pt x="1287" y="752"/>
                  </a:lnTo>
                  <a:lnTo>
                    <a:pt x="1290" y="752"/>
                  </a:lnTo>
                  <a:lnTo>
                    <a:pt x="1290" y="752"/>
                  </a:lnTo>
                  <a:lnTo>
                    <a:pt x="1290" y="752"/>
                  </a:lnTo>
                  <a:lnTo>
                    <a:pt x="1290" y="749"/>
                  </a:lnTo>
                  <a:lnTo>
                    <a:pt x="1292" y="749"/>
                  </a:lnTo>
                  <a:lnTo>
                    <a:pt x="1292" y="749"/>
                  </a:lnTo>
                  <a:lnTo>
                    <a:pt x="1292" y="749"/>
                  </a:lnTo>
                  <a:lnTo>
                    <a:pt x="1292" y="752"/>
                  </a:lnTo>
                  <a:lnTo>
                    <a:pt x="1292" y="752"/>
                  </a:lnTo>
                  <a:lnTo>
                    <a:pt x="1292" y="752"/>
                  </a:lnTo>
                  <a:lnTo>
                    <a:pt x="1292" y="752"/>
                  </a:lnTo>
                  <a:lnTo>
                    <a:pt x="1294" y="749"/>
                  </a:lnTo>
                  <a:lnTo>
                    <a:pt x="1294" y="749"/>
                  </a:lnTo>
                  <a:lnTo>
                    <a:pt x="1294" y="749"/>
                  </a:lnTo>
                  <a:lnTo>
                    <a:pt x="1294" y="749"/>
                  </a:lnTo>
                  <a:lnTo>
                    <a:pt x="1294" y="747"/>
                  </a:lnTo>
                  <a:lnTo>
                    <a:pt x="1297" y="747"/>
                  </a:lnTo>
                  <a:lnTo>
                    <a:pt x="1297" y="747"/>
                  </a:lnTo>
                  <a:lnTo>
                    <a:pt x="1294" y="745"/>
                  </a:lnTo>
                  <a:lnTo>
                    <a:pt x="1297" y="745"/>
                  </a:lnTo>
                  <a:lnTo>
                    <a:pt x="1297" y="745"/>
                  </a:lnTo>
                  <a:lnTo>
                    <a:pt x="1297" y="745"/>
                  </a:lnTo>
                  <a:lnTo>
                    <a:pt x="1297" y="747"/>
                  </a:lnTo>
                  <a:lnTo>
                    <a:pt x="1297" y="747"/>
                  </a:lnTo>
                  <a:lnTo>
                    <a:pt x="1297" y="749"/>
                  </a:lnTo>
                  <a:lnTo>
                    <a:pt x="1297" y="749"/>
                  </a:lnTo>
                  <a:lnTo>
                    <a:pt x="1297" y="749"/>
                  </a:lnTo>
                  <a:lnTo>
                    <a:pt x="1297" y="749"/>
                  </a:lnTo>
                  <a:lnTo>
                    <a:pt x="1299" y="749"/>
                  </a:lnTo>
                  <a:lnTo>
                    <a:pt x="1302" y="747"/>
                  </a:lnTo>
                  <a:lnTo>
                    <a:pt x="1302" y="747"/>
                  </a:lnTo>
                  <a:lnTo>
                    <a:pt x="1302" y="745"/>
                  </a:lnTo>
                  <a:lnTo>
                    <a:pt x="1302" y="745"/>
                  </a:lnTo>
                  <a:lnTo>
                    <a:pt x="1302" y="745"/>
                  </a:lnTo>
                  <a:lnTo>
                    <a:pt x="1302" y="745"/>
                  </a:lnTo>
                  <a:lnTo>
                    <a:pt x="1299" y="742"/>
                  </a:lnTo>
                  <a:lnTo>
                    <a:pt x="1302" y="740"/>
                  </a:lnTo>
                  <a:lnTo>
                    <a:pt x="1302" y="740"/>
                  </a:lnTo>
                  <a:lnTo>
                    <a:pt x="1302" y="740"/>
                  </a:lnTo>
                  <a:lnTo>
                    <a:pt x="1302" y="742"/>
                  </a:lnTo>
                  <a:lnTo>
                    <a:pt x="1304" y="742"/>
                  </a:lnTo>
                  <a:lnTo>
                    <a:pt x="1304" y="742"/>
                  </a:lnTo>
                  <a:lnTo>
                    <a:pt x="1304" y="745"/>
                  </a:lnTo>
                  <a:lnTo>
                    <a:pt x="1304" y="747"/>
                  </a:lnTo>
                  <a:lnTo>
                    <a:pt x="1304" y="747"/>
                  </a:lnTo>
                  <a:lnTo>
                    <a:pt x="1304" y="747"/>
                  </a:lnTo>
                  <a:lnTo>
                    <a:pt x="1304" y="747"/>
                  </a:lnTo>
                  <a:lnTo>
                    <a:pt x="1304" y="749"/>
                  </a:lnTo>
                  <a:lnTo>
                    <a:pt x="1304" y="749"/>
                  </a:lnTo>
                  <a:lnTo>
                    <a:pt x="1304" y="749"/>
                  </a:lnTo>
                  <a:lnTo>
                    <a:pt x="1304" y="752"/>
                  </a:lnTo>
                  <a:lnTo>
                    <a:pt x="1304" y="752"/>
                  </a:lnTo>
                  <a:lnTo>
                    <a:pt x="1306" y="752"/>
                  </a:lnTo>
                  <a:lnTo>
                    <a:pt x="1306" y="749"/>
                  </a:lnTo>
                  <a:lnTo>
                    <a:pt x="1306" y="749"/>
                  </a:lnTo>
                  <a:lnTo>
                    <a:pt x="1309" y="745"/>
                  </a:lnTo>
                  <a:lnTo>
                    <a:pt x="1306" y="745"/>
                  </a:lnTo>
                  <a:lnTo>
                    <a:pt x="1306" y="740"/>
                  </a:lnTo>
                  <a:lnTo>
                    <a:pt x="1306" y="740"/>
                  </a:lnTo>
                  <a:lnTo>
                    <a:pt x="1306" y="740"/>
                  </a:lnTo>
                  <a:lnTo>
                    <a:pt x="1306" y="740"/>
                  </a:lnTo>
                  <a:lnTo>
                    <a:pt x="1309" y="740"/>
                  </a:lnTo>
                  <a:lnTo>
                    <a:pt x="1309" y="742"/>
                  </a:lnTo>
                  <a:lnTo>
                    <a:pt x="1309" y="742"/>
                  </a:lnTo>
                  <a:lnTo>
                    <a:pt x="1309" y="742"/>
                  </a:lnTo>
                  <a:lnTo>
                    <a:pt x="1311" y="740"/>
                  </a:lnTo>
                  <a:lnTo>
                    <a:pt x="1311" y="740"/>
                  </a:lnTo>
                  <a:lnTo>
                    <a:pt x="1313" y="735"/>
                  </a:lnTo>
                  <a:lnTo>
                    <a:pt x="1313" y="735"/>
                  </a:lnTo>
                  <a:lnTo>
                    <a:pt x="1313" y="735"/>
                  </a:lnTo>
                  <a:lnTo>
                    <a:pt x="1313" y="738"/>
                  </a:lnTo>
                  <a:lnTo>
                    <a:pt x="1313" y="740"/>
                  </a:lnTo>
                  <a:lnTo>
                    <a:pt x="1313" y="740"/>
                  </a:lnTo>
                  <a:lnTo>
                    <a:pt x="1313" y="742"/>
                  </a:lnTo>
                  <a:lnTo>
                    <a:pt x="1311" y="742"/>
                  </a:lnTo>
                  <a:lnTo>
                    <a:pt x="1311" y="745"/>
                  </a:lnTo>
                  <a:lnTo>
                    <a:pt x="1311" y="745"/>
                  </a:lnTo>
                  <a:lnTo>
                    <a:pt x="1311" y="745"/>
                  </a:lnTo>
                  <a:lnTo>
                    <a:pt x="1311" y="747"/>
                  </a:lnTo>
                  <a:lnTo>
                    <a:pt x="1311" y="747"/>
                  </a:lnTo>
                  <a:lnTo>
                    <a:pt x="1311" y="747"/>
                  </a:lnTo>
                  <a:lnTo>
                    <a:pt x="1311" y="747"/>
                  </a:lnTo>
                  <a:lnTo>
                    <a:pt x="1311" y="747"/>
                  </a:lnTo>
                  <a:lnTo>
                    <a:pt x="1311" y="747"/>
                  </a:lnTo>
                  <a:lnTo>
                    <a:pt x="1311" y="749"/>
                  </a:lnTo>
                  <a:lnTo>
                    <a:pt x="1311" y="749"/>
                  </a:lnTo>
                  <a:lnTo>
                    <a:pt x="1311" y="749"/>
                  </a:lnTo>
                  <a:lnTo>
                    <a:pt x="1311" y="752"/>
                  </a:lnTo>
                  <a:lnTo>
                    <a:pt x="1311" y="752"/>
                  </a:lnTo>
                  <a:lnTo>
                    <a:pt x="1313" y="752"/>
                  </a:lnTo>
                  <a:lnTo>
                    <a:pt x="1313" y="752"/>
                  </a:lnTo>
                  <a:lnTo>
                    <a:pt x="1313" y="749"/>
                  </a:lnTo>
                  <a:lnTo>
                    <a:pt x="1313" y="749"/>
                  </a:lnTo>
                  <a:lnTo>
                    <a:pt x="1313" y="749"/>
                  </a:lnTo>
                  <a:lnTo>
                    <a:pt x="1313" y="749"/>
                  </a:lnTo>
                  <a:lnTo>
                    <a:pt x="1313" y="747"/>
                  </a:lnTo>
                  <a:lnTo>
                    <a:pt x="1313" y="747"/>
                  </a:lnTo>
                  <a:lnTo>
                    <a:pt x="1313" y="747"/>
                  </a:lnTo>
                  <a:lnTo>
                    <a:pt x="1313" y="747"/>
                  </a:lnTo>
                  <a:lnTo>
                    <a:pt x="1313" y="747"/>
                  </a:lnTo>
                  <a:lnTo>
                    <a:pt x="1313" y="747"/>
                  </a:lnTo>
                  <a:lnTo>
                    <a:pt x="1313" y="745"/>
                  </a:lnTo>
                  <a:lnTo>
                    <a:pt x="1313" y="745"/>
                  </a:lnTo>
                  <a:lnTo>
                    <a:pt x="1313" y="745"/>
                  </a:lnTo>
                  <a:lnTo>
                    <a:pt x="1313" y="745"/>
                  </a:lnTo>
                  <a:lnTo>
                    <a:pt x="1313" y="745"/>
                  </a:lnTo>
                  <a:lnTo>
                    <a:pt x="1316" y="742"/>
                  </a:lnTo>
                  <a:lnTo>
                    <a:pt x="1316" y="740"/>
                  </a:lnTo>
                  <a:lnTo>
                    <a:pt x="1316" y="740"/>
                  </a:lnTo>
                  <a:lnTo>
                    <a:pt x="1318" y="740"/>
                  </a:lnTo>
                  <a:lnTo>
                    <a:pt x="1318" y="740"/>
                  </a:lnTo>
                  <a:lnTo>
                    <a:pt x="1318" y="740"/>
                  </a:lnTo>
                  <a:lnTo>
                    <a:pt x="1318" y="740"/>
                  </a:lnTo>
                  <a:lnTo>
                    <a:pt x="1320" y="740"/>
                  </a:lnTo>
                  <a:lnTo>
                    <a:pt x="1320" y="740"/>
                  </a:lnTo>
                  <a:lnTo>
                    <a:pt x="1320" y="740"/>
                  </a:lnTo>
                  <a:lnTo>
                    <a:pt x="1320" y="740"/>
                  </a:lnTo>
                  <a:lnTo>
                    <a:pt x="1320" y="738"/>
                  </a:lnTo>
                  <a:lnTo>
                    <a:pt x="1323" y="738"/>
                  </a:lnTo>
                  <a:lnTo>
                    <a:pt x="1323" y="738"/>
                  </a:lnTo>
                  <a:lnTo>
                    <a:pt x="1323" y="738"/>
                  </a:lnTo>
                  <a:lnTo>
                    <a:pt x="1323" y="738"/>
                  </a:lnTo>
                  <a:lnTo>
                    <a:pt x="1323" y="738"/>
                  </a:lnTo>
                  <a:lnTo>
                    <a:pt x="1323" y="735"/>
                  </a:lnTo>
                  <a:lnTo>
                    <a:pt x="1323" y="735"/>
                  </a:lnTo>
                  <a:lnTo>
                    <a:pt x="1323" y="733"/>
                  </a:lnTo>
                  <a:lnTo>
                    <a:pt x="1325" y="733"/>
                  </a:lnTo>
                  <a:lnTo>
                    <a:pt x="1325" y="731"/>
                  </a:lnTo>
                  <a:lnTo>
                    <a:pt x="1325" y="731"/>
                  </a:lnTo>
                  <a:lnTo>
                    <a:pt x="1328" y="733"/>
                  </a:lnTo>
                  <a:lnTo>
                    <a:pt x="1328" y="733"/>
                  </a:lnTo>
                  <a:lnTo>
                    <a:pt x="1328" y="733"/>
                  </a:lnTo>
                  <a:lnTo>
                    <a:pt x="1325" y="738"/>
                  </a:lnTo>
                  <a:lnTo>
                    <a:pt x="1325" y="738"/>
                  </a:lnTo>
                  <a:lnTo>
                    <a:pt x="1325" y="738"/>
                  </a:lnTo>
                  <a:lnTo>
                    <a:pt x="1325" y="738"/>
                  </a:lnTo>
                  <a:lnTo>
                    <a:pt x="1325" y="740"/>
                  </a:lnTo>
                  <a:lnTo>
                    <a:pt x="1325" y="740"/>
                  </a:lnTo>
                  <a:lnTo>
                    <a:pt x="1325" y="740"/>
                  </a:lnTo>
                  <a:lnTo>
                    <a:pt x="1325" y="740"/>
                  </a:lnTo>
                  <a:lnTo>
                    <a:pt x="1325" y="740"/>
                  </a:lnTo>
                  <a:lnTo>
                    <a:pt x="1325" y="740"/>
                  </a:lnTo>
                  <a:lnTo>
                    <a:pt x="1325" y="740"/>
                  </a:lnTo>
                  <a:lnTo>
                    <a:pt x="1325" y="742"/>
                  </a:lnTo>
                  <a:lnTo>
                    <a:pt x="1325" y="742"/>
                  </a:lnTo>
                  <a:lnTo>
                    <a:pt x="1323" y="742"/>
                  </a:lnTo>
                  <a:lnTo>
                    <a:pt x="1323" y="745"/>
                  </a:lnTo>
                  <a:lnTo>
                    <a:pt x="1323" y="747"/>
                  </a:lnTo>
                  <a:lnTo>
                    <a:pt x="1323" y="747"/>
                  </a:lnTo>
                  <a:lnTo>
                    <a:pt x="1323" y="745"/>
                  </a:lnTo>
                  <a:lnTo>
                    <a:pt x="1325" y="745"/>
                  </a:lnTo>
                  <a:lnTo>
                    <a:pt x="1325" y="745"/>
                  </a:lnTo>
                  <a:lnTo>
                    <a:pt x="1325" y="745"/>
                  </a:lnTo>
                  <a:lnTo>
                    <a:pt x="1325" y="742"/>
                  </a:lnTo>
                  <a:lnTo>
                    <a:pt x="1328" y="742"/>
                  </a:lnTo>
                  <a:lnTo>
                    <a:pt x="1328" y="742"/>
                  </a:lnTo>
                  <a:lnTo>
                    <a:pt x="1328" y="742"/>
                  </a:lnTo>
                  <a:lnTo>
                    <a:pt x="1328" y="740"/>
                  </a:lnTo>
                  <a:lnTo>
                    <a:pt x="1328" y="740"/>
                  </a:lnTo>
                  <a:lnTo>
                    <a:pt x="1328" y="740"/>
                  </a:lnTo>
                  <a:lnTo>
                    <a:pt x="1330" y="740"/>
                  </a:lnTo>
                  <a:lnTo>
                    <a:pt x="1332" y="740"/>
                  </a:lnTo>
                  <a:lnTo>
                    <a:pt x="1332" y="738"/>
                  </a:lnTo>
                  <a:lnTo>
                    <a:pt x="1332" y="740"/>
                  </a:lnTo>
                  <a:lnTo>
                    <a:pt x="1335" y="740"/>
                  </a:lnTo>
                  <a:lnTo>
                    <a:pt x="1332" y="740"/>
                  </a:lnTo>
                  <a:lnTo>
                    <a:pt x="1330" y="742"/>
                  </a:lnTo>
                  <a:lnTo>
                    <a:pt x="1330" y="742"/>
                  </a:lnTo>
                  <a:lnTo>
                    <a:pt x="1330" y="742"/>
                  </a:lnTo>
                  <a:lnTo>
                    <a:pt x="1330" y="745"/>
                  </a:lnTo>
                  <a:lnTo>
                    <a:pt x="1332" y="745"/>
                  </a:lnTo>
                  <a:lnTo>
                    <a:pt x="1332" y="745"/>
                  </a:lnTo>
                  <a:lnTo>
                    <a:pt x="1332" y="745"/>
                  </a:lnTo>
                  <a:lnTo>
                    <a:pt x="1335" y="745"/>
                  </a:lnTo>
                  <a:lnTo>
                    <a:pt x="1335" y="745"/>
                  </a:lnTo>
                  <a:lnTo>
                    <a:pt x="1335" y="747"/>
                  </a:lnTo>
                  <a:lnTo>
                    <a:pt x="1335" y="747"/>
                  </a:lnTo>
                  <a:lnTo>
                    <a:pt x="1337" y="749"/>
                  </a:lnTo>
                  <a:lnTo>
                    <a:pt x="1339" y="747"/>
                  </a:lnTo>
                  <a:lnTo>
                    <a:pt x="1339" y="747"/>
                  </a:lnTo>
                  <a:lnTo>
                    <a:pt x="1339" y="749"/>
                  </a:lnTo>
                  <a:lnTo>
                    <a:pt x="1339" y="749"/>
                  </a:lnTo>
                  <a:lnTo>
                    <a:pt x="1339" y="749"/>
                  </a:lnTo>
                  <a:lnTo>
                    <a:pt x="1339" y="749"/>
                  </a:lnTo>
                  <a:lnTo>
                    <a:pt x="1342" y="749"/>
                  </a:lnTo>
                  <a:lnTo>
                    <a:pt x="1342" y="749"/>
                  </a:lnTo>
                  <a:lnTo>
                    <a:pt x="1342" y="749"/>
                  </a:lnTo>
                  <a:lnTo>
                    <a:pt x="1342" y="749"/>
                  </a:lnTo>
                  <a:lnTo>
                    <a:pt x="1342" y="749"/>
                  </a:lnTo>
                  <a:lnTo>
                    <a:pt x="1342" y="752"/>
                  </a:lnTo>
                  <a:lnTo>
                    <a:pt x="1342" y="752"/>
                  </a:lnTo>
                  <a:lnTo>
                    <a:pt x="1342" y="752"/>
                  </a:lnTo>
                  <a:lnTo>
                    <a:pt x="1344" y="752"/>
                  </a:lnTo>
                  <a:lnTo>
                    <a:pt x="1344" y="749"/>
                  </a:lnTo>
                  <a:lnTo>
                    <a:pt x="1344" y="749"/>
                  </a:lnTo>
                  <a:lnTo>
                    <a:pt x="1347" y="749"/>
                  </a:lnTo>
                  <a:lnTo>
                    <a:pt x="1347" y="749"/>
                  </a:lnTo>
                  <a:lnTo>
                    <a:pt x="1347" y="749"/>
                  </a:lnTo>
                  <a:lnTo>
                    <a:pt x="1347" y="747"/>
                  </a:lnTo>
                  <a:lnTo>
                    <a:pt x="1347" y="747"/>
                  </a:lnTo>
                  <a:lnTo>
                    <a:pt x="1347" y="749"/>
                  </a:lnTo>
                  <a:lnTo>
                    <a:pt x="1347" y="752"/>
                  </a:lnTo>
                  <a:lnTo>
                    <a:pt x="1347" y="752"/>
                  </a:lnTo>
                  <a:lnTo>
                    <a:pt x="1349" y="752"/>
                  </a:lnTo>
                  <a:lnTo>
                    <a:pt x="1349" y="752"/>
                  </a:lnTo>
                  <a:lnTo>
                    <a:pt x="1349" y="749"/>
                  </a:lnTo>
                  <a:lnTo>
                    <a:pt x="1349" y="749"/>
                  </a:lnTo>
                  <a:lnTo>
                    <a:pt x="1349" y="749"/>
                  </a:lnTo>
                  <a:lnTo>
                    <a:pt x="1349" y="749"/>
                  </a:lnTo>
                  <a:lnTo>
                    <a:pt x="1349" y="749"/>
                  </a:lnTo>
                  <a:lnTo>
                    <a:pt x="1349" y="749"/>
                  </a:lnTo>
                  <a:lnTo>
                    <a:pt x="1349" y="749"/>
                  </a:lnTo>
                  <a:lnTo>
                    <a:pt x="1351" y="749"/>
                  </a:lnTo>
                  <a:lnTo>
                    <a:pt x="1351" y="747"/>
                  </a:lnTo>
                  <a:lnTo>
                    <a:pt x="1354" y="747"/>
                  </a:lnTo>
                  <a:lnTo>
                    <a:pt x="1354" y="745"/>
                  </a:lnTo>
                  <a:lnTo>
                    <a:pt x="1356" y="742"/>
                  </a:lnTo>
                  <a:lnTo>
                    <a:pt x="1356" y="742"/>
                  </a:lnTo>
                  <a:lnTo>
                    <a:pt x="1356" y="742"/>
                  </a:lnTo>
                  <a:lnTo>
                    <a:pt x="1356" y="742"/>
                  </a:lnTo>
                  <a:lnTo>
                    <a:pt x="1356" y="745"/>
                  </a:lnTo>
                  <a:lnTo>
                    <a:pt x="1356" y="745"/>
                  </a:lnTo>
                  <a:lnTo>
                    <a:pt x="1358" y="747"/>
                  </a:lnTo>
                  <a:lnTo>
                    <a:pt x="1358" y="747"/>
                  </a:lnTo>
                  <a:lnTo>
                    <a:pt x="1361" y="745"/>
                  </a:lnTo>
                  <a:lnTo>
                    <a:pt x="1363" y="745"/>
                  </a:lnTo>
                  <a:lnTo>
                    <a:pt x="1363" y="742"/>
                  </a:lnTo>
                  <a:lnTo>
                    <a:pt x="1363" y="742"/>
                  </a:lnTo>
                  <a:lnTo>
                    <a:pt x="1363" y="742"/>
                  </a:lnTo>
                  <a:lnTo>
                    <a:pt x="1363" y="742"/>
                  </a:lnTo>
                  <a:lnTo>
                    <a:pt x="1363" y="742"/>
                  </a:lnTo>
                  <a:lnTo>
                    <a:pt x="1363" y="742"/>
                  </a:lnTo>
                  <a:lnTo>
                    <a:pt x="1361" y="742"/>
                  </a:lnTo>
                  <a:lnTo>
                    <a:pt x="1361" y="745"/>
                  </a:lnTo>
                  <a:lnTo>
                    <a:pt x="1358" y="745"/>
                  </a:lnTo>
                  <a:lnTo>
                    <a:pt x="1361" y="742"/>
                  </a:lnTo>
                  <a:lnTo>
                    <a:pt x="1361" y="742"/>
                  </a:lnTo>
                  <a:lnTo>
                    <a:pt x="1361" y="742"/>
                  </a:lnTo>
                  <a:lnTo>
                    <a:pt x="1361" y="742"/>
                  </a:lnTo>
                  <a:lnTo>
                    <a:pt x="1358" y="740"/>
                  </a:lnTo>
                  <a:lnTo>
                    <a:pt x="1358" y="740"/>
                  </a:lnTo>
                  <a:lnTo>
                    <a:pt x="1361" y="740"/>
                  </a:lnTo>
                  <a:lnTo>
                    <a:pt x="1361" y="740"/>
                  </a:lnTo>
                  <a:lnTo>
                    <a:pt x="1361" y="740"/>
                  </a:lnTo>
                  <a:lnTo>
                    <a:pt x="1361" y="740"/>
                  </a:lnTo>
                  <a:lnTo>
                    <a:pt x="1361" y="740"/>
                  </a:lnTo>
                  <a:lnTo>
                    <a:pt x="1358" y="740"/>
                  </a:lnTo>
                  <a:lnTo>
                    <a:pt x="1356" y="740"/>
                  </a:lnTo>
                  <a:lnTo>
                    <a:pt x="1356" y="740"/>
                  </a:lnTo>
                  <a:lnTo>
                    <a:pt x="1354" y="740"/>
                  </a:lnTo>
                  <a:lnTo>
                    <a:pt x="1354" y="740"/>
                  </a:lnTo>
                  <a:lnTo>
                    <a:pt x="1354" y="740"/>
                  </a:lnTo>
                  <a:lnTo>
                    <a:pt x="1354" y="740"/>
                  </a:lnTo>
                  <a:lnTo>
                    <a:pt x="1356" y="740"/>
                  </a:lnTo>
                  <a:lnTo>
                    <a:pt x="1356" y="740"/>
                  </a:lnTo>
                  <a:lnTo>
                    <a:pt x="1356" y="740"/>
                  </a:lnTo>
                  <a:lnTo>
                    <a:pt x="1356" y="738"/>
                  </a:lnTo>
                  <a:lnTo>
                    <a:pt x="1356" y="738"/>
                  </a:lnTo>
                  <a:lnTo>
                    <a:pt x="1356" y="738"/>
                  </a:lnTo>
                  <a:lnTo>
                    <a:pt x="1356" y="738"/>
                  </a:lnTo>
                  <a:lnTo>
                    <a:pt x="1356" y="735"/>
                  </a:lnTo>
                  <a:lnTo>
                    <a:pt x="1358" y="735"/>
                  </a:lnTo>
                  <a:lnTo>
                    <a:pt x="1358" y="735"/>
                  </a:lnTo>
                  <a:lnTo>
                    <a:pt x="1358" y="735"/>
                  </a:lnTo>
                  <a:lnTo>
                    <a:pt x="1358" y="738"/>
                  </a:lnTo>
                  <a:lnTo>
                    <a:pt x="1358" y="738"/>
                  </a:lnTo>
                  <a:lnTo>
                    <a:pt x="1358" y="738"/>
                  </a:lnTo>
                  <a:lnTo>
                    <a:pt x="1358" y="738"/>
                  </a:lnTo>
                  <a:lnTo>
                    <a:pt x="1361" y="738"/>
                  </a:lnTo>
                  <a:lnTo>
                    <a:pt x="1361" y="738"/>
                  </a:lnTo>
                  <a:lnTo>
                    <a:pt x="1363" y="735"/>
                  </a:lnTo>
                  <a:lnTo>
                    <a:pt x="1363" y="735"/>
                  </a:lnTo>
                  <a:lnTo>
                    <a:pt x="1363" y="733"/>
                  </a:lnTo>
                  <a:lnTo>
                    <a:pt x="1363" y="733"/>
                  </a:lnTo>
                  <a:lnTo>
                    <a:pt x="1363" y="733"/>
                  </a:lnTo>
                  <a:lnTo>
                    <a:pt x="1363" y="733"/>
                  </a:lnTo>
                  <a:lnTo>
                    <a:pt x="1363" y="733"/>
                  </a:lnTo>
                  <a:lnTo>
                    <a:pt x="1363" y="733"/>
                  </a:lnTo>
                  <a:lnTo>
                    <a:pt x="1363" y="733"/>
                  </a:lnTo>
                  <a:lnTo>
                    <a:pt x="1363" y="733"/>
                  </a:lnTo>
                  <a:lnTo>
                    <a:pt x="1363" y="735"/>
                  </a:lnTo>
                  <a:lnTo>
                    <a:pt x="1365" y="735"/>
                  </a:lnTo>
                  <a:lnTo>
                    <a:pt x="1365" y="735"/>
                  </a:lnTo>
                  <a:lnTo>
                    <a:pt x="1365" y="735"/>
                  </a:lnTo>
                  <a:lnTo>
                    <a:pt x="1365" y="733"/>
                  </a:lnTo>
                  <a:lnTo>
                    <a:pt x="1365" y="731"/>
                  </a:lnTo>
                  <a:lnTo>
                    <a:pt x="1365" y="731"/>
                  </a:lnTo>
                  <a:lnTo>
                    <a:pt x="1365" y="731"/>
                  </a:lnTo>
                  <a:lnTo>
                    <a:pt x="1368" y="733"/>
                  </a:lnTo>
                  <a:lnTo>
                    <a:pt x="1368" y="733"/>
                  </a:lnTo>
                  <a:lnTo>
                    <a:pt x="1368" y="733"/>
                  </a:lnTo>
                  <a:lnTo>
                    <a:pt x="1368" y="733"/>
                  </a:lnTo>
                  <a:lnTo>
                    <a:pt x="1368" y="733"/>
                  </a:lnTo>
                  <a:lnTo>
                    <a:pt x="1370" y="733"/>
                  </a:lnTo>
                  <a:lnTo>
                    <a:pt x="1370" y="733"/>
                  </a:lnTo>
                  <a:lnTo>
                    <a:pt x="1370" y="733"/>
                  </a:lnTo>
                  <a:lnTo>
                    <a:pt x="1373" y="733"/>
                  </a:lnTo>
                  <a:lnTo>
                    <a:pt x="1373" y="733"/>
                  </a:lnTo>
                  <a:lnTo>
                    <a:pt x="1373" y="733"/>
                  </a:lnTo>
                  <a:lnTo>
                    <a:pt x="1373" y="733"/>
                  </a:lnTo>
                  <a:lnTo>
                    <a:pt x="1373" y="731"/>
                  </a:lnTo>
                  <a:lnTo>
                    <a:pt x="1373" y="731"/>
                  </a:lnTo>
                  <a:lnTo>
                    <a:pt x="1373" y="731"/>
                  </a:lnTo>
                  <a:lnTo>
                    <a:pt x="1373" y="731"/>
                  </a:lnTo>
                  <a:lnTo>
                    <a:pt x="1373" y="731"/>
                  </a:lnTo>
                  <a:lnTo>
                    <a:pt x="1373" y="731"/>
                  </a:lnTo>
                  <a:lnTo>
                    <a:pt x="1373" y="731"/>
                  </a:lnTo>
                  <a:lnTo>
                    <a:pt x="1375" y="731"/>
                  </a:lnTo>
                  <a:lnTo>
                    <a:pt x="1375" y="728"/>
                  </a:lnTo>
                  <a:lnTo>
                    <a:pt x="1375" y="728"/>
                  </a:lnTo>
                  <a:lnTo>
                    <a:pt x="1375" y="728"/>
                  </a:lnTo>
                  <a:lnTo>
                    <a:pt x="1373" y="728"/>
                  </a:lnTo>
                  <a:lnTo>
                    <a:pt x="1373" y="728"/>
                  </a:lnTo>
                  <a:lnTo>
                    <a:pt x="1375" y="726"/>
                  </a:lnTo>
                  <a:lnTo>
                    <a:pt x="1375" y="726"/>
                  </a:lnTo>
                  <a:lnTo>
                    <a:pt x="1373" y="726"/>
                  </a:lnTo>
                  <a:lnTo>
                    <a:pt x="1373" y="726"/>
                  </a:lnTo>
                  <a:lnTo>
                    <a:pt x="1373" y="726"/>
                  </a:lnTo>
                  <a:lnTo>
                    <a:pt x="1373" y="726"/>
                  </a:lnTo>
                  <a:lnTo>
                    <a:pt x="1373" y="723"/>
                  </a:lnTo>
                  <a:lnTo>
                    <a:pt x="1373" y="723"/>
                  </a:lnTo>
                  <a:lnTo>
                    <a:pt x="1373" y="723"/>
                  </a:lnTo>
                  <a:lnTo>
                    <a:pt x="1373" y="721"/>
                  </a:lnTo>
                  <a:lnTo>
                    <a:pt x="1373" y="721"/>
                  </a:lnTo>
                  <a:lnTo>
                    <a:pt x="1373" y="723"/>
                  </a:lnTo>
                  <a:lnTo>
                    <a:pt x="1370" y="723"/>
                  </a:lnTo>
                  <a:lnTo>
                    <a:pt x="1370" y="723"/>
                  </a:lnTo>
                  <a:lnTo>
                    <a:pt x="1370" y="726"/>
                  </a:lnTo>
                  <a:lnTo>
                    <a:pt x="1368" y="726"/>
                  </a:lnTo>
                  <a:lnTo>
                    <a:pt x="1368" y="726"/>
                  </a:lnTo>
                  <a:lnTo>
                    <a:pt x="1368" y="726"/>
                  </a:lnTo>
                  <a:lnTo>
                    <a:pt x="1368" y="726"/>
                  </a:lnTo>
                  <a:lnTo>
                    <a:pt x="1370" y="723"/>
                  </a:lnTo>
                  <a:lnTo>
                    <a:pt x="1370" y="723"/>
                  </a:lnTo>
                  <a:lnTo>
                    <a:pt x="1370" y="723"/>
                  </a:lnTo>
                  <a:lnTo>
                    <a:pt x="1370" y="723"/>
                  </a:lnTo>
                  <a:lnTo>
                    <a:pt x="1368" y="723"/>
                  </a:lnTo>
                  <a:lnTo>
                    <a:pt x="1368" y="723"/>
                  </a:lnTo>
                  <a:lnTo>
                    <a:pt x="1368" y="723"/>
                  </a:lnTo>
                  <a:lnTo>
                    <a:pt x="1368" y="726"/>
                  </a:lnTo>
                  <a:lnTo>
                    <a:pt x="1368" y="726"/>
                  </a:lnTo>
                  <a:lnTo>
                    <a:pt x="1368" y="726"/>
                  </a:lnTo>
                  <a:lnTo>
                    <a:pt x="1368" y="726"/>
                  </a:lnTo>
                  <a:lnTo>
                    <a:pt x="1368" y="726"/>
                  </a:lnTo>
                  <a:lnTo>
                    <a:pt x="1368" y="726"/>
                  </a:lnTo>
                  <a:lnTo>
                    <a:pt x="1365" y="726"/>
                  </a:lnTo>
                  <a:lnTo>
                    <a:pt x="1365" y="728"/>
                  </a:lnTo>
                  <a:lnTo>
                    <a:pt x="1365" y="728"/>
                  </a:lnTo>
                  <a:lnTo>
                    <a:pt x="1365" y="728"/>
                  </a:lnTo>
                  <a:lnTo>
                    <a:pt x="1365" y="728"/>
                  </a:lnTo>
                  <a:lnTo>
                    <a:pt x="1365" y="728"/>
                  </a:lnTo>
                  <a:lnTo>
                    <a:pt x="1365" y="726"/>
                  </a:lnTo>
                  <a:lnTo>
                    <a:pt x="1365" y="726"/>
                  </a:lnTo>
                  <a:lnTo>
                    <a:pt x="1363" y="726"/>
                  </a:lnTo>
                  <a:lnTo>
                    <a:pt x="1363" y="726"/>
                  </a:lnTo>
                  <a:lnTo>
                    <a:pt x="1363" y="726"/>
                  </a:lnTo>
                  <a:lnTo>
                    <a:pt x="1363" y="726"/>
                  </a:lnTo>
                  <a:lnTo>
                    <a:pt x="1363" y="723"/>
                  </a:lnTo>
                  <a:lnTo>
                    <a:pt x="1363" y="723"/>
                  </a:lnTo>
                  <a:lnTo>
                    <a:pt x="1363" y="723"/>
                  </a:lnTo>
                  <a:lnTo>
                    <a:pt x="1363" y="723"/>
                  </a:lnTo>
                  <a:lnTo>
                    <a:pt x="1363" y="723"/>
                  </a:lnTo>
                  <a:lnTo>
                    <a:pt x="1363" y="723"/>
                  </a:lnTo>
                  <a:lnTo>
                    <a:pt x="1363" y="721"/>
                  </a:lnTo>
                  <a:lnTo>
                    <a:pt x="1363" y="721"/>
                  </a:lnTo>
                  <a:lnTo>
                    <a:pt x="1361" y="721"/>
                  </a:lnTo>
                  <a:lnTo>
                    <a:pt x="1361" y="721"/>
                  </a:lnTo>
                  <a:lnTo>
                    <a:pt x="1358" y="721"/>
                  </a:lnTo>
                  <a:lnTo>
                    <a:pt x="1356" y="721"/>
                  </a:lnTo>
                  <a:lnTo>
                    <a:pt x="1354" y="723"/>
                  </a:lnTo>
                  <a:lnTo>
                    <a:pt x="1354" y="723"/>
                  </a:lnTo>
                  <a:lnTo>
                    <a:pt x="1354" y="723"/>
                  </a:lnTo>
                  <a:lnTo>
                    <a:pt x="1354" y="721"/>
                  </a:lnTo>
                  <a:lnTo>
                    <a:pt x="1356" y="721"/>
                  </a:lnTo>
                  <a:lnTo>
                    <a:pt x="1356" y="721"/>
                  </a:lnTo>
                  <a:lnTo>
                    <a:pt x="1358" y="719"/>
                  </a:lnTo>
                  <a:lnTo>
                    <a:pt x="1361" y="719"/>
                  </a:lnTo>
                  <a:lnTo>
                    <a:pt x="1363" y="719"/>
                  </a:lnTo>
                  <a:lnTo>
                    <a:pt x="1363" y="719"/>
                  </a:lnTo>
                  <a:lnTo>
                    <a:pt x="1363" y="719"/>
                  </a:lnTo>
                  <a:lnTo>
                    <a:pt x="1363" y="719"/>
                  </a:lnTo>
                  <a:lnTo>
                    <a:pt x="1363" y="721"/>
                  </a:lnTo>
                  <a:lnTo>
                    <a:pt x="1365" y="721"/>
                  </a:lnTo>
                  <a:lnTo>
                    <a:pt x="1365" y="721"/>
                  </a:lnTo>
                  <a:lnTo>
                    <a:pt x="1365" y="721"/>
                  </a:lnTo>
                  <a:lnTo>
                    <a:pt x="1365" y="723"/>
                  </a:lnTo>
                  <a:lnTo>
                    <a:pt x="1365" y="723"/>
                  </a:lnTo>
                  <a:lnTo>
                    <a:pt x="1370" y="721"/>
                  </a:lnTo>
                  <a:lnTo>
                    <a:pt x="1370" y="721"/>
                  </a:lnTo>
                  <a:lnTo>
                    <a:pt x="1370" y="721"/>
                  </a:lnTo>
                  <a:lnTo>
                    <a:pt x="1370" y="719"/>
                  </a:lnTo>
                  <a:lnTo>
                    <a:pt x="1370" y="719"/>
                  </a:lnTo>
                  <a:lnTo>
                    <a:pt x="1370" y="719"/>
                  </a:lnTo>
                  <a:lnTo>
                    <a:pt x="1370" y="719"/>
                  </a:lnTo>
                  <a:lnTo>
                    <a:pt x="1370" y="719"/>
                  </a:lnTo>
                  <a:lnTo>
                    <a:pt x="1373" y="716"/>
                  </a:lnTo>
                  <a:lnTo>
                    <a:pt x="1373" y="716"/>
                  </a:lnTo>
                  <a:lnTo>
                    <a:pt x="1370" y="716"/>
                  </a:lnTo>
                  <a:lnTo>
                    <a:pt x="1373" y="716"/>
                  </a:lnTo>
                  <a:lnTo>
                    <a:pt x="1373" y="714"/>
                  </a:lnTo>
                  <a:lnTo>
                    <a:pt x="1373" y="714"/>
                  </a:lnTo>
                  <a:lnTo>
                    <a:pt x="1373" y="712"/>
                  </a:lnTo>
                  <a:lnTo>
                    <a:pt x="1373" y="712"/>
                  </a:lnTo>
                  <a:lnTo>
                    <a:pt x="1373" y="712"/>
                  </a:lnTo>
                  <a:lnTo>
                    <a:pt x="1373" y="712"/>
                  </a:lnTo>
                  <a:lnTo>
                    <a:pt x="1370" y="712"/>
                  </a:lnTo>
                  <a:lnTo>
                    <a:pt x="1368" y="714"/>
                  </a:lnTo>
                  <a:lnTo>
                    <a:pt x="1368" y="714"/>
                  </a:lnTo>
                  <a:lnTo>
                    <a:pt x="1368" y="716"/>
                  </a:lnTo>
                  <a:lnTo>
                    <a:pt x="1368" y="716"/>
                  </a:lnTo>
                  <a:lnTo>
                    <a:pt x="1368" y="716"/>
                  </a:lnTo>
                  <a:lnTo>
                    <a:pt x="1365" y="716"/>
                  </a:lnTo>
                  <a:lnTo>
                    <a:pt x="1365" y="716"/>
                  </a:lnTo>
                  <a:lnTo>
                    <a:pt x="1365" y="716"/>
                  </a:lnTo>
                  <a:lnTo>
                    <a:pt x="1365" y="714"/>
                  </a:lnTo>
                  <a:lnTo>
                    <a:pt x="1365" y="714"/>
                  </a:lnTo>
                  <a:lnTo>
                    <a:pt x="1368" y="714"/>
                  </a:lnTo>
                  <a:lnTo>
                    <a:pt x="1368" y="714"/>
                  </a:lnTo>
                  <a:lnTo>
                    <a:pt x="1368" y="712"/>
                  </a:lnTo>
                  <a:lnTo>
                    <a:pt x="1368" y="712"/>
                  </a:lnTo>
                  <a:lnTo>
                    <a:pt x="1368" y="712"/>
                  </a:lnTo>
                  <a:lnTo>
                    <a:pt x="1368" y="712"/>
                  </a:lnTo>
                  <a:lnTo>
                    <a:pt x="1370" y="712"/>
                  </a:lnTo>
                  <a:lnTo>
                    <a:pt x="1370" y="712"/>
                  </a:lnTo>
                  <a:lnTo>
                    <a:pt x="1370" y="709"/>
                  </a:lnTo>
                  <a:lnTo>
                    <a:pt x="1370" y="709"/>
                  </a:lnTo>
                  <a:lnTo>
                    <a:pt x="1370" y="709"/>
                  </a:lnTo>
                  <a:lnTo>
                    <a:pt x="1370" y="709"/>
                  </a:lnTo>
                  <a:lnTo>
                    <a:pt x="1370" y="709"/>
                  </a:lnTo>
                  <a:lnTo>
                    <a:pt x="1370" y="709"/>
                  </a:lnTo>
                  <a:lnTo>
                    <a:pt x="1368" y="709"/>
                  </a:lnTo>
                  <a:lnTo>
                    <a:pt x="1368" y="709"/>
                  </a:lnTo>
                  <a:lnTo>
                    <a:pt x="1368" y="709"/>
                  </a:lnTo>
                  <a:lnTo>
                    <a:pt x="1368" y="709"/>
                  </a:lnTo>
                  <a:lnTo>
                    <a:pt x="1365" y="709"/>
                  </a:lnTo>
                  <a:lnTo>
                    <a:pt x="1365" y="709"/>
                  </a:lnTo>
                  <a:lnTo>
                    <a:pt x="1365" y="709"/>
                  </a:lnTo>
                  <a:lnTo>
                    <a:pt x="1365" y="709"/>
                  </a:lnTo>
                  <a:lnTo>
                    <a:pt x="1363" y="709"/>
                  </a:lnTo>
                  <a:lnTo>
                    <a:pt x="1363" y="709"/>
                  </a:lnTo>
                  <a:lnTo>
                    <a:pt x="1363" y="709"/>
                  </a:lnTo>
                  <a:lnTo>
                    <a:pt x="1363" y="709"/>
                  </a:lnTo>
                  <a:lnTo>
                    <a:pt x="1363" y="709"/>
                  </a:lnTo>
                  <a:lnTo>
                    <a:pt x="1363" y="712"/>
                  </a:lnTo>
                  <a:lnTo>
                    <a:pt x="1363" y="712"/>
                  </a:lnTo>
                  <a:lnTo>
                    <a:pt x="1361" y="712"/>
                  </a:lnTo>
                  <a:lnTo>
                    <a:pt x="1361" y="712"/>
                  </a:lnTo>
                  <a:lnTo>
                    <a:pt x="1361" y="712"/>
                  </a:lnTo>
                  <a:lnTo>
                    <a:pt x="1361" y="712"/>
                  </a:lnTo>
                  <a:lnTo>
                    <a:pt x="1358" y="712"/>
                  </a:lnTo>
                  <a:lnTo>
                    <a:pt x="1358" y="709"/>
                  </a:lnTo>
                  <a:lnTo>
                    <a:pt x="1358" y="709"/>
                  </a:lnTo>
                  <a:lnTo>
                    <a:pt x="1361" y="709"/>
                  </a:lnTo>
                  <a:lnTo>
                    <a:pt x="1361" y="709"/>
                  </a:lnTo>
                  <a:lnTo>
                    <a:pt x="1361" y="707"/>
                  </a:lnTo>
                  <a:lnTo>
                    <a:pt x="1363" y="707"/>
                  </a:lnTo>
                  <a:lnTo>
                    <a:pt x="1363" y="707"/>
                  </a:lnTo>
                  <a:lnTo>
                    <a:pt x="1365" y="707"/>
                  </a:lnTo>
                  <a:lnTo>
                    <a:pt x="1368" y="707"/>
                  </a:lnTo>
                  <a:lnTo>
                    <a:pt x="1368" y="707"/>
                  </a:lnTo>
                  <a:lnTo>
                    <a:pt x="1368" y="707"/>
                  </a:lnTo>
                  <a:lnTo>
                    <a:pt x="1368" y="707"/>
                  </a:lnTo>
                  <a:lnTo>
                    <a:pt x="1365" y="707"/>
                  </a:lnTo>
                  <a:lnTo>
                    <a:pt x="1365" y="707"/>
                  </a:lnTo>
                  <a:lnTo>
                    <a:pt x="1365" y="707"/>
                  </a:lnTo>
                  <a:lnTo>
                    <a:pt x="1365" y="705"/>
                  </a:lnTo>
                  <a:lnTo>
                    <a:pt x="1365" y="705"/>
                  </a:lnTo>
                  <a:lnTo>
                    <a:pt x="1365" y="705"/>
                  </a:lnTo>
                  <a:lnTo>
                    <a:pt x="1363" y="705"/>
                  </a:lnTo>
                  <a:lnTo>
                    <a:pt x="1363" y="705"/>
                  </a:lnTo>
                  <a:lnTo>
                    <a:pt x="1361" y="705"/>
                  </a:lnTo>
                  <a:lnTo>
                    <a:pt x="1365" y="705"/>
                  </a:lnTo>
                  <a:lnTo>
                    <a:pt x="1368" y="705"/>
                  </a:lnTo>
                  <a:lnTo>
                    <a:pt x="1370" y="705"/>
                  </a:lnTo>
                  <a:lnTo>
                    <a:pt x="1370" y="705"/>
                  </a:lnTo>
                  <a:lnTo>
                    <a:pt x="1370" y="707"/>
                  </a:lnTo>
                  <a:lnTo>
                    <a:pt x="1373" y="707"/>
                  </a:lnTo>
                  <a:lnTo>
                    <a:pt x="1373" y="707"/>
                  </a:lnTo>
                  <a:lnTo>
                    <a:pt x="1373" y="707"/>
                  </a:lnTo>
                  <a:lnTo>
                    <a:pt x="1373" y="705"/>
                  </a:lnTo>
                  <a:lnTo>
                    <a:pt x="1373" y="705"/>
                  </a:lnTo>
                  <a:lnTo>
                    <a:pt x="1373" y="707"/>
                  </a:lnTo>
                  <a:lnTo>
                    <a:pt x="1373" y="707"/>
                  </a:lnTo>
                  <a:lnTo>
                    <a:pt x="1373" y="707"/>
                  </a:lnTo>
                  <a:lnTo>
                    <a:pt x="1375" y="705"/>
                  </a:lnTo>
                  <a:lnTo>
                    <a:pt x="1375" y="705"/>
                  </a:lnTo>
                  <a:lnTo>
                    <a:pt x="1375" y="705"/>
                  </a:lnTo>
                  <a:lnTo>
                    <a:pt x="1375" y="702"/>
                  </a:lnTo>
                  <a:lnTo>
                    <a:pt x="1375" y="702"/>
                  </a:lnTo>
                  <a:lnTo>
                    <a:pt x="1375" y="702"/>
                  </a:lnTo>
                  <a:lnTo>
                    <a:pt x="1377" y="702"/>
                  </a:lnTo>
                  <a:lnTo>
                    <a:pt x="1375" y="700"/>
                  </a:lnTo>
                  <a:lnTo>
                    <a:pt x="1375" y="700"/>
                  </a:lnTo>
                  <a:lnTo>
                    <a:pt x="1377" y="700"/>
                  </a:lnTo>
                  <a:lnTo>
                    <a:pt x="1377" y="700"/>
                  </a:lnTo>
                  <a:lnTo>
                    <a:pt x="1377" y="702"/>
                  </a:lnTo>
                  <a:lnTo>
                    <a:pt x="1377" y="702"/>
                  </a:lnTo>
                  <a:lnTo>
                    <a:pt x="1380" y="700"/>
                  </a:lnTo>
                  <a:lnTo>
                    <a:pt x="1380" y="700"/>
                  </a:lnTo>
                  <a:lnTo>
                    <a:pt x="1382" y="697"/>
                  </a:lnTo>
                  <a:lnTo>
                    <a:pt x="1382" y="697"/>
                  </a:lnTo>
                  <a:lnTo>
                    <a:pt x="1382" y="697"/>
                  </a:lnTo>
                  <a:lnTo>
                    <a:pt x="1382" y="697"/>
                  </a:lnTo>
                  <a:lnTo>
                    <a:pt x="1382" y="697"/>
                  </a:lnTo>
                  <a:lnTo>
                    <a:pt x="1382" y="695"/>
                  </a:lnTo>
                  <a:lnTo>
                    <a:pt x="1382" y="695"/>
                  </a:lnTo>
                  <a:lnTo>
                    <a:pt x="1380" y="695"/>
                  </a:lnTo>
                  <a:lnTo>
                    <a:pt x="1377" y="695"/>
                  </a:lnTo>
                  <a:lnTo>
                    <a:pt x="1375" y="697"/>
                  </a:lnTo>
                  <a:lnTo>
                    <a:pt x="1375" y="697"/>
                  </a:lnTo>
                  <a:lnTo>
                    <a:pt x="1373" y="697"/>
                  </a:lnTo>
                  <a:lnTo>
                    <a:pt x="1373" y="697"/>
                  </a:lnTo>
                  <a:lnTo>
                    <a:pt x="1375" y="697"/>
                  </a:lnTo>
                  <a:lnTo>
                    <a:pt x="1375" y="695"/>
                  </a:lnTo>
                  <a:lnTo>
                    <a:pt x="1375" y="695"/>
                  </a:lnTo>
                  <a:lnTo>
                    <a:pt x="1377" y="695"/>
                  </a:lnTo>
                  <a:lnTo>
                    <a:pt x="1377" y="695"/>
                  </a:lnTo>
                  <a:lnTo>
                    <a:pt x="1377" y="695"/>
                  </a:lnTo>
                  <a:lnTo>
                    <a:pt x="1377" y="695"/>
                  </a:lnTo>
                  <a:lnTo>
                    <a:pt x="1377" y="693"/>
                  </a:lnTo>
                  <a:lnTo>
                    <a:pt x="1377" y="693"/>
                  </a:lnTo>
                  <a:lnTo>
                    <a:pt x="1380" y="695"/>
                  </a:lnTo>
                  <a:lnTo>
                    <a:pt x="1380" y="693"/>
                  </a:lnTo>
                  <a:lnTo>
                    <a:pt x="1382" y="693"/>
                  </a:lnTo>
                  <a:lnTo>
                    <a:pt x="1382" y="695"/>
                  </a:lnTo>
                  <a:lnTo>
                    <a:pt x="1384" y="693"/>
                  </a:lnTo>
                  <a:lnTo>
                    <a:pt x="1384" y="693"/>
                  </a:lnTo>
                  <a:lnTo>
                    <a:pt x="1384" y="695"/>
                  </a:lnTo>
                  <a:lnTo>
                    <a:pt x="1384" y="695"/>
                  </a:lnTo>
                  <a:lnTo>
                    <a:pt x="1384" y="695"/>
                  </a:lnTo>
                  <a:lnTo>
                    <a:pt x="1384" y="697"/>
                  </a:lnTo>
                  <a:lnTo>
                    <a:pt x="1384" y="697"/>
                  </a:lnTo>
                  <a:lnTo>
                    <a:pt x="1384" y="697"/>
                  </a:lnTo>
                  <a:lnTo>
                    <a:pt x="1384" y="700"/>
                  </a:lnTo>
                  <a:lnTo>
                    <a:pt x="1384" y="700"/>
                  </a:lnTo>
                  <a:lnTo>
                    <a:pt x="1384" y="700"/>
                  </a:lnTo>
                  <a:lnTo>
                    <a:pt x="1384" y="700"/>
                  </a:lnTo>
                  <a:lnTo>
                    <a:pt x="1387" y="700"/>
                  </a:lnTo>
                  <a:lnTo>
                    <a:pt x="1387" y="697"/>
                  </a:lnTo>
                  <a:lnTo>
                    <a:pt x="1389" y="695"/>
                  </a:lnTo>
                  <a:lnTo>
                    <a:pt x="1391" y="695"/>
                  </a:lnTo>
                  <a:lnTo>
                    <a:pt x="1394" y="693"/>
                  </a:lnTo>
                  <a:lnTo>
                    <a:pt x="1394" y="693"/>
                  </a:lnTo>
                  <a:lnTo>
                    <a:pt x="1394" y="693"/>
                  </a:lnTo>
                  <a:lnTo>
                    <a:pt x="1396" y="690"/>
                  </a:lnTo>
                  <a:lnTo>
                    <a:pt x="1399" y="690"/>
                  </a:lnTo>
                  <a:lnTo>
                    <a:pt x="1399" y="690"/>
                  </a:lnTo>
                  <a:lnTo>
                    <a:pt x="1399" y="690"/>
                  </a:lnTo>
                  <a:lnTo>
                    <a:pt x="1401" y="690"/>
                  </a:lnTo>
                  <a:lnTo>
                    <a:pt x="1399" y="690"/>
                  </a:lnTo>
                  <a:lnTo>
                    <a:pt x="1396" y="693"/>
                  </a:lnTo>
                  <a:lnTo>
                    <a:pt x="1396" y="693"/>
                  </a:lnTo>
                  <a:lnTo>
                    <a:pt x="1399" y="693"/>
                  </a:lnTo>
                  <a:lnTo>
                    <a:pt x="1399" y="693"/>
                  </a:lnTo>
                  <a:lnTo>
                    <a:pt x="1399" y="695"/>
                  </a:lnTo>
                  <a:lnTo>
                    <a:pt x="1399" y="695"/>
                  </a:lnTo>
                  <a:lnTo>
                    <a:pt x="1396" y="695"/>
                  </a:lnTo>
                  <a:lnTo>
                    <a:pt x="1396" y="695"/>
                  </a:lnTo>
                  <a:lnTo>
                    <a:pt x="1394" y="695"/>
                  </a:lnTo>
                  <a:lnTo>
                    <a:pt x="1394" y="695"/>
                  </a:lnTo>
                  <a:lnTo>
                    <a:pt x="1394" y="695"/>
                  </a:lnTo>
                  <a:lnTo>
                    <a:pt x="1391" y="697"/>
                  </a:lnTo>
                  <a:lnTo>
                    <a:pt x="1389" y="697"/>
                  </a:lnTo>
                  <a:lnTo>
                    <a:pt x="1389" y="700"/>
                  </a:lnTo>
                  <a:lnTo>
                    <a:pt x="1389" y="700"/>
                  </a:lnTo>
                  <a:lnTo>
                    <a:pt x="1389" y="700"/>
                  </a:lnTo>
                  <a:lnTo>
                    <a:pt x="1389" y="700"/>
                  </a:lnTo>
                  <a:lnTo>
                    <a:pt x="1387" y="702"/>
                  </a:lnTo>
                  <a:lnTo>
                    <a:pt x="1387" y="702"/>
                  </a:lnTo>
                  <a:lnTo>
                    <a:pt x="1387" y="702"/>
                  </a:lnTo>
                  <a:lnTo>
                    <a:pt x="1387" y="702"/>
                  </a:lnTo>
                  <a:lnTo>
                    <a:pt x="1384" y="702"/>
                  </a:lnTo>
                  <a:lnTo>
                    <a:pt x="1384" y="702"/>
                  </a:lnTo>
                  <a:lnTo>
                    <a:pt x="1384" y="702"/>
                  </a:lnTo>
                  <a:lnTo>
                    <a:pt x="1384" y="702"/>
                  </a:lnTo>
                  <a:lnTo>
                    <a:pt x="1384" y="702"/>
                  </a:lnTo>
                  <a:lnTo>
                    <a:pt x="1384" y="705"/>
                  </a:lnTo>
                  <a:lnTo>
                    <a:pt x="1382" y="705"/>
                  </a:lnTo>
                  <a:lnTo>
                    <a:pt x="1382" y="705"/>
                  </a:lnTo>
                  <a:lnTo>
                    <a:pt x="1384" y="705"/>
                  </a:lnTo>
                  <a:lnTo>
                    <a:pt x="1384" y="707"/>
                  </a:lnTo>
                  <a:lnTo>
                    <a:pt x="1384" y="707"/>
                  </a:lnTo>
                  <a:lnTo>
                    <a:pt x="1384" y="709"/>
                  </a:lnTo>
                  <a:lnTo>
                    <a:pt x="1384" y="709"/>
                  </a:lnTo>
                  <a:lnTo>
                    <a:pt x="1384" y="709"/>
                  </a:lnTo>
                  <a:lnTo>
                    <a:pt x="1384" y="712"/>
                  </a:lnTo>
                  <a:lnTo>
                    <a:pt x="1384" y="712"/>
                  </a:lnTo>
                  <a:lnTo>
                    <a:pt x="1384" y="712"/>
                  </a:lnTo>
                  <a:lnTo>
                    <a:pt x="1387" y="714"/>
                  </a:lnTo>
                  <a:lnTo>
                    <a:pt x="1387" y="714"/>
                  </a:lnTo>
                  <a:lnTo>
                    <a:pt x="1387" y="714"/>
                  </a:lnTo>
                  <a:lnTo>
                    <a:pt x="1389" y="714"/>
                  </a:lnTo>
                  <a:lnTo>
                    <a:pt x="1389" y="714"/>
                  </a:lnTo>
                  <a:lnTo>
                    <a:pt x="1389" y="712"/>
                  </a:lnTo>
                  <a:lnTo>
                    <a:pt x="1389" y="712"/>
                  </a:lnTo>
                  <a:lnTo>
                    <a:pt x="1389" y="712"/>
                  </a:lnTo>
                  <a:lnTo>
                    <a:pt x="1389" y="712"/>
                  </a:lnTo>
                  <a:lnTo>
                    <a:pt x="1387" y="712"/>
                  </a:lnTo>
                  <a:lnTo>
                    <a:pt x="1389" y="709"/>
                  </a:lnTo>
                  <a:lnTo>
                    <a:pt x="1389" y="709"/>
                  </a:lnTo>
                  <a:lnTo>
                    <a:pt x="1389" y="709"/>
                  </a:lnTo>
                  <a:lnTo>
                    <a:pt x="1389" y="709"/>
                  </a:lnTo>
                  <a:lnTo>
                    <a:pt x="1389" y="709"/>
                  </a:lnTo>
                  <a:lnTo>
                    <a:pt x="1389" y="709"/>
                  </a:lnTo>
                  <a:lnTo>
                    <a:pt x="1389" y="709"/>
                  </a:lnTo>
                  <a:lnTo>
                    <a:pt x="1391" y="707"/>
                  </a:lnTo>
                  <a:lnTo>
                    <a:pt x="1391" y="709"/>
                  </a:lnTo>
                  <a:lnTo>
                    <a:pt x="1391" y="709"/>
                  </a:lnTo>
                  <a:lnTo>
                    <a:pt x="1391" y="709"/>
                  </a:lnTo>
                  <a:lnTo>
                    <a:pt x="1391" y="709"/>
                  </a:lnTo>
                  <a:lnTo>
                    <a:pt x="1389" y="712"/>
                  </a:lnTo>
                  <a:lnTo>
                    <a:pt x="1389" y="712"/>
                  </a:lnTo>
                  <a:lnTo>
                    <a:pt x="1391" y="712"/>
                  </a:lnTo>
                  <a:lnTo>
                    <a:pt x="1391" y="712"/>
                  </a:lnTo>
                  <a:lnTo>
                    <a:pt x="1391" y="712"/>
                  </a:lnTo>
                  <a:lnTo>
                    <a:pt x="1391" y="714"/>
                  </a:lnTo>
                  <a:lnTo>
                    <a:pt x="1391" y="714"/>
                  </a:lnTo>
                  <a:lnTo>
                    <a:pt x="1391" y="714"/>
                  </a:lnTo>
                  <a:lnTo>
                    <a:pt x="1394" y="714"/>
                  </a:lnTo>
                  <a:lnTo>
                    <a:pt x="1394" y="714"/>
                  </a:lnTo>
                  <a:lnTo>
                    <a:pt x="1394" y="712"/>
                  </a:lnTo>
                  <a:lnTo>
                    <a:pt x="1394" y="712"/>
                  </a:lnTo>
                  <a:lnTo>
                    <a:pt x="1394" y="709"/>
                  </a:lnTo>
                  <a:lnTo>
                    <a:pt x="1394" y="709"/>
                  </a:lnTo>
                  <a:lnTo>
                    <a:pt x="1394" y="709"/>
                  </a:lnTo>
                  <a:lnTo>
                    <a:pt x="1394" y="709"/>
                  </a:lnTo>
                  <a:lnTo>
                    <a:pt x="1394" y="709"/>
                  </a:lnTo>
                  <a:lnTo>
                    <a:pt x="1394" y="707"/>
                  </a:lnTo>
                  <a:lnTo>
                    <a:pt x="1394" y="707"/>
                  </a:lnTo>
                  <a:lnTo>
                    <a:pt x="1396" y="707"/>
                  </a:lnTo>
                  <a:lnTo>
                    <a:pt x="1396" y="707"/>
                  </a:lnTo>
                  <a:lnTo>
                    <a:pt x="1396" y="707"/>
                  </a:lnTo>
                  <a:lnTo>
                    <a:pt x="1396" y="707"/>
                  </a:lnTo>
                  <a:lnTo>
                    <a:pt x="1396" y="707"/>
                  </a:lnTo>
                  <a:lnTo>
                    <a:pt x="1396" y="707"/>
                  </a:lnTo>
                  <a:lnTo>
                    <a:pt x="1396" y="707"/>
                  </a:lnTo>
                  <a:lnTo>
                    <a:pt x="1394" y="705"/>
                  </a:lnTo>
                  <a:lnTo>
                    <a:pt x="1394" y="705"/>
                  </a:lnTo>
                  <a:lnTo>
                    <a:pt x="1394" y="705"/>
                  </a:lnTo>
                  <a:lnTo>
                    <a:pt x="1396" y="705"/>
                  </a:lnTo>
                  <a:lnTo>
                    <a:pt x="1396" y="705"/>
                  </a:lnTo>
                  <a:lnTo>
                    <a:pt x="1396" y="705"/>
                  </a:lnTo>
                  <a:lnTo>
                    <a:pt x="1399" y="705"/>
                  </a:lnTo>
                  <a:lnTo>
                    <a:pt x="1399" y="702"/>
                  </a:lnTo>
                  <a:lnTo>
                    <a:pt x="1401" y="702"/>
                  </a:lnTo>
                  <a:lnTo>
                    <a:pt x="1401" y="700"/>
                  </a:lnTo>
                  <a:lnTo>
                    <a:pt x="1401" y="700"/>
                  </a:lnTo>
                  <a:lnTo>
                    <a:pt x="1401" y="700"/>
                  </a:lnTo>
                  <a:lnTo>
                    <a:pt x="1401" y="700"/>
                  </a:lnTo>
                  <a:lnTo>
                    <a:pt x="1401" y="700"/>
                  </a:lnTo>
                  <a:lnTo>
                    <a:pt x="1401" y="700"/>
                  </a:lnTo>
                  <a:lnTo>
                    <a:pt x="1401" y="700"/>
                  </a:lnTo>
                  <a:lnTo>
                    <a:pt x="1401" y="700"/>
                  </a:lnTo>
                  <a:lnTo>
                    <a:pt x="1401" y="700"/>
                  </a:lnTo>
                  <a:lnTo>
                    <a:pt x="1401" y="700"/>
                  </a:lnTo>
                  <a:lnTo>
                    <a:pt x="1401" y="702"/>
                  </a:lnTo>
                  <a:lnTo>
                    <a:pt x="1401" y="702"/>
                  </a:lnTo>
                  <a:lnTo>
                    <a:pt x="1401" y="702"/>
                  </a:lnTo>
                  <a:lnTo>
                    <a:pt x="1401" y="702"/>
                  </a:lnTo>
                  <a:lnTo>
                    <a:pt x="1401" y="705"/>
                  </a:lnTo>
                  <a:lnTo>
                    <a:pt x="1401" y="705"/>
                  </a:lnTo>
                  <a:lnTo>
                    <a:pt x="1401" y="705"/>
                  </a:lnTo>
                  <a:lnTo>
                    <a:pt x="1399" y="705"/>
                  </a:lnTo>
                  <a:lnTo>
                    <a:pt x="1399" y="705"/>
                  </a:lnTo>
                  <a:lnTo>
                    <a:pt x="1399" y="707"/>
                  </a:lnTo>
                  <a:lnTo>
                    <a:pt x="1399" y="707"/>
                  </a:lnTo>
                  <a:lnTo>
                    <a:pt x="1399" y="707"/>
                  </a:lnTo>
                  <a:lnTo>
                    <a:pt x="1396" y="709"/>
                  </a:lnTo>
                  <a:lnTo>
                    <a:pt x="1396" y="712"/>
                  </a:lnTo>
                  <a:lnTo>
                    <a:pt x="1396" y="712"/>
                  </a:lnTo>
                  <a:lnTo>
                    <a:pt x="1396" y="712"/>
                  </a:lnTo>
                  <a:lnTo>
                    <a:pt x="1399" y="709"/>
                  </a:lnTo>
                  <a:lnTo>
                    <a:pt x="1399" y="709"/>
                  </a:lnTo>
                  <a:lnTo>
                    <a:pt x="1401" y="707"/>
                  </a:lnTo>
                  <a:lnTo>
                    <a:pt x="1401" y="709"/>
                  </a:lnTo>
                  <a:lnTo>
                    <a:pt x="1401" y="709"/>
                  </a:lnTo>
                  <a:lnTo>
                    <a:pt x="1399" y="709"/>
                  </a:lnTo>
                  <a:lnTo>
                    <a:pt x="1399" y="709"/>
                  </a:lnTo>
                  <a:lnTo>
                    <a:pt x="1399" y="712"/>
                  </a:lnTo>
                  <a:lnTo>
                    <a:pt x="1399" y="712"/>
                  </a:lnTo>
                  <a:lnTo>
                    <a:pt x="1401" y="709"/>
                  </a:lnTo>
                  <a:lnTo>
                    <a:pt x="1401" y="709"/>
                  </a:lnTo>
                  <a:lnTo>
                    <a:pt x="1401" y="709"/>
                  </a:lnTo>
                  <a:lnTo>
                    <a:pt x="1399" y="712"/>
                  </a:lnTo>
                  <a:lnTo>
                    <a:pt x="1399" y="714"/>
                  </a:lnTo>
                  <a:lnTo>
                    <a:pt x="1399" y="714"/>
                  </a:lnTo>
                  <a:lnTo>
                    <a:pt x="1399" y="714"/>
                  </a:lnTo>
                  <a:lnTo>
                    <a:pt x="1399" y="714"/>
                  </a:lnTo>
                  <a:lnTo>
                    <a:pt x="1399" y="714"/>
                  </a:lnTo>
                  <a:lnTo>
                    <a:pt x="1399" y="716"/>
                  </a:lnTo>
                  <a:lnTo>
                    <a:pt x="1401" y="716"/>
                  </a:lnTo>
                  <a:lnTo>
                    <a:pt x="1401" y="714"/>
                  </a:lnTo>
                  <a:lnTo>
                    <a:pt x="1401" y="714"/>
                  </a:lnTo>
                  <a:lnTo>
                    <a:pt x="1403" y="714"/>
                  </a:lnTo>
                  <a:lnTo>
                    <a:pt x="1403" y="714"/>
                  </a:lnTo>
                  <a:lnTo>
                    <a:pt x="1403" y="714"/>
                  </a:lnTo>
                  <a:lnTo>
                    <a:pt x="1403" y="712"/>
                  </a:lnTo>
                  <a:lnTo>
                    <a:pt x="1403" y="712"/>
                  </a:lnTo>
                  <a:lnTo>
                    <a:pt x="1403" y="712"/>
                  </a:lnTo>
                  <a:lnTo>
                    <a:pt x="1403" y="709"/>
                  </a:lnTo>
                  <a:lnTo>
                    <a:pt x="1406" y="709"/>
                  </a:lnTo>
                  <a:lnTo>
                    <a:pt x="1406" y="712"/>
                  </a:lnTo>
                  <a:lnTo>
                    <a:pt x="1406" y="712"/>
                  </a:lnTo>
                  <a:lnTo>
                    <a:pt x="1406" y="712"/>
                  </a:lnTo>
                  <a:lnTo>
                    <a:pt x="1406" y="712"/>
                  </a:lnTo>
                  <a:lnTo>
                    <a:pt x="1406" y="712"/>
                  </a:lnTo>
                  <a:lnTo>
                    <a:pt x="1406" y="712"/>
                  </a:lnTo>
                  <a:lnTo>
                    <a:pt x="1406" y="712"/>
                  </a:lnTo>
                  <a:lnTo>
                    <a:pt x="1406" y="714"/>
                  </a:lnTo>
                  <a:lnTo>
                    <a:pt x="1406" y="714"/>
                  </a:lnTo>
                  <a:lnTo>
                    <a:pt x="1406" y="714"/>
                  </a:lnTo>
                  <a:lnTo>
                    <a:pt x="1406" y="714"/>
                  </a:lnTo>
                  <a:lnTo>
                    <a:pt x="1408" y="714"/>
                  </a:lnTo>
                  <a:lnTo>
                    <a:pt x="1408" y="714"/>
                  </a:lnTo>
                  <a:lnTo>
                    <a:pt x="1408" y="712"/>
                  </a:lnTo>
                  <a:lnTo>
                    <a:pt x="1408" y="712"/>
                  </a:lnTo>
                  <a:lnTo>
                    <a:pt x="1410" y="712"/>
                  </a:lnTo>
                  <a:lnTo>
                    <a:pt x="1410" y="712"/>
                  </a:lnTo>
                  <a:lnTo>
                    <a:pt x="1410" y="714"/>
                  </a:lnTo>
                  <a:lnTo>
                    <a:pt x="1410" y="714"/>
                  </a:lnTo>
                  <a:lnTo>
                    <a:pt x="1410" y="714"/>
                  </a:lnTo>
                  <a:lnTo>
                    <a:pt x="1410" y="714"/>
                  </a:lnTo>
                  <a:lnTo>
                    <a:pt x="1410" y="714"/>
                  </a:lnTo>
                  <a:lnTo>
                    <a:pt x="1410" y="714"/>
                  </a:lnTo>
                  <a:lnTo>
                    <a:pt x="1410" y="714"/>
                  </a:lnTo>
                  <a:lnTo>
                    <a:pt x="1410" y="714"/>
                  </a:lnTo>
                  <a:lnTo>
                    <a:pt x="1410" y="714"/>
                  </a:lnTo>
                  <a:lnTo>
                    <a:pt x="1410" y="714"/>
                  </a:lnTo>
                  <a:lnTo>
                    <a:pt x="1413" y="714"/>
                  </a:lnTo>
                  <a:lnTo>
                    <a:pt x="1413" y="714"/>
                  </a:lnTo>
                  <a:lnTo>
                    <a:pt x="1413" y="714"/>
                  </a:lnTo>
                  <a:lnTo>
                    <a:pt x="1413" y="714"/>
                  </a:lnTo>
                  <a:lnTo>
                    <a:pt x="1410" y="714"/>
                  </a:lnTo>
                  <a:lnTo>
                    <a:pt x="1410" y="716"/>
                  </a:lnTo>
                  <a:lnTo>
                    <a:pt x="1410" y="716"/>
                  </a:lnTo>
                  <a:lnTo>
                    <a:pt x="1410" y="716"/>
                  </a:lnTo>
                  <a:lnTo>
                    <a:pt x="1413" y="716"/>
                  </a:lnTo>
                  <a:lnTo>
                    <a:pt x="1413" y="716"/>
                  </a:lnTo>
                  <a:lnTo>
                    <a:pt x="1415" y="716"/>
                  </a:lnTo>
                  <a:lnTo>
                    <a:pt x="1415" y="716"/>
                  </a:lnTo>
                  <a:lnTo>
                    <a:pt x="1415" y="716"/>
                  </a:lnTo>
                  <a:lnTo>
                    <a:pt x="1418" y="714"/>
                  </a:lnTo>
                  <a:lnTo>
                    <a:pt x="1420" y="714"/>
                  </a:lnTo>
                  <a:lnTo>
                    <a:pt x="1422" y="714"/>
                  </a:lnTo>
                  <a:lnTo>
                    <a:pt x="1425" y="712"/>
                  </a:lnTo>
                  <a:lnTo>
                    <a:pt x="1425" y="712"/>
                  </a:lnTo>
                  <a:lnTo>
                    <a:pt x="1427" y="712"/>
                  </a:lnTo>
                  <a:lnTo>
                    <a:pt x="1429" y="712"/>
                  </a:lnTo>
                  <a:lnTo>
                    <a:pt x="1429" y="714"/>
                  </a:lnTo>
                  <a:lnTo>
                    <a:pt x="1432" y="714"/>
                  </a:lnTo>
                  <a:lnTo>
                    <a:pt x="1434" y="714"/>
                  </a:lnTo>
                  <a:lnTo>
                    <a:pt x="1434" y="714"/>
                  </a:lnTo>
                  <a:lnTo>
                    <a:pt x="1434" y="716"/>
                  </a:lnTo>
                  <a:lnTo>
                    <a:pt x="1434" y="719"/>
                  </a:lnTo>
                  <a:lnTo>
                    <a:pt x="1432" y="719"/>
                  </a:lnTo>
                  <a:lnTo>
                    <a:pt x="1425" y="714"/>
                  </a:lnTo>
                  <a:lnTo>
                    <a:pt x="1422" y="714"/>
                  </a:lnTo>
                  <a:lnTo>
                    <a:pt x="1422" y="714"/>
                  </a:lnTo>
                  <a:lnTo>
                    <a:pt x="1425" y="716"/>
                  </a:lnTo>
                  <a:lnTo>
                    <a:pt x="1425" y="716"/>
                  </a:lnTo>
                  <a:lnTo>
                    <a:pt x="1425" y="716"/>
                  </a:lnTo>
                  <a:lnTo>
                    <a:pt x="1425" y="716"/>
                  </a:lnTo>
                  <a:lnTo>
                    <a:pt x="1425" y="719"/>
                  </a:lnTo>
                  <a:lnTo>
                    <a:pt x="1425" y="716"/>
                  </a:lnTo>
                  <a:lnTo>
                    <a:pt x="1422" y="716"/>
                  </a:lnTo>
                  <a:lnTo>
                    <a:pt x="1422" y="716"/>
                  </a:lnTo>
                  <a:lnTo>
                    <a:pt x="1422" y="716"/>
                  </a:lnTo>
                  <a:lnTo>
                    <a:pt x="1420" y="716"/>
                  </a:lnTo>
                  <a:lnTo>
                    <a:pt x="1420" y="716"/>
                  </a:lnTo>
                  <a:lnTo>
                    <a:pt x="1420" y="719"/>
                  </a:lnTo>
                  <a:lnTo>
                    <a:pt x="1420" y="721"/>
                  </a:lnTo>
                  <a:lnTo>
                    <a:pt x="1420" y="721"/>
                  </a:lnTo>
                  <a:lnTo>
                    <a:pt x="1422" y="721"/>
                  </a:lnTo>
                  <a:lnTo>
                    <a:pt x="1420" y="721"/>
                  </a:lnTo>
                  <a:lnTo>
                    <a:pt x="1420" y="721"/>
                  </a:lnTo>
                  <a:lnTo>
                    <a:pt x="1418" y="719"/>
                  </a:lnTo>
                  <a:lnTo>
                    <a:pt x="1418" y="719"/>
                  </a:lnTo>
                  <a:lnTo>
                    <a:pt x="1418" y="719"/>
                  </a:lnTo>
                  <a:lnTo>
                    <a:pt x="1418" y="719"/>
                  </a:lnTo>
                  <a:lnTo>
                    <a:pt x="1418" y="721"/>
                  </a:lnTo>
                  <a:lnTo>
                    <a:pt x="1418" y="721"/>
                  </a:lnTo>
                  <a:lnTo>
                    <a:pt x="1418" y="721"/>
                  </a:lnTo>
                  <a:lnTo>
                    <a:pt x="1418" y="721"/>
                  </a:lnTo>
                  <a:lnTo>
                    <a:pt x="1418" y="721"/>
                  </a:lnTo>
                  <a:lnTo>
                    <a:pt x="1418" y="723"/>
                  </a:lnTo>
                  <a:lnTo>
                    <a:pt x="1418" y="723"/>
                  </a:lnTo>
                  <a:lnTo>
                    <a:pt x="1418" y="723"/>
                  </a:lnTo>
                  <a:lnTo>
                    <a:pt x="1418" y="723"/>
                  </a:lnTo>
                  <a:lnTo>
                    <a:pt x="1418" y="723"/>
                  </a:lnTo>
                  <a:lnTo>
                    <a:pt x="1418" y="723"/>
                  </a:lnTo>
                  <a:lnTo>
                    <a:pt x="1420" y="723"/>
                  </a:lnTo>
                  <a:lnTo>
                    <a:pt x="1420" y="726"/>
                  </a:lnTo>
                  <a:lnTo>
                    <a:pt x="1420" y="726"/>
                  </a:lnTo>
                  <a:lnTo>
                    <a:pt x="1420" y="726"/>
                  </a:lnTo>
                  <a:lnTo>
                    <a:pt x="1420" y="726"/>
                  </a:lnTo>
                  <a:lnTo>
                    <a:pt x="1418" y="726"/>
                  </a:lnTo>
                  <a:lnTo>
                    <a:pt x="1418" y="728"/>
                  </a:lnTo>
                  <a:lnTo>
                    <a:pt x="1418" y="728"/>
                  </a:lnTo>
                  <a:lnTo>
                    <a:pt x="1418" y="728"/>
                  </a:lnTo>
                  <a:lnTo>
                    <a:pt x="1418" y="728"/>
                  </a:lnTo>
                  <a:lnTo>
                    <a:pt x="1420" y="726"/>
                  </a:lnTo>
                  <a:lnTo>
                    <a:pt x="1420" y="728"/>
                  </a:lnTo>
                  <a:lnTo>
                    <a:pt x="1420" y="728"/>
                  </a:lnTo>
                  <a:lnTo>
                    <a:pt x="1420" y="728"/>
                  </a:lnTo>
                  <a:lnTo>
                    <a:pt x="1420" y="731"/>
                  </a:lnTo>
                  <a:lnTo>
                    <a:pt x="1425" y="731"/>
                  </a:lnTo>
                  <a:lnTo>
                    <a:pt x="1425" y="731"/>
                  </a:lnTo>
                  <a:lnTo>
                    <a:pt x="1425" y="731"/>
                  </a:lnTo>
                  <a:lnTo>
                    <a:pt x="1425" y="731"/>
                  </a:lnTo>
                  <a:lnTo>
                    <a:pt x="1422" y="731"/>
                  </a:lnTo>
                  <a:lnTo>
                    <a:pt x="1425" y="731"/>
                  </a:lnTo>
                  <a:lnTo>
                    <a:pt x="1427" y="731"/>
                  </a:lnTo>
                  <a:lnTo>
                    <a:pt x="1427" y="731"/>
                  </a:lnTo>
                  <a:lnTo>
                    <a:pt x="1429" y="728"/>
                  </a:lnTo>
                  <a:lnTo>
                    <a:pt x="1429" y="728"/>
                  </a:lnTo>
                  <a:lnTo>
                    <a:pt x="1432" y="733"/>
                  </a:lnTo>
                  <a:lnTo>
                    <a:pt x="1429" y="731"/>
                  </a:lnTo>
                  <a:lnTo>
                    <a:pt x="1429" y="731"/>
                  </a:lnTo>
                  <a:lnTo>
                    <a:pt x="1427" y="731"/>
                  </a:lnTo>
                  <a:lnTo>
                    <a:pt x="1429" y="733"/>
                  </a:lnTo>
                  <a:lnTo>
                    <a:pt x="1429" y="733"/>
                  </a:lnTo>
                  <a:lnTo>
                    <a:pt x="1429" y="733"/>
                  </a:lnTo>
                  <a:lnTo>
                    <a:pt x="1427" y="733"/>
                  </a:lnTo>
                  <a:lnTo>
                    <a:pt x="1425" y="733"/>
                  </a:lnTo>
                  <a:lnTo>
                    <a:pt x="1422" y="733"/>
                  </a:lnTo>
                  <a:lnTo>
                    <a:pt x="1422" y="733"/>
                  </a:lnTo>
                  <a:lnTo>
                    <a:pt x="1420" y="733"/>
                  </a:lnTo>
                  <a:lnTo>
                    <a:pt x="1420" y="733"/>
                  </a:lnTo>
                  <a:lnTo>
                    <a:pt x="1420" y="731"/>
                  </a:lnTo>
                  <a:lnTo>
                    <a:pt x="1418" y="733"/>
                  </a:lnTo>
                  <a:lnTo>
                    <a:pt x="1420" y="733"/>
                  </a:lnTo>
                  <a:lnTo>
                    <a:pt x="1420" y="733"/>
                  </a:lnTo>
                  <a:lnTo>
                    <a:pt x="1420" y="733"/>
                  </a:lnTo>
                  <a:lnTo>
                    <a:pt x="1420" y="733"/>
                  </a:lnTo>
                  <a:lnTo>
                    <a:pt x="1418" y="733"/>
                  </a:lnTo>
                  <a:lnTo>
                    <a:pt x="1418" y="733"/>
                  </a:lnTo>
                  <a:lnTo>
                    <a:pt x="1418" y="733"/>
                  </a:lnTo>
                  <a:lnTo>
                    <a:pt x="1418" y="731"/>
                  </a:lnTo>
                  <a:lnTo>
                    <a:pt x="1418" y="731"/>
                  </a:lnTo>
                  <a:lnTo>
                    <a:pt x="1415" y="731"/>
                  </a:lnTo>
                  <a:lnTo>
                    <a:pt x="1415" y="733"/>
                  </a:lnTo>
                  <a:lnTo>
                    <a:pt x="1415" y="733"/>
                  </a:lnTo>
                  <a:lnTo>
                    <a:pt x="1415" y="733"/>
                  </a:lnTo>
                  <a:lnTo>
                    <a:pt x="1415" y="731"/>
                  </a:lnTo>
                  <a:lnTo>
                    <a:pt x="1415" y="731"/>
                  </a:lnTo>
                  <a:lnTo>
                    <a:pt x="1413" y="731"/>
                  </a:lnTo>
                  <a:lnTo>
                    <a:pt x="1415" y="733"/>
                  </a:lnTo>
                  <a:lnTo>
                    <a:pt x="1415" y="733"/>
                  </a:lnTo>
                  <a:lnTo>
                    <a:pt x="1415" y="733"/>
                  </a:lnTo>
                  <a:lnTo>
                    <a:pt x="1413" y="735"/>
                  </a:lnTo>
                  <a:lnTo>
                    <a:pt x="1413" y="735"/>
                  </a:lnTo>
                  <a:lnTo>
                    <a:pt x="1413" y="735"/>
                  </a:lnTo>
                  <a:lnTo>
                    <a:pt x="1418" y="735"/>
                  </a:lnTo>
                  <a:lnTo>
                    <a:pt x="1418" y="735"/>
                  </a:lnTo>
                  <a:lnTo>
                    <a:pt x="1418" y="738"/>
                  </a:lnTo>
                  <a:lnTo>
                    <a:pt x="1418" y="738"/>
                  </a:lnTo>
                  <a:lnTo>
                    <a:pt x="1420" y="738"/>
                  </a:lnTo>
                  <a:lnTo>
                    <a:pt x="1420" y="738"/>
                  </a:lnTo>
                  <a:lnTo>
                    <a:pt x="1420" y="738"/>
                  </a:lnTo>
                  <a:lnTo>
                    <a:pt x="1422" y="735"/>
                  </a:lnTo>
                  <a:lnTo>
                    <a:pt x="1422" y="735"/>
                  </a:lnTo>
                  <a:lnTo>
                    <a:pt x="1425" y="735"/>
                  </a:lnTo>
                  <a:lnTo>
                    <a:pt x="1425" y="735"/>
                  </a:lnTo>
                  <a:lnTo>
                    <a:pt x="1425" y="735"/>
                  </a:lnTo>
                  <a:lnTo>
                    <a:pt x="1425" y="735"/>
                  </a:lnTo>
                  <a:lnTo>
                    <a:pt x="1425" y="735"/>
                  </a:lnTo>
                  <a:lnTo>
                    <a:pt x="1425" y="735"/>
                  </a:lnTo>
                  <a:lnTo>
                    <a:pt x="1425" y="738"/>
                  </a:lnTo>
                  <a:lnTo>
                    <a:pt x="1425" y="738"/>
                  </a:lnTo>
                  <a:lnTo>
                    <a:pt x="1425" y="738"/>
                  </a:lnTo>
                  <a:lnTo>
                    <a:pt x="1425" y="738"/>
                  </a:lnTo>
                  <a:lnTo>
                    <a:pt x="1425" y="738"/>
                  </a:lnTo>
                  <a:lnTo>
                    <a:pt x="1427" y="738"/>
                  </a:lnTo>
                  <a:lnTo>
                    <a:pt x="1427" y="738"/>
                  </a:lnTo>
                  <a:lnTo>
                    <a:pt x="1427" y="735"/>
                  </a:lnTo>
                  <a:lnTo>
                    <a:pt x="1429" y="738"/>
                  </a:lnTo>
                  <a:lnTo>
                    <a:pt x="1427" y="738"/>
                  </a:lnTo>
                  <a:lnTo>
                    <a:pt x="1427" y="738"/>
                  </a:lnTo>
                  <a:lnTo>
                    <a:pt x="1427" y="738"/>
                  </a:lnTo>
                  <a:lnTo>
                    <a:pt x="1429" y="738"/>
                  </a:lnTo>
                  <a:lnTo>
                    <a:pt x="1429" y="738"/>
                  </a:lnTo>
                  <a:lnTo>
                    <a:pt x="1432" y="738"/>
                  </a:lnTo>
                  <a:lnTo>
                    <a:pt x="1432" y="735"/>
                  </a:lnTo>
                  <a:lnTo>
                    <a:pt x="1432" y="735"/>
                  </a:lnTo>
                  <a:lnTo>
                    <a:pt x="1432" y="735"/>
                  </a:lnTo>
                  <a:lnTo>
                    <a:pt x="1432" y="735"/>
                  </a:lnTo>
                  <a:lnTo>
                    <a:pt x="1432" y="735"/>
                  </a:lnTo>
                  <a:lnTo>
                    <a:pt x="1432" y="738"/>
                  </a:lnTo>
                  <a:lnTo>
                    <a:pt x="1432" y="738"/>
                  </a:lnTo>
                  <a:lnTo>
                    <a:pt x="1432" y="738"/>
                  </a:lnTo>
                  <a:lnTo>
                    <a:pt x="1432" y="738"/>
                  </a:lnTo>
                  <a:lnTo>
                    <a:pt x="1432" y="740"/>
                  </a:lnTo>
                  <a:lnTo>
                    <a:pt x="1432" y="740"/>
                  </a:lnTo>
                  <a:lnTo>
                    <a:pt x="1432" y="738"/>
                  </a:lnTo>
                  <a:lnTo>
                    <a:pt x="1432" y="740"/>
                  </a:lnTo>
                  <a:lnTo>
                    <a:pt x="1429" y="740"/>
                  </a:lnTo>
                  <a:lnTo>
                    <a:pt x="1429" y="740"/>
                  </a:lnTo>
                  <a:lnTo>
                    <a:pt x="1429" y="740"/>
                  </a:lnTo>
                  <a:lnTo>
                    <a:pt x="1429" y="740"/>
                  </a:lnTo>
                  <a:lnTo>
                    <a:pt x="1425" y="740"/>
                  </a:lnTo>
                  <a:lnTo>
                    <a:pt x="1425" y="740"/>
                  </a:lnTo>
                  <a:lnTo>
                    <a:pt x="1425" y="742"/>
                  </a:lnTo>
                  <a:lnTo>
                    <a:pt x="1422" y="740"/>
                  </a:lnTo>
                  <a:lnTo>
                    <a:pt x="1422" y="742"/>
                  </a:lnTo>
                  <a:lnTo>
                    <a:pt x="1422" y="742"/>
                  </a:lnTo>
                  <a:lnTo>
                    <a:pt x="1422" y="742"/>
                  </a:lnTo>
                  <a:lnTo>
                    <a:pt x="1422" y="742"/>
                  </a:lnTo>
                  <a:lnTo>
                    <a:pt x="1422" y="742"/>
                  </a:lnTo>
                  <a:lnTo>
                    <a:pt x="1422" y="742"/>
                  </a:lnTo>
                  <a:lnTo>
                    <a:pt x="1425" y="742"/>
                  </a:lnTo>
                  <a:lnTo>
                    <a:pt x="1429" y="742"/>
                  </a:lnTo>
                  <a:lnTo>
                    <a:pt x="1429" y="742"/>
                  </a:lnTo>
                  <a:lnTo>
                    <a:pt x="1432" y="742"/>
                  </a:lnTo>
                  <a:lnTo>
                    <a:pt x="1432" y="742"/>
                  </a:lnTo>
                  <a:lnTo>
                    <a:pt x="1434" y="742"/>
                  </a:lnTo>
                  <a:lnTo>
                    <a:pt x="1434" y="742"/>
                  </a:lnTo>
                  <a:lnTo>
                    <a:pt x="1434" y="742"/>
                  </a:lnTo>
                  <a:lnTo>
                    <a:pt x="1432" y="745"/>
                  </a:lnTo>
                  <a:lnTo>
                    <a:pt x="1432" y="745"/>
                  </a:lnTo>
                  <a:lnTo>
                    <a:pt x="1429" y="745"/>
                  </a:lnTo>
                  <a:lnTo>
                    <a:pt x="1429" y="745"/>
                  </a:lnTo>
                  <a:lnTo>
                    <a:pt x="1429" y="745"/>
                  </a:lnTo>
                  <a:lnTo>
                    <a:pt x="1432" y="747"/>
                  </a:lnTo>
                  <a:lnTo>
                    <a:pt x="1432" y="747"/>
                  </a:lnTo>
                  <a:lnTo>
                    <a:pt x="1434" y="745"/>
                  </a:lnTo>
                  <a:lnTo>
                    <a:pt x="1434" y="745"/>
                  </a:lnTo>
                  <a:lnTo>
                    <a:pt x="1434" y="745"/>
                  </a:lnTo>
                  <a:lnTo>
                    <a:pt x="1436" y="745"/>
                  </a:lnTo>
                  <a:lnTo>
                    <a:pt x="1434" y="745"/>
                  </a:lnTo>
                  <a:lnTo>
                    <a:pt x="1434" y="745"/>
                  </a:lnTo>
                  <a:lnTo>
                    <a:pt x="1434" y="745"/>
                  </a:lnTo>
                  <a:lnTo>
                    <a:pt x="1434" y="747"/>
                  </a:lnTo>
                  <a:lnTo>
                    <a:pt x="1434" y="747"/>
                  </a:lnTo>
                  <a:lnTo>
                    <a:pt x="1436" y="747"/>
                  </a:lnTo>
                  <a:lnTo>
                    <a:pt x="1434" y="747"/>
                  </a:lnTo>
                  <a:lnTo>
                    <a:pt x="1434" y="747"/>
                  </a:lnTo>
                  <a:lnTo>
                    <a:pt x="1432" y="747"/>
                  </a:lnTo>
                  <a:lnTo>
                    <a:pt x="1434" y="749"/>
                  </a:lnTo>
                  <a:lnTo>
                    <a:pt x="1439" y="747"/>
                  </a:lnTo>
                  <a:lnTo>
                    <a:pt x="1439" y="747"/>
                  </a:lnTo>
                  <a:lnTo>
                    <a:pt x="1441" y="747"/>
                  </a:lnTo>
                  <a:lnTo>
                    <a:pt x="1441" y="749"/>
                  </a:lnTo>
                  <a:lnTo>
                    <a:pt x="1439" y="749"/>
                  </a:lnTo>
                  <a:lnTo>
                    <a:pt x="1439" y="749"/>
                  </a:lnTo>
                  <a:lnTo>
                    <a:pt x="1439" y="749"/>
                  </a:lnTo>
                  <a:lnTo>
                    <a:pt x="1439" y="749"/>
                  </a:lnTo>
                  <a:lnTo>
                    <a:pt x="1436" y="752"/>
                  </a:lnTo>
                  <a:lnTo>
                    <a:pt x="1434" y="754"/>
                  </a:lnTo>
                  <a:lnTo>
                    <a:pt x="1432" y="754"/>
                  </a:lnTo>
                  <a:lnTo>
                    <a:pt x="1429" y="754"/>
                  </a:lnTo>
                  <a:lnTo>
                    <a:pt x="1429" y="754"/>
                  </a:lnTo>
                  <a:lnTo>
                    <a:pt x="1427" y="754"/>
                  </a:lnTo>
                  <a:lnTo>
                    <a:pt x="1427" y="754"/>
                  </a:lnTo>
                  <a:lnTo>
                    <a:pt x="1427" y="757"/>
                  </a:lnTo>
                  <a:lnTo>
                    <a:pt x="1429" y="757"/>
                  </a:lnTo>
                  <a:lnTo>
                    <a:pt x="1429" y="759"/>
                  </a:lnTo>
                  <a:lnTo>
                    <a:pt x="1432" y="759"/>
                  </a:lnTo>
                  <a:lnTo>
                    <a:pt x="1434" y="759"/>
                  </a:lnTo>
                  <a:lnTo>
                    <a:pt x="1436" y="761"/>
                  </a:lnTo>
                  <a:lnTo>
                    <a:pt x="1436" y="761"/>
                  </a:lnTo>
                  <a:lnTo>
                    <a:pt x="1439" y="761"/>
                  </a:lnTo>
                  <a:lnTo>
                    <a:pt x="1439" y="764"/>
                  </a:lnTo>
                  <a:lnTo>
                    <a:pt x="1439" y="764"/>
                  </a:lnTo>
                  <a:lnTo>
                    <a:pt x="1439" y="764"/>
                  </a:lnTo>
                  <a:lnTo>
                    <a:pt x="1439" y="764"/>
                  </a:lnTo>
                  <a:lnTo>
                    <a:pt x="1439" y="766"/>
                  </a:lnTo>
                  <a:lnTo>
                    <a:pt x="1439" y="766"/>
                  </a:lnTo>
                  <a:lnTo>
                    <a:pt x="1439" y="766"/>
                  </a:lnTo>
                  <a:lnTo>
                    <a:pt x="1439" y="768"/>
                  </a:lnTo>
                  <a:lnTo>
                    <a:pt x="1439" y="768"/>
                  </a:lnTo>
                  <a:lnTo>
                    <a:pt x="1441" y="768"/>
                  </a:lnTo>
                  <a:lnTo>
                    <a:pt x="1444" y="768"/>
                  </a:lnTo>
                  <a:lnTo>
                    <a:pt x="1444" y="768"/>
                  </a:lnTo>
                  <a:lnTo>
                    <a:pt x="1446" y="768"/>
                  </a:lnTo>
                  <a:lnTo>
                    <a:pt x="1448" y="768"/>
                  </a:lnTo>
                  <a:lnTo>
                    <a:pt x="1448" y="766"/>
                  </a:lnTo>
                  <a:lnTo>
                    <a:pt x="1451" y="766"/>
                  </a:lnTo>
                  <a:lnTo>
                    <a:pt x="1453" y="764"/>
                  </a:lnTo>
                  <a:lnTo>
                    <a:pt x="1453" y="764"/>
                  </a:lnTo>
                  <a:lnTo>
                    <a:pt x="1453" y="764"/>
                  </a:lnTo>
                  <a:lnTo>
                    <a:pt x="1455" y="764"/>
                  </a:lnTo>
                  <a:lnTo>
                    <a:pt x="1458" y="764"/>
                  </a:lnTo>
                  <a:lnTo>
                    <a:pt x="1458" y="761"/>
                  </a:lnTo>
                  <a:lnTo>
                    <a:pt x="1458" y="761"/>
                  </a:lnTo>
                  <a:lnTo>
                    <a:pt x="1460" y="761"/>
                  </a:lnTo>
                  <a:lnTo>
                    <a:pt x="1460" y="759"/>
                  </a:lnTo>
                  <a:lnTo>
                    <a:pt x="1462" y="759"/>
                  </a:lnTo>
                  <a:lnTo>
                    <a:pt x="1462" y="759"/>
                  </a:lnTo>
                  <a:lnTo>
                    <a:pt x="1462" y="759"/>
                  </a:lnTo>
                  <a:lnTo>
                    <a:pt x="1465" y="757"/>
                  </a:lnTo>
                  <a:lnTo>
                    <a:pt x="1465" y="757"/>
                  </a:lnTo>
                  <a:lnTo>
                    <a:pt x="1465" y="757"/>
                  </a:lnTo>
                  <a:lnTo>
                    <a:pt x="1467" y="757"/>
                  </a:lnTo>
                  <a:lnTo>
                    <a:pt x="1467" y="757"/>
                  </a:lnTo>
                  <a:lnTo>
                    <a:pt x="1470" y="757"/>
                  </a:lnTo>
                  <a:lnTo>
                    <a:pt x="1467" y="759"/>
                  </a:lnTo>
                  <a:lnTo>
                    <a:pt x="1467" y="759"/>
                  </a:lnTo>
                  <a:lnTo>
                    <a:pt x="1467" y="759"/>
                  </a:lnTo>
                  <a:lnTo>
                    <a:pt x="1467" y="759"/>
                  </a:lnTo>
                  <a:lnTo>
                    <a:pt x="1465" y="759"/>
                  </a:lnTo>
                  <a:lnTo>
                    <a:pt x="1465" y="759"/>
                  </a:lnTo>
                  <a:lnTo>
                    <a:pt x="1465" y="759"/>
                  </a:lnTo>
                  <a:lnTo>
                    <a:pt x="1465" y="759"/>
                  </a:lnTo>
                  <a:lnTo>
                    <a:pt x="1462" y="759"/>
                  </a:lnTo>
                  <a:lnTo>
                    <a:pt x="1462" y="759"/>
                  </a:lnTo>
                  <a:lnTo>
                    <a:pt x="1462" y="759"/>
                  </a:lnTo>
                  <a:lnTo>
                    <a:pt x="1462" y="759"/>
                  </a:lnTo>
                  <a:lnTo>
                    <a:pt x="1462" y="761"/>
                  </a:lnTo>
                  <a:lnTo>
                    <a:pt x="1462" y="761"/>
                  </a:lnTo>
                  <a:lnTo>
                    <a:pt x="1462" y="761"/>
                  </a:lnTo>
                  <a:lnTo>
                    <a:pt x="1460" y="761"/>
                  </a:lnTo>
                  <a:lnTo>
                    <a:pt x="1460" y="761"/>
                  </a:lnTo>
                  <a:lnTo>
                    <a:pt x="1460" y="761"/>
                  </a:lnTo>
                  <a:lnTo>
                    <a:pt x="1460" y="764"/>
                  </a:lnTo>
                  <a:lnTo>
                    <a:pt x="1460" y="764"/>
                  </a:lnTo>
                  <a:lnTo>
                    <a:pt x="1458" y="764"/>
                  </a:lnTo>
                  <a:lnTo>
                    <a:pt x="1458" y="764"/>
                  </a:lnTo>
                  <a:lnTo>
                    <a:pt x="1458" y="764"/>
                  </a:lnTo>
                  <a:lnTo>
                    <a:pt x="1458" y="766"/>
                  </a:lnTo>
                  <a:lnTo>
                    <a:pt x="1458" y="766"/>
                  </a:lnTo>
                  <a:lnTo>
                    <a:pt x="1458" y="766"/>
                  </a:lnTo>
                  <a:lnTo>
                    <a:pt x="1458" y="766"/>
                  </a:lnTo>
                  <a:lnTo>
                    <a:pt x="1458" y="766"/>
                  </a:lnTo>
                  <a:lnTo>
                    <a:pt x="1458" y="766"/>
                  </a:lnTo>
                  <a:lnTo>
                    <a:pt x="1455" y="766"/>
                  </a:lnTo>
                  <a:lnTo>
                    <a:pt x="1455" y="766"/>
                  </a:lnTo>
                  <a:lnTo>
                    <a:pt x="1455" y="768"/>
                  </a:lnTo>
                  <a:lnTo>
                    <a:pt x="1455" y="768"/>
                  </a:lnTo>
                  <a:lnTo>
                    <a:pt x="1458" y="768"/>
                  </a:lnTo>
                  <a:lnTo>
                    <a:pt x="1458" y="766"/>
                  </a:lnTo>
                  <a:lnTo>
                    <a:pt x="1458" y="768"/>
                  </a:lnTo>
                  <a:lnTo>
                    <a:pt x="1458" y="768"/>
                  </a:lnTo>
                  <a:lnTo>
                    <a:pt x="1458" y="768"/>
                  </a:lnTo>
                  <a:lnTo>
                    <a:pt x="1455" y="771"/>
                  </a:lnTo>
                  <a:lnTo>
                    <a:pt x="1455" y="771"/>
                  </a:lnTo>
                  <a:lnTo>
                    <a:pt x="1455" y="771"/>
                  </a:lnTo>
                  <a:lnTo>
                    <a:pt x="1455" y="773"/>
                  </a:lnTo>
                  <a:lnTo>
                    <a:pt x="1455" y="771"/>
                  </a:lnTo>
                  <a:lnTo>
                    <a:pt x="1453" y="771"/>
                  </a:lnTo>
                  <a:lnTo>
                    <a:pt x="1453" y="771"/>
                  </a:lnTo>
                  <a:lnTo>
                    <a:pt x="1453" y="773"/>
                  </a:lnTo>
                  <a:lnTo>
                    <a:pt x="1453" y="773"/>
                  </a:lnTo>
                  <a:lnTo>
                    <a:pt x="1453" y="773"/>
                  </a:lnTo>
                  <a:lnTo>
                    <a:pt x="1453" y="773"/>
                  </a:lnTo>
                  <a:lnTo>
                    <a:pt x="1453" y="773"/>
                  </a:lnTo>
                  <a:lnTo>
                    <a:pt x="1453" y="773"/>
                  </a:lnTo>
                  <a:lnTo>
                    <a:pt x="1453" y="773"/>
                  </a:lnTo>
                  <a:lnTo>
                    <a:pt x="1453" y="773"/>
                  </a:lnTo>
                  <a:lnTo>
                    <a:pt x="1451" y="775"/>
                  </a:lnTo>
                  <a:lnTo>
                    <a:pt x="1451" y="775"/>
                  </a:lnTo>
                  <a:lnTo>
                    <a:pt x="1451" y="775"/>
                  </a:lnTo>
                  <a:lnTo>
                    <a:pt x="1451" y="775"/>
                  </a:lnTo>
                  <a:lnTo>
                    <a:pt x="1451" y="778"/>
                  </a:lnTo>
                  <a:lnTo>
                    <a:pt x="1451" y="778"/>
                  </a:lnTo>
                  <a:lnTo>
                    <a:pt x="1451" y="778"/>
                  </a:lnTo>
                  <a:lnTo>
                    <a:pt x="1453" y="778"/>
                  </a:lnTo>
                  <a:lnTo>
                    <a:pt x="1453" y="778"/>
                  </a:lnTo>
                  <a:lnTo>
                    <a:pt x="1453" y="778"/>
                  </a:lnTo>
                  <a:lnTo>
                    <a:pt x="1453" y="778"/>
                  </a:lnTo>
                  <a:lnTo>
                    <a:pt x="1453" y="778"/>
                  </a:lnTo>
                  <a:lnTo>
                    <a:pt x="1453" y="778"/>
                  </a:lnTo>
                  <a:lnTo>
                    <a:pt x="1453" y="778"/>
                  </a:lnTo>
                  <a:lnTo>
                    <a:pt x="1453" y="778"/>
                  </a:lnTo>
                  <a:lnTo>
                    <a:pt x="1455" y="778"/>
                  </a:lnTo>
                  <a:lnTo>
                    <a:pt x="1455" y="778"/>
                  </a:lnTo>
                  <a:lnTo>
                    <a:pt x="1455" y="778"/>
                  </a:lnTo>
                  <a:lnTo>
                    <a:pt x="1455" y="780"/>
                  </a:lnTo>
                  <a:lnTo>
                    <a:pt x="1455" y="780"/>
                  </a:lnTo>
                  <a:lnTo>
                    <a:pt x="1455" y="780"/>
                  </a:lnTo>
                  <a:lnTo>
                    <a:pt x="1455" y="783"/>
                  </a:lnTo>
                  <a:lnTo>
                    <a:pt x="1455" y="785"/>
                  </a:lnTo>
                  <a:lnTo>
                    <a:pt x="1455" y="785"/>
                  </a:lnTo>
                  <a:lnTo>
                    <a:pt x="1455" y="785"/>
                  </a:lnTo>
                  <a:lnTo>
                    <a:pt x="1455" y="783"/>
                  </a:lnTo>
                  <a:lnTo>
                    <a:pt x="1455" y="783"/>
                  </a:lnTo>
                  <a:lnTo>
                    <a:pt x="1455" y="783"/>
                  </a:lnTo>
                  <a:lnTo>
                    <a:pt x="1455" y="785"/>
                  </a:lnTo>
                  <a:lnTo>
                    <a:pt x="1458" y="785"/>
                  </a:lnTo>
                  <a:lnTo>
                    <a:pt x="1458" y="787"/>
                  </a:lnTo>
                  <a:lnTo>
                    <a:pt x="1458" y="787"/>
                  </a:lnTo>
                  <a:lnTo>
                    <a:pt x="1460" y="787"/>
                  </a:lnTo>
                  <a:lnTo>
                    <a:pt x="1460" y="787"/>
                  </a:lnTo>
                  <a:lnTo>
                    <a:pt x="1460" y="787"/>
                  </a:lnTo>
                  <a:lnTo>
                    <a:pt x="1460" y="787"/>
                  </a:lnTo>
                  <a:lnTo>
                    <a:pt x="1460" y="787"/>
                  </a:lnTo>
                  <a:lnTo>
                    <a:pt x="1460" y="787"/>
                  </a:lnTo>
                  <a:lnTo>
                    <a:pt x="1460" y="790"/>
                  </a:lnTo>
                  <a:lnTo>
                    <a:pt x="1462" y="790"/>
                  </a:lnTo>
                  <a:lnTo>
                    <a:pt x="1462" y="787"/>
                  </a:lnTo>
                  <a:lnTo>
                    <a:pt x="1465" y="790"/>
                  </a:lnTo>
                  <a:lnTo>
                    <a:pt x="1467" y="790"/>
                  </a:lnTo>
                  <a:lnTo>
                    <a:pt x="1467" y="790"/>
                  </a:lnTo>
                  <a:lnTo>
                    <a:pt x="1467" y="790"/>
                  </a:lnTo>
                  <a:lnTo>
                    <a:pt x="1467" y="790"/>
                  </a:lnTo>
                  <a:lnTo>
                    <a:pt x="1467" y="790"/>
                  </a:lnTo>
                  <a:lnTo>
                    <a:pt x="1467" y="792"/>
                  </a:lnTo>
                  <a:lnTo>
                    <a:pt x="1467" y="792"/>
                  </a:lnTo>
                  <a:lnTo>
                    <a:pt x="1467" y="792"/>
                  </a:lnTo>
                  <a:lnTo>
                    <a:pt x="1467" y="792"/>
                  </a:lnTo>
                  <a:lnTo>
                    <a:pt x="1465" y="792"/>
                  </a:lnTo>
                  <a:lnTo>
                    <a:pt x="1465" y="792"/>
                  </a:lnTo>
                  <a:lnTo>
                    <a:pt x="1465" y="792"/>
                  </a:lnTo>
                  <a:lnTo>
                    <a:pt x="1465" y="792"/>
                  </a:lnTo>
                  <a:lnTo>
                    <a:pt x="1467" y="794"/>
                  </a:lnTo>
                  <a:lnTo>
                    <a:pt x="1470" y="799"/>
                  </a:lnTo>
                  <a:lnTo>
                    <a:pt x="1470" y="799"/>
                  </a:lnTo>
                  <a:lnTo>
                    <a:pt x="1470" y="802"/>
                  </a:lnTo>
                  <a:lnTo>
                    <a:pt x="1470" y="802"/>
                  </a:lnTo>
                  <a:lnTo>
                    <a:pt x="1465" y="799"/>
                  </a:lnTo>
                  <a:lnTo>
                    <a:pt x="1462" y="799"/>
                  </a:lnTo>
                  <a:lnTo>
                    <a:pt x="1467" y="802"/>
                  </a:lnTo>
                  <a:lnTo>
                    <a:pt x="1467" y="802"/>
                  </a:lnTo>
                  <a:lnTo>
                    <a:pt x="1470" y="804"/>
                  </a:lnTo>
                  <a:lnTo>
                    <a:pt x="1472" y="806"/>
                  </a:lnTo>
                  <a:lnTo>
                    <a:pt x="1477" y="804"/>
                  </a:lnTo>
                  <a:lnTo>
                    <a:pt x="1481" y="806"/>
                  </a:lnTo>
                  <a:lnTo>
                    <a:pt x="1484" y="806"/>
                  </a:lnTo>
                  <a:lnTo>
                    <a:pt x="1491" y="809"/>
                  </a:lnTo>
                  <a:lnTo>
                    <a:pt x="1498" y="811"/>
                  </a:lnTo>
                  <a:lnTo>
                    <a:pt x="1503" y="811"/>
                  </a:lnTo>
                  <a:lnTo>
                    <a:pt x="1507" y="813"/>
                  </a:lnTo>
                  <a:lnTo>
                    <a:pt x="1512" y="816"/>
                  </a:lnTo>
                  <a:lnTo>
                    <a:pt x="1515" y="818"/>
                  </a:lnTo>
                  <a:lnTo>
                    <a:pt x="1519" y="820"/>
                  </a:lnTo>
                  <a:lnTo>
                    <a:pt x="1522" y="823"/>
                  </a:lnTo>
                  <a:lnTo>
                    <a:pt x="1524" y="825"/>
                  </a:lnTo>
                  <a:lnTo>
                    <a:pt x="1526" y="828"/>
                  </a:lnTo>
                  <a:lnTo>
                    <a:pt x="1529" y="830"/>
                  </a:lnTo>
                  <a:lnTo>
                    <a:pt x="1531" y="832"/>
                  </a:lnTo>
                  <a:lnTo>
                    <a:pt x="1533" y="832"/>
                  </a:lnTo>
                  <a:lnTo>
                    <a:pt x="1538" y="832"/>
                  </a:lnTo>
                  <a:lnTo>
                    <a:pt x="1541" y="832"/>
                  </a:lnTo>
                  <a:lnTo>
                    <a:pt x="1541" y="832"/>
                  </a:lnTo>
                  <a:lnTo>
                    <a:pt x="1541" y="830"/>
                  </a:lnTo>
                  <a:lnTo>
                    <a:pt x="1541" y="830"/>
                  </a:lnTo>
                  <a:lnTo>
                    <a:pt x="1541" y="828"/>
                  </a:lnTo>
                  <a:lnTo>
                    <a:pt x="1541" y="828"/>
                  </a:lnTo>
                  <a:lnTo>
                    <a:pt x="1541" y="828"/>
                  </a:lnTo>
                  <a:lnTo>
                    <a:pt x="1541" y="828"/>
                  </a:lnTo>
                  <a:lnTo>
                    <a:pt x="1541" y="825"/>
                  </a:lnTo>
                  <a:lnTo>
                    <a:pt x="1541" y="825"/>
                  </a:lnTo>
                  <a:lnTo>
                    <a:pt x="1541" y="825"/>
                  </a:lnTo>
                  <a:lnTo>
                    <a:pt x="1543" y="825"/>
                  </a:lnTo>
                  <a:lnTo>
                    <a:pt x="1543" y="828"/>
                  </a:lnTo>
                  <a:lnTo>
                    <a:pt x="1543" y="828"/>
                  </a:lnTo>
                  <a:lnTo>
                    <a:pt x="1545" y="830"/>
                  </a:lnTo>
                  <a:lnTo>
                    <a:pt x="1545" y="830"/>
                  </a:lnTo>
                  <a:lnTo>
                    <a:pt x="1543" y="830"/>
                  </a:lnTo>
                  <a:lnTo>
                    <a:pt x="1543" y="830"/>
                  </a:lnTo>
                  <a:lnTo>
                    <a:pt x="1543" y="830"/>
                  </a:lnTo>
                  <a:lnTo>
                    <a:pt x="1543" y="832"/>
                  </a:lnTo>
                  <a:lnTo>
                    <a:pt x="1543" y="832"/>
                  </a:lnTo>
                  <a:lnTo>
                    <a:pt x="1543" y="832"/>
                  </a:lnTo>
                  <a:lnTo>
                    <a:pt x="1543" y="835"/>
                  </a:lnTo>
                  <a:lnTo>
                    <a:pt x="1543" y="835"/>
                  </a:lnTo>
                  <a:lnTo>
                    <a:pt x="1543" y="837"/>
                  </a:lnTo>
                  <a:lnTo>
                    <a:pt x="1543" y="837"/>
                  </a:lnTo>
                  <a:lnTo>
                    <a:pt x="1541" y="837"/>
                  </a:lnTo>
                  <a:lnTo>
                    <a:pt x="1541" y="837"/>
                  </a:lnTo>
                  <a:lnTo>
                    <a:pt x="1541" y="837"/>
                  </a:lnTo>
                  <a:lnTo>
                    <a:pt x="1541" y="837"/>
                  </a:lnTo>
                  <a:lnTo>
                    <a:pt x="1538" y="837"/>
                  </a:lnTo>
                  <a:lnTo>
                    <a:pt x="1538" y="837"/>
                  </a:lnTo>
                  <a:lnTo>
                    <a:pt x="1536" y="837"/>
                  </a:lnTo>
                  <a:lnTo>
                    <a:pt x="1536" y="837"/>
                  </a:lnTo>
                  <a:lnTo>
                    <a:pt x="1536" y="837"/>
                  </a:lnTo>
                  <a:lnTo>
                    <a:pt x="1538" y="837"/>
                  </a:lnTo>
                  <a:lnTo>
                    <a:pt x="1538" y="837"/>
                  </a:lnTo>
                  <a:lnTo>
                    <a:pt x="1538" y="837"/>
                  </a:lnTo>
                  <a:lnTo>
                    <a:pt x="1536" y="837"/>
                  </a:lnTo>
                  <a:lnTo>
                    <a:pt x="1536" y="837"/>
                  </a:lnTo>
                  <a:lnTo>
                    <a:pt x="1536" y="839"/>
                  </a:lnTo>
                  <a:lnTo>
                    <a:pt x="1536" y="839"/>
                  </a:lnTo>
                  <a:lnTo>
                    <a:pt x="1538" y="839"/>
                  </a:lnTo>
                  <a:lnTo>
                    <a:pt x="1541" y="842"/>
                  </a:lnTo>
                  <a:lnTo>
                    <a:pt x="1543" y="846"/>
                  </a:lnTo>
                  <a:lnTo>
                    <a:pt x="1545" y="849"/>
                  </a:lnTo>
                  <a:lnTo>
                    <a:pt x="1550" y="851"/>
                  </a:lnTo>
                  <a:lnTo>
                    <a:pt x="1552" y="854"/>
                  </a:lnTo>
                  <a:lnTo>
                    <a:pt x="1552" y="856"/>
                  </a:lnTo>
                  <a:lnTo>
                    <a:pt x="1555" y="856"/>
                  </a:lnTo>
                  <a:lnTo>
                    <a:pt x="1557" y="858"/>
                  </a:lnTo>
                  <a:lnTo>
                    <a:pt x="1564" y="861"/>
                  </a:lnTo>
                  <a:lnTo>
                    <a:pt x="1564" y="861"/>
                  </a:lnTo>
                  <a:lnTo>
                    <a:pt x="1569" y="861"/>
                  </a:lnTo>
                  <a:lnTo>
                    <a:pt x="1571" y="861"/>
                  </a:lnTo>
                  <a:lnTo>
                    <a:pt x="1576" y="858"/>
                  </a:lnTo>
                  <a:lnTo>
                    <a:pt x="1578" y="858"/>
                  </a:lnTo>
                  <a:lnTo>
                    <a:pt x="1581" y="858"/>
                  </a:lnTo>
                  <a:lnTo>
                    <a:pt x="1583" y="856"/>
                  </a:lnTo>
                  <a:lnTo>
                    <a:pt x="1586" y="856"/>
                  </a:lnTo>
                  <a:lnTo>
                    <a:pt x="1586" y="854"/>
                  </a:lnTo>
                  <a:lnTo>
                    <a:pt x="1588" y="854"/>
                  </a:lnTo>
                  <a:lnTo>
                    <a:pt x="1588" y="854"/>
                  </a:lnTo>
                  <a:lnTo>
                    <a:pt x="1588" y="854"/>
                  </a:lnTo>
                  <a:lnTo>
                    <a:pt x="1590" y="854"/>
                  </a:lnTo>
                  <a:lnTo>
                    <a:pt x="1590" y="854"/>
                  </a:lnTo>
                  <a:lnTo>
                    <a:pt x="1590" y="851"/>
                  </a:lnTo>
                  <a:lnTo>
                    <a:pt x="1593" y="851"/>
                  </a:lnTo>
                  <a:lnTo>
                    <a:pt x="1593" y="849"/>
                  </a:lnTo>
                  <a:lnTo>
                    <a:pt x="1593" y="849"/>
                  </a:lnTo>
                  <a:lnTo>
                    <a:pt x="1593" y="851"/>
                  </a:lnTo>
                  <a:lnTo>
                    <a:pt x="1593" y="851"/>
                  </a:lnTo>
                  <a:lnTo>
                    <a:pt x="1593" y="854"/>
                  </a:lnTo>
                  <a:lnTo>
                    <a:pt x="1595" y="854"/>
                  </a:lnTo>
                  <a:lnTo>
                    <a:pt x="1595" y="854"/>
                  </a:lnTo>
                  <a:lnTo>
                    <a:pt x="1595" y="856"/>
                  </a:lnTo>
                  <a:lnTo>
                    <a:pt x="1595" y="856"/>
                  </a:lnTo>
                  <a:lnTo>
                    <a:pt x="1595" y="856"/>
                  </a:lnTo>
                  <a:lnTo>
                    <a:pt x="1595" y="858"/>
                  </a:lnTo>
                  <a:lnTo>
                    <a:pt x="1597" y="863"/>
                  </a:lnTo>
                  <a:lnTo>
                    <a:pt x="1597" y="863"/>
                  </a:lnTo>
                  <a:lnTo>
                    <a:pt x="1602" y="865"/>
                  </a:lnTo>
                  <a:lnTo>
                    <a:pt x="1602" y="865"/>
                  </a:lnTo>
                  <a:lnTo>
                    <a:pt x="1604" y="868"/>
                  </a:lnTo>
                  <a:lnTo>
                    <a:pt x="1604" y="868"/>
                  </a:lnTo>
                  <a:lnTo>
                    <a:pt x="1604" y="870"/>
                  </a:lnTo>
                  <a:lnTo>
                    <a:pt x="1604" y="870"/>
                  </a:lnTo>
                  <a:lnTo>
                    <a:pt x="1604" y="870"/>
                  </a:lnTo>
                  <a:lnTo>
                    <a:pt x="1604" y="870"/>
                  </a:lnTo>
                  <a:lnTo>
                    <a:pt x="1602" y="868"/>
                  </a:lnTo>
                  <a:lnTo>
                    <a:pt x="1602" y="865"/>
                  </a:lnTo>
                  <a:lnTo>
                    <a:pt x="1602" y="865"/>
                  </a:lnTo>
                  <a:lnTo>
                    <a:pt x="1597" y="865"/>
                  </a:lnTo>
                  <a:lnTo>
                    <a:pt x="1595" y="863"/>
                  </a:lnTo>
                  <a:lnTo>
                    <a:pt x="1595" y="863"/>
                  </a:lnTo>
                  <a:lnTo>
                    <a:pt x="1595" y="865"/>
                  </a:lnTo>
                  <a:lnTo>
                    <a:pt x="1595" y="868"/>
                  </a:lnTo>
                  <a:lnTo>
                    <a:pt x="1595" y="868"/>
                  </a:lnTo>
                  <a:lnTo>
                    <a:pt x="1593" y="868"/>
                  </a:lnTo>
                  <a:lnTo>
                    <a:pt x="1593" y="868"/>
                  </a:lnTo>
                  <a:lnTo>
                    <a:pt x="1593" y="868"/>
                  </a:lnTo>
                  <a:lnTo>
                    <a:pt x="1593" y="870"/>
                  </a:lnTo>
                  <a:lnTo>
                    <a:pt x="1593" y="870"/>
                  </a:lnTo>
                  <a:lnTo>
                    <a:pt x="1593" y="870"/>
                  </a:lnTo>
                  <a:lnTo>
                    <a:pt x="1593" y="870"/>
                  </a:lnTo>
                  <a:lnTo>
                    <a:pt x="1593" y="870"/>
                  </a:lnTo>
                  <a:lnTo>
                    <a:pt x="1593" y="872"/>
                  </a:lnTo>
                  <a:lnTo>
                    <a:pt x="1593" y="872"/>
                  </a:lnTo>
                  <a:lnTo>
                    <a:pt x="1593" y="875"/>
                  </a:lnTo>
                  <a:lnTo>
                    <a:pt x="1593" y="875"/>
                  </a:lnTo>
                  <a:lnTo>
                    <a:pt x="1593" y="877"/>
                  </a:lnTo>
                  <a:lnTo>
                    <a:pt x="1590" y="877"/>
                  </a:lnTo>
                  <a:lnTo>
                    <a:pt x="1590" y="880"/>
                  </a:lnTo>
                  <a:lnTo>
                    <a:pt x="1590" y="877"/>
                  </a:lnTo>
                  <a:lnTo>
                    <a:pt x="1588" y="877"/>
                  </a:lnTo>
                  <a:lnTo>
                    <a:pt x="1588" y="875"/>
                  </a:lnTo>
                  <a:lnTo>
                    <a:pt x="1590" y="875"/>
                  </a:lnTo>
                  <a:lnTo>
                    <a:pt x="1590" y="875"/>
                  </a:lnTo>
                  <a:lnTo>
                    <a:pt x="1590" y="875"/>
                  </a:lnTo>
                  <a:lnTo>
                    <a:pt x="1590" y="875"/>
                  </a:lnTo>
                  <a:lnTo>
                    <a:pt x="1590" y="872"/>
                  </a:lnTo>
                  <a:lnTo>
                    <a:pt x="1590" y="870"/>
                  </a:lnTo>
                  <a:lnTo>
                    <a:pt x="1590" y="870"/>
                  </a:lnTo>
                  <a:lnTo>
                    <a:pt x="1590" y="870"/>
                  </a:lnTo>
                  <a:lnTo>
                    <a:pt x="1590" y="870"/>
                  </a:lnTo>
                  <a:lnTo>
                    <a:pt x="1590" y="870"/>
                  </a:lnTo>
                  <a:lnTo>
                    <a:pt x="1590" y="870"/>
                  </a:lnTo>
                  <a:lnTo>
                    <a:pt x="1590" y="868"/>
                  </a:lnTo>
                  <a:lnTo>
                    <a:pt x="1593" y="868"/>
                  </a:lnTo>
                  <a:lnTo>
                    <a:pt x="1593" y="865"/>
                  </a:lnTo>
                  <a:lnTo>
                    <a:pt x="1593" y="865"/>
                  </a:lnTo>
                  <a:lnTo>
                    <a:pt x="1595" y="863"/>
                  </a:lnTo>
                  <a:lnTo>
                    <a:pt x="1595" y="863"/>
                  </a:lnTo>
                  <a:lnTo>
                    <a:pt x="1595" y="858"/>
                  </a:lnTo>
                  <a:lnTo>
                    <a:pt x="1593" y="856"/>
                  </a:lnTo>
                  <a:lnTo>
                    <a:pt x="1593" y="854"/>
                  </a:lnTo>
                  <a:lnTo>
                    <a:pt x="1593" y="854"/>
                  </a:lnTo>
                  <a:lnTo>
                    <a:pt x="1593" y="854"/>
                  </a:lnTo>
                  <a:lnTo>
                    <a:pt x="1590" y="856"/>
                  </a:lnTo>
                  <a:lnTo>
                    <a:pt x="1590" y="856"/>
                  </a:lnTo>
                  <a:lnTo>
                    <a:pt x="1590" y="856"/>
                  </a:lnTo>
                  <a:lnTo>
                    <a:pt x="1588" y="856"/>
                  </a:lnTo>
                  <a:lnTo>
                    <a:pt x="1588" y="856"/>
                  </a:lnTo>
                  <a:lnTo>
                    <a:pt x="1588" y="856"/>
                  </a:lnTo>
                  <a:lnTo>
                    <a:pt x="1588" y="856"/>
                  </a:lnTo>
                  <a:lnTo>
                    <a:pt x="1586" y="858"/>
                  </a:lnTo>
                  <a:lnTo>
                    <a:pt x="1586" y="858"/>
                  </a:lnTo>
                  <a:lnTo>
                    <a:pt x="1586" y="861"/>
                  </a:lnTo>
                  <a:lnTo>
                    <a:pt x="1586" y="863"/>
                  </a:lnTo>
                  <a:lnTo>
                    <a:pt x="1586" y="865"/>
                  </a:lnTo>
                  <a:lnTo>
                    <a:pt x="1586" y="865"/>
                  </a:lnTo>
                  <a:lnTo>
                    <a:pt x="1586" y="865"/>
                  </a:lnTo>
                  <a:lnTo>
                    <a:pt x="1588" y="868"/>
                  </a:lnTo>
                  <a:lnTo>
                    <a:pt x="1586" y="870"/>
                  </a:lnTo>
                  <a:lnTo>
                    <a:pt x="1586" y="870"/>
                  </a:lnTo>
                  <a:lnTo>
                    <a:pt x="1583" y="872"/>
                  </a:lnTo>
                  <a:lnTo>
                    <a:pt x="1581" y="872"/>
                  </a:lnTo>
                  <a:lnTo>
                    <a:pt x="1583" y="872"/>
                  </a:lnTo>
                  <a:lnTo>
                    <a:pt x="1581" y="875"/>
                  </a:lnTo>
                  <a:lnTo>
                    <a:pt x="1581" y="875"/>
                  </a:lnTo>
                  <a:lnTo>
                    <a:pt x="1581" y="875"/>
                  </a:lnTo>
                  <a:lnTo>
                    <a:pt x="1578" y="875"/>
                  </a:lnTo>
                  <a:lnTo>
                    <a:pt x="1578" y="875"/>
                  </a:lnTo>
                  <a:lnTo>
                    <a:pt x="1578" y="875"/>
                  </a:lnTo>
                  <a:lnTo>
                    <a:pt x="1578" y="872"/>
                  </a:lnTo>
                  <a:lnTo>
                    <a:pt x="1578" y="875"/>
                  </a:lnTo>
                  <a:lnTo>
                    <a:pt x="1578" y="875"/>
                  </a:lnTo>
                  <a:lnTo>
                    <a:pt x="1576" y="875"/>
                  </a:lnTo>
                  <a:lnTo>
                    <a:pt x="1576" y="875"/>
                  </a:lnTo>
                  <a:lnTo>
                    <a:pt x="1576" y="875"/>
                  </a:lnTo>
                  <a:lnTo>
                    <a:pt x="1576" y="875"/>
                  </a:lnTo>
                  <a:lnTo>
                    <a:pt x="1576" y="875"/>
                  </a:lnTo>
                  <a:lnTo>
                    <a:pt x="1574" y="872"/>
                  </a:lnTo>
                  <a:lnTo>
                    <a:pt x="1574" y="875"/>
                  </a:lnTo>
                  <a:lnTo>
                    <a:pt x="1578" y="882"/>
                  </a:lnTo>
                  <a:lnTo>
                    <a:pt x="1581" y="882"/>
                  </a:lnTo>
                  <a:lnTo>
                    <a:pt x="1581" y="884"/>
                  </a:lnTo>
                  <a:lnTo>
                    <a:pt x="1581" y="884"/>
                  </a:lnTo>
                  <a:lnTo>
                    <a:pt x="1581" y="884"/>
                  </a:lnTo>
                  <a:lnTo>
                    <a:pt x="1581" y="887"/>
                  </a:lnTo>
                  <a:lnTo>
                    <a:pt x="1583" y="887"/>
                  </a:lnTo>
                  <a:lnTo>
                    <a:pt x="1583" y="887"/>
                  </a:lnTo>
                  <a:lnTo>
                    <a:pt x="1583" y="887"/>
                  </a:lnTo>
                  <a:lnTo>
                    <a:pt x="1583" y="887"/>
                  </a:lnTo>
                  <a:lnTo>
                    <a:pt x="1586" y="887"/>
                  </a:lnTo>
                  <a:lnTo>
                    <a:pt x="1583" y="889"/>
                  </a:lnTo>
                  <a:lnTo>
                    <a:pt x="1583" y="889"/>
                  </a:lnTo>
                  <a:lnTo>
                    <a:pt x="1583" y="889"/>
                  </a:lnTo>
                  <a:lnTo>
                    <a:pt x="1581" y="887"/>
                  </a:lnTo>
                  <a:lnTo>
                    <a:pt x="1581" y="884"/>
                  </a:lnTo>
                  <a:lnTo>
                    <a:pt x="1581" y="887"/>
                  </a:lnTo>
                  <a:lnTo>
                    <a:pt x="1581" y="887"/>
                  </a:lnTo>
                  <a:lnTo>
                    <a:pt x="1581" y="889"/>
                  </a:lnTo>
                  <a:lnTo>
                    <a:pt x="1583" y="889"/>
                  </a:lnTo>
                  <a:lnTo>
                    <a:pt x="1583" y="889"/>
                  </a:lnTo>
                  <a:lnTo>
                    <a:pt x="1583" y="889"/>
                  </a:lnTo>
                  <a:lnTo>
                    <a:pt x="1583" y="891"/>
                  </a:lnTo>
                  <a:lnTo>
                    <a:pt x="1586" y="889"/>
                  </a:lnTo>
                  <a:lnTo>
                    <a:pt x="1586" y="889"/>
                  </a:lnTo>
                  <a:lnTo>
                    <a:pt x="1586" y="889"/>
                  </a:lnTo>
                  <a:lnTo>
                    <a:pt x="1586" y="889"/>
                  </a:lnTo>
                  <a:lnTo>
                    <a:pt x="1588" y="889"/>
                  </a:lnTo>
                  <a:lnTo>
                    <a:pt x="1588" y="889"/>
                  </a:lnTo>
                  <a:lnTo>
                    <a:pt x="1588" y="891"/>
                  </a:lnTo>
                  <a:lnTo>
                    <a:pt x="1586" y="891"/>
                  </a:lnTo>
                  <a:lnTo>
                    <a:pt x="1586" y="891"/>
                  </a:lnTo>
                  <a:lnTo>
                    <a:pt x="1586" y="891"/>
                  </a:lnTo>
                  <a:lnTo>
                    <a:pt x="1588" y="891"/>
                  </a:lnTo>
                  <a:lnTo>
                    <a:pt x="1588" y="891"/>
                  </a:lnTo>
                  <a:lnTo>
                    <a:pt x="1588" y="891"/>
                  </a:lnTo>
                  <a:lnTo>
                    <a:pt x="1588" y="894"/>
                  </a:lnTo>
                  <a:lnTo>
                    <a:pt x="1588" y="894"/>
                  </a:lnTo>
                  <a:lnTo>
                    <a:pt x="1588" y="894"/>
                  </a:lnTo>
                  <a:lnTo>
                    <a:pt x="1588" y="894"/>
                  </a:lnTo>
                  <a:lnTo>
                    <a:pt x="1586" y="894"/>
                  </a:lnTo>
                  <a:lnTo>
                    <a:pt x="1593" y="899"/>
                  </a:lnTo>
                  <a:lnTo>
                    <a:pt x="1595" y="901"/>
                  </a:lnTo>
                  <a:lnTo>
                    <a:pt x="1595" y="903"/>
                  </a:lnTo>
                  <a:lnTo>
                    <a:pt x="1597" y="903"/>
                  </a:lnTo>
                  <a:lnTo>
                    <a:pt x="1597" y="906"/>
                  </a:lnTo>
                  <a:lnTo>
                    <a:pt x="1597" y="906"/>
                  </a:lnTo>
                  <a:lnTo>
                    <a:pt x="1600" y="908"/>
                  </a:lnTo>
                  <a:lnTo>
                    <a:pt x="1600" y="908"/>
                  </a:lnTo>
                  <a:lnTo>
                    <a:pt x="1600" y="908"/>
                  </a:lnTo>
                  <a:lnTo>
                    <a:pt x="1600" y="908"/>
                  </a:lnTo>
                  <a:lnTo>
                    <a:pt x="1600" y="908"/>
                  </a:lnTo>
                  <a:lnTo>
                    <a:pt x="1600" y="908"/>
                  </a:lnTo>
                  <a:lnTo>
                    <a:pt x="1600" y="908"/>
                  </a:lnTo>
                  <a:lnTo>
                    <a:pt x="1602" y="908"/>
                  </a:lnTo>
                  <a:lnTo>
                    <a:pt x="1602" y="908"/>
                  </a:lnTo>
                  <a:lnTo>
                    <a:pt x="1604" y="908"/>
                  </a:lnTo>
                  <a:lnTo>
                    <a:pt x="1604" y="908"/>
                  </a:lnTo>
                  <a:lnTo>
                    <a:pt x="1604" y="908"/>
                  </a:lnTo>
                  <a:lnTo>
                    <a:pt x="1604" y="908"/>
                  </a:lnTo>
                  <a:lnTo>
                    <a:pt x="1604" y="910"/>
                  </a:lnTo>
                  <a:lnTo>
                    <a:pt x="1602" y="910"/>
                  </a:lnTo>
                  <a:lnTo>
                    <a:pt x="1602" y="910"/>
                  </a:lnTo>
                  <a:lnTo>
                    <a:pt x="1602" y="910"/>
                  </a:lnTo>
                  <a:lnTo>
                    <a:pt x="1602" y="910"/>
                  </a:lnTo>
                  <a:lnTo>
                    <a:pt x="1602" y="910"/>
                  </a:lnTo>
                  <a:lnTo>
                    <a:pt x="1600" y="910"/>
                  </a:lnTo>
                  <a:lnTo>
                    <a:pt x="1600" y="913"/>
                  </a:lnTo>
                  <a:lnTo>
                    <a:pt x="1604" y="913"/>
                  </a:lnTo>
                  <a:lnTo>
                    <a:pt x="1604" y="913"/>
                  </a:lnTo>
                  <a:lnTo>
                    <a:pt x="1604" y="915"/>
                  </a:lnTo>
                  <a:lnTo>
                    <a:pt x="1604" y="915"/>
                  </a:lnTo>
                  <a:lnTo>
                    <a:pt x="1604" y="913"/>
                  </a:lnTo>
                  <a:lnTo>
                    <a:pt x="1604" y="915"/>
                  </a:lnTo>
                  <a:lnTo>
                    <a:pt x="1604" y="915"/>
                  </a:lnTo>
                  <a:lnTo>
                    <a:pt x="1607" y="915"/>
                  </a:lnTo>
                  <a:lnTo>
                    <a:pt x="1607" y="917"/>
                  </a:lnTo>
                  <a:lnTo>
                    <a:pt x="1607" y="917"/>
                  </a:lnTo>
                  <a:lnTo>
                    <a:pt x="1609" y="920"/>
                  </a:lnTo>
                  <a:lnTo>
                    <a:pt x="1614" y="927"/>
                  </a:lnTo>
                  <a:lnTo>
                    <a:pt x="1614" y="929"/>
                  </a:lnTo>
                  <a:lnTo>
                    <a:pt x="1614" y="932"/>
                  </a:lnTo>
                  <a:lnTo>
                    <a:pt x="1614" y="934"/>
                  </a:lnTo>
                  <a:lnTo>
                    <a:pt x="1612" y="934"/>
                  </a:lnTo>
                  <a:lnTo>
                    <a:pt x="1612" y="934"/>
                  </a:lnTo>
                  <a:lnTo>
                    <a:pt x="1612" y="934"/>
                  </a:lnTo>
                  <a:lnTo>
                    <a:pt x="1612" y="936"/>
                  </a:lnTo>
                  <a:lnTo>
                    <a:pt x="1612" y="936"/>
                  </a:lnTo>
                  <a:lnTo>
                    <a:pt x="1614" y="936"/>
                  </a:lnTo>
                  <a:lnTo>
                    <a:pt x="1614" y="936"/>
                  </a:lnTo>
                  <a:lnTo>
                    <a:pt x="1616" y="943"/>
                  </a:lnTo>
                  <a:lnTo>
                    <a:pt x="1616" y="946"/>
                  </a:lnTo>
                  <a:lnTo>
                    <a:pt x="1616" y="946"/>
                  </a:lnTo>
                  <a:lnTo>
                    <a:pt x="1616" y="946"/>
                  </a:lnTo>
                  <a:lnTo>
                    <a:pt x="1616" y="946"/>
                  </a:lnTo>
                  <a:lnTo>
                    <a:pt x="1619" y="946"/>
                  </a:lnTo>
                  <a:lnTo>
                    <a:pt x="1621" y="946"/>
                  </a:lnTo>
                  <a:lnTo>
                    <a:pt x="1621" y="946"/>
                  </a:lnTo>
                  <a:lnTo>
                    <a:pt x="1621" y="946"/>
                  </a:lnTo>
                  <a:lnTo>
                    <a:pt x="1623" y="946"/>
                  </a:lnTo>
                  <a:lnTo>
                    <a:pt x="1623" y="946"/>
                  </a:lnTo>
                  <a:lnTo>
                    <a:pt x="1623" y="946"/>
                  </a:lnTo>
                  <a:lnTo>
                    <a:pt x="1623" y="948"/>
                  </a:lnTo>
                  <a:lnTo>
                    <a:pt x="1623" y="948"/>
                  </a:lnTo>
                  <a:lnTo>
                    <a:pt x="1621" y="948"/>
                  </a:lnTo>
                  <a:lnTo>
                    <a:pt x="1621" y="948"/>
                  </a:lnTo>
                  <a:lnTo>
                    <a:pt x="1621" y="948"/>
                  </a:lnTo>
                  <a:lnTo>
                    <a:pt x="1619" y="948"/>
                  </a:lnTo>
                  <a:lnTo>
                    <a:pt x="1619" y="948"/>
                  </a:lnTo>
                  <a:lnTo>
                    <a:pt x="1619" y="948"/>
                  </a:lnTo>
                  <a:lnTo>
                    <a:pt x="1616" y="948"/>
                  </a:lnTo>
                  <a:lnTo>
                    <a:pt x="1616" y="948"/>
                  </a:lnTo>
                  <a:lnTo>
                    <a:pt x="1616" y="948"/>
                  </a:lnTo>
                  <a:lnTo>
                    <a:pt x="1619" y="948"/>
                  </a:lnTo>
                  <a:lnTo>
                    <a:pt x="1619" y="951"/>
                  </a:lnTo>
                  <a:lnTo>
                    <a:pt x="1619" y="953"/>
                  </a:lnTo>
                  <a:lnTo>
                    <a:pt x="1621" y="953"/>
                  </a:lnTo>
                  <a:lnTo>
                    <a:pt x="1623" y="958"/>
                  </a:lnTo>
                  <a:lnTo>
                    <a:pt x="1623" y="958"/>
                  </a:lnTo>
                  <a:lnTo>
                    <a:pt x="1623" y="958"/>
                  </a:lnTo>
                  <a:lnTo>
                    <a:pt x="1623" y="958"/>
                  </a:lnTo>
                  <a:lnTo>
                    <a:pt x="1623" y="960"/>
                  </a:lnTo>
                  <a:lnTo>
                    <a:pt x="1623" y="960"/>
                  </a:lnTo>
                  <a:lnTo>
                    <a:pt x="1626" y="962"/>
                  </a:lnTo>
                  <a:lnTo>
                    <a:pt x="1628" y="965"/>
                  </a:lnTo>
                  <a:lnTo>
                    <a:pt x="1628" y="965"/>
                  </a:lnTo>
                  <a:lnTo>
                    <a:pt x="1628" y="965"/>
                  </a:lnTo>
                  <a:lnTo>
                    <a:pt x="1628" y="965"/>
                  </a:lnTo>
                  <a:lnTo>
                    <a:pt x="1630" y="965"/>
                  </a:lnTo>
                  <a:lnTo>
                    <a:pt x="1630" y="965"/>
                  </a:lnTo>
                  <a:lnTo>
                    <a:pt x="1630" y="967"/>
                  </a:lnTo>
                  <a:lnTo>
                    <a:pt x="1633" y="967"/>
                  </a:lnTo>
                  <a:lnTo>
                    <a:pt x="1633" y="967"/>
                  </a:lnTo>
                  <a:lnTo>
                    <a:pt x="1633" y="969"/>
                  </a:lnTo>
                  <a:lnTo>
                    <a:pt x="1633" y="969"/>
                  </a:lnTo>
                  <a:lnTo>
                    <a:pt x="1633" y="969"/>
                  </a:lnTo>
                  <a:lnTo>
                    <a:pt x="1633" y="969"/>
                  </a:lnTo>
                  <a:lnTo>
                    <a:pt x="1635" y="967"/>
                  </a:lnTo>
                  <a:lnTo>
                    <a:pt x="1635" y="969"/>
                  </a:lnTo>
                  <a:lnTo>
                    <a:pt x="1635" y="969"/>
                  </a:lnTo>
                  <a:lnTo>
                    <a:pt x="1635" y="969"/>
                  </a:lnTo>
                  <a:lnTo>
                    <a:pt x="1635" y="972"/>
                  </a:lnTo>
                  <a:lnTo>
                    <a:pt x="1635" y="972"/>
                  </a:lnTo>
                  <a:lnTo>
                    <a:pt x="1635" y="972"/>
                  </a:lnTo>
                  <a:lnTo>
                    <a:pt x="1633" y="972"/>
                  </a:lnTo>
                  <a:lnTo>
                    <a:pt x="1635" y="972"/>
                  </a:lnTo>
                  <a:lnTo>
                    <a:pt x="1635" y="972"/>
                  </a:lnTo>
                  <a:lnTo>
                    <a:pt x="1635" y="972"/>
                  </a:lnTo>
                  <a:lnTo>
                    <a:pt x="1635" y="972"/>
                  </a:lnTo>
                  <a:lnTo>
                    <a:pt x="1635" y="974"/>
                  </a:lnTo>
                  <a:lnTo>
                    <a:pt x="1635" y="974"/>
                  </a:lnTo>
                  <a:lnTo>
                    <a:pt x="1635" y="974"/>
                  </a:lnTo>
                  <a:lnTo>
                    <a:pt x="1635" y="974"/>
                  </a:lnTo>
                  <a:lnTo>
                    <a:pt x="1635" y="974"/>
                  </a:lnTo>
                  <a:lnTo>
                    <a:pt x="1638" y="974"/>
                  </a:lnTo>
                  <a:lnTo>
                    <a:pt x="1638" y="974"/>
                  </a:lnTo>
                  <a:lnTo>
                    <a:pt x="1638" y="974"/>
                  </a:lnTo>
                  <a:lnTo>
                    <a:pt x="1638" y="974"/>
                  </a:lnTo>
                  <a:lnTo>
                    <a:pt x="1638" y="974"/>
                  </a:lnTo>
                  <a:lnTo>
                    <a:pt x="1638" y="974"/>
                  </a:lnTo>
                  <a:lnTo>
                    <a:pt x="1638" y="974"/>
                  </a:lnTo>
                  <a:lnTo>
                    <a:pt x="1638" y="977"/>
                  </a:lnTo>
                  <a:lnTo>
                    <a:pt x="1638" y="977"/>
                  </a:lnTo>
                  <a:lnTo>
                    <a:pt x="1638" y="977"/>
                  </a:lnTo>
                  <a:lnTo>
                    <a:pt x="1638" y="977"/>
                  </a:lnTo>
                  <a:lnTo>
                    <a:pt x="1638" y="977"/>
                  </a:lnTo>
                  <a:lnTo>
                    <a:pt x="1638" y="979"/>
                  </a:lnTo>
                  <a:lnTo>
                    <a:pt x="1638" y="979"/>
                  </a:lnTo>
                  <a:lnTo>
                    <a:pt x="1638" y="979"/>
                  </a:lnTo>
                  <a:lnTo>
                    <a:pt x="1638" y="979"/>
                  </a:lnTo>
                  <a:lnTo>
                    <a:pt x="1638" y="979"/>
                  </a:lnTo>
                  <a:lnTo>
                    <a:pt x="1638" y="979"/>
                  </a:lnTo>
                  <a:lnTo>
                    <a:pt x="1640" y="979"/>
                  </a:lnTo>
                  <a:lnTo>
                    <a:pt x="1640" y="979"/>
                  </a:lnTo>
                  <a:lnTo>
                    <a:pt x="1640" y="979"/>
                  </a:lnTo>
                  <a:lnTo>
                    <a:pt x="1640" y="979"/>
                  </a:lnTo>
                  <a:lnTo>
                    <a:pt x="1640" y="977"/>
                  </a:lnTo>
                  <a:lnTo>
                    <a:pt x="1640" y="977"/>
                  </a:lnTo>
                  <a:lnTo>
                    <a:pt x="1640" y="977"/>
                  </a:lnTo>
                  <a:lnTo>
                    <a:pt x="1640" y="972"/>
                  </a:lnTo>
                  <a:lnTo>
                    <a:pt x="1640" y="972"/>
                  </a:lnTo>
                  <a:lnTo>
                    <a:pt x="1642" y="972"/>
                  </a:lnTo>
                  <a:lnTo>
                    <a:pt x="1642" y="972"/>
                  </a:lnTo>
                  <a:lnTo>
                    <a:pt x="1642" y="974"/>
                  </a:lnTo>
                  <a:lnTo>
                    <a:pt x="1642" y="974"/>
                  </a:lnTo>
                  <a:lnTo>
                    <a:pt x="1642" y="974"/>
                  </a:lnTo>
                  <a:lnTo>
                    <a:pt x="1642" y="974"/>
                  </a:lnTo>
                  <a:lnTo>
                    <a:pt x="1642" y="974"/>
                  </a:lnTo>
                  <a:lnTo>
                    <a:pt x="1642" y="974"/>
                  </a:lnTo>
                  <a:lnTo>
                    <a:pt x="1642" y="974"/>
                  </a:lnTo>
                  <a:lnTo>
                    <a:pt x="1642" y="974"/>
                  </a:lnTo>
                  <a:lnTo>
                    <a:pt x="1645" y="977"/>
                  </a:lnTo>
                  <a:lnTo>
                    <a:pt x="1645" y="977"/>
                  </a:lnTo>
                  <a:lnTo>
                    <a:pt x="1647" y="977"/>
                  </a:lnTo>
                  <a:lnTo>
                    <a:pt x="1647" y="979"/>
                  </a:lnTo>
                  <a:lnTo>
                    <a:pt x="1647" y="977"/>
                  </a:lnTo>
                  <a:lnTo>
                    <a:pt x="1647" y="977"/>
                  </a:lnTo>
                  <a:lnTo>
                    <a:pt x="1649" y="974"/>
                  </a:lnTo>
                  <a:lnTo>
                    <a:pt x="1647" y="974"/>
                  </a:lnTo>
                  <a:lnTo>
                    <a:pt x="1647" y="974"/>
                  </a:lnTo>
                  <a:lnTo>
                    <a:pt x="1647" y="974"/>
                  </a:lnTo>
                  <a:lnTo>
                    <a:pt x="1647" y="974"/>
                  </a:lnTo>
                  <a:lnTo>
                    <a:pt x="1647" y="974"/>
                  </a:lnTo>
                  <a:lnTo>
                    <a:pt x="1647" y="972"/>
                  </a:lnTo>
                  <a:lnTo>
                    <a:pt x="1647" y="972"/>
                  </a:lnTo>
                  <a:lnTo>
                    <a:pt x="1647" y="972"/>
                  </a:lnTo>
                  <a:lnTo>
                    <a:pt x="1645" y="972"/>
                  </a:lnTo>
                  <a:lnTo>
                    <a:pt x="1645" y="972"/>
                  </a:lnTo>
                  <a:lnTo>
                    <a:pt x="1645" y="974"/>
                  </a:lnTo>
                  <a:lnTo>
                    <a:pt x="1645" y="974"/>
                  </a:lnTo>
                  <a:lnTo>
                    <a:pt x="1645" y="974"/>
                  </a:lnTo>
                  <a:lnTo>
                    <a:pt x="1645" y="974"/>
                  </a:lnTo>
                  <a:lnTo>
                    <a:pt x="1645" y="974"/>
                  </a:lnTo>
                  <a:lnTo>
                    <a:pt x="1645" y="974"/>
                  </a:lnTo>
                  <a:lnTo>
                    <a:pt x="1642" y="972"/>
                  </a:lnTo>
                  <a:lnTo>
                    <a:pt x="1642" y="972"/>
                  </a:lnTo>
                  <a:lnTo>
                    <a:pt x="1642" y="972"/>
                  </a:lnTo>
                  <a:lnTo>
                    <a:pt x="1642" y="972"/>
                  </a:lnTo>
                  <a:lnTo>
                    <a:pt x="1642" y="972"/>
                  </a:lnTo>
                  <a:lnTo>
                    <a:pt x="1645" y="972"/>
                  </a:lnTo>
                  <a:lnTo>
                    <a:pt x="1645" y="972"/>
                  </a:lnTo>
                  <a:lnTo>
                    <a:pt x="1645" y="972"/>
                  </a:lnTo>
                  <a:lnTo>
                    <a:pt x="1645" y="969"/>
                  </a:lnTo>
                  <a:lnTo>
                    <a:pt x="1645" y="969"/>
                  </a:lnTo>
                  <a:lnTo>
                    <a:pt x="1645" y="969"/>
                  </a:lnTo>
                  <a:lnTo>
                    <a:pt x="1647" y="969"/>
                  </a:lnTo>
                  <a:lnTo>
                    <a:pt x="1647" y="969"/>
                  </a:lnTo>
                  <a:lnTo>
                    <a:pt x="1647" y="969"/>
                  </a:lnTo>
                  <a:lnTo>
                    <a:pt x="1647" y="969"/>
                  </a:lnTo>
                  <a:lnTo>
                    <a:pt x="1647" y="969"/>
                  </a:lnTo>
                  <a:lnTo>
                    <a:pt x="1647" y="972"/>
                  </a:lnTo>
                  <a:lnTo>
                    <a:pt x="1649" y="974"/>
                  </a:lnTo>
                  <a:lnTo>
                    <a:pt x="1649" y="974"/>
                  </a:lnTo>
                  <a:lnTo>
                    <a:pt x="1649" y="972"/>
                  </a:lnTo>
                  <a:lnTo>
                    <a:pt x="1652" y="977"/>
                  </a:lnTo>
                  <a:lnTo>
                    <a:pt x="1652" y="977"/>
                  </a:lnTo>
                  <a:lnTo>
                    <a:pt x="1652" y="977"/>
                  </a:lnTo>
                  <a:lnTo>
                    <a:pt x="1649" y="977"/>
                  </a:lnTo>
                  <a:lnTo>
                    <a:pt x="1649" y="977"/>
                  </a:lnTo>
                  <a:lnTo>
                    <a:pt x="1649" y="979"/>
                  </a:lnTo>
                  <a:lnTo>
                    <a:pt x="1652" y="979"/>
                  </a:lnTo>
                  <a:lnTo>
                    <a:pt x="1654" y="979"/>
                  </a:lnTo>
                  <a:lnTo>
                    <a:pt x="1657" y="979"/>
                  </a:lnTo>
                  <a:lnTo>
                    <a:pt x="1657" y="979"/>
                  </a:lnTo>
                  <a:lnTo>
                    <a:pt x="1657" y="977"/>
                  </a:lnTo>
                  <a:lnTo>
                    <a:pt x="1659" y="977"/>
                  </a:lnTo>
                  <a:lnTo>
                    <a:pt x="1659" y="977"/>
                  </a:lnTo>
                  <a:lnTo>
                    <a:pt x="1659" y="972"/>
                  </a:lnTo>
                  <a:lnTo>
                    <a:pt x="1659" y="972"/>
                  </a:lnTo>
                  <a:lnTo>
                    <a:pt x="1659" y="972"/>
                  </a:lnTo>
                  <a:lnTo>
                    <a:pt x="1659" y="972"/>
                  </a:lnTo>
                  <a:lnTo>
                    <a:pt x="1659" y="972"/>
                  </a:lnTo>
                  <a:lnTo>
                    <a:pt x="1659" y="972"/>
                  </a:lnTo>
                  <a:lnTo>
                    <a:pt x="1659" y="969"/>
                  </a:lnTo>
                  <a:lnTo>
                    <a:pt x="1659" y="969"/>
                  </a:lnTo>
                  <a:lnTo>
                    <a:pt x="1659" y="969"/>
                  </a:lnTo>
                  <a:lnTo>
                    <a:pt x="1659" y="969"/>
                  </a:lnTo>
                  <a:lnTo>
                    <a:pt x="1659" y="969"/>
                  </a:lnTo>
                  <a:lnTo>
                    <a:pt x="1659" y="969"/>
                  </a:lnTo>
                  <a:lnTo>
                    <a:pt x="1659" y="967"/>
                  </a:lnTo>
                  <a:lnTo>
                    <a:pt x="1659" y="967"/>
                  </a:lnTo>
                  <a:lnTo>
                    <a:pt x="1657" y="969"/>
                  </a:lnTo>
                  <a:lnTo>
                    <a:pt x="1657" y="967"/>
                  </a:lnTo>
                  <a:lnTo>
                    <a:pt x="1657" y="967"/>
                  </a:lnTo>
                  <a:lnTo>
                    <a:pt x="1657" y="967"/>
                  </a:lnTo>
                  <a:lnTo>
                    <a:pt x="1657" y="967"/>
                  </a:lnTo>
                  <a:lnTo>
                    <a:pt x="1659" y="967"/>
                  </a:lnTo>
                  <a:lnTo>
                    <a:pt x="1659" y="967"/>
                  </a:lnTo>
                  <a:lnTo>
                    <a:pt x="1659" y="967"/>
                  </a:lnTo>
                  <a:lnTo>
                    <a:pt x="1659" y="967"/>
                  </a:lnTo>
                  <a:lnTo>
                    <a:pt x="1659" y="967"/>
                  </a:lnTo>
                  <a:lnTo>
                    <a:pt x="1659" y="965"/>
                  </a:lnTo>
                  <a:lnTo>
                    <a:pt x="1659" y="965"/>
                  </a:lnTo>
                  <a:lnTo>
                    <a:pt x="1659" y="965"/>
                  </a:lnTo>
                  <a:lnTo>
                    <a:pt x="1659" y="965"/>
                  </a:lnTo>
                  <a:lnTo>
                    <a:pt x="1657" y="962"/>
                  </a:lnTo>
                  <a:lnTo>
                    <a:pt x="1657" y="962"/>
                  </a:lnTo>
                  <a:lnTo>
                    <a:pt x="1659" y="962"/>
                  </a:lnTo>
                  <a:lnTo>
                    <a:pt x="1659" y="962"/>
                  </a:lnTo>
                  <a:lnTo>
                    <a:pt x="1659" y="962"/>
                  </a:lnTo>
                  <a:lnTo>
                    <a:pt x="1659" y="962"/>
                  </a:lnTo>
                  <a:lnTo>
                    <a:pt x="1657" y="960"/>
                  </a:lnTo>
                  <a:lnTo>
                    <a:pt x="1657" y="958"/>
                  </a:lnTo>
                  <a:lnTo>
                    <a:pt x="1657" y="960"/>
                  </a:lnTo>
                  <a:lnTo>
                    <a:pt x="1657" y="960"/>
                  </a:lnTo>
                  <a:lnTo>
                    <a:pt x="1657" y="960"/>
                  </a:lnTo>
                  <a:lnTo>
                    <a:pt x="1654" y="960"/>
                  </a:lnTo>
                  <a:lnTo>
                    <a:pt x="1654" y="960"/>
                  </a:lnTo>
                  <a:lnTo>
                    <a:pt x="1654" y="960"/>
                  </a:lnTo>
                  <a:lnTo>
                    <a:pt x="1654" y="960"/>
                  </a:lnTo>
                  <a:lnTo>
                    <a:pt x="1654" y="960"/>
                  </a:lnTo>
                  <a:lnTo>
                    <a:pt x="1654" y="960"/>
                  </a:lnTo>
                  <a:lnTo>
                    <a:pt x="1654" y="960"/>
                  </a:lnTo>
                  <a:lnTo>
                    <a:pt x="1654" y="960"/>
                  </a:lnTo>
                  <a:lnTo>
                    <a:pt x="1654" y="960"/>
                  </a:lnTo>
                  <a:lnTo>
                    <a:pt x="1654" y="962"/>
                  </a:lnTo>
                  <a:lnTo>
                    <a:pt x="1654" y="962"/>
                  </a:lnTo>
                  <a:lnTo>
                    <a:pt x="1654" y="962"/>
                  </a:lnTo>
                  <a:lnTo>
                    <a:pt x="1652" y="960"/>
                  </a:lnTo>
                  <a:lnTo>
                    <a:pt x="1652" y="960"/>
                  </a:lnTo>
                  <a:lnTo>
                    <a:pt x="1652" y="960"/>
                  </a:lnTo>
                  <a:lnTo>
                    <a:pt x="1649" y="960"/>
                  </a:lnTo>
                  <a:lnTo>
                    <a:pt x="1649" y="960"/>
                  </a:lnTo>
                  <a:lnTo>
                    <a:pt x="1649" y="960"/>
                  </a:lnTo>
                  <a:lnTo>
                    <a:pt x="1649" y="960"/>
                  </a:lnTo>
                  <a:lnTo>
                    <a:pt x="1649" y="958"/>
                  </a:lnTo>
                  <a:lnTo>
                    <a:pt x="1649" y="960"/>
                  </a:lnTo>
                  <a:lnTo>
                    <a:pt x="1652" y="960"/>
                  </a:lnTo>
                  <a:lnTo>
                    <a:pt x="1654" y="958"/>
                  </a:lnTo>
                  <a:lnTo>
                    <a:pt x="1654" y="958"/>
                  </a:lnTo>
                  <a:lnTo>
                    <a:pt x="1654" y="958"/>
                  </a:lnTo>
                  <a:lnTo>
                    <a:pt x="1654" y="958"/>
                  </a:lnTo>
                  <a:lnTo>
                    <a:pt x="1654" y="955"/>
                  </a:lnTo>
                  <a:lnTo>
                    <a:pt x="1654" y="955"/>
                  </a:lnTo>
                  <a:lnTo>
                    <a:pt x="1654" y="955"/>
                  </a:lnTo>
                  <a:lnTo>
                    <a:pt x="1654" y="955"/>
                  </a:lnTo>
                  <a:lnTo>
                    <a:pt x="1652" y="953"/>
                  </a:lnTo>
                  <a:lnTo>
                    <a:pt x="1652" y="953"/>
                  </a:lnTo>
                  <a:lnTo>
                    <a:pt x="1652" y="953"/>
                  </a:lnTo>
                  <a:lnTo>
                    <a:pt x="1652" y="955"/>
                  </a:lnTo>
                  <a:lnTo>
                    <a:pt x="1652" y="955"/>
                  </a:lnTo>
                  <a:lnTo>
                    <a:pt x="1652" y="958"/>
                  </a:lnTo>
                  <a:lnTo>
                    <a:pt x="1652" y="958"/>
                  </a:lnTo>
                  <a:lnTo>
                    <a:pt x="1652" y="955"/>
                  </a:lnTo>
                  <a:lnTo>
                    <a:pt x="1652" y="955"/>
                  </a:lnTo>
                  <a:lnTo>
                    <a:pt x="1652" y="955"/>
                  </a:lnTo>
                  <a:lnTo>
                    <a:pt x="1649" y="955"/>
                  </a:lnTo>
                  <a:lnTo>
                    <a:pt x="1649" y="953"/>
                  </a:lnTo>
                  <a:lnTo>
                    <a:pt x="1652" y="953"/>
                  </a:lnTo>
                  <a:lnTo>
                    <a:pt x="1652" y="953"/>
                  </a:lnTo>
                  <a:lnTo>
                    <a:pt x="1652" y="953"/>
                  </a:lnTo>
                  <a:lnTo>
                    <a:pt x="1652" y="953"/>
                  </a:lnTo>
                  <a:lnTo>
                    <a:pt x="1652" y="953"/>
                  </a:lnTo>
                  <a:lnTo>
                    <a:pt x="1652" y="951"/>
                  </a:lnTo>
                  <a:lnTo>
                    <a:pt x="1652" y="951"/>
                  </a:lnTo>
                  <a:lnTo>
                    <a:pt x="1649" y="951"/>
                  </a:lnTo>
                  <a:lnTo>
                    <a:pt x="1649" y="951"/>
                  </a:lnTo>
                  <a:lnTo>
                    <a:pt x="1649" y="951"/>
                  </a:lnTo>
                  <a:lnTo>
                    <a:pt x="1649" y="951"/>
                  </a:lnTo>
                  <a:lnTo>
                    <a:pt x="1649" y="951"/>
                  </a:lnTo>
                  <a:lnTo>
                    <a:pt x="1649" y="951"/>
                  </a:lnTo>
                  <a:lnTo>
                    <a:pt x="1649" y="948"/>
                  </a:lnTo>
                  <a:lnTo>
                    <a:pt x="1649" y="948"/>
                  </a:lnTo>
                  <a:lnTo>
                    <a:pt x="1649" y="946"/>
                  </a:lnTo>
                  <a:lnTo>
                    <a:pt x="1649" y="946"/>
                  </a:lnTo>
                  <a:lnTo>
                    <a:pt x="1649" y="948"/>
                  </a:lnTo>
                  <a:lnTo>
                    <a:pt x="1652" y="948"/>
                  </a:lnTo>
                  <a:lnTo>
                    <a:pt x="1652" y="951"/>
                  </a:lnTo>
                  <a:lnTo>
                    <a:pt x="1652" y="951"/>
                  </a:lnTo>
                  <a:lnTo>
                    <a:pt x="1652" y="951"/>
                  </a:lnTo>
                  <a:lnTo>
                    <a:pt x="1652" y="951"/>
                  </a:lnTo>
                  <a:lnTo>
                    <a:pt x="1652" y="951"/>
                  </a:lnTo>
                  <a:lnTo>
                    <a:pt x="1654" y="948"/>
                  </a:lnTo>
                  <a:lnTo>
                    <a:pt x="1652" y="948"/>
                  </a:lnTo>
                  <a:lnTo>
                    <a:pt x="1652" y="946"/>
                  </a:lnTo>
                  <a:lnTo>
                    <a:pt x="1652" y="946"/>
                  </a:lnTo>
                  <a:lnTo>
                    <a:pt x="1652" y="946"/>
                  </a:lnTo>
                  <a:lnTo>
                    <a:pt x="1652" y="946"/>
                  </a:lnTo>
                  <a:lnTo>
                    <a:pt x="1649" y="946"/>
                  </a:lnTo>
                  <a:lnTo>
                    <a:pt x="1649" y="946"/>
                  </a:lnTo>
                  <a:lnTo>
                    <a:pt x="1649" y="946"/>
                  </a:lnTo>
                  <a:lnTo>
                    <a:pt x="1649" y="946"/>
                  </a:lnTo>
                  <a:lnTo>
                    <a:pt x="1649" y="946"/>
                  </a:lnTo>
                  <a:lnTo>
                    <a:pt x="1649" y="943"/>
                  </a:lnTo>
                  <a:lnTo>
                    <a:pt x="1647" y="943"/>
                  </a:lnTo>
                  <a:lnTo>
                    <a:pt x="1647" y="943"/>
                  </a:lnTo>
                  <a:lnTo>
                    <a:pt x="1647" y="943"/>
                  </a:lnTo>
                  <a:lnTo>
                    <a:pt x="1647" y="943"/>
                  </a:lnTo>
                  <a:lnTo>
                    <a:pt x="1647" y="943"/>
                  </a:lnTo>
                  <a:lnTo>
                    <a:pt x="1645" y="943"/>
                  </a:lnTo>
                  <a:lnTo>
                    <a:pt x="1645" y="943"/>
                  </a:lnTo>
                  <a:lnTo>
                    <a:pt x="1645" y="943"/>
                  </a:lnTo>
                  <a:lnTo>
                    <a:pt x="1645" y="943"/>
                  </a:lnTo>
                  <a:lnTo>
                    <a:pt x="1645" y="943"/>
                  </a:lnTo>
                  <a:lnTo>
                    <a:pt x="1645" y="941"/>
                  </a:lnTo>
                  <a:lnTo>
                    <a:pt x="1645" y="941"/>
                  </a:lnTo>
                  <a:lnTo>
                    <a:pt x="1645" y="941"/>
                  </a:lnTo>
                  <a:lnTo>
                    <a:pt x="1642" y="941"/>
                  </a:lnTo>
                  <a:lnTo>
                    <a:pt x="1640" y="939"/>
                  </a:lnTo>
                  <a:lnTo>
                    <a:pt x="1640" y="939"/>
                  </a:lnTo>
                  <a:lnTo>
                    <a:pt x="1640" y="939"/>
                  </a:lnTo>
                  <a:lnTo>
                    <a:pt x="1638" y="941"/>
                  </a:lnTo>
                  <a:lnTo>
                    <a:pt x="1638" y="941"/>
                  </a:lnTo>
                  <a:lnTo>
                    <a:pt x="1635" y="941"/>
                  </a:lnTo>
                  <a:lnTo>
                    <a:pt x="1635" y="941"/>
                  </a:lnTo>
                  <a:lnTo>
                    <a:pt x="1635" y="941"/>
                  </a:lnTo>
                  <a:lnTo>
                    <a:pt x="1638" y="941"/>
                  </a:lnTo>
                  <a:lnTo>
                    <a:pt x="1638" y="939"/>
                  </a:lnTo>
                  <a:lnTo>
                    <a:pt x="1638" y="939"/>
                  </a:lnTo>
                  <a:lnTo>
                    <a:pt x="1640" y="939"/>
                  </a:lnTo>
                  <a:lnTo>
                    <a:pt x="1640" y="936"/>
                  </a:lnTo>
                  <a:lnTo>
                    <a:pt x="1642" y="939"/>
                  </a:lnTo>
                  <a:lnTo>
                    <a:pt x="1645" y="939"/>
                  </a:lnTo>
                  <a:lnTo>
                    <a:pt x="1645" y="936"/>
                  </a:lnTo>
                  <a:lnTo>
                    <a:pt x="1645" y="936"/>
                  </a:lnTo>
                  <a:lnTo>
                    <a:pt x="1642" y="934"/>
                  </a:lnTo>
                  <a:lnTo>
                    <a:pt x="1642" y="932"/>
                  </a:lnTo>
                  <a:lnTo>
                    <a:pt x="1642" y="932"/>
                  </a:lnTo>
                  <a:lnTo>
                    <a:pt x="1642" y="932"/>
                  </a:lnTo>
                  <a:lnTo>
                    <a:pt x="1642" y="929"/>
                  </a:lnTo>
                  <a:lnTo>
                    <a:pt x="1642" y="929"/>
                  </a:lnTo>
                  <a:lnTo>
                    <a:pt x="1642" y="929"/>
                  </a:lnTo>
                  <a:lnTo>
                    <a:pt x="1642" y="929"/>
                  </a:lnTo>
                  <a:lnTo>
                    <a:pt x="1642" y="929"/>
                  </a:lnTo>
                  <a:lnTo>
                    <a:pt x="1642" y="929"/>
                  </a:lnTo>
                  <a:lnTo>
                    <a:pt x="1645" y="932"/>
                  </a:lnTo>
                  <a:lnTo>
                    <a:pt x="1645" y="934"/>
                  </a:lnTo>
                  <a:lnTo>
                    <a:pt x="1645" y="936"/>
                  </a:lnTo>
                  <a:lnTo>
                    <a:pt x="1647" y="936"/>
                  </a:lnTo>
                  <a:lnTo>
                    <a:pt x="1647" y="936"/>
                  </a:lnTo>
                  <a:lnTo>
                    <a:pt x="1647" y="939"/>
                  </a:lnTo>
                  <a:lnTo>
                    <a:pt x="1647" y="939"/>
                  </a:lnTo>
                  <a:lnTo>
                    <a:pt x="1649" y="939"/>
                  </a:lnTo>
                  <a:lnTo>
                    <a:pt x="1649" y="941"/>
                  </a:lnTo>
                  <a:lnTo>
                    <a:pt x="1649" y="941"/>
                  </a:lnTo>
                  <a:lnTo>
                    <a:pt x="1649" y="941"/>
                  </a:lnTo>
                  <a:lnTo>
                    <a:pt x="1649" y="941"/>
                  </a:lnTo>
                  <a:lnTo>
                    <a:pt x="1652" y="943"/>
                  </a:lnTo>
                  <a:lnTo>
                    <a:pt x="1652" y="941"/>
                  </a:lnTo>
                  <a:lnTo>
                    <a:pt x="1652" y="934"/>
                  </a:lnTo>
                  <a:lnTo>
                    <a:pt x="1652" y="936"/>
                  </a:lnTo>
                  <a:lnTo>
                    <a:pt x="1652" y="936"/>
                  </a:lnTo>
                  <a:lnTo>
                    <a:pt x="1652" y="939"/>
                  </a:lnTo>
                  <a:lnTo>
                    <a:pt x="1652" y="941"/>
                  </a:lnTo>
                  <a:lnTo>
                    <a:pt x="1654" y="941"/>
                  </a:lnTo>
                  <a:lnTo>
                    <a:pt x="1654" y="939"/>
                  </a:lnTo>
                  <a:lnTo>
                    <a:pt x="1657" y="939"/>
                  </a:lnTo>
                  <a:lnTo>
                    <a:pt x="1657" y="941"/>
                  </a:lnTo>
                  <a:lnTo>
                    <a:pt x="1654" y="941"/>
                  </a:lnTo>
                  <a:lnTo>
                    <a:pt x="1654" y="943"/>
                  </a:lnTo>
                  <a:lnTo>
                    <a:pt x="1654" y="946"/>
                  </a:lnTo>
                  <a:lnTo>
                    <a:pt x="1654" y="948"/>
                  </a:lnTo>
                  <a:lnTo>
                    <a:pt x="1654" y="948"/>
                  </a:lnTo>
                  <a:lnTo>
                    <a:pt x="1657" y="948"/>
                  </a:lnTo>
                  <a:lnTo>
                    <a:pt x="1657" y="948"/>
                  </a:lnTo>
                  <a:lnTo>
                    <a:pt x="1659" y="951"/>
                  </a:lnTo>
                  <a:lnTo>
                    <a:pt x="1661" y="951"/>
                  </a:lnTo>
                  <a:lnTo>
                    <a:pt x="1659" y="951"/>
                  </a:lnTo>
                  <a:lnTo>
                    <a:pt x="1659" y="951"/>
                  </a:lnTo>
                  <a:lnTo>
                    <a:pt x="1657" y="951"/>
                  </a:lnTo>
                  <a:lnTo>
                    <a:pt x="1657" y="951"/>
                  </a:lnTo>
                  <a:lnTo>
                    <a:pt x="1659" y="953"/>
                  </a:lnTo>
                  <a:lnTo>
                    <a:pt x="1661" y="955"/>
                  </a:lnTo>
                  <a:lnTo>
                    <a:pt x="1661" y="955"/>
                  </a:lnTo>
                  <a:lnTo>
                    <a:pt x="1664" y="953"/>
                  </a:lnTo>
                  <a:lnTo>
                    <a:pt x="1664" y="953"/>
                  </a:lnTo>
                  <a:lnTo>
                    <a:pt x="1664" y="953"/>
                  </a:lnTo>
                  <a:lnTo>
                    <a:pt x="1664" y="953"/>
                  </a:lnTo>
                  <a:lnTo>
                    <a:pt x="1664" y="953"/>
                  </a:lnTo>
                  <a:lnTo>
                    <a:pt x="1664" y="951"/>
                  </a:lnTo>
                  <a:lnTo>
                    <a:pt x="1666" y="951"/>
                  </a:lnTo>
                  <a:lnTo>
                    <a:pt x="1666" y="948"/>
                  </a:lnTo>
                  <a:lnTo>
                    <a:pt x="1666" y="948"/>
                  </a:lnTo>
                  <a:lnTo>
                    <a:pt x="1666" y="948"/>
                  </a:lnTo>
                  <a:lnTo>
                    <a:pt x="1666" y="946"/>
                  </a:lnTo>
                  <a:lnTo>
                    <a:pt x="1666" y="946"/>
                  </a:lnTo>
                  <a:lnTo>
                    <a:pt x="1666" y="946"/>
                  </a:lnTo>
                  <a:lnTo>
                    <a:pt x="1666" y="946"/>
                  </a:lnTo>
                  <a:lnTo>
                    <a:pt x="1666" y="946"/>
                  </a:lnTo>
                  <a:lnTo>
                    <a:pt x="1664" y="946"/>
                  </a:lnTo>
                  <a:lnTo>
                    <a:pt x="1664" y="943"/>
                  </a:lnTo>
                  <a:lnTo>
                    <a:pt x="1666" y="943"/>
                  </a:lnTo>
                  <a:lnTo>
                    <a:pt x="1666" y="943"/>
                  </a:lnTo>
                  <a:lnTo>
                    <a:pt x="1666" y="943"/>
                  </a:lnTo>
                  <a:lnTo>
                    <a:pt x="1666" y="941"/>
                  </a:lnTo>
                  <a:lnTo>
                    <a:pt x="1666" y="941"/>
                  </a:lnTo>
                  <a:lnTo>
                    <a:pt x="1666" y="941"/>
                  </a:lnTo>
                  <a:lnTo>
                    <a:pt x="1666" y="939"/>
                  </a:lnTo>
                  <a:lnTo>
                    <a:pt x="1666" y="939"/>
                  </a:lnTo>
                  <a:lnTo>
                    <a:pt x="1668" y="939"/>
                  </a:lnTo>
                  <a:lnTo>
                    <a:pt x="1668" y="941"/>
                  </a:lnTo>
                  <a:lnTo>
                    <a:pt x="1668" y="941"/>
                  </a:lnTo>
                  <a:lnTo>
                    <a:pt x="1668" y="941"/>
                  </a:lnTo>
                  <a:lnTo>
                    <a:pt x="1668" y="941"/>
                  </a:lnTo>
                  <a:lnTo>
                    <a:pt x="1668" y="941"/>
                  </a:lnTo>
                  <a:lnTo>
                    <a:pt x="1668" y="943"/>
                  </a:lnTo>
                  <a:lnTo>
                    <a:pt x="1668" y="943"/>
                  </a:lnTo>
                  <a:lnTo>
                    <a:pt x="1668" y="946"/>
                  </a:lnTo>
                  <a:lnTo>
                    <a:pt x="1668" y="946"/>
                  </a:lnTo>
                  <a:lnTo>
                    <a:pt x="1668" y="946"/>
                  </a:lnTo>
                  <a:lnTo>
                    <a:pt x="1668" y="948"/>
                  </a:lnTo>
                  <a:lnTo>
                    <a:pt x="1668" y="948"/>
                  </a:lnTo>
                  <a:lnTo>
                    <a:pt x="1668" y="948"/>
                  </a:lnTo>
                  <a:lnTo>
                    <a:pt x="1666" y="948"/>
                  </a:lnTo>
                  <a:lnTo>
                    <a:pt x="1666" y="951"/>
                  </a:lnTo>
                  <a:lnTo>
                    <a:pt x="1666" y="951"/>
                  </a:lnTo>
                  <a:lnTo>
                    <a:pt x="1666" y="951"/>
                  </a:lnTo>
                  <a:lnTo>
                    <a:pt x="1668" y="951"/>
                  </a:lnTo>
                  <a:lnTo>
                    <a:pt x="1668" y="951"/>
                  </a:lnTo>
                  <a:lnTo>
                    <a:pt x="1671" y="951"/>
                  </a:lnTo>
                  <a:lnTo>
                    <a:pt x="1671" y="948"/>
                  </a:lnTo>
                  <a:lnTo>
                    <a:pt x="1671" y="948"/>
                  </a:lnTo>
                  <a:lnTo>
                    <a:pt x="1671" y="948"/>
                  </a:lnTo>
                  <a:lnTo>
                    <a:pt x="1671" y="948"/>
                  </a:lnTo>
                  <a:lnTo>
                    <a:pt x="1671" y="948"/>
                  </a:lnTo>
                  <a:lnTo>
                    <a:pt x="1675" y="951"/>
                  </a:lnTo>
                  <a:lnTo>
                    <a:pt x="1675" y="951"/>
                  </a:lnTo>
                  <a:lnTo>
                    <a:pt x="1675" y="951"/>
                  </a:lnTo>
                  <a:lnTo>
                    <a:pt x="1671" y="951"/>
                  </a:lnTo>
                  <a:lnTo>
                    <a:pt x="1671" y="951"/>
                  </a:lnTo>
                  <a:lnTo>
                    <a:pt x="1671" y="951"/>
                  </a:lnTo>
                  <a:lnTo>
                    <a:pt x="1671" y="951"/>
                  </a:lnTo>
                  <a:lnTo>
                    <a:pt x="1668" y="951"/>
                  </a:lnTo>
                  <a:lnTo>
                    <a:pt x="1666" y="953"/>
                  </a:lnTo>
                  <a:lnTo>
                    <a:pt x="1666" y="953"/>
                  </a:lnTo>
                  <a:lnTo>
                    <a:pt x="1666" y="953"/>
                  </a:lnTo>
                  <a:lnTo>
                    <a:pt x="1666" y="955"/>
                  </a:lnTo>
                  <a:lnTo>
                    <a:pt x="1666" y="955"/>
                  </a:lnTo>
                  <a:lnTo>
                    <a:pt x="1666" y="955"/>
                  </a:lnTo>
                  <a:lnTo>
                    <a:pt x="1666" y="958"/>
                  </a:lnTo>
                  <a:lnTo>
                    <a:pt x="1666" y="958"/>
                  </a:lnTo>
                  <a:lnTo>
                    <a:pt x="1666" y="960"/>
                  </a:lnTo>
                  <a:lnTo>
                    <a:pt x="1666" y="960"/>
                  </a:lnTo>
                  <a:lnTo>
                    <a:pt x="1666" y="960"/>
                  </a:lnTo>
                  <a:lnTo>
                    <a:pt x="1666" y="960"/>
                  </a:lnTo>
                  <a:lnTo>
                    <a:pt x="1666" y="960"/>
                  </a:lnTo>
                  <a:lnTo>
                    <a:pt x="1666" y="960"/>
                  </a:lnTo>
                  <a:lnTo>
                    <a:pt x="1666" y="965"/>
                  </a:lnTo>
                  <a:lnTo>
                    <a:pt x="1666" y="965"/>
                  </a:lnTo>
                  <a:lnTo>
                    <a:pt x="1668" y="965"/>
                  </a:lnTo>
                  <a:lnTo>
                    <a:pt x="1668" y="967"/>
                  </a:lnTo>
                  <a:lnTo>
                    <a:pt x="1668" y="967"/>
                  </a:lnTo>
                  <a:lnTo>
                    <a:pt x="1666" y="967"/>
                  </a:lnTo>
                  <a:lnTo>
                    <a:pt x="1666" y="967"/>
                  </a:lnTo>
                  <a:lnTo>
                    <a:pt x="1666" y="967"/>
                  </a:lnTo>
                  <a:lnTo>
                    <a:pt x="1666" y="969"/>
                  </a:lnTo>
                  <a:lnTo>
                    <a:pt x="1666" y="969"/>
                  </a:lnTo>
                  <a:lnTo>
                    <a:pt x="1666" y="969"/>
                  </a:lnTo>
                  <a:lnTo>
                    <a:pt x="1666" y="972"/>
                  </a:lnTo>
                  <a:lnTo>
                    <a:pt x="1666" y="972"/>
                  </a:lnTo>
                  <a:lnTo>
                    <a:pt x="1666" y="972"/>
                  </a:lnTo>
                  <a:lnTo>
                    <a:pt x="1666" y="974"/>
                  </a:lnTo>
                  <a:lnTo>
                    <a:pt x="1664" y="972"/>
                  </a:lnTo>
                  <a:lnTo>
                    <a:pt x="1664" y="972"/>
                  </a:lnTo>
                  <a:lnTo>
                    <a:pt x="1664" y="972"/>
                  </a:lnTo>
                  <a:lnTo>
                    <a:pt x="1664" y="972"/>
                  </a:lnTo>
                  <a:lnTo>
                    <a:pt x="1664" y="974"/>
                  </a:lnTo>
                  <a:lnTo>
                    <a:pt x="1661" y="972"/>
                  </a:lnTo>
                  <a:lnTo>
                    <a:pt x="1661" y="974"/>
                  </a:lnTo>
                  <a:lnTo>
                    <a:pt x="1664" y="974"/>
                  </a:lnTo>
                  <a:lnTo>
                    <a:pt x="1664" y="974"/>
                  </a:lnTo>
                  <a:lnTo>
                    <a:pt x="1664" y="974"/>
                  </a:lnTo>
                  <a:lnTo>
                    <a:pt x="1664" y="977"/>
                  </a:lnTo>
                  <a:lnTo>
                    <a:pt x="1661" y="977"/>
                  </a:lnTo>
                  <a:lnTo>
                    <a:pt x="1661" y="979"/>
                  </a:lnTo>
                  <a:lnTo>
                    <a:pt x="1664" y="979"/>
                  </a:lnTo>
                  <a:lnTo>
                    <a:pt x="1668" y="979"/>
                  </a:lnTo>
                  <a:lnTo>
                    <a:pt x="1671" y="979"/>
                  </a:lnTo>
                  <a:lnTo>
                    <a:pt x="1671" y="979"/>
                  </a:lnTo>
                  <a:lnTo>
                    <a:pt x="1671" y="979"/>
                  </a:lnTo>
                  <a:lnTo>
                    <a:pt x="1673" y="981"/>
                  </a:lnTo>
                  <a:lnTo>
                    <a:pt x="1673" y="981"/>
                  </a:lnTo>
                  <a:lnTo>
                    <a:pt x="1673" y="981"/>
                  </a:lnTo>
                  <a:lnTo>
                    <a:pt x="1673" y="981"/>
                  </a:lnTo>
                  <a:lnTo>
                    <a:pt x="1675" y="981"/>
                  </a:lnTo>
                  <a:lnTo>
                    <a:pt x="1675" y="981"/>
                  </a:lnTo>
                  <a:lnTo>
                    <a:pt x="1675" y="981"/>
                  </a:lnTo>
                  <a:lnTo>
                    <a:pt x="1675" y="979"/>
                  </a:lnTo>
                  <a:lnTo>
                    <a:pt x="1675" y="979"/>
                  </a:lnTo>
                  <a:lnTo>
                    <a:pt x="1675" y="977"/>
                  </a:lnTo>
                  <a:lnTo>
                    <a:pt x="1675" y="977"/>
                  </a:lnTo>
                  <a:lnTo>
                    <a:pt x="1675" y="977"/>
                  </a:lnTo>
                  <a:lnTo>
                    <a:pt x="1675" y="977"/>
                  </a:lnTo>
                  <a:lnTo>
                    <a:pt x="1675" y="979"/>
                  </a:lnTo>
                  <a:lnTo>
                    <a:pt x="1675" y="981"/>
                  </a:lnTo>
                  <a:lnTo>
                    <a:pt x="1675" y="981"/>
                  </a:lnTo>
                  <a:lnTo>
                    <a:pt x="1675" y="981"/>
                  </a:lnTo>
                  <a:lnTo>
                    <a:pt x="1675" y="984"/>
                  </a:lnTo>
                  <a:lnTo>
                    <a:pt x="1675" y="986"/>
                  </a:lnTo>
                  <a:lnTo>
                    <a:pt x="1675" y="988"/>
                  </a:lnTo>
                  <a:lnTo>
                    <a:pt x="1678" y="991"/>
                  </a:lnTo>
                  <a:lnTo>
                    <a:pt x="1680" y="993"/>
                  </a:lnTo>
                  <a:lnTo>
                    <a:pt x="1680" y="993"/>
                  </a:lnTo>
                  <a:lnTo>
                    <a:pt x="1683" y="993"/>
                  </a:lnTo>
                  <a:lnTo>
                    <a:pt x="1683" y="993"/>
                  </a:lnTo>
                  <a:lnTo>
                    <a:pt x="1683" y="993"/>
                  </a:lnTo>
                  <a:lnTo>
                    <a:pt x="1683" y="993"/>
                  </a:lnTo>
                  <a:lnTo>
                    <a:pt x="1683" y="993"/>
                  </a:lnTo>
                  <a:lnTo>
                    <a:pt x="1683" y="993"/>
                  </a:lnTo>
                  <a:lnTo>
                    <a:pt x="1683" y="993"/>
                  </a:lnTo>
                  <a:lnTo>
                    <a:pt x="1685" y="991"/>
                  </a:lnTo>
                  <a:lnTo>
                    <a:pt x="1685" y="991"/>
                  </a:lnTo>
                  <a:lnTo>
                    <a:pt x="1685" y="991"/>
                  </a:lnTo>
                  <a:lnTo>
                    <a:pt x="1685" y="991"/>
                  </a:lnTo>
                  <a:lnTo>
                    <a:pt x="1685" y="991"/>
                  </a:lnTo>
                  <a:lnTo>
                    <a:pt x="1685" y="991"/>
                  </a:lnTo>
                  <a:lnTo>
                    <a:pt x="1685" y="988"/>
                  </a:lnTo>
                  <a:lnTo>
                    <a:pt x="1685" y="988"/>
                  </a:lnTo>
                  <a:lnTo>
                    <a:pt x="1687" y="981"/>
                  </a:lnTo>
                  <a:lnTo>
                    <a:pt x="1687" y="981"/>
                  </a:lnTo>
                  <a:lnTo>
                    <a:pt x="1687" y="979"/>
                  </a:lnTo>
                  <a:lnTo>
                    <a:pt x="1685" y="979"/>
                  </a:lnTo>
                  <a:lnTo>
                    <a:pt x="1687" y="979"/>
                  </a:lnTo>
                  <a:lnTo>
                    <a:pt x="1687" y="979"/>
                  </a:lnTo>
                  <a:lnTo>
                    <a:pt x="1687" y="979"/>
                  </a:lnTo>
                  <a:lnTo>
                    <a:pt x="1687" y="979"/>
                  </a:lnTo>
                  <a:lnTo>
                    <a:pt x="1687" y="977"/>
                  </a:lnTo>
                  <a:lnTo>
                    <a:pt x="1687" y="977"/>
                  </a:lnTo>
                  <a:lnTo>
                    <a:pt x="1685" y="974"/>
                  </a:lnTo>
                  <a:lnTo>
                    <a:pt x="1685" y="972"/>
                  </a:lnTo>
                  <a:lnTo>
                    <a:pt x="1687" y="972"/>
                  </a:lnTo>
                  <a:lnTo>
                    <a:pt x="1687" y="972"/>
                  </a:lnTo>
                  <a:lnTo>
                    <a:pt x="1687" y="972"/>
                  </a:lnTo>
                  <a:lnTo>
                    <a:pt x="1687" y="969"/>
                  </a:lnTo>
                  <a:lnTo>
                    <a:pt x="1687" y="967"/>
                  </a:lnTo>
                  <a:lnTo>
                    <a:pt x="1687" y="965"/>
                  </a:lnTo>
                  <a:lnTo>
                    <a:pt x="1687" y="965"/>
                  </a:lnTo>
                  <a:lnTo>
                    <a:pt x="1690" y="962"/>
                  </a:lnTo>
                  <a:lnTo>
                    <a:pt x="1687" y="958"/>
                  </a:lnTo>
                  <a:lnTo>
                    <a:pt x="1687" y="955"/>
                  </a:lnTo>
                  <a:lnTo>
                    <a:pt x="1687" y="955"/>
                  </a:lnTo>
                  <a:lnTo>
                    <a:pt x="1690" y="955"/>
                  </a:lnTo>
                  <a:lnTo>
                    <a:pt x="1690" y="955"/>
                  </a:lnTo>
                  <a:lnTo>
                    <a:pt x="1690" y="953"/>
                  </a:lnTo>
                  <a:lnTo>
                    <a:pt x="1687" y="953"/>
                  </a:lnTo>
                  <a:lnTo>
                    <a:pt x="1687" y="953"/>
                  </a:lnTo>
                  <a:lnTo>
                    <a:pt x="1687" y="951"/>
                  </a:lnTo>
                  <a:lnTo>
                    <a:pt x="1687" y="951"/>
                  </a:lnTo>
                  <a:lnTo>
                    <a:pt x="1690" y="951"/>
                  </a:lnTo>
                  <a:lnTo>
                    <a:pt x="1687" y="948"/>
                  </a:lnTo>
                  <a:lnTo>
                    <a:pt x="1687" y="948"/>
                  </a:lnTo>
                  <a:lnTo>
                    <a:pt x="1690" y="948"/>
                  </a:lnTo>
                  <a:lnTo>
                    <a:pt x="1690" y="948"/>
                  </a:lnTo>
                  <a:lnTo>
                    <a:pt x="1690" y="946"/>
                  </a:lnTo>
                  <a:lnTo>
                    <a:pt x="1690" y="946"/>
                  </a:lnTo>
                  <a:lnTo>
                    <a:pt x="1690" y="946"/>
                  </a:lnTo>
                  <a:lnTo>
                    <a:pt x="1690" y="943"/>
                  </a:lnTo>
                  <a:lnTo>
                    <a:pt x="1690" y="943"/>
                  </a:lnTo>
                  <a:lnTo>
                    <a:pt x="1690" y="943"/>
                  </a:lnTo>
                  <a:lnTo>
                    <a:pt x="1690" y="941"/>
                  </a:lnTo>
                  <a:lnTo>
                    <a:pt x="1690" y="941"/>
                  </a:lnTo>
                  <a:lnTo>
                    <a:pt x="1690" y="939"/>
                  </a:lnTo>
                  <a:lnTo>
                    <a:pt x="1690" y="939"/>
                  </a:lnTo>
                  <a:lnTo>
                    <a:pt x="1687" y="936"/>
                  </a:lnTo>
                  <a:lnTo>
                    <a:pt x="1687" y="934"/>
                  </a:lnTo>
                  <a:lnTo>
                    <a:pt x="1690" y="934"/>
                  </a:lnTo>
                  <a:lnTo>
                    <a:pt x="1690" y="936"/>
                  </a:lnTo>
                  <a:lnTo>
                    <a:pt x="1692" y="936"/>
                  </a:lnTo>
                  <a:lnTo>
                    <a:pt x="1692" y="939"/>
                  </a:lnTo>
                  <a:lnTo>
                    <a:pt x="1692" y="939"/>
                  </a:lnTo>
                  <a:lnTo>
                    <a:pt x="1692" y="941"/>
                  </a:lnTo>
                  <a:lnTo>
                    <a:pt x="1692" y="941"/>
                  </a:lnTo>
                  <a:lnTo>
                    <a:pt x="1692" y="943"/>
                  </a:lnTo>
                  <a:lnTo>
                    <a:pt x="1692" y="943"/>
                  </a:lnTo>
                  <a:lnTo>
                    <a:pt x="1692" y="946"/>
                  </a:lnTo>
                  <a:lnTo>
                    <a:pt x="1692" y="943"/>
                  </a:lnTo>
                  <a:lnTo>
                    <a:pt x="1692" y="943"/>
                  </a:lnTo>
                  <a:lnTo>
                    <a:pt x="1692" y="943"/>
                  </a:lnTo>
                  <a:lnTo>
                    <a:pt x="1692" y="941"/>
                  </a:lnTo>
                  <a:lnTo>
                    <a:pt x="1692" y="941"/>
                  </a:lnTo>
                  <a:lnTo>
                    <a:pt x="1692" y="941"/>
                  </a:lnTo>
                  <a:lnTo>
                    <a:pt x="1692" y="941"/>
                  </a:lnTo>
                  <a:lnTo>
                    <a:pt x="1692" y="941"/>
                  </a:lnTo>
                  <a:lnTo>
                    <a:pt x="1692" y="941"/>
                  </a:lnTo>
                  <a:lnTo>
                    <a:pt x="1692" y="941"/>
                  </a:lnTo>
                  <a:lnTo>
                    <a:pt x="1692" y="939"/>
                  </a:lnTo>
                  <a:lnTo>
                    <a:pt x="1692" y="939"/>
                  </a:lnTo>
                  <a:lnTo>
                    <a:pt x="1692" y="936"/>
                  </a:lnTo>
                  <a:lnTo>
                    <a:pt x="1692" y="936"/>
                  </a:lnTo>
                  <a:lnTo>
                    <a:pt x="1692" y="936"/>
                  </a:lnTo>
                  <a:lnTo>
                    <a:pt x="1692" y="936"/>
                  </a:lnTo>
                  <a:lnTo>
                    <a:pt x="1692" y="936"/>
                  </a:lnTo>
                  <a:lnTo>
                    <a:pt x="1692" y="934"/>
                  </a:lnTo>
                  <a:lnTo>
                    <a:pt x="1692" y="934"/>
                  </a:lnTo>
                  <a:lnTo>
                    <a:pt x="1692" y="934"/>
                  </a:lnTo>
                  <a:lnTo>
                    <a:pt x="1692" y="932"/>
                  </a:lnTo>
                  <a:lnTo>
                    <a:pt x="1692" y="932"/>
                  </a:lnTo>
                  <a:lnTo>
                    <a:pt x="1690" y="929"/>
                  </a:lnTo>
                  <a:lnTo>
                    <a:pt x="1690" y="929"/>
                  </a:lnTo>
                  <a:lnTo>
                    <a:pt x="1690" y="929"/>
                  </a:lnTo>
                  <a:lnTo>
                    <a:pt x="1692" y="932"/>
                  </a:lnTo>
                  <a:lnTo>
                    <a:pt x="1692" y="932"/>
                  </a:lnTo>
                  <a:lnTo>
                    <a:pt x="1692" y="932"/>
                  </a:lnTo>
                  <a:lnTo>
                    <a:pt x="1694" y="932"/>
                  </a:lnTo>
                  <a:lnTo>
                    <a:pt x="1694" y="927"/>
                  </a:lnTo>
                  <a:lnTo>
                    <a:pt x="1697" y="925"/>
                  </a:lnTo>
                  <a:lnTo>
                    <a:pt x="1699" y="922"/>
                  </a:lnTo>
                  <a:lnTo>
                    <a:pt x="1699" y="925"/>
                  </a:lnTo>
                  <a:lnTo>
                    <a:pt x="1697" y="927"/>
                  </a:lnTo>
                  <a:lnTo>
                    <a:pt x="1694" y="932"/>
                  </a:lnTo>
                  <a:lnTo>
                    <a:pt x="1694" y="934"/>
                  </a:lnTo>
                  <a:lnTo>
                    <a:pt x="1694" y="936"/>
                  </a:lnTo>
                  <a:lnTo>
                    <a:pt x="1694" y="939"/>
                  </a:lnTo>
                  <a:lnTo>
                    <a:pt x="1694" y="939"/>
                  </a:lnTo>
                  <a:lnTo>
                    <a:pt x="1694" y="943"/>
                  </a:lnTo>
                  <a:lnTo>
                    <a:pt x="1694" y="943"/>
                  </a:lnTo>
                  <a:lnTo>
                    <a:pt x="1694" y="946"/>
                  </a:lnTo>
                  <a:lnTo>
                    <a:pt x="1694" y="946"/>
                  </a:lnTo>
                  <a:lnTo>
                    <a:pt x="1694" y="948"/>
                  </a:lnTo>
                  <a:lnTo>
                    <a:pt x="1694" y="948"/>
                  </a:lnTo>
                  <a:lnTo>
                    <a:pt x="1694" y="951"/>
                  </a:lnTo>
                  <a:lnTo>
                    <a:pt x="1694" y="951"/>
                  </a:lnTo>
                  <a:lnTo>
                    <a:pt x="1694" y="951"/>
                  </a:lnTo>
                  <a:lnTo>
                    <a:pt x="1694" y="953"/>
                  </a:lnTo>
                  <a:lnTo>
                    <a:pt x="1694" y="953"/>
                  </a:lnTo>
                  <a:lnTo>
                    <a:pt x="1694" y="955"/>
                  </a:lnTo>
                  <a:lnTo>
                    <a:pt x="1694" y="955"/>
                  </a:lnTo>
                  <a:lnTo>
                    <a:pt x="1694" y="958"/>
                  </a:lnTo>
                  <a:lnTo>
                    <a:pt x="1692" y="960"/>
                  </a:lnTo>
                  <a:lnTo>
                    <a:pt x="1692" y="960"/>
                  </a:lnTo>
                  <a:lnTo>
                    <a:pt x="1692" y="960"/>
                  </a:lnTo>
                  <a:lnTo>
                    <a:pt x="1692" y="962"/>
                  </a:lnTo>
                  <a:lnTo>
                    <a:pt x="1694" y="965"/>
                  </a:lnTo>
                  <a:lnTo>
                    <a:pt x="1694" y="967"/>
                  </a:lnTo>
                  <a:lnTo>
                    <a:pt x="1694" y="967"/>
                  </a:lnTo>
                  <a:lnTo>
                    <a:pt x="1694" y="965"/>
                  </a:lnTo>
                  <a:lnTo>
                    <a:pt x="1694" y="965"/>
                  </a:lnTo>
                  <a:lnTo>
                    <a:pt x="1694" y="965"/>
                  </a:lnTo>
                  <a:lnTo>
                    <a:pt x="1694" y="965"/>
                  </a:lnTo>
                  <a:lnTo>
                    <a:pt x="1694" y="965"/>
                  </a:lnTo>
                  <a:lnTo>
                    <a:pt x="1694" y="965"/>
                  </a:lnTo>
                  <a:lnTo>
                    <a:pt x="1697" y="962"/>
                  </a:lnTo>
                  <a:lnTo>
                    <a:pt x="1697" y="962"/>
                  </a:lnTo>
                  <a:lnTo>
                    <a:pt x="1697" y="962"/>
                  </a:lnTo>
                  <a:lnTo>
                    <a:pt x="1697" y="962"/>
                  </a:lnTo>
                  <a:lnTo>
                    <a:pt x="1697" y="962"/>
                  </a:lnTo>
                  <a:lnTo>
                    <a:pt x="1697" y="962"/>
                  </a:lnTo>
                  <a:lnTo>
                    <a:pt x="1697" y="965"/>
                  </a:lnTo>
                  <a:lnTo>
                    <a:pt x="1697" y="965"/>
                  </a:lnTo>
                  <a:lnTo>
                    <a:pt x="1697" y="967"/>
                  </a:lnTo>
                  <a:lnTo>
                    <a:pt x="1697" y="969"/>
                  </a:lnTo>
                  <a:lnTo>
                    <a:pt x="1697" y="969"/>
                  </a:lnTo>
                  <a:lnTo>
                    <a:pt x="1697" y="972"/>
                  </a:lnTo>
                  <a:lnTo>
                    <a:pt x="1697" y="972"/>
                  </a:lnTo>
                  <a:lnTo>
                    <a:pt x="1694" y="972"/>
                  </a:lnTo>
                  <a:lnTo>
                    <a:pt x="1694" y="972"/>
                  </a:lnTo>
                  <a:lnTo>
                    <a:pt x="1694" y="972"/>
                  </a:lnTo>
                  <a:lnTo>
                    <a:pt x="1694" y="972"/>
                  </a:lnTo>
                  <a:lnTo>
                    <a:pt x="1694" y="972"/>
                  </a:lnTo>
                  <a:lnTo>
                    <a:pt x="1694" y="969"/>
                  </a:lnTo>
                  <a:lnTo>
                    <a:pt x="1694" y="972"/>
                  </a:lnTo>
                  <a:lnTo>
                    <a:pt x="1694" y="974"/>
                  </a:lnTo>
                  <a:lnTo>
                    <a:pt x="1694" y="977"/>
                  </a:lnTo>
                  <a:lnTo>
                    <a:pt x="1694" y="979"/>
                  </a:lnTo>
                  <a:lnTo>
                    <a:pt x="1694" y="979"/>
                  </a:lnTo>
                  <a:lnTo>
                    <a:pt x="1697" y="981"/>
                  </a:lnTo>
                  <a:lnTo>
                    <a:pt x="1697" y="981"/>
                  </a:lnTo>
                  <a:lnTo>
                    <a:pt x="1697" y="981"/>
                  </a:lnTo>
                  <a:lnTo>
                    <a:pt x="1697" y="981"/>
                  </a:lnTo>
                  <a:lnTo>
                    <a:pt x="1697" y="981"/>
                  </a:lnTo>
                  <a:lnTo>
                    <a:pt x="1694" y="981"/>
                  </a:lnTo>
                  <a:lnTo>
                    <a:pt x="1697" y="981"/>
                  </a:lnTo>
                  <a:lnTo>
                    <a:pt x="1697" y="984"/>
                  </a:lnTo>
                  <a:lnTo>
                    <a:pt x="1697" y="984"/>
                  </a:lnTo>
                  <a:lnTo>
                    <a:pt x="1697" y="986"/>
                  </a:lnTo>
                  <a:lnTo>
                    <a:pt x="1694" y="988"/>
                  </a:lnTo>
                  <a:lnTo>
                    <a:pt x="1694" y="988"/>
                  </a:lnTo>
                  <a:lnTo>
                    <a:pt x="1697" y="988"/>
                  </a:lnTo>
                  <a:lnTo>
                    <a:pt x="1697" y="991"/>
                  </a:lnTo>
                  <a:lnTo>
                    <a:pt x="1697" y="991"/>
                  </a:lnTo>
                  <a:lnTo>
                    <a:pt x="1697" y="988"/>
                  </a:lnTo>
                  <a:lnTo>
                    <a:pt x="1699" y="991"/>
                  </a:lnTo>
                  <a:lnTo>
                    <a:pt x="1699" y="991"/>
                  </a:lnTo>
                  <a:lnTo>
                    <a:pt x="1699" y="991"/>
                  </a:lnTo>
                  <a:lnTo>
                    <a:pt x="1699" y="991"/>
                  </a:lnTo>
                  <a:lnTo>
                    <a:pt x="1699" y="991"/>
                  </a:lnTo>
                  <a:lnTo>
                    <a:pt x="1699" y="991"/>
                  </a:lnTo>
                  <a:lnTo>
                    <a:pt x="1699" y="991"/>
                  </a:lnTo>
                  <a:lnTo>
                    <a:pt x="1699" y="991"/>
                  </a:lnTo>
                  <a:lnTo>
                    <a:pt x="1699" y="991"/>
                  </a:lnTo>
                  <a:lnTo>
                    <a:pt x="1699" y="993"/>
                  </a:lnTo>
                  <a:lnTo>
                    <a:pt x="1701" y="993"/>
                  </a:lnTo>
                  <a:lnTo>
                    <a:pt x="1701" y="993"/>
                  </a:lnTo>
                  <a:lnTo>
                    <a:pt x="1701" y="993"/>
                  </a:lnTo>
                  <a:lnTo>
                    <a:pt x="1701" y="995"/>
                  </a:lnTo>
                  <a:lnTo>
                    <a:pt x="1704" y="995"/>
                  </a:lnTo>
                  <a:lnTo>
                    <a:pt x="1704" y="995"/>
                  </a:lnTo>
                  <a:lnTo>
                    <a:pt x="1706" y="1003"/>
                  </a:lnTo>
                  <a:lnTo>
                    <a:pt x="1709" y="1005"/>
                  </a:lnTo>
                  <a:lnTo>
                    <a:pt x="1709" y="1005"/>
                  </a:lnTo>
                  <a:lnTo>
                    <a:pt x="1709" y="1005"/>
                  </a:lnTo>
                  <a:lnTo>
                    <a:pt x="1711" y="1005"/>
                  </a:lnTo>
                  <a:lnTo>
                    <a:pt x="1711" y="1003"/>
                  </a:lnTo>
                  <a:lnTo>
                    <a:pt x="1711" y="1003"/>
                  </a:lnTo>
                  <a:lnTo>
                    <a:pt x="1711" y="1003"/>
                  </a:lnTo>
                  <a:lnTo>
                    <a:pt x="1711" y="1003"/>
                  </a:lnTo>
                  <a:lnTo>
                    <a:pt x="1711" y="1000"/>
                  </a:lnTo>
                  <a:lnTo>
                    <a:pt x="1711" y="1000"/>
                  </a:lnTo>
                  <a:lnTo>
                    <a:pt x="1711" y="998"/>
                  </a:lnTo>
                  <a:lnTo>
                    <a:pt x="1713" y="998"/>
                  </a:lnTo>
                  <a:lnTo>
                    <a:pt x="1713" y="998"/>
                  </a:lnTo>
                  <a:lnTo>
                    <a:pt x="1716" y="998"/>
                  </a:lnTo>
                  <a:lnTo>
                    <a:pt x="1716" y="995"/>
                  </a:lnTo>
                  <a:lnTo>
                    <a:pt x="1716" y="995"/>
                  </a:lnTo>
                  <a:lnTo>
                    <a:pt x="1716" y="993"/>
                  </a:lnTo>
                  <a:lnTo>
                    <a:pt x="1716" y="993"/>
                  </a:lnTo>
                  <a:lnTo>
                    <a:pt x="1716" y="993"/>
                  </a:lnTo>
                  <a:lnTo>
                    <a:pt x="1716" y="993"/>
                  </a:lnTo>
                  <a:lnTo>
                    <a:pt x="1718" y="993"/>
                  </a:lnTo>
                  <a:lnTo>
                    <a:pt x="1718" y="993"/>
                  </a:lnTo>
                  <a:lnTo>
                    <a:pt x="1718" y="993"/>
                  </a:lnTo>
                  <a:lnTo>
                    <a:pt x="1720" y="991"/>
                  </a:lnTo>
                  <a:lnTo>
                    <a:pt x="1720" y="988"/>
                  </a:lnTo>
                  <a:lnTo>
                    <a:pt x="1720" y="988"/>
                  </a:lnTo>
                  <a:lnTo>
                    <a:pt x="1720" y="988"/>
                  </a:lnTo>
                  <a:lnTo>
                    <a:pt x="1723" y="988"/>
                  </a:lnTo>
                  <a:lnTo>
                    <a:pt x="1725" y="991"/>
                  </a:lnTo>
                  <a:lnTo>
                    <a:pt x="1725" y="991"/>
                  </a:lnTo>
                  <a:lnTo>
                    <a:pt x="1723" y="991"/>
                  </a:lnTo>
                  <a:lnTo>
                    <a:pt x="1720" y="991"/>
                  </a:lnTo>
                  <a:lnTo>
                    <a:pt x="1720" y="993"/>
                  </a:lnTo>
                  <a:lnTo>
                    <a:pt x="1720" y="993"/>
                  </a:lnTo>
                  <a:lnTo>
                    <a:pt x="1720" y="993"/>
                  </a:lnTo>
                  <a:lnTo>
                    <a:pt x="1720" y="993"/>
                  </a:lnTo>
                  <a:lnTo>
                    <a:pt x="1718" y="993"/>
                  </a:lnTo>
                  <a:lnTo>
                    <a:pt x="1718" y="993"/>
                  </a:lnTo>
                  <a:lnTo>
                    <a:pt x="1718" y="993"/>
                  </a:lnTo>
                  <a:lnTo>
                    <a:pt x="1718" y="995"/>
                  </a:lnTo>
                  <a:lnTo>
                    <a:pt x="1718" y="995"/>
                  </a:lnTo>
                  <a:lnTo>
                    <a:pt x="1716" y="995"/>
                  </a:lnTo>
                  <a:lnTo>
                    <a:pt x="1716" y="998"/>
                  </a:lnTo>
                  <a:lnTo>
                    <a:pt x="1716" y="1000"/>
                  </a:lnTo>
                  <a:lnTo>
                    <a:pt x="1716" y="1000"/>
                  </a:lnTo>
                  <a:lnTo>
                    <a:pt x="1716" y="1000"/>
                  </a:lnTo>
                  <a:lnTo>
                    <a:pt x="1716" y="1000"/>
                  </a:lnTo>
                  <a:lnTo>
                    <a:pt x="1716" y="1000"/>
                  </a:lnTo>
                  <a:lnTo>
                    <a:pt x="1716" y="1000"/>
                  </a:lnTo>
                  <a:lnTo>
                    <a:pt x="1713" y="1000"/>
                  </a:lnTo>
                  <a:lnTo>
                    <a:pt x="1713" y="1000"/>
                  </a:lnTo>
                  <a:lnTo>
                    <a:pt x="1713" y="1000"/>
                  </a:lnTo>
                  <a:lnTo>
                    <a:pt x="1713" y="1000"/>
                  </a:lnTo>
                  <a:lnTo>
                    <a:pt x="1713" y="1003"/>
                  </a:lnTo>
                  <a:lnTo>
                    <a:pt x="1713" y="1003"/>
                  </a:lnTo>
                  <a:lnTo>
                    <a:pt x="1713" y="1003"/>
                  </a:lnTo>
                  <a:lnTo>
                    <a:pt x="1713" y="1003"/>
                  </a:lnTo>
                  <a:lnTo>
                    <a:pt x="1713" y="1003"/>
                  </a:lnTo>
                  <a:lnTo>
                    <a:pt x="1713" y="1003"/>
                  </a:lnTo>
                  <a:lnTo>
                    <a:pt x="1713" y="1005"/>
                  </a:lnTo>
                  <a:lnTo>
                    <a:pt x="1711" y="1005"/>
                  </a:lnTo>
                  <a:lnTo>
                    <a:pt x="1711" y="1005"/>
                  </a:lnTo>
                  <a:lnTo>
                    <a:pt x="1711" y="1005"/>
                  </a:lnTo>
                  <a:lnTo>
                    <a:pt x="1711" y="1005"/>
                  </a:lnTo>
                  <a:lnTo>
                    <a:pt x="1711" y="1007"/>
                  </a:lnTo>
                  <a:lnTo>
                    <a:pt x="1711" y="1007"/>
                  </a:lnTo>
                  <a:lnTo>
                    <a:pt x="1711" y="1007"/>
                  </a:lnTo>
                  <a:lnTo>
                    <a:pt x="1711" y="1007"/>
                  </a:lnTo>
                  <a:lnTo>
                    <a:pt x="1711" y="1010"/>
                  </a:lnTo>
                  <a:lnTo>
                    <a:pt x="1711" y="1010"/>
                  </a:lnTo>
                  <a:lnTo>
                    <a:pt x="1711" y="1010"/>
                  </a:lnTo>
                  <a:lnTo>
                    <a:pt x="1711" y="1010"/>
                  </a:lnTo>
                  <a:lnTo>
                    <a:pt x="1711" y="1010"/>
                  </a:lnTo>
                  <a:lnTo>
                    <a:pt x="1711" y="1010"/>
                  </a:lnTo>
                  <a:lnTo>
                    <a:pt x="1711" y="1012"/>
                  </a:lnTo>
                  <a:lnTo>
                    <a:pt x="1711" y="1012"/>
                  </a:lnTo>
                  <a:lnTo>
                    <a:pt x="1711" y="1012"/>
                  </a:lnTo>
                  <a:lnTo>
                    <a:pt x="1711" y="1012"/>
                  </a:lnTo>
                  <a:lnTo>
                    <a:pt x="1711" y="1012"/>
                  </a:lnTo>
                  <a:lnTo>
                    <a:pt x="1711" y="1014"/>
                  </a:lnTo>
                  <a:lnTo>
                    <a:pt x="1711" y="1014"/>
                  </a:lnTo>
                  <a:lnTo>
                    <a:pt x="1711" y="1014"/>
                  </a:lnTo>
                  <a:lnTo>
                    <a:pt x="1711" y="1014"/>
                  </a:lnTo>
                  <a:lnTo>
                    <a:pt x="1711" y="1014"/>
                  </a:lnTo>
                  <a:lnTo>
                    <a:pt x="1711" y="1014"/>
                  </a:lnTo>
                  <a:lnTo>
                    <a:pt x="1711" y="1014"/>
                  </a:lnTo>
                  <a:lnTo>
                    <a:pt x="1711" y="1017"/>
                  </a:lnTo>
                  <a:lnTo>
                    <a:pt x="1711" y="1017"/>
                  </a:lnTo>
                  <a:lnTo>
                    <a:pt x="1711" y="1017"/>
                  </a:lnTo>
                  <a:lnTo>
                    <a:pt x="1711" y="1017"/>
                  </a:lnTo>
                  <a:lnTo>
                    <a:pt x="1713" y="1017"/>
                  </a:lnTo>
                  <a:lnTo>
                    <a:pt x="1713" y="1017"/>
                  </a:lnTo>
                  <a:lnTo>
                    <a:pt x="1713" y="1017"/>
                  </a:lnTo>
                  <a:lnTo>
                    <a:pt x="1713" y="1019"/>
                  </a:lnTo>
                  <a:lnTo>
                    <a:pt x="1713" y="1019"/>
                  </a:lnTo>
                  <a:lnTo>
                    <a:pt x="1713" y="1019"/>
                  </a:lnTo>
                  <a:lnTo>
                    <a:pt x="1713" y="1019"/>
                  </a:lnTo>
                  <a:lnTo>
                    <a:pt x="1713" y="1019"/>
                  </a:lnTo>
                  <a:lnTo>
                    <a:pt x="1716" y="1019"/>
                  </a:lnTo>
                  <a:lnTo>
                    <a:pt x="1716" y="1017"/>
                  </a:lnTo>
                  <a:lnTo>
                    <a:pt x="1716" y="1017"/>
                  </a:lnTo>
                  <a:lnTo>
                    <a:pt x="1720" y="1014"/>
                  </a:lnTo>
                  <a:lnTo>
                    <a:pt x="1720" y="1012"/>
                  </a:lnTo>
                  <a:lnTo>
                    <a:pt x="1720" y="1012"/>
                  </a:lnTo>
                  <a:lnTo>
                    <a:pt x="1720" y="1012"/>
                  </a:lnTo>
                  <a:lnTo>
                    <a:pt x="1723" y="1012"/>
                  </a:lnTo>
                  <a:lnTo>
                    <a:pt x="1723" y="1012"/>
                  </a:lnTo>
                  <a:lnTo>
                    <a:pt x="1723" y="1012"/>
                  </a:lnTo>
                  <a:lnTo>
                    <a:pt x="1723" y="1012"/>
                  </a:lnTo>
                  <a:lnTo>
                    <a:pt x="1723" y="1012"/>
                  </a:lnTo>
                  <a:lnTo>
                    <a:pt x="1720" y="1012"/>
                  </a:lnTo>
                  <a:lnTo>
                    <a:pt x="1720" y="1012"/>
                  </a:lnTo>
                  <a:lnTo>
                    <a:pt x="1720" y="1014"/>
                  </a:lnTo>
                  <a:lnTo>
                    <a:pt x="1720" y="1014"/>
                  </a:lnTo>
                  <a:lnTo>
                    <a:pt x="1718" y="1014"/>
                  </a:lnTo>
                  <a:lnTo>
                    <a:pt x="1718" y="1017"/>
                  </a:lnTo>
                  <a:lnTo>
                    <a:pt x="1718" y="1017"/>
                  </a:lnTo>
                  <a:lnTo>
                    <a:pt x="1718" y="1019"/>
                  </a:lnTo>
                  <a:lnTo>
                    <a:pt x="1720" y="1019"/>
                  </a:lnTo>
                  <a:lnTo>
                    <a:pt x="1720" y="1019"/>
                  </a:lnTo>
                  <a:lnTo>
                    <a:pt x="1720" y="1019"/>
                  </a:lnTo>
                  <a:lnTo>
                    <a:pt x="1718" y="1019"/>
                  </a:lnTo>
                  <a:lnTo>
                    <a:pt x="1718" y="1022"/>
                  </a:lnTo>
                  <a:lnTo>
                    <a:pt x="1718" y="1024"/>
                  </a:lnTo>
                  <a:lnTo>
                    <a:pt x="1718" y="1024"/>
                  </a:lnTo>
                  <a:lnTo>
                    <a:pt x="1718" y="1022"/>
                  </a:lnTo>
                  <a:lnTo>
                    <a:pt x="1718" y="1022"/>
                  </a:lnTo>
                  <a:lnTo>
                    <a:pt x="1718" y="1022"/>
                  </a:lnTo>
                  <a:lnTo>
                    <a:pt x="1718" y="1019"/>
                  </a:lnTo>
                  <a:lnTo>
                    <a:pt x="1716" y="1019"/>
                  </a:lnTo>
                  <a:lnTo>
                    <a:pt x="1716" y="1019"/>
                  </a:lnTo>
                  <a:lnTo>
                    <a:pt x="1716" y="1019"/>
                  </a:lnTo>
                  <a:lnTo>
                    <a:pt x="1713" y="1022"/>
                  </a:lnTo>
                  <a:lnTo>
                    <a:pt x="1716" y="1022"/>
                  </a:lnTo>
                  <a:lnTo>
                    <a:pt x="1716" y="1024"/>
                  </a:lnTo>
                  <a:lnTo>
                    <a:pt x="1713" y="1024"/>
                  </a:lnTo>
                  <a:lnTo>
                    <a:pt x="1713" y="1024"/>
                  </a:lnTo>
                  <a:lnTo>
                    <a:pt x="1713" y="1024"/>
                  </a:lnTo>
                  <a:lnTo>
                    <a:pt x="1716" y="1029"/>
                  </a:lnTo>
                  <a:lnTo>
                    <a:pt x="1716" y="1031"/>
                  </a:lnTo>
                  <a:lnTo>
                    <a:pt x="1716" y="1031"/>
                  </a:lnTo>
                  <a:lnTo>
                    <a:pt x="1716" y="1031"/>
                  </a:lnTo>
                  <a:lnTo>
                    <a:pt x="1718" y="1031"/>
                  </a:lnTo>
                  <a:lnTo>
                    <a:pt x="1718" y="1031"/>
                  </a:lnTo>
                  <a:lnTo>
                    <a:pt x="1718" y="1029"/>
                  </a:lnTo>
                  <a:lnTo>
                    <a:pt x="1718" y="1026"/>
                  </a:lnTo>
                  <a:lnTo>
                    <a:pt x="1720" y="1026"/>
                  </a:lnTo>
                  <a:lnTo>
                    <a:pt x="1720" y="1029"/>
                  </a:lnTo>
                  <a:lnTo>
                    <a:pt x="1720" y="1029"/>
                  </a:lnTo>
                  <a:lnTo>
                    <a:pt x="1720" y="1029"/>
                  </a:lnTo>
                  <a:lnTo>
                    <a:pt x="1720" y="1029"/>
                  </a:lnTo>
                  <a:lnTo>
                    <a:pt x="1720" y="1026"/>
                  </a:lnTo>
                  <a:lnTo>
                    <a:pt x="1720" y="1026"/>
                  </a:lnTo>
                  <a:lnTo>
                    <a:pt x="1720" y="1026"/>
                  </a:lnTo>
                  <a:lnTo>
                    <a:pt x="1723" y="1026"/>
                  </a:lnTo>
                  <a:lnTo>
                    <a:pt x="1723" y="1024"/>
                  </a:lnTo>
                  <a:lnTo>
                    <a:pt x="1732" y="1031"/>
                  </a:lnTo>
                  <a:lnTo>
                    <a:pt x="1732" y="1031"/>
                  </a:lnTo>
                  <a:lnTo>
                    <a:pt x="1735" y="1033"/>
                  </a:lnTo>
                  <a:lnTo>
                    <a:pt x="1735" y="1033"/>
                  </a:lnTo>
                  <a:lnTo>
                    <a:pt x="1732" y="1033"/>
                  </a:lnTo>
                  <a:lnTo>
                    <a:pt x="1730" y="1031"/>
                  </a:lnTo>
                  <a:lnTo>
                    <a:pt x="1730" y="1031"/>
                  </a:lnTo>
                  <a:lnTo>
                    <a:pt x="1730" y="1029"/>
                  </a:lnTo>
                  <a:lnTo>
                    <a:pt x="1730" y="1029"/>
                  </a:lnTo>
                  <a:lnTo>
                    <a:pt x="1730" y="1031"/>
                  </a:lnTo>
                  <a:lnTo>
                    <a:pt x="1728" y="1031"/>
                  </a:lnTo>
                  <a:lnTo>
                    <a:pt x="1728" y="1029"/>
                  </a:lnTo>
                  <a:lnTo>
                    <a:pt x="1728" y="1029"/>
                  </a:lnTo>
                  <a:lnTo>
                    <a:pt x="1725" y="1026"/>
                  </a:lnTo>
                  <a:lnTo>
                    <a:pt x="1723" y="1026"/>
                  </a:lnTo>
                  <a:lnTo>
                    <a:pt x="1723" y="1026"/>
                  </a:lnTo>
                  <a:lnTo>
                    <a:pt x="1723" y="1026"/>
                  </a:lnTo>
                  <a:lnTo>
                    <a:pt x="1720" y="1026"/>
                  </a:lnTo>
                  <a:lnTo>
                    <a:pt x="1720" y="1033"/>
                  </a:lnTo>
                  <a:lnTo>
                    <a:pt x="1720" y="1033"/>
                  </a:lnTo>
                  <a:lnTo>
                    <a:pt x="1720" y="1036"/>
                  </a:lnTo>
                  <a:lnTo>
                    <a:pt x="1720" y="1036"/>
                  </a:lnTo>
                  <a:lnTo>
                    <a:pt x="1720" y="1036"/>
                  </a:lnTo>
                  <a:lnTo>
                    <a:pt x="1723" y="1038"/>
                  </a:lnTo>
                  <a:lnTo>
                    <a:pt x="1723" y="1038"/>
                  </a:lnTo>
                  <a:lnTo>
                    <a:pt x="1723" y="1040"/>
                  </a:lnTo>
                  <a:lnTo>
                    <a:pt x="1728" y="1043"/>
                  </a:lnTo>
                  <a:lnTo>
                    <a:pt x="1728" y="1043"/>
                  </a:lnTo>
                  <a:lnTo>
                    <a:pt x="1728" y="1045"/>
                  </a:lnTo>
                  <a:lnTo>
                    <a:pt x="1728" y="1045"/>
                  </a:lnTo>
                  <a:lnTo>
                    <a:pt x="1728" y="1045"/>
                  </a:lnTo>
                  <a:lnTo>
                    <a:pt x="1728" y="1045"/>
                  </a:lnTo>
                  <a:lnTo>
                    <a:pt x="1728" y="1048"/>
                  </a:lnTo>
                  <a:lnTo>
                    <a:pt x="1730" y="1048"/>
                  </a:lnTo>
                  <a:lnTo>
                    <a:pt x="1730" y="1050"/>
                  </a:lnTo>
                  <a:lnTo>
                    <a:pt x="1730" y="1050"/>
                  </a:lnTo>
                  <a:lnTo>
                    <a:pt x="1732" y="1052"/>
                  </a:lnTo>
                  <a:lnTo>
                    <a:pt x="1732" y="1052"/>
                  </a:lnTo>
                  <a:lnTo>
                    <a:pt x="1732" y="1052"/>
                  </a:lnTo>
                  <a:lnTo>
                    <a:pt x="1730" y="1052"/>
                  </a:lnTo>
                  <a:lnTo>
                    <a:pt x="1730" y="1052"/>
                  </a:lnTo>
                  <a:lnTo>
                    <a:pt x="1730" y="1052"/>
                  </a:lnTo>
                  <a:lnTo>
                    <a:pt x="1730" y="1052"/>
                  </a:lnTo>
                  <a:lnTo>
                    <a:pt x="1730" y="1050"/>
                  </a:lnTo>
                  <a:lnTo>
                    <a:pt x="1728" y="1050"/>
                  </a:lnTo>
                  <a:lnTo>
                    <a:pt x="1728" y="1050"/>
                  </a:lnTo>
                  <a:lnTo>
                    <a:pt x="1728" y="1048"/>
                  </a:lnTo>
                  <a:lnTo>
                    <a:pt x="1728" y="1048"/>
                  </a:lnTo>
                  <a:lnTo>
                    <a:pt x="1728" y="1048"/>
                  </a:lnTo>
                  <a:lnTo>
                    <a:pt x="1720" y="1040"/>
                  </a:lnTo>
                  <a:lnTo>
                    <a:pt x="1720" y="1040"/>
                  </a:lnTo>
                  <a:lnTo>
                    <a:pt x="1720" y="1038"/>
                  </a:lnTo>
                  <a:lnTo>
                    <a:pt x="1718" y="1038"/>
                  </a:lnTo>
                  <a:lnTo>
                    <a:pt x="1718" y="1038"/>
                  </a:lnTo>
                  <a:lnTo>
                    <a:pt x="1718" y="1038"/>
                  </a:lnTo>
                  <a:lnTo>
                    <a:pt x="1718" y="1036"/>
                  </a:lnTo>
                  <a:lnTo>
                    <a:pt x="1718" y="1036"/>
                  </a:lnTo>
                  <a:lnTo>
                    <a:pt x="1718" y="1036"/>
                  </a:lnTo>
                  <a:lnTo>
                    <a:pt x="1718" y="1036"/>
                  </a:lnTo>
                  <a:lnTo>
                    <a:pt x="1718" y="1036"/>
                  </a:lnTo>
                  <a:lnTo>
                    <a:pt x="1716" y="1036"/>
                  </a:lnTo>
                  <a:lnTo>
                    <a:pt x="1716" y="1036"/>
                  </a:lnTo>
                  <a:lnTo>
                    <a:pt x="1716" y="1036"/>
                  </a:lnTo>
                  <a:lnTo>
                    <a:pt x="1716" y="1038"/>
                  </a:lnTo>
                  <a:lnTo>
                    <a:pt x="1713" y="1040"/>
                  </a:lnTo>
                  <a:lnTo>
                    <a:pt x="1713" y="1040"/>
                  </a:lnTo>
                  <a:lnTo>
                    <a:pt x="1713" y="1040"/>
                  </a:lnTo>
                  <a:lnTo>
                    <a:pt x="1716" y="1043"/>
                  </a:lnTo>
                  <a:lnTo>
                    <a:pt x="1716" y="1045"/>
                  </a:lnTo>
                  <a:lnTo>
                    <a:pt x="1716" y="1045"/>
                  </a:lnTo>
                  <a:lnTo>
                    <a:pt x="1718" y="1045"/>
                  </a:lnTo>
                  <a:lnTo>
                    <a:pt x="1720" y="1045"/>
                  </a:lnTo>
                  <a:lnTo>
                    <a:pt x="1720" y="1045"/>
                  </a:lnTo>
                  <a:lnTo>
                    <a:pt x="1723" y="1045"/>
                  </a:lnTo>
                  <a:lnTo>
                    <a:pt x="1723" y="1045"/>
                  </a:lnTo>
                  <a:lnTo>
                    <a:pt x="1723" y="1045"/>
                  </a:lnTo>
                  <a:lnTo>
                    <a:pt x="1720" y="1045"/>
                  </a:lnTo>
                  <a:lnTo>
                    <a:pt x="1718" y="1048"/>
                  </a:lnTo>
                  <a:lnTo>
                    <a:pt x="1718" y="1048"/>
                  </a:lnTo>
                  <a:lnTo>
                    <a:pt x="1718" y="1048"/>
                  </a:lnTo>
                  <a:lnTo>
                    <a:pt x="1716" y="1050"/>
                  </a:lnTo>
                  <a:lnTo>
                    <a:pt x="1716" y="1050"/>
                  </a:lnTo>
                  <a:lnTo>
                    <a:pt x="1716" y="1050"/>
                  </a:lnTo>
                  <a:lnTo>
                    <a:pt x="1716" y="1052"/>
                  </a:lnTo>
                  <a:lnTo>
                    <a:pt x="1716" y="1052"/>
                  </a:lnTo>
                  <a:lnTo>
                    <a:pt x="1718" y="1055"/>
                  </a:lnTo>
                  <a:lnTo>
                    <a:pt x="1718" y="1055"/>
                  </a:lnTo>
                  <a:lnTo>
                    <a:pt x="1718" y="1055"/>
                  </a:lnTo>
                  <a:lnTo>
                    <a:pt x="1718" y="1055"/>
                  </a:lnTo>
                  <a:lnTo>
                    <a:pt x="1718" y="1055"/>
                  </a:lnTo>
                  <a:lnTo>
                    <a:pt x="1718" y="1055"/>
                  </a:lnTo>
                  <a:lnTo>
                    <a:pt x="1720" y="1055"/>
                  </a:lnTo>
                  <a:lnTo>
                    <a:pt x="1720" y="1055"/>
                  </a:lnTo>
                  <a:lnTo>
                    <a:pt x="1720" y="1055"/>
                  </a:lnTo>
                  <a:lnTo>
                    <a:pt x="1720" y="1055"/>
                  </a:lnTo>
                  <a:lnTo>
                    <a:pt x="1720" y="1055"/>
                  </a:lnTo>
                  <a:lnTo>
                    <a:pt x="1720" y="1055"/>
                  </a:lnTo>
                  <a:lnTo>
                    <a:pt x="1718" y="1055"/>
                  </a:lnTo>
                  <a:lnTo>
                    <a:pt x="1718" y="1055"/>
                  </a:lnTo>
                  <a:lnTo>
                    <a:pt x="1718" y="1055"/>
                  </a:lnTo>
                  <a:lnTo>
                    <a:pt x="1716" y="1057"/>
                  </a:lnTo>
                  <a:lnTo>
                    <a:pt x="1716" y="1057"/>
                  </a:lnTo>
                  <a:lnTo>
                    <a:pt x="1716" y="1059"/>
                  </a:lnTo>
                  <a:lnTo>
                    <a:pt x="1716" y="1059"/>
                  </a:lnTo>
                  <a:lnTo>
                    <a:pt x="1720" y="1059"/>
                  </a:lnTo>
                  <a:lnTo>
                    <a:pt x="1720" y="1059"/>
                  </a:lnTo>
                  <a:lnTo>
                    <a:pt x="1720" y="1062"/>
                  </a:lnTo>
                  <a:lnTo>
                    <a:pt x="1720" y="1062"/>
                  </a:lnTo>
                  <a:lnTo>
                    <a:pt x="1723" y="1062"/>
                  </a:lnTo>
                  <a:lnTo>
                    <a:pt x="1723" y="1062"/>
                  </a:lnTo>
                  <a:lnTo>
                    <a:pt x="1723" y="1062"/>
                  </a:lnTo>
                  <a:lnTo>
                    <a:pt x="1725" y="1062"/>
                  </a:lnTo>
                  <a:lnTo>
                    <a:pt x="1725" y="1062"/>
                  </a:lnTo>
                  <a:lnTo>
                    <a:pt x="1728" y="1059"/>
                  </a:lnTo>
                  <a:lnTo>
                    <a:pt x="1728" y="1059"/>
                  </a:lnTo>
                  <a:lnTo>
                    <a:pt x="1728" y="1062"/>
                  </a:lnTo>
                  <a:lnTo>
                    <a:pt x="1728" y="1062"/>
                  </a:lnTo>
                  <a:lnTo>
                    <a:pt x="1725" y="1062"/>
                  </a:lnTo>
                  <a:lnTo>
                    <a:pt x="1725" y="1062"/>
                  </a:lnTo>
                  <a:lnTo>
                    <a:pt x="1723" y="1062"/>
                  </a:lnTo>
                  <a:lnTo>
                    <a:pt x="1723" y="1062"/>
                  </a:lnTo>
                  <a:lnTo>
                    <a:pt x="1723" y="1062"/>
                  </a:lnTo>
                  <a:lnTo>
                    <a:pt x="1723" y="1062"/>
                  </a:lnTo>
                  <a:lnTo>
                    <a:pt x="1720" y="1064"/>
                  </a:lnTo>
                  <a:lnTo>
                    <a:pt x="1713" y="1062"/>
                  </a:lnTo>
                  <a:lnTo>
                    <a:pt x="1713" y="1062"/>
                  </a:lnTo>
                  <a:lnTo>
                    <a:pt x="1713" y="1062"/>
                  </a:lnTo>
                  <a:lnTo>
                    <a:pt x="1713" y="1062"/>
                  </a:lnTo>
                  <a:lnTo>
                    <a:pt x="1713" y="1062"/>
                  </a:lnTo>
                  <a:lnTo>
                    <a:pt x="1713" y="1062"/>
                  </a:lnTo>
                  <a:lnTo>
                    <a:pt x="1711" y="1062"/>
                  </a:lnTo>
                  <a:lnTo>
                    <a:pt x="1713" y="1064"/>
                  </a:lnTo>
                  <a:lnTo>
                    <a:pt x="1711" y="1064"/>
                  </a:lnTo>
                  <a:lnTo>
                    <a:pt x="1711" y="1064"/>
                  </a:lnTo>
                  <a:lnTo>
                    <a:pt x="1711" y="1066"/>
                  </a:lnTo>
                  <a:lnTo>
                    <a:pt x="1709" y="1066"/>
                  </a:lnTo>
                  <a:lnTo>
                    <a:pt x="1709" y="1066"/>
                  </a:lnTo>
                  <a:lnTo>
                    <a:pt x="1711" y="1066"/>
                  </a:lnTo>
                  <a:lnTo>
                    <a:pt x="1711" y="1066"/>
                  </a:lnTo>
                  <a:lnTo>
                    <a:pt x="1711" y="1066"/>
                  </a:lnTo>
                  <a:lnTo>
                    <a:pt x="1711" y="1066"/>
                  </a:lnTo>
                  <a:lnTo>
                    <a:pt x="1711" y="1069"/>
                  </a:lnTo>
                  <a:lnTo>
                    <a:pt x="1711" y="1069"/>
                  </a:lnTo>
                  <a:lnTo>
                    <a:pt x="1713" y="1069"/>
                  </a:lnTo>
                  <a:lnTo>
                    <a:pt x="1713" y="1071"/>
                  </a:lnTo>
                  <a:lnTo>
                    <a:pt x="1716" y="1074"/>
                  </a:lnTo>
                  <a:lnTo>
                    <a:pt x="1716" y="1074"/>
                  </a:lnTo>
                  <a:lnTo>
                    <a:pt x="1716" y="1071"/>
                  </a:lnTo>
                  <a:lnTo>
                    <a:pt x="1718" y="1071"/>
                  </a:lnTo>
                  <a:lnTo>
                    <a:pt x="1718" y="1069"/>
                  </a:lnTo>
                  <a:lnTo>
                    <a:pt x="1718" y="1069"/>
                  </a:lnTo>
                  <a:lnTo>
                    <a:pt x="1718" y="1069"/>
                  </a:lnTo>
                  <a:lnTo>
                    <a:pt x="1720" y="1069"/>
                  </a:lnTo>
                  <a:lnTo>
                    <a:pt x="1720" y="1071"/>
                  </a:lnTo>
                  <a:lnTo>
                    <a:pt x="1718" y="1071"/>
                  </a:lnTo>
                  <a:lnTo>
                    <a:pt x="1718" y="1071"/>
                  </a:lnTo>
                  <a:lnTo>
                    <a:pt x="1720" y="1071"/>
                  </a:lnTo>
                  <a:lnTo>
                    <a:pt x="1720" y="1071"/>
                  </a:lnTo>
                  <a:lnTo>
                    <a:pt x="1720" y="1071"/>
                  </a:lnTo>
                  <a:lnTo>
                    <a:pt x="1720" y="1071"/>
                  </a:lnTo>
                  <a:lnTo>
                    <a:pt x="1720" y="1071"/>
                  </a:lnTo>
                  <a:lnTo>
                    <a:pt x="1723" y="1071"/>
                  </a:lnTo>
                  <a:lnTo>
                    <a:pt x="1720" y="1071"/>
                  </a:lnTo>
                  <a:lnTo>
                    <a:pt x="1720" y="1074"/>
                  </a:lnTo>
                  <a:lnTo>
                    <a:pt x="1720" y="1074"/>
                  </a:lnTo>
                  <a:lnTo>
                    <a:pt x="1720" y="1074"/>
                  </a:lnTo>
                  <a:lnTo>
                    <a:pt x="1720" y="1074"/>
                  </a:lnTo>
                  <a:lnTo>
                    <a:pt x="1720" y="1074"/>
                  </a:lnTo>
                  <a:lnTo>
                    <a:pt x="1720" y="1074"/>
                  </a:lnTo>
                  <a:lnTo>
                    <a:pt x="1720" y="1074"/>
                  </a:lnTo>
                  <a:lnTo>
                    <a:pt x="1720" y="1074"/>
                  </a:lnTo>
                  <a:lnTo>
                    <a:pt x="1720" y="1076"/>
                  </a:lnTo>
                  <a:lnTo>
                    <a:pt x="1720" y="1076"/>
                  </a:lnTo>
                  <a:lnTo>
                    <a:pt x="1720" y="1076"/>
                  </a:lnTo>
                  <a:lnTo>
                    <a:pt x="1720" y="1076"/>
                  </a:lnTo>
                  <a:lnTo>
                    <a:pt x="1720" y="1076"/>
                  </a:lnTo>
                  <a:lnTo>
                    <a:pt x="1720" y="1076"/>
                  </a:lnTo>
                  <a:lnTo>
                    <a:pt x="1723" y="1076"/>
                  </a:lnTo>
                  <a:lnTo>
                    <a:pt x="1723" y="1076"/>
                  </a:lnTo>
                  <a:lnTo>
                    <a:pt x="1723" y="1076"/>
                  </a:lnTo>
                  <a:lnTo>
                    <a:pt x="1723" y="1078"/>
                  </a:lnTo>
                  <a:lnTo>
                    <a:pt x="1725" y="1078"/>
                  </a:lnTo>
                  <a:lnTo>
                    <a:pt x="1725" y="1078"/>
                  </a:lnTo>
                  <a:lnTo>
                    <a:pt x="1725" y="1078"/>
                  </a:lnTo>
                  <a:lnTo>
                    <a:pt x="1725" y="1081"/>
                  </a:lnTo>
                  <a:lnTo>
                    <a:pt x="1728" y="1081"/>
                  </a:lnTo>
                  <a:lnTo>
                    <a:pt x="1728" y="1081"/>
                  </a:lnTo>
                  <a:lnTo>
                    <a:pt x="1730" y="1078"/>
                  </a:lnTo>
                  <a:lnTo>
                    <a:pt x="1730" y="1078"/>
                  </a:lnTo>
                  <a:lnTo>
                    <a:pt x="1730" y="1078"/>
                  </a:lnTo>
                  <a:lnTo>
                    <a:pt x="1730" y="1078"/>
                  </a:lnTo>
                  <a:lnTo>
                    <a:pt x="1730" y="1078"/>
                  </a:lnTo>
                  <a:lnTo>
                    <a:pt x="1730" y="1078"/>
                  </a:lnTo>
                  <a:lnTo>
                    <a:pt x="1730" y="1078"/>
                  </a:lnTo>
                  <a:lnTo>
                    <a:pt x="1730" y="1078"/>
                  </a:lnTo>
                  <a:lnTo>
                    <a:pt x="1730" y="1081"/>
                  </a:lnTo>
                  <a:lnTo>
                    <a:pt x="1730" y="1083"/>
                  </a:lnTo>
                  <a:lnTo>
                    <a:pt x="1730" y="1085"/>
                  </a:lnTo>
                  <a:lnTo>
                    <a:pt x="1728" y="1085"/>
                  </a:lnTo>
                  <a:lnTo>
                    <a:pt x="1728" y="1083"/>
                  </a:lnTo>
                  <a:lnTo>
                    <a:pt x="1728" y="1083"/>
                  </a:lnTo>
                  <a:lnTo>
                    <a:pt x="1728" y="1083"/>
                  </a:lnTo>
                  <a:lnTo>
                    <a:pt x="1728" y="1083"/>
                  </a:lnTo>
                  <a:lnTo>
                    <a:pt x="1728" y="1083"/>
                  </a:lnTo>
                  <a:lnTo>
                    <a:pt x="1725" y="1083"/>
                  </a:lnTo>
                  <a:lnTo>
                    <a:pt x="1725" y="1083"/>
                  </a:lnTo>
                  <a:lnTo>
                    <a:pt x="1725" y="1083"/>
                  </a:lnTo>
                  <a:lnTo>
                    <a:pt x="1725" y="1083"/>
                  </a:lnTo>
                  <a:lnTo>
                    <a:pt x="1725" y="1083"/>
                  </a:lnTo>
                  <a:lnTo>
                    <a:pt x="1725" y="1085"/>
                  </a:lnTo>
                  <a:lnTo>
                    <a:pt x="1725" y="1085"/>
                  </a:lnTo>
                  <a:lnTo>
                    <a:pt x="1725" y="1085"/>
                  </a:lnTo>
                  <a:lnTo>
                    <a:pt x="1725" y="1088"/>
                  </a:lnTo>
                  <a:lnTo>
                    <a:pt x="1725" y="1088"/>
                  </a:lnTo>
                  <a:lnTo>
                    <a:pt x="1725" y="1088"/>
                  </a:lnTo>
                  <a:lnTo>
                    <a:pt x="1728" y="1090"/>
                  </a:lnTo>
                  <a:lnTo>
                    <a:pt x="1728" y="1090"/>
                  </a:lnTo>
                  <a:lnTo>
                    <a:pt x="1728" y="1090"/>
                  </a:lnTo>
                  <a:lnTo>
                    <a:pt x="1728" y="1090"/>
                  </a:lnTo>
                  <a:lnTo>
                    <a:pt x="1728" y="1090"/>
                  </a:lnTo>
                  <a:lnTo>
                    <a:pt x="1728" y="1092"/>
                  </a:lnTo>
                  <a:lnTo>
                    <a:pt x="1730" y="1095"/>
                  </a:lnTo>
                  <a:lnTo>
                    <a:pt x="1732" y="1097"/>
                  </a:lnTo>
                  <a:lnTo>
                    <a:pt x="1732" y="1100"/>
                  </a:lnTo>
                  <a:lnTo>
                    <a:pt x="1735" y="1100"/>
                  </a:lnTo>
                  <a:lnTo>
                    <a:pt x="1735" y="1097"/>
                  </a:lnTo>
                  <a:lnTo>
                    <a:pt x="1735" y="1097"/>
                  </a:lnTo>
                  <a:lnTo>
                    <a:pt x="1735" y="1097"/>
                  </a:lnTo>
                  <a:lnTo>
                    <a:pt x="1737" y="1097"/>
                  </a:lnTo>
                  <a:lnTo>
                    <a:pt x="1737" y="1097"/>
                  </a:lnTo>
                  <a:lnTo>
                    <a:pt x="1737" y="1097"/>
                  </a:lnTo>
                  <a:lnTo>
                    <a:pt x="1737" y="1095"/>
                  </a:lnTo>
                  <a:lnTo>
                    <a:pt x="1739" y="1097"/>
                  </a:lnTo>
                  <a:lnTo>
                    <a:pt x="1739" y="1097"/>
                  </a:lnTo>
                  <a:lnTo>
                    <a:pt x="1739" y="1097"/>
                  </a:lnTo>
                  <a:lnTo>
                    <a:pt x="1739" y="1097"/>
                  </a:lnTo>
                  <a:lnTo>
                    <a:pt x="1737" y="1097"/>
                  </a:lnTo>
                  <a:lnTo>
                    <a:pt x="1737" y="1097"/>
                  </a:lnTo>
                  <a:lnTo>
                    <a:pt x="1737" y="1097"/>
                  </a:lnTo>
                  <a:lnTo>
                    <a:pt x="1737" y="1097"/>
                  </a:lnTo>
                  <a:lnTo>
                    <a:pt x="1737" y="1097"/>
                  </a:lnTo>
                  <a:lnTo>
                    <a:pt x="1735" y="1100"/>
                  </a:lnTo>
                  <a:lnTo>
                    <a:pt x="1735" y="1100"/>
                  </a:lnTo>
                  <a:lnTo>
                    <a:pt x="1735" y="1100"/>
                  </a:lnTo>
                  <a:lnTo>
                    <a:pt x="1732" y="1102"/>
                  </a:lnTo>
                  <a:lnTo>
                    <a:pt x="1732" y="1102"/>
                  </a:lnTo>
                  <a:lnTo>
                    <a:pt x="1732" y="1102"/>
                  </a:lnTo>
                  <a:lnTo>
                    <a:pt x="1735" y="1102"/>
                  </a:lnTo>
                  <a:lnTo>
                    <a:pt x="1735" y="1104"/>
                  </a:lnTo>
                  <a:lnTo>
                    <a:pt x="1732" y="1102"/>
                  </a:lnTo>
                  <a:lnTo>
                    <a:pt x="1732" y="1102"/>
                  </a:lnTo>
                  <a:lnTo>
                    <a:pt x="1730" y="1104"/>
                  </a:lnTo>
                  <a:lnTo>
                    <a:pt x="1730" y="1104"/>
                  </a:lnTo>
                  <a:lnTo>
                    <a:pt x="1730" y="1104"/>
                  </a:lnTo>
                  <a:lnTo>
                    <a:pt x="1730" y="1107"/>
                  </a:lnTo>
                  <a:lnTo>
                    <a:pt x="1732" y="1107"/>
                  </a:lnTo>
                  <a:lnTo>
                    <a:pt x="1732" y="1107"/>
                  </a:lnTo>
                  <a:lnTo>
                    <a:pt x="1735" y="1107"/>
                  </a:lnTo>
                  <a:lnTo>
                    <a:pt x="1737" y="1107"/>
                  </a:lnTo>
                  <a:lnTo>
                    <a:pt x="1737" y="1107"/>
                  </a:lnTo>
                  <a:lnTo>
                    <a:pt x="1737" y="1109"/>
                  </a:lnTo>
                  <a:lnTo>
                    <a:pt x="1735" y="1109"/>
                  </a:lnTo>
                  <a:lnTo>
                    <a:pt x="1735" y="1111"/>
                  </a:lnTo>
                  <a:lnTo>
                    <a:pt x="1735" y="1111"/>
                  </a:lnTo>
                  <a:lnTo>
                    <a:pt x="1735" y="1111"/>
                  </a:lnTo>
                  <a:lnTo>
                    <a:pt x="1735" y="1114"/>
                  </a:lnTo>
                  <a:lnTo>
                    <a:pt x="1735" y="1114"/>
                  </a:lnTo>
                  <a:lnTo>
                    <a:pt x="1737" y="1116"/>
                  </a:lnTo>
                  <a:lnTo>
                    <a:pt x="1737" y="1116"/>
                  </a:lnTo>
                  <a:lnTo>
                    <a:pt x="1737" y="1116"/>
                  </a:lnTo>
                  <a:lnTo>
                    <a:pt x="1737" y="1118"/>
                  </a:lnTo>
                  <a:lnTo>
                    <a:pt x="1737" y="1118"/>
                  </a:lnTo>
                  <a:lnTo>
                    <a:pt x="1737" y="1123"/>
                  </a:lnTo>
                  <a:lnTo>
                    <a:pt x="1737" y="1123"/>
                  </a:lnTo>
                  <a:lnTo>
                    <a:pt x="1739" y="1121"/>
                  </a:lnTo>
                  <a:lnTo>
                    <a:pt x="1739" y="1123"/>
                  </a:lnTo>
                  <a:lnTo>
                    <a:pt x="1739" y="1123"/>
                  </a:lnTo>
                  <a:lnTo>
                    <a:pt x="1739" y="1123"/>
                  </a:lnTo>
                  <a:lnTo>
                    <a:pt x="1742" y="1123"/>
                  </a:lnTo>
                  <a:lnTo>
                    <a:pt x="1742" y="1123"/>
                  </a:lnTo>
                  <a:lnTo>
                    <a:pt x="1742" y="1126"/>
                  </a:lnTo>
                  <a:lnTo>
                    <a:pt x="1744" y="1126"/>
                  </a:lnTo>
                  <a:lnTo>
                    <a:pt x="1742" y="1128"/>
                  </a:lnTo>
                  <a:lnTo>
                    <a:pt x="1742" y="1128"/>
                  </a:lnTo>
                  <a:lnTo>
                    <a:pt x="1744" y="1133"/>
                  </a:lnTo>
                  <a:lnTo>
                    <a:pt x="1744" y="1133"/>
                  </a:lnTo>
                  <a:lnTo>
                    <a:pt x="1749" y="1135"/>
                  </a:lnTo>
                  <a:lnTo>
                    <a:pt x="1751" y="1137"/>
                  </a:lnTo>
                  <a:lnTo>
                    <a:pt x="1751" y="1137"/>
                  </a:lnTo>
                  <a:lnTo>
                    <a:pt x="1751" y="1137"/>
                  </a:lnTo>
                  <a:lnTo>
                    <a:pt x="1754" y="1137"/>
                  </a:lnTo>
                  <a:lnTo>
                    <a:pt x="1756" y="1137"/>
                  </a:lnTo>
                  <a:lnTo>
                    <a:pt x="1756" y="1137"/>
                  </a:lnTo>
                  <a:lnTo>
                    <a:pt x="1754" y="1137"/>
                  </a:lnTo>
                  <a:lnTo>
                    <a:pt x="1754" y="1137"/>
                  </a:lnTo>
                  <a:lnTo>
                    <a:pt x="1754" y="1137"/>
                  </a:lnTo>
                  <a:lnTo>
                    <a:pt x="1751" y="1137"/>
                  </a:lnTo>
                  <a:lnTo>
                    <a:pt x="1751" y="1137"/>
                  </a:lnTo>
                  <a:lnTo>
                    <a:pt x="1749" y="1137"/>
                  </a:lnTo>
                  <a:lnTo>
                    <a:pt x="1744" y="1135"/>
                  </a:lnTo>
                  <a:lnTo>
                    <a:pt x="1742" y="1135"/>
                  </a:lnTo>
                  <a:lnTo>
                    <a:pt x="1742" y="1135"/>
                  </a:lnTo>
                  <a:lnTo>
                    <a:pt x="1739" y="1135"/>
                  </a:lnTo>
                  <a:lnTo>
                    <a:pt x="1739" y="1140"/>
                  </a:lnTo>
                  <a:lnTo>
                    <a:pt x="1739" y="1145"/>
                  </a:lnTo>
                  <a:lnTo>
                    <a:pt x="1737" y="1145"/>
                  </a:lnTo>
                  <a:lnTo>
                    <a:pt x="1737" y="1145"/>
                  </a:lnTo>
                  <a:lnTo>
                    <a:pt x="1737" y="1147"/>
                  </a:lnTo>
                  <a:lnTo>
                    <a:pt x="1737" y="1147"/>
                  </a:lnTo>
                  <a:lnTo>
                    <a:pt x="1737" y="1147"/>
                  </a:lnTo>
                  <a:lnTo>
                    <a:pt x="1735" y="1147"/>
                  </a:lnTo>
                  <a:lnTo>
                    <a:pt x="1735" y="1147"/>
                  </a:lnTo>
                  <a:lnTo>
                    <a:pt x="1735" y="1147"/>
                  </a:lnTo>
                  <a:lnTo>
                    <a:pt x="1735" y="1147"/>
                  </a:lnTo>
                  <a:lnTo>
                    <a:pt x="1735" y="1149"/>
                  </a:lnTo>
                  <a:lnTo>
                    <a:pt x="1735" y="1149"/>
                  </a:lnTo>
                  <a:lnTo>
                    <a:pt x="1732" y="1152"/>
                  </a:lnTo>
                  <a:lnTo>
                    <a:pt x="1732" y="1152"/>
                  </a:lnTo>
                  <a:lnTo>
                    <a:pt x="1732" y="1152"/>
                  </a:lnTo>
                  <a:lnTo>
                    <a:pt x="1732" y="1154"/>
                  </a:lnTo>
                  <a:lnTo>
                    <a:pt x="1732" y="1154"/>
                  </a:lnTo>
                  <a:lnTo>
                    <a:pt x="1732" y="1154"/>
                  </a:lnTo>
                  <a:lnTo>
                    <a:pt x="1730" y="1154"/>
                  </a:lnTo>
                  <a:lnTo>
                    <a:pt x="1730" y="1154"/>
                  </a:lnTo>
                  <a:lnTo>
                    <a:pt x="1728" y="1154"/>
                  </a:lnTo>
                  <a:lnTo>
                    <a:pt x="1728" y="1154"/>
                  </a:lnTo>
                  <a:lnTo>
                    <a:pt x="1728" y="1154"/>
                  </a:lnTo>
                  <a:lnTo>
                    <a:pt x="1728" y="1156"/>
                  </a:lnTo>
                  <a:lnTo>
                    <a:pt x="1728" y="1159"/>
                  </a:lnTo>
                  <a:lnTo>
                    <a:pt x="1725" y="1156"/>
                  </a:lnTo>
                  <a:lnTo>
                    <a:pt x="1725" y="1156"/>
                  </a:lnTo>
                  <a:lnTo>
                    <a:pt x="1725" y="1154"/>
                  </a:lnTo>
                  <a:lnTo>
                    <a:pt x="1725" y="1154"/>
                  </a:lnTo>
                  <a:lnTo>
                    <a:pt x="1725" y="1156"/>
                  </a:lnTo>
                  <a:lnTo>
                    <a:pt x="1725" y="1156"/>
                  </a:lnTo>
                  <a:lnTo>
                    <a:pt x="1725" y="1159"/>
                  </a:lnTo>
                  <a:lnTo>
                    <a:pt x="1725" y="1159"/>
                  </a:lnTo>
                  <a:lnTo>
                    <a:pt x="1725" y="1163"/>
                  </a:lnTo>
                  <a:lnTo>
                    <a:pt x="1725" y="1166"/>
                  </a:lnTo>
                  <a:lnTo>
                    <a:pt x="1725" y="1166"/>
                  </a:lnTo>
                  <a:lnTo>
                    <a:pt x="1728" y="1171"/>
                  </a:lnTo>
                  <a:lnTo>
                    <a:pt x="1730" y="1171"/>
                  </a:lnTo>
                  <a:lnTo>
                    <a:pt x="1730" y="1171"/>
                  </a:lnTo>
                  <a:lnTo>
                    <a:pt x="1730" y="1171"/>
                  </a:lnTo>
                  <a:lnTo>
                    <a:pt x="1730" y="1171"/>
                  </a:lnTo>
                  <a:lnTo>
                    <a:pt x="1730" y="1171"/>
                  </a:lnTo>
                  <a:lnTo>
                    <a:pt x="1730" y="1171"/>
                  </a:lnTo>
                  <a:lnTo>
                    <a:pt x="1730" y="1171"/>
                  </a:lnTo>
                  <a:lnTo>
                    <a:pt x="1732" y="1171"/>
                  </a:lnTo>
                  <a:lnTo>
                    <a:pt x="1732" y="1168"/>
                  </a:lnTo>
                  <a:lnTo>
                    <a:pt x="1732" y="1168"/>
                  </a:lnTo>
                  <a:lnTo>
                    <a:pt x="1732" y="1168"/>
                  </a:lnTo>
                  <a:lnTo>
                    <a:pt x="1732" y="1166"/>
                  </a:lnTo>
                  <a:lnTo>
                    <a:pt x="1732" y="1168"/>
                  </a:lnTo>
                  <a:lnTo>
                    <a:pt x="1732" y="1166"/>
                  </a:lnTo>
                  <a:lnTo>
                    <a:pt x="1732" y="1166"/>
                  </a:lnTo>
                  <a:lnTo>
                    <a:pt x="1732" y="1166"/>
                  </a:lnTo>
                  <a:lnTo>
                    <a:pt x="1732" y="1163"/>
                  </a:lnTo>
                  <a:lnTo>
                    <a:pt x="1730" y="1163"/>
                  </a:lnTo>
                  <a:lnTo>
                    <a:pt x="1730" y="1163"/>
                  </a:lnTo>
                  <a:lnTo>
                    <a:pt x="1735" y="1168"/>
                  </a:lnTo>
                  <a:lnTo>
                    <a:pt x="1735" y="1166"/>
                  </a:lnTo>
                  <a:lnTo>
                    <a:pt x="1735" y="1166"/>
                  </a:lnTo>
                  <a:lnTo>
                    <a:pt x="1735" y="1166"/>
                  </a:lnTo>
                  <a:lnTo>
                    <a:pt x="1735" y="1166"/>
                  </a:lnTo>
                  <a:lnTo>
                    <a:pt x="1737" y="1163"/>
                  </a:lnTo>
                  <a:lnTo>
                    <a:pt x="1737" y="1161"/>
                  </a:lnTo>
                  <a:lnTo>
                    <a:pt x="1737" y="1161"/>
                  </a:lnTo>
                  <a:lnTo>
                    <a:pt x="1737" y="1161"/>
                  </a:lnTo>
                  <a:lnTo>
                    <a:pt x="1737" y="1161"/>
                  </a:lnTo>
                  <a:lnTo>
                    <a:pt x="1739" y="1161"/>
                  </a:lnTo>
                  <a:lnTo>
                    <a:pt x="1739" y="1159"/>
                  </a:lnTo>
                  <a:lnTo>
                    <a:pt x="1739" y="1159"/>
                  </a:lnTo>
                  <a:lnTo>
                    <a:pt x="1739" y="1156"/>
                  </a:lnTo>
                  <a:lnTo>
                    <a:pt x="1742" y="1156"/>
                  </a:lnTo>
                  <a:lnTo>
                    <a:pt x="1739" y="1156"/>
                  </a:lnTo>
                  <a:lnTo>
                    <a:pt x="1739" y="1154"/>
                  </a:lnTo>
                  <a:lnTo>
                    <a:pt x="1737" y="1154"/>
                  </a:lnTo>
                  <a:lnTo>
                    <a:pt x="1737" y="1152"/>
                  </a:lnTo>
                  <a:lnTo>
                    <a:pt x="1737" y="1152"/>
                  </a:lnTo>
                  <a:lnTo>
                    <a:pt x="1737" y="1152"/>
                  </a:lnTo>
                  <a:lnTo>
                    <a:pt x="1739" y="1152"/>
                  </a:lnTo>
                  <a:lnTo>
                    <a:pt x="1739" y="1154"/>
                  </a:lnTo>
                  <a:lnTo>
                    <a:pt x="1739" y="1152"/>
                  </a:lnTo>
                  <a:lnTo>
                    <a:pt x="1739" y="1152"/>
                  </a:lnTo>
                  <a:lnTo>
                    <a:pt x="1739" y="1152"/>
                  </a:lnTo>
                  <a:lnTo>
                    <a:pt x="1742" y="1152"/>
                  </a:lnTo>
                  <a:lnTo>
                    <a:pt x="1742" y="1152"/>
                  </a:lnTo>
                  <a:lnTo>
                    <a:pt x="1742" y="1154"/>
                  </a:lnTo>
                  <a:lnTo>
                    <a:pt x="1744" y="1152"/>
                  </a:lnTo>
                  <a:lnTo>
                    <a:pt x="1744" y="1152"/>
                  </a:lnTo>
                  <a:lnTo>
                    <a:pt x="1744" y="1152"/>
                  </a:lnTo>
                  <a:lnTo>
                    <a:pt x="1746" y="1152"/>
                  </a:lnTo>
                  <a:lnTo>
                    <a:pt x="1746" y="1152"/>
                  </a:lnTo>
                  <a:lnTo>
                    <a:pt x="1746" y="1152"/>
                  </a:lnTo>
                  <a:lnTo>
                    <a:pt x="1746" y="1152"/>
                  </a:lnTo>
                  <a:lnTo>
                    <a:pt x="1746" y="1152"/>
                  </a:lnTo>
                  <a:lnTo>
                    <a:pt x="1746" y="1152"/>
                  </a:lnTo>
                  <a:lnTo>
                    <a:pt x="1749" y="1152"/>
                  </a:lnTo>
                  <a:lnTo>
                    <a:pt x="1749" y="1152"/>
                  </a:lnTo>
                  <a:lnTo>
                    <a:pt x="1751" y="1149"/>
                  </a:lnTo>
                  <a:lnTo>
                    <a:pt x="1751" y="1149"/>
                  </a:lnTo>
                  <a:lnTo>
                    <a:pt x="1754" y="1149"/>
                  </a:lnTo>
                  <a:lnTo>
                    <a:pt x="1754" y="1149"/>
                  </a:lnTo>
                  <a:lnTo>
                    <a:pt x="1754" y="1149"/>
                  </a:lnTo>
                  <a:lnTo>
                    <a:pt x="1754" y="1149"/>
                  </a:lnTo>
                  <a:lnTo>
                    <a:pt x="1756" y="1152"/>
                  </a:lnTo>
                  <a:lnTo>
                    <a:pt x="1756" y="1152"/>
                  </a:lnTo>
                  <a:lnTo>
                    <a:pt x="1756" y="1152"/>
                  </a:lnTo>
                  <a:lnTo>
                    <a:pt x="1758" y="1152"/>
                  </a:lnTo>
                  <a:lnTo>
                    <a:pt x="1758" y="1152"/>
                  </a:lnTo>
                  <a:lnTo>
                    <a:pt x="1761" y="1152"/>
                  </a:lnTo>
                  <a:lnTo>
                    <a:pt x="1763" y="1149"/>
                  </a:lnTo>
                  <a:lnTo>
                    <a:pt x="1763" y="1149"/>
                  </a:lnTo>
                  <a:lnTo>
                    <a:pt x="1763" y="1149"/>
                  </a:lnTo>
                  <a:lnTo>
                    <a:pt x="1765" y="1149"/>
                  </a:lnTo>
                  <a:lnTo>
                    <a:pt x="1765" y="1147"/>
                  </a:lnTo>
                  <a:lnTo>
                    <a:pt x="1765" y="1147"/>
                  </a:lnTo>
                  <a:lnTo>
                    <a:pt x="1768" y="1147"/>
                  </a:lnTo>
                  <a:lnTo>
                    <a:pt x="1765" y="1149"/>
                  </a:lnTo>
                  <a:lnTo>
                    <a:pt x="1765" y="1149"/>
                  </a:lnTo>
                  <a:lnTo>
                    <a:pt x="1765" y="1149"/>
                  </a:lnTo>
                  <a:lnTo>
                    <a:pt x="1765" y="1149"/>
                  </a:lnTo>
                  <a:lnTo>
                    <a:pt x="1763" y="1152"/>
                  </a:lnTo>
                  <a:lnTo>
                    <a:pt x="1761" y="1152"/>
                  </a:lnTo>
                  <a:lnTo>
                    <a:pt x="1761" y="1154"/>
                  </a:lnTo>
                  <a:lnTo>
                    <a:pt x="1761" y="1154"/>
                  </a:lnTo>
                  <a:lnTo>
                    <a:pt x="1761" y="1154"/>
                  </a:lnTo>
                  <a:lnTo>
                    <a:pt x="1761" y="1154"/>
                  </a:lnTo>
                  <a:lnTo>
                    <a:pt x="1761" y="1156"/>
                  </a:lnTo>
                  <a:lnTo>
                    <a:pt x="1763" y="1156"/>
                  </a:lnTo>
                  <a:lnTo>
                    <a:pt x="1761" y="1156"/>
                  </a:lnTo>
                  <a:lnTo>
                    <a:pt x="1761" y="1156"/>
                  </a:lnTo>
                  <a:lnTo>
                    <a:pt x="1763" y="1159"/>
                  </a:lnTo>
                  <a:lnTo>
                    <a:pt x="1763" y="1159"/>
                  </a:lnTo>
                  <a:lnTo>
                    <a:pt x="1763" y="1163"/>
                  </a:lnTo>
                  <a:lnTo>
                    <a:pt x="1763" y="1163"/>
                  </a:lnTo>
                  <a:lnTo>
                    <a:pt x="1763" y="1163"/>
                  </a:lnTo>
                  <a:lnTo>
                    <a:pt x="1763" y="1163"/>
                  </a:lnTo>
                  <a:lnTo>
                    <a:pt x="1765" y="1163"/>
                  </a:lnTo>
                  <a:lnTo>
                    <a:pt x="1765" y="1163"/>
                  </a:lnTo>
                  <a:lnTo>
                    <a:pt x="1765" y="1163"/>
                  </a:lnTo>
                  <a:lnTo>
                    <a:pt x="1765" y="1163"/>
                  </a:lnTo>
                  <a:lnTo>
                    <a:pt x="1765" y="1163"/>
                  </a:lnTo>
                  <a:lnTo>
                    <a:pt x="1765" y="1166"/>
                  </a:lnTo>
                  <a:lnTo>
                    <a:pt x="1765" y="1166"/>
                  </a:lnTo>
                  <a:lnTo>
                    <a:pt x="1765" y="1166"/>
                  </a:lnTo>
                  <a:lnTo>
                    <a:pt x="1765" y="1168"/>
                  </a:lnTo>
                  <a:lnTo>
                    <a:pt x="1765" y="1168"/>
                  </a:lnTo>
                  <a:lnTo>
                    <a:pt x="1765" y="1171"/>
                  </a:lnTo>
                  <a:lnTo>
                    <a:pt x="1765" y="1171"/>
                  </a:lnTo>
                  <a:lnTo>
                    <a:pt x="1765" y="1171"/>
                  </a:lnTo>
                  <a:lnTo>
                    <a:pt x="1765" y="1171"/>
                  </a:lnTo>
                  <a:lnTo>
                    <a:pt x="1765" y="1171"/>
                  </a:lnTo>
                  <a:lnTo>
                    <a:pt x="1765" y="1173"/>
                  </a:lnTo>
                  <a:lnTo>
                    <a:pt x="1765" y="1173"/>
                  </a:lnTo>
                  <a:lnTo>
                    <a:pt x="1765" y="1175"/>
                  </a:lnTo>
                  <a:lnTo>
                    <a:pt x="1763" y="1178"/>
                  </a:lnTo>
                  <a:lnTo>
                    <a:pt x="1763" y="1180"/>
                  </a:lnTo>
                  <a:lnTo>
                    <a:pt x="1761" y="1185"/>
                  </a:lnTo>
                  <a:lnTo>
                    <a:pt x="1761" y="1189"/>
                  </a:lnTo>
                  <a:lnTo>
                    <a:pt x="1761" y="1192"/>
                  </a:lnTo>
                  <a:lnTo>
                    <a:pt x="1761" y="1192"/>
                  </a:lnTo>
                  <a:lnTo>
                    <a:pt x="1765" y="1192"/>
                  </a:lnTo>
                  <a:lnTo>
                    <a:pt x="1765" y="1192"/>
                  </a:lnTo>
                  <a:lnTo>
                    <a:pt x="1768" y="1192"/>
                  </a:lnTo>
                  <a:lnTo>
                    <a:pt x="1768" y="1192"/>
                  </a:lnTo>
                  <a:lnTo>
                    <a:pt x="1768" y="1192"/>
                  </a:lnTo>
                  <a:lnTo>
                    <a:pt x="1765" y="1192"/>
                  </a:lnTo>
                  <a:lnTo>
                    <a:pt x="1768" y="1194"/>
                  </a:lnTo>
                  <a:lnTo>
                    <a:pt x="1768" y="1194"/>
                  </a:lnTo>
                  <a:lnTo>
                    <a:pt x="1768" y="1194"/>
                  </a:lnTo>
                  <a:lnTo>
                    <a:pt x="1768" y="1194"/>
                  </a:lnTo>
                  <a:lnTo>
                    <a:pt x="1758" y="1192"/>
                  </a:lnTo>
                  <a:lnTo>
                    <a:pt x="1758" y="1192"/>
                  </a:lnTo>
                  <a:lnTo>
                    <a:pt x="1758" y="1192"/>
                  </a:lnTo>
                  <a:lnTo>
                    <a:pt x="1758" y="1192"/>
                  </a:lnTo>
                  <a:lnTo>
                    <a:pt x="1756" y="1194"/>
                  </a:lnTo>
                  <a:lnTo>
                    <a:pt x="1756" y="1194"/>
                  </a:lnTo>
                  <a:lnTo>
                    <a:pt x="1756" y="1194"/>
                  </a:lnTo>
                  <a:lnTo>
                    <a:pt x="1756" y="1194"/>
                  </a:lnTo>
                  <a:lnTo>
                    <a:pt x="1754" y="1197"/>
                  </a:lnTo>
                  <a:lnTo>
                    <a:pt x="1751" y="1197"/>
                  </a:lnTo>
                  <a:lnTo>
                    <a:pt x="1751" y="1199"/>
                  </a:lnTo>
                  <a:lnTo>
                    <a:pt x="1751" y="1199"/>
                  </a:lnTo>
                  <a:lnTo>
                    <a:pt x="1751" y="1201"/>
                  </a:lnTo>
                  <a:lnTo>
                    <a:pt x="1751" y="1201"/>
                  </a:lnTo>
                  <a:lnTo>
                    <a:pt x="1754" y="1204"/>
                  </a:lnTo>
                  <a:lnTo>
                    <a:pt x="1754" y="1204"/>
                  </a:lnTo>
                  <a:lnTo>
                    <a:pt x="1756" y="1204"/>
                  </a:lnTo>
                  <a:lnTo>
                    <a:pt x="1756" y="1201"/>
                  </a:lnTo>
                  <a:lnTo>
                    <a:pt x="1758" y="1201"/>
                  </a:lnTo>
                  <a:lnTo>
                    <a:pt x="1758" y="1201"/>
                  </a:lnTo>
                  <a:lnTo>
                    <a:pt x="1758" y="1201"/>
                  </a:lnTo>
                  <a:lnTo>
                    <a:pt x="1758" y="1201"/>
                  </a:lnTo>
                  <a:lnTo>
                    <a:pt x="1758" y="1204"/>
                  </a:lnTo>
                  <a:lnTo>
                    <a:pt x="1758" y="1204"/>
                  </a:lnTo>
                  <a:lnTo>
                    <a:pt x="1761" y="1204"/>
                  </a:lnTo>
                  <a:lnTo>
                    <a:pt x="1761" y="1204"/>
                  </a:lnTo>
                  <a:lnTo>
                    <a:pt x="1763" y="1201"/>
                  </a:lnTo>
                  <a:lnTo>
                    <a:pt x="1763" y="1201"/>
                  </a:lnTo>
                  <a:lnTo>
                    <a:pt x="1765" y="1199"/>
                  </a:lnTo>
                  <a:lnTo>
                    <a:pt x="1768" y="1199"/>
                  </a:lnTo>
                  <a:lnTo>
                    <a:pt x="1770" y="1197"/>
                  </a:lnTo>
                  <a:lnTo>
                    <a:pt x="1770" y="1197"/>
                  </a:lnTo>
                  <a:lnTo>
                    <a:pt x="1770" y="1194"/>
                  </a:lnTo>
                  <a:lnTo>
                    <a:pt x="1772" y="1194"/>
                  </a:lnTo>
                  <a:lnTo>
                    <a:pt x="1772" y="1194"/>
                  </a:lnTo>
                  <a:lnTo>
                    <a:pt x="1772" y="1194"/>
                  </a:lnTo>
                  <a:lnTo>
                    <a:pt x="1772" y="1194"/>
                  </a:lnTo>
                  <a:lnTo>
                    <a:pt x="1772" y="1194"/>
                  </a:lnTo>
                  <a:lnTo>
                    <a:pt x="1768" y="1199"/>
                  </a:lnTo>
                  <a:lnTo>
                    <a:pt x="1765" y="1201"/>
                  </a:lnTo>
                  <a:lnTo>
                    <a:pt x="1763" y="1204"/>
                  </a:lnTo>
                  <a:lnTo>
                    <a:pt x="1763" y="1204"/>
                  </a:lnTo>
                  <a:lnTo>
                    <a:pt x="1761" y="1204"/>
                  </a:lnTo>
                  <a:lnTo>
                    <a:pt x="1761" y="1206"/>
                  </a:lnTo>
                  <a:lnTo>
                    <a:pt x="1761" y="1206"/>
                  </a:lnTo>
                  <a:lnTo>
                    <a:pt x="1761" y="1206"/>
                  </a:lnTo>
                  <a:lnTo>
                    <a:pt x="1761" y="1206"/>
                  </a:lnTo>
                  <a:lnTo>
                    <a:pt x="1761" y="1206"/>
                  </a:lnTo>
                  <a:lnTo>
                    <a:pt x="1758" y="1206"/>
                  </a:lnTo>
                  <a:lnTo>
                    <a:pt x="1758" y="1204"/>
                  </a:lnTo>
                  <a:lnTo>
                    <a:pt x="1758" y="1204"/>
                  </a:lnTo>
                  <a:lnTo>
                    <a:pt x="1758" y="1204"/>
                  </a:lnTo>
                  <a:lnTo>
                    <a:pt x="1758" y="1204"/>
                  </a:lnTo>
                  <a:lnTo>
                    <a:pt x="1758" y="1204"/>
                  </a:lnTo>
                  <a:lnTo>
                    <a:pt x="1758" y="1204"/>
                  </a:lnTo>
                  <a:lnTo>
                    <a:pt x="1756" y="1204"/>
                  </a:lnTo>
                  <a:lnTo>
                    <a:pt x="1754" y="1204"/>
                  </a:lnTo>
                  <a:lnTo>
                    <a:pt x="1754" y="1204"/>
                  </a:lnTo>
                  <a:lnTo>
                    <a:pt x="1751" y="1206"/>
                  </a:lnTo>
                  <a:lnTo>
                    <a:pt x="1751" y="1206"/>
                  </a:lnTo>
                  <a:lnTo>
                    <a:pt x="1751" y="1206"/>
                  </a:lnTo>
                  <a:lnTo>
                    <a:pt x="1751" y="1208"/>
                  </a:lnTo>
                  <a:lnTo>
                    <a:pt x="1751" y="1208"/>
                  </a:lnTo>
                  <a:lnTo>
                    <a:pt x="1751" y="1208"/>
                  </a:lnTo>
                  <a:lnTo>
                    <a:pt x="1751" y="1208"/>
                  </a:lnTo>
                  <a:lnTo>
                    <a:pt x="1751" y="1208"/>
                  </a:lnTo>
                  <a:lnTo>
                    <a:pt x="1754" y="1211"/>
                  </a:lnTo>
                  <a:lnTo>
                    <a:pt x="1751" y="1211"/>
                  </a:lnTo>
                  <a:lnTo>
                    <a:pt x="1751" y="1211"/>
                  </a:lnTo>
                  <a:lnTo>
                    <a:pt x="1751" y="1211"/>
                  </a:lnTo>
                  <a:lnTo>
                    <a:pt x="1751" y="1213"/>
                  </a:lnTo>
                  <a:lnTo>
                    <a:pt x="1751" y="1213"/>
                  </a:lnTo>
                  <a:lnTo>
                    <a:pt x="1751" y="1213"/>
                  </a:lnTo>
                  <a:lnTo>
                    <a:pt x="1751" y="1215"/>
                  </a:lnTo>
                  <a:lnTo>
                    <a:pt x="1751" y="1215"/>
                  </a:lnTo>
                  <a:lnTo>
                    <a:pt x="1751" y="1215"/>
                  </a:lnTo>
                  <a:lnTo>
                    <a:pt x="1751" y="1218"/>
                  </a:lnTo>
                  <a:lnTo>
                    <a:pt x="1751" y="1218"/>
                  </a:lnTo>
                  <a:lnTo>
                    <a:pt x="1751" y="1220"/>
                  </a:lnTo>
                  <a:lnTo>
                    <a:pt x="1754" y="1220"/>
                  </a:lnTo>
                  <a:lnTo>
                    <a:pt x="1754" y="1220"/>
                  </a:lnTo>
                  <a:lnTo>
                    <a:pt x="1754" y="1220"/>
                  </a:lnTo>
                  <a:lnTo>
                    <a:pt x="1756" y="1218"/>
                  </a:lnTo>
                  <a:lnTo>
                    <a:pt x="1756" y="1218"/>
                  </a:lnTo>
                  <a:lnTo>
                    <a:pt x="1756" y="1220"/>
                  </a:lnTo>
                  <a:lnTo>
                    <a:pt x="1756" y="1220"/>
                  </a:lnTo>
                  <a:lnTo>
                    <a:pt x="1756" y="1218"/>
                  </a:lnTo>
                  <a:lnTo>
                    <a:pt x="1756" y="1218"/>
                  </a:lnTo>
                  <a:lnTo>
                    <a:pt x="1756" y="1218"/>
                  </a:lnTo>
                  <a:lnTo>
                    <a:pt x="1756" y="1215"/>
                  </a:lnTo>
                  <a:lnTo>
                    <a:pt x="1758" y="1215"/>
                  </a:lnTo>
                  <a:lnTo>
                    <a:pt x="1758" y="1211"/>
                  </a:lnTo>
                  <a:lnTo>
                    <a:pt x="1758" y="1211"/>
                  </a:lnTo>
                  <a:lnTo>
                    <a:pt x="1758" y="1211"/>
                  </a:lnTo>
                  <a:lnTo>
                    <a:pt x="1758" y="1211"/>
                  </a:lnTo>
                  <a:lnTo>
                    <a:pt x="1758" y="1213"/>
                  </a:lnTo>
                  <a:lnTo>
                    <a:pt x="1758" y="1213"/>
                  </a:lnTo>
                  <a:lnTo>
                    <a:pt x="1758" y="1213"/>
                  </a:lnTo>
                  <a:lnTo>
                    <a:pt x="1758" y="1215"/>
                  </a:lnTo>
                  <a:lnTo>
                    <a:pt x="1758" y="1215"/>
                  </a:lnTo>
                  <a:lnTo>
                    <a:pt x="1758" y="1218"/>
                  </a:lnTo>
                  <a:lnTo>
                    <a:pt x="1758" y="1218"/>
                  </a:lnTo>
                  <a:lnTo>
                    <a:pt x="1758" y="1218"/>
                  </a:lnTo>
                  <a:lnTo>
                    <a:pt x="1758" y="1220"/>
                  </a:lnTo>
                  <a:lnTo>
                    <a:pt x="1758" y="1220"/>
                  </a:lnTo>
                  <a:lnTo>
                    <a:pt x="1756" y="1220"/>
                  </a:lnTo>
                  <a:lnTo>
                    <a:pt x="1756" y="1220"/>
                  </a:lnTo>
                  <a:lnTo>
                    <a:pt x="1756" y="1220"/>
                  </a:lnTo>
                  <a:lnTo>
                    <a:pt x="1756" y="1223"/>
                  </a:lnTo>
                  <a:lnTo>
                    <a:pt x="1756" y="1223"/>
                  </a:lnTo>
                  <a:lnTo>
                    <a:pt x="1756" y="1223"/>
                  </a:lnTo>
                  <a:lnTo>
                    <a:pt x="1758" y="1223"/>
                  </a:lnTo>
                  <a:lnTo>
                    <a:pt x="1758" y="1223"/>
                  </a:lnTo>
                  <a:lnTo>
                    <a:pt x="1761" y="1220"/>
                  </a:lnTo>
                  <a:lnTo>
                    <a:pt x="1761" y="1218"/>
                  </a:lnTo>
                  <a:lnTo>
                    <a:pt x="1763" y="1218"/>
                  </a:lnTo>
                  <a:lnTo>
                    <a:pt x="1763" y="1218"/>
                  </a:lnTo>
                  <a:lnTo>
                    <a:pt x="1763" y="1220"/>
                  </a:lnTo>
                  <a:lnTo>
                    <a:pt x="1763" y="1220"/>
                  </a:lnTo>
                  <a:lnTo>
                    <a:pt x="1761" y="1220"/>
                  </a:lnTo>
                  <a:lnTo>
                    <a:pt x="1761" y="1220"/>
                  </a:lnTo>
                  <a:lnTo>
                    <a:pt x="1761" y="1220"/>
                  </a:lnTo>
                  <a:lnTo>
                    <a:pt x="1765" y="1220"/>
                  </a:lnTo>
                  <a:lnTo>
                    <a:pt x="1768" y="1218"/>
                  </a:lnTo>
                  <a:lnTo>
                    <a:pt x="1768" y="1218"/>
                  </a:lnTo>
                  <a:lnTo>
                    <a:pt x="1770" y="1218"/>
                  </a:lnTo>
                  <a:lnTo>
                    <a:pt x="1770" y="1215"/>
                  </a:lnTo>
                  <a:lnTo>
                    <a:pt x="1770" y="1215"/>
                  </a:lnTo>
                  <a:lnTo>
                    <a:pt x="1772" y="1215"/>
                  </a:lnTo>
                  <a:lnTo>
                    <a:pt x="1772" y="1215"/>
                  </a:lnTo>
                  <a:lnTo>
                    <a:pt x="1775" y="1213"/>
                  </a:lnTo>
                  <a:lnTo>
                    <a:pt x="1775" y="1213"/>
                  </a:lnTo>
                  <a:lnTo>
                    <a:pt x="1775" y="1213"/>
                  </a:lnTo>
                  <a:lnTo>
                    <a:pt x="1775" y="1213"/>
                  </a:lnTo>
                  <a:lnTo>
                    <a:pt x="1775" y="1211"/>
                  </a:lnTo>
                  <a:lnTo>
                    <a:pt x="1777" y="1211"/>
                  </a:lnTo>
                  <a:lnTo>
                    <a:pt x="1777" y="1208"/>
                  </a:lnTo>
                  <a:lnTo>
                    <a:pt x="1780" y="1208"/>
                  </a:lnTo>
                  <a:lnTo>
                    <a:pt x="1780" y="1208"/>
                  </a:lnTo>
                  <a:lnTo>
                    <a:pt x="1780" y="1206"/>
                  </a:lnTo>
                  <a:lnTo>
                    <a:pt x="1780" y="1206"/>
                  </a:lnTo>
                  <a:lnTo>
                    <a:pt x="1782" y="1206"/>
                  </a:lnTo>
                  <a:lnTo>
                    <a:pt x="1782" y="1204"/>
                  </a:lnTo>
                  <a:lnTo>
                    <a:pt x="1782" y="1204"/>
                  </a:lnTo>
                  <a:lnTo>
                    <a:pt x="1782" y="1204"/>
                  </a:lnTo>
                  <a:lnTo>
                    <a:pt x="1782" y="1204"/>
                  </a:lnTo>
                  <a:lnTo>
                    <a:pt x="1782" y="1204"/>
                  </a:lnTo>
                  <a:lnTo>
                    <a:pt x="1784" y="1204"/>
                  </a:lnTo>
                  <a:lnTo>
                    <a:pt x="1784" y="1204"/>
                  </a:lnTo>
                  <a:lnTo>
                    <a:pt x="1784" y="1201"/>
                  </a:lnTo>
                  <a:lnTo>
                    <a:pt x="1784" y="1201"/>
                  </a:lnTo>
                  <a:lnTo>
                    <a:pt x="1787" y="1201"/>
                  </a:lnTo>
                  <a:lnTo>
                    <a:pt x="1787" y="1199"/>
                  </a:lnTo>
                  <a:close/>
                  <a:moveTo>
                    <a:pt x="1332" y="667"/>
                  </a:moveTo>
                  <a:lnTo>
                    <a:pt x="1332" y="667"/>
                  </a:lnTo>
                  <a:lnTo>
                    <a:pt x="1332" y="664"/>
                  </a:lnTo>
                  <a:lnTo>
                    <a:pt x="1332" y="664"/>
                  </a:lnTo>
                  <a:lnTo>
                    <a:pt x="1332" y="664"/>
                  </a:lnTo>
                  <a:lnTo>
                    <a:pt x="1332" y="664"/>
                  </a:lnTo>
                  <a:lnTo>
                    <a:pt x="1330" y="667"/>
                  </a:lnTo>
                  <a:lnTo>
                    <a:pt x="1330" y="667"/>
                  </a:lnTo>
                  <a:lnTo>
                    <a:pt x="1330" y="667"/>
                  </a:lnTo>
                  <a:lnTo>
                    <a:pt x="1330" y="667"/>
                  </a:lnTo>
                  <a:lnTo>
                    <a:pt x="1330" y="667"/>
                  </a:lnTo>
                  <a:lnTo>
                    <a:pt x="1332" y="667"/>
                  </a:lnTo>
                  <a:close/>
                  <a:moveTo>
                    <a:pt x="1242" y="690"/>
                  </a:moveTo>
                  <a:lnTo>
                    <a:pt x="1242" y="688"/>
                  </a:lnTo>
                  <a:lnTo>
                    <a:pt x="1242" y="688"/>
                  </a:lnTo>
                  <a:lnTo>
                    <a:pt x="1242" y="688"/>
                  </a:lnTo>
                  <a:lnTo>
                    <a:pt x="1242" y="686"/>
                  </a:lnTo>
                  <a:lnTo>
                    <a:pt x="1242" y="686"/>
                  </a:lnTo>
                  <a:lnTo>
                    <a:pt x="1242" y="686"/>
                  </a:lnTo>
                  <a:lnTo>
                    <a:pt x="1242" y="686"/>
                  </a:lnTo>
                  <a:lnTo>
                    <a:pt x="1242" y="688"/>
                  </a:lnTo>
                  <a:lnTo>
                    <a:pt x="1242" y="688"/>
                  </a:lnTo>
                  <a:lnTo>
                    <a:pt x="1242" y="688"/>
                  </a:lnTo>
                  <a:lnTo>
                    <a:pt x="1242" y="690"/>
                  </a:lnTo>
                  <a:lnTo>
                    <a:pt x="1242" y="690"/>
                  </a:lnTo>
                  <a:lnTo>
                    <a:pt x="1242" y="690"/>
                  </a:lnTo>
                  <a:close/>
                  <a:moveTo>
                    <a:pt x="1751" y="1194"/>
                  </a:moveTo>
                  <a:lnTo>
                    <a:pt x="1751" y="1194"/>
                  </a:lnTo>
                  <a:lnTo>
                    <a:pt x="1751" y="1194"/>
                  </a:lnTo>
                  <a:lnTo>
                    <a:pt x="1754" y="1194"/>
                  </a:lnTo>
                  <a:lnTo>
                    <a:pt x="1754" y="1192"/>
                  </a:lnTo>
                  <a:lnTo>
                    <a:pt x="1754" y="1192"/>
                  </a:lnTo>
                  <a:lnTo>
                    <a:pt x="1754" y="1189"/>
                  </a:lnTo>
                  <a:lnTo>
                    <a:pt x="1756" y="1189"/>
                  </a:lnTo>
                  <a:lnTo>
                    <a:pt x="1756" y="1189"/>
                  </a:lnTo>
                  <a:lnTo>
                    <a:pt x="1756" y="1187"/>
                  </a:lnTo>
                  <a:lnTo>
                    <a:pt x="1756" y="1187"/>
                  </a:lnTo>
                  <a:lnTo>
                    <a:pt x="1756" y="1187"/>
                  </a:lnTo>
                  <a:lnTo>
                    <a:pt x="1756" y="1187"/>
                  </a:lnTo>
                  <a:lnTo>
                    <a:pt x="1756" y="1185"/>
                  </a:lnTo>
                  <a:lnTo>
                    <a:pt x="1756" y="1185"/>
                  </a:lnTo>
                  <a:lnTo>
                    <a:pt x="1758" y="1185"/>
                  </a:lnTo>
                  <a:lnTo>
                    <a:pt x="1758" y="1185"/>
                  </a:lnTo>
                  <a:lnTo>
                    <a:pt x="1758" y="1185"/>
                  </a:lnTo>
                  <a:lnTo>
                    <a:pt x="1758" y="1187"/>
                  </a:lnTo>
                  <a:lnTo>
                    <a:pt x="1758" y="1187"/>
                  </a:lnTo>
                  <a:lnTo>
                    <a:pt x="1758" y="1187"/>
                  </a:lnTo>
                  <a:lnTo>
                    <a:pt x="1758" y="1185"/>
                  </a:lnTo>
                  <a:lnTo>
                    <a:pt x="1758" y="1185"/>
                  </a:lnTo>
                  <a:lnTo>
                    <a:pt x="1758" y="1185"/>
                  </a:lnTo>
                  <a:lnTo>
                    <a:pt x="1758" y="1182"/>
                  </a:lnTo>
                  <a:lnTo>
                    <a:pt x="1758" y="1182"/>
                  </a:lnTo>
                  <a:lnTo>
                    <a:pt x="1758" y="1182"/>
                  </a:lnTo>
                  <a:lnTo>
                    <a:pt x="1761" y="1180"/>
                  </a:lnTo>
                  <a:lnTo>
                    <a:pt x="1761" y="1180"/>
                  </a:lnTo>
                  <a:lnTo>
                    <a:pt x="1761" y="1180"/>
                  </a:lnTo>
                  <a:lnTo>
                    <a:pt x="1761" y="1178"/>
                  </a:lnTo>
                  <a:lnTo>
                    <a:pt x="1761" y="1178"/>
                  </a:lnTo>
                  <a:lnTo>
                    <a:pt x="1761" y="1178"/>
                  </a:lnTo>
                  <a:lnTo>
                    <a:pt x="1761" y="1178"/>
                  </a:lnTo>
                  <a:lnTo>
                    <a:pt x="1763" y="1175"/>
                  </a:lnTo>
                  <a:lnTo>
                    <a:pt x="1761" y="1175"/>
                  </a:lnTo>
                  <a:lnTo>
                    <a:pt x="1763" y="1175"/>
                  </a:lnTo>
                  <a:lnTo>
                    <a:pt x="1763" y="1175"/>
                  </a:lnTo>
                  <a:lnTo>
                    <a:pt x="1763" y="1173"/>
                  </a:lnTo>
                  <a:lnTo>
                    <a:pt x="1763" y="1173"/>
                  </a:lnTo>
                  <a:lnTo>
                    <a:pt x="1763" y="1171"/>
                  </a:lnTo>
                  <a:lnTo>
                    <a:pt x="1763" y="1171"/>
                  </a:lnTo>
                  <a:lnTo>
                    <a:pt x="1763" y="1171"/>
                  </a:lnTo>
                  <a:lnTo>
                    <a:pt x="1763" y="1171"/>
                  </a:lnTo>
                  <a:lnTo>
                    <a:pt x="1763" y="1166"/>
                  </a:lnTo>
                  <a:lnTo>
                    <a:pt x="1761" y="1166"/>
                  </a:lnTo>
                  <a:lnTo>
                    <a:pt x="1763" y="1163"/>
                  </a:lnTo>
                  <a:lnTo>
                    <a:pt x="1761" y="1156"/>
                  </a:lnTo>
                  <a:lnTo>
                    <a:pt x="1761" y="1154"/>
                  </a:lnTo>
                  <a:lnTo>
                    <a:pt x="1758" y="1154"/>
                  </a:lnTo>
                  <a:lnTo>
                    <a:pt x="1758" y="1152"/>
                  </a:lnTo>
                  <a:lnTo>
                    <a:pt x="1756" y="1154"/>
                  </a:lnTo>
                  <a:lnTo>
                    <a:pt x="1754" y="1154"/>
                  </a:lnTo>
                  <a:lnTo>
                    <a:pt x="1754" y="1154"/>
                  </a:lnTo>
                  <a:lnTo>
                    <a:pt x="1751" y="1152"/>
                  </a:lnTo>
                  <a:lnTo>
                    <a:pt x="1751" y="1152"/>
                  </a:lnTo>
                  <a:lnTo>
                    <a:pt x="1751" y="1154"/>
                  </a:lnTo>
                  <a:lnTo>
                    <a:pt x="1751" y="1154"/>
                  </a:lnTo>
                  <a:lnTo>
                    <a:pt x="1751" y="1154"/>
                  </a:lnTo>
                  <a:lnTo>
                    <a:pt x="1749" y="1154"/>
                  </a:lnTo>
                  <a:lnTo>
                    <a:pt x="1749" y="1154"/>
                  </a:lnTo>
                  <a:lnTo>
                    <a:pt x="1749" y="1154"/>
                  </a:lnTo>
                  <a:lnTo>
                    <a:pt x="1749" y="1154"/>
                  </a:lnTo>
                  <a:lnTo>
                    <a:pt x="1749" y="1156"/>
                  </a:lnTo>
                  <a:lnTo>
                    <a:pt x="1749" y="1156"/>
                  </a:lnTo>
                  <a:lnTo>
                    <a:pt x="1751" y="1156"/>
                  </a:lnTo>
                  <a:lnTo>
                    <a:pt x="1751" y="1159"/>
                  </a:lnTo>
                  <a:lnTo>
                    <a:pt x="1749" y="1159"/>
                  </a:lnTo>
                  <a:lnTo>
                    <a:pt x="1744" y="1156"/>
                  </a:lnTo>
                  <a:lnTo>
                    <a:pt x="1744" y="1156"/>
                  </a:lnTo>
                  <a:lnTo>
                    <a:pt x="1742" y="1156"/>
                  </a:lnTo>
                  <a:lnTo>
                    <a:pt x="1744" y="1159"/>
                  </a:lnTo>
                  <a:lnTo>
                    <a:pt x="1744" y="1159"/>
                  </a:lnTo>
                  <a:lnTo>
                    <a:pt x="1744" y="1159"/>
                  </a:lnTo>
                  <a:lnTo>
                    <a:pt x="1744" y="1159"/>
                  </a:lnTo>
                  <a:lnTo>
                    <a:pt x="1746" y="1159"/>
                  </a:lnTo>
                  <a:lnTo>
                    <a:pt x="1746" y="1159"/>
                  </a:lnTo>
                  <a:lnTo>
                    <a:pt x="1746" y="1159"/>
                  </a:lnTo>
                  <a:lnTo>
                    <a:pt x="1746" y="1159"/>
                  </a:lnTo>
                  <a:lnTo>
                    <a:pt x="1749" y="1159"/>
                  </a:lnTo>
                  <a:lnTo>
                    <a:pt x="1749" y="1159"/>
                  </a:lnTo>
                  <a:lnTo>
                    <a:pt x="1749" y="1159"/>
                  </a:lnTo>
                  <a:lnTo>
                    <a:pt x="1749" y="1159"/>
                  </a:lnTo>
                  <a:lnTo>
                    <a:pt x="1749" y="1161"/>
                  </a:lnTo>
                  <a:lnTo>
                    <a:pt x="1749" y="1161"/>
                  </a:lnTo>
                  <a:lnTo>
                    <a:pt x="1746" y="1161"/>
                  </a:lnTo>
                  <a:lnTo>
                    <a:pt x="1744" y="1161"/>
                  </a:lnTo>
                  <a:lnTo>
                    <a:pt x="1742" y="1161"/>
                  </a:lnTo>
                  <a:lnTo>
                    <a:pt x="1742" y="1161"/>
                  </a:lnTo>
                  <a:lnTo>
                    <a:pt x="1742" y="1161"/>
                  </a:lnTo>
                  <a:lnTo>
                    <a:pt x="1742" y="1163"/>
                  </a:lnTo>
                  <a:lnTo>
                    <a:pt x="1742" y="1163"/>
                  </a:lnTo>
                  <a:lnTo>
                    <a:pt x="1742" y="1161"/>
                  </a:lnTo>
                  <a:lnTo>
                    <a:pt x="1744" y="1161"/>
                  </a:lnTo>
                  <a:lnTo>
                    <a:pt x="1744" y="1163"/>
                  </a:lnTo>
                  <a:lnTo>
                    <a:pt x="1746" y="1163"/>
                  </a:lnTo>
                  <a:lnTo>
                    <a:pt x="1746" y="1163"/>
                  </a:lnTo>
                  <a:lnTo>
                    <a:pt x="1746" y="1163"/>
                  </a:lnTo>
                  <a:lnTo>
                    <a:pt x="1746" y="1163"/>
                  </a:lnTo>
                  <a:lnTo>
                    <a:pt x="1744" y="1163"/>
                  </a:lnTo>
                  <a:lnTo>
                    <a:pt x="1744" y="1163"/>
                  </a:lnTo>
                  <a:lnTo>
                    <a:pt x="1744" y="1163"/>
                  </a:lnTo>
                  <a:lnTo>
                    <a:pt x="1744" y="1163"/>
                  </a:lnTo>
                  <a:lnTo>
                    <a:pt x="1744" y="1163"/>
                  </a:lnTo>
                  <a:lnTo>
                    <a:pt x="1744" y="1163"/>
                  </a:lnTo>
                  <a:lnTo>
                    <a:pt x="1742" y="1163"/>
                  </a:lnTo>
                  <a:lnTo>
                    <a:pt x="1742" y="1163"/>
                  </a:lnTo>
                  <a:lnTo>
                    <a:pt x="1742" y="1163"/>
                  </a:lnTo>
                  <a:lnTo>
                    <a:pt x="1742" y="1163"/>
                  </a:lnTo>
                  <a:lnTo>
                    <a:pt x="1742" y="1163"/>
                  </a:lnTo>
                  <a:lnTo>
                    <a:pt x="1742" y="1163"/>
                  </a:lnTo>
                  <a:lnTo>
                    <a:pt x="1742" y="1163"/>
                  </a:lnTo>
                  <a:lnTo>
                    <a:pt x="1739" y="1166"/>
                  </a:lnTo>
                  <a:lnTo>
                    <a:pt x="1739" y="1166"/>
                  </a:lnTo>
                  <a:lnTo>
                    <a:pt x="1739" y="1166"/>
                  </a:lnTo>
                  <a:lnTo>
                    <a:pt x="1739" y="1168"/>
                  </a:lnTo>
                  <a:lnTo>
                    <a:pt x="1739" y="1168"/>
                  </a:lnTo>
                  <a:lnTo>
                    <a:pt x="1739" y="1168"/>
                  </a:lnTo>
                  <a:lnTo>
                    <a:pt x="1742" y="1168"/>
                  </a:lnTo>
                  <a:lnTo>
                    <a:pt x="1742" y="1171"/>
                  </a:lnTo>
                  <a:lnTo>
                    <a:pt x="1739" y="1171"/>
                  </a:lnTo>
                  <a:lnTo>
                    <a:pt x="1739" y="1173"/>
                  </a:lnTo>
                  <a:lnTo>
                    <a:pt x="1739" y="1171"/>
                  </a:lnTo>
                  <a:lnTo>
                    <a:pt x="1739" y="1171"/>
                  </a:lnTo>
                  <a:lnTo>
                    <a:pt x="1739" y="1173"/>
                  </a:lnTo>
                  <a:lnTo>
                    <a:pt x="1737" y="1173"/>
                  </a:lnTo>
                  <a:lnTo>
                    <a:pt x="1737" y="1173"/>
                  </a:lnTo>
                  <a:lnTo>
                    <a:pt x="1735" y="1175"/>
                  </a:lnTo>
                  <a:lnTo>
                    <a:pt x="1732" y="1175"/>
                  </a:lnTo>
                  <a:lnTo>
                    <a:pt x="1732" y="1175"/>
                  </a:lnTo>
                  <a:lnTo>
                    <a:pt x="1735" y="1178"/>
                  </a:lnTo>
                  <a:lnTo>
                    <a:pt x="1735" y="1180"/>
                  </a:lnTo>
                  <a:lnTo>
                    <a:pt x="1735" y="1180"/>
                  </a:lnTo>
                  <a:lnTo>
                    <a:pt x="1735" y="1180"/>
                  </a:lnTo>
                  <a:lnTo>
                    <a:pt x="1735" y="1180"/>
                  </a:lnTo>
                  <a:lnTo>
                    <a:pt x="1735" y="1182"/>
                  </a:lnTo>
                  <a:lnTo>
                    <a:pt x="1737" y="1182"/>
                  </a:lnTo>
                  <a:lnTo>
                    <a:pt x="1737" y="1185"/>
                  </a:lnTo>
                  <a:lnTo>
                    <a:pt x="1739" y="1185"/>
                  </a:lnTo>
                  <a:lnTo>
                    <a:pt x="1739" y="1187"/>
                  </a:lnTo>
                  <a:lnTo>
                    <a:pt x="1739" y="1187"/>
                  </a:lnTo>
                  <a:lnTo>
                    <a:pt x="1739" y="1187"/>
                  </a:lnTo>
                  <a:lnTo>
                    <a:pt x="1742" y="1185"/>
                  </a:lnTo>
                  <a:lnTo>
                    <a:pt x="1742" y="1182"/>
                  </a:lnTo>
                  <a:lnTo>
                    <a:pt x="1742" y="1182"/>
                  </a:lnTo>
                  <a:lnTo>
                    <a:pt x="1742" y="1180"/>
                  </a:lnTo>
                  <a:lnTo>
                    <a:pt x="1742" y="1180"/>
                  </a:lnTo>
                  <a:lnTo>
                    <a:pt x="1742" y="1178"/>
                  </a:lnTo>
                  <a:lnTo>
                    <a:pt x="1742" y="1178"/>
                  </a:lnTo>
                  <a:lnTo>
                    <a:pt x="1744" y="1175"/>
                  </a:lnTo>
                  <a:lnTo>
                    <a:pt x="1744" y="1175"/>
                  </a:lnTo>
                  <a:lnTo>
                    <a:pt x="1744" y="1175"/>
                  </a:lnTo>
                  <a:lnTo>
                    <a:pt x="1746" y="1175"/>
                  </a:lnTo>
                  <a:lnTo>
                    <a:pt x="1746" y="1175"/>
                  </a:lnTo>
                  <a:lnTo>
                    <a:pt x="1744" y="1178"/>
                  </a:lnTo>
                  <a:lnTo>
                    <a:pt x="1744" y="1178"/>
                  </a:lnTo>
                  <a:lnTo>
                    <a:pt x="1744" y="1180"/>
                  </a:lnTo>
                  <a:lnTo>
                    <a:pt x="1744" y="1180"/>
                  </a:lnTo>
                  <a:lnTo>
                    <a:pt x="1744" y="1182"/>
                  </a:lnTo>
                  <a:lnTo>
                    <a:pt x="1744" y="1182"/>
                  </a:lnTo>
                  <a:lnTo>
                    <a:pt x="1744" y="1182"/>
                  </a:lnTo>
                  <a:lnTo>
                    <a:pt x="1744" y="1185"/>
                  </a:lnTo>
                  <a:lnTo>
                    <a:pt x="1742" y="1185"/>
                  </a:lnTo>
                  <a:lnTo>
                    <a:pt x="1742" y="1185"/>
                  </a:lnTo>
                  <a:lnTo>
                    <a:pt x="1744" y="1185"/>
                  </a:lnTo>
                  <a:lnTo>
                    <a:pt x="1744" y="1185"/>
                  </a:lnTo>
                  <a:lnTo>
                    <a:pt x="1744" y="1185"/>
                  </a:lnTo>
                  <a:lnTo>
                    <a:pt x="1746" y="1182"/>
                  </a:lnTo>
                  <a:lnTo>
                    <a:pt x="1746" y="1182"/>
                  </a:lnTo>
                  <a:lnTo>
                    <a:pt x="1746" y="1182"/>
                  </a:lnTo>
                  <a:lnTo>
                    <a:pt x="1746" y="1182"/>
                  </a:lnTo>
                  <a:lnTo>
                    <a:pt x="1749" y="1180"/>
                  </a:lnTo>
                  <a:lnTo>
                    <a:pt x="1749" y="1178"/>
                  </a:lnTo>
                  <a:lnTo>
                    <a:pt x="1749" y="1178"/>
                  </a:lnTo>
                  <a:lnTo>
                    <a:pt x="1749" y="1173"/>
                  </a:lnTo>
                  <a:lnTo>
                    <a:pt x="1749" y="1171"/>
                  </a:lnTo>
                  <a:lnTo>
                    <a:pt x="1751" y="1168"/>
                  </a:lnTo>
                  <a:lnTo>
                    <a:pt x="1751" y="1168"/>
                  </a:lnTo>
                  <a:lnTo>
                    <a:pt x="1751" y="1171"/>
                  </a:lnTo>
                  <a:lnTo>
                    <a:pt x="1749" y="1173"/>
                  </a:lnTo>
                  <a:lnTo>
                    <a:pt x="1749" y="1173"/>
                  </a:lnTo>
                  <a:lnTo>
                    <a:pt x="1751" y="1175"/>
                  </a:lnTo>
                  <a:lnTo>
                    <a:pt x="1751" y="1178"/>
                  </a:lnTo>
                  <a:lnTo>
                    <a:pt x="1749" y="1180"/>
                  </a:lnTo>
                  <a:lnTo>
                    <a:pt x="1749" y="1180"/>
                  </a:lnTo>
                  <a:lnTo>
                    <a:pt x="1749" y="1180"/>
                  </a:lnTo>
                  <a:lnTo>
                    <a:pt x="1749" y="1182"/>
                  </a:lnTo>
                  <a:lnTo>
                    <a:pt x="1749" y="1182"/>
                  </a:lnTo>
                  <a:lnTo>
                    <a:pt x="1746" y="1185"/>
                  </a:lnTo>
                  <a:lnTo>
                    <a:pt x="1746" y="1185"/>
                  </a:lnTo>
                  <a:lnTo>
                    <a:pt x="1746" y="1185"/>
                  </a:lnTo>
                  <a:lnTo>
                    <a:pt x="1746" y="1185"/>
                  </a:lnTo>
                  <a:lnTo>
                    <a:pt x="1746" y="1185"/>
                  </a:lnTo>
                  <a:lnTo>
                    <a:pt x="1746" y="1185"/>
                  </a:lnTo>
                  <a:lnTo>
                    <a:pt x="1744" y="1185"/>
                  </a:lnTo>
                  <a:lnTo>
                    <a:pt x="1744" y="1187"/>
                  </a:lnTo>
                  <a:lnTo>
                    <a:pt x="1744" y="1187"/>
                  </a:lnTo>
                  <a:lnTo>
                    <a:pt x="1742" y="1187"/>
                  </a:lnTo>
                  <a:lnTo>
                    <a:pt x="1742" y="1187"/>
                  </a:lnTo>
                  <a:lnTo>
                    <a:pt x="1742" y="1187"/>
                  </a:lnTo>
                  <a:lnTo>
                    <a:pt x="1742" y="1187"/>
                  </a:lnTo>
                  <a:lnTo>
                    <a:pt x="1742" y="1189"/>
                  </a:lnTo>
                  <a:lnTo>
                    <a:pt x="1742" y="1189"/>
                  </a:lnTo>
                  <a:lnTo>
                    <a:pt x="1744" y="1189"/>
                  </a:lnTo>
                  <a:lnTo>
                    <a:pt x="1746" y="1189"/>
                  </a:lnTo>
                  <a:lnTo>
                    <a:pt x="1746" y="1189"/>
                  </a:lnTo>
                  <a:lnTo>
                    <a:pt x="1746" y="1189"/>
                  </a:lnTo>
                  <a:lnTo>
                    <a:pt x="1749" y="1187"/>
                  </a:lnTo>
                  <a:lnTo>
                    <a:pt x="1749" y="1187"/>
                  </a:lnTo>
                  <a:lnTo>
                    <a:pt x="1749" y="1187"/>
                  </a:lnTo>
                  <a:lnTo>
                    <a:pt x="1749" y="1185"/>
                  </a:lnTo>
                  <a:lnTo>
                    <a:pt x="1749" y="1185"/>
                  </a:lnTo>
                  <a:lnTo>
                    <a:pt x="1749" y="1185"/>
                  </a:lnTo>
                  <a:lnTo>
                    <a:pt x="1751" y="1185"/>
                  </a:lnTo>
                  <a:lnTo>
                    <a:pt x="1751" y="1182"/>
                  </a:lnTo>
                  <a:lnTo>
                    <a:pt x="1751" y="1182"/>
                  </a:lnTo>
                  <a:lnTo>
                    <a:pt x="1751" y="1185"/>
                  </a:lnTo>
                  <a:lnTo>
                    <a:pt x="1751" y="1185"/>
                  </a:lnTo>
                  <a:lnTo>
                    <a:pt x="1751" y="1185"/>
                  </a:lnTo>
                  <a:lnTo>
                    <a:pt x="1751" y="1187"/>
                  </a:lnTo>
                  <a:lnTo>
                    <a:pt x="1751" y="1187"/>
                  </a:lnTo>
                  <a:lnTo>
                    <a:pt x="1751" y="1187"/>
                  </a:lnTo>
                  <a:lnTo>
                    <a:pt x="1751" y="1187"/>
                  </a:lnTo>
                  <a:lnTo>
                    <a:pt x="1749" y="1187"/>
                  </a:lnTo>
                  <a:lnTo>
                    <a:pt x="1749" y="1187"/>
                  </a:lnTo>
                  <a:lnTo>
                    <a:pt x="1749" y="1189"/>
                  </a:lnTo>
                  <a:lnTo>
                    <a:pt x="1746" y="1189"/>
                  </a:lnTo>
                  <a:lnTo>
                    <a:pt x="1744" y="1192"/>
                  </a:lnTo>
                  <a:lnTo>
                    <a:pt x="1746" y="1192"/>
                  </a:lnTo>
                  <a:lnTo>
                    <a:pt x="1746" y="1194"/>
                  </a:lnTo>
                  <a:lnTo>
                    <a:pt x="1749" y="1197"/>
                  </a:lnTo>
                  <a:lnTo>
                    <a:pt x="1749" y="1194"/>
                  </a:lnTo>
                  <a:lnTo>
                    <a:pt x="1751" y="1194"/>
                  </a:lnTo>
                  <a:lnTo>
                    <a:pt x="1751" y="1194"/>
                  </a:lnTo>
                  <a:lnTo>
                    <a:pt x="1751" y="1194"/>
                  </a:lnTo>
                  <a:lnTo>
                    <a:pt x="1751" y="1194"/>
                  </a:lnTo>
                  <a:close/>
                  <a:moveTo>
                    <a:pt x="1266" y="681"/>
                  </a:moveTo>
                  <a:lnTo>
                    <a:pt x="1268" y="681"/>
                  </a:lnTo>
                  <a:lnTo>
                    <a:pt x="1268" y="681"/>
                  </a:lnTo>
                  <a:lnTo>
                    <a:pt x="1268" y="681"/>
                  </a:lnTo>
                  <a:lnTo>
                    <a:pt x="1268" y="681"/>
                  </a:lnTo>
                  <a:lnTo>
                    <a:pt x="1268" y="681"/>
                  </a:lnTo>
                  <a:lnTo>
                    <a:pt x="1268" y="681"/>
                  </a:lnTo>
                  <a:lnTo>
                    <a:pt x="1271" y="681"/>
                  </a:lnTo>
                  <a:lnTo>
                    <a:pt x="1271" y="681"/>
                  </a:lnTo>
                  <a:lnTo>
                    <a:pt x="1271" y="681"/>
                  </a:lnTo>
                  <a:lnTo>
                    <a:pt x="1271" y="681"/>
                  </a:lnTo>
                  <a:lnTo>
                    <a:pt x="1271" y="679"/>
                  </a:lnTo>
                  <a:lnTo>
                    <a:pt x="1271" y="679"/>
                  </a:lnTo>
                  <a:lnTo>
                    <a:pt x="1271" y="679"/>
                  </a:lnTo>
                  <a:lnTo>
                    <a:pt x="1271" y="679"/>
                  </a:lnTo>
                  <a:lnTo>
                    <a:pt x="1268" y="679"/>
                  </a:lnTo>
                  <a:lnTo>
                    <a:pt x="1268" y="679"/>
                  </a:lnTo>
                  <a:lnTo>
                    <a:pt x="1268" y="679"/>
                  </a:lnTo>
                  <a:lnTo>
                    <a:pt x="1268" y="681"/>
                  </a:lnTo>
                  <a:lnTo>
                    <a:pt x="1266" y="681"/>
                  </a:lnTo>
                  <a:lnTo>
                    <a:pt x="1266" y="681"/>
                  </a:lnTo>
                  <a:lnTo>
                    <a:pt x="1266" y="681"/>
                  </a:lnTo>
                  <a:lnTo>
                    <a:pt x="1266" y="681"/>
                  </a:lnTo>
                  <a:lnTo>
                    <a:pt x="1264" y="683"/>
                  </a:lnTo>
                  <a:lnTo>
                    <a:pt x="1264" y="683"/>
                  </a:lnTo>
                  <a:lnTo>
                    <a:pt x="1264" y="683"/>
                  </a:lnTo>
                  <a:lnTo>
                    <a:pt x="1264" y="683"/>
                  </a:lnTo>
                  <a:lnTo>
                    <a:pt x="1264" y="683"/>
                  </a:lnTo>
                  <a:lnTo>
                    <a:pt x="1264" y="683"/>
                  </a:lnTo>
                  <a:lnTo>
                    <a:pt x="1264" y="683"/>
                  </a:lnTo>
                  <a:lnTo>
                    <a:pt x="1261" y="683"/>
                  </a:lnTo>
                  <a:lnTo>
                    <a:pt x="1261" y="683"/>
                  </a:lnTo>
                  <a:lnTo>
                    <a:pt x="1261" y="683"/>
                  </a:lnTo>
                  <a:lnTo>
                    <a:pt x="1261" y="686"/>
                  </a:lnTo>
                  <a:lnTo>
                    <a:pt x="1261" y="686"/>
                  </a:lnTo>
                  <a:lnTo>
                    <a:pt x="1261" y="686"/>
                  </a:lnTo>
                  <a:lnTo>
                    <a:pt x="1266" y="686"/>
                  </a:lnTo>
                  <a:lnTo>
                    <a:pt x="1266" y="683"/>
                  </a:lnTo>
                  <a:lnTo>
                    <a:pt x="1266" y="683"/>
                  </a:lnTo>
                  <a:lnTo>
                    <a:pt x="1266" y="681"/>
                  </a:lnTo>
                  <a:close/>
                  <a:moveTo>
                    <a:pt x="1962" y="2417"/>
                  </a:moveTo>
                  <a:lnTo>
                    <a:pt x="1962" y="2417"/>
                  </a:lnTo>
                  <a:lnTo>
                    <a:pt x="1962" y="2417"/>
                  </a:lnTo>
                  <a:lnTo>
                    <a:pt x="1962" y="2417"/>
                  </a:lnTo>
                  <a:lnTo>
                    <a:pt x="1962" y="2417"/>
                  </a:lnTo>
                  <a:lnTo>
                    <a:pt x="1962" y="2417"/>
                  </a:lnTo>
                  <a:lnTo>
                    <a:pt x="1962" y="2417"/>
                  </a:lnTo>
                  <a:lnTo>
                    <a:pt x="1959" y="2415"/>
                  </a:lnTo>
                  <a:lnTo>
                    <a:pt x="1959" y="2415"/>
                  </a:lnTo>
                  <a:lnTo>
                    <a:pt x="1959" y="2415"/>
                  </a:lnTo>
                  <a:lnTo>
                    <a:pt x="1959" y="2415"/>
                  </a:lnTo>
                  <a:lnTo>
                    <a:pt x="1959" y="2415"/>
                  </a:lnTo>
                  <a:lnTo>
                    <a:pt x="1959" y="2415"/>
                  </a:lnTo>
                  <a:lnTo>
                    <a:pt x="1959" y="2412"/>
                  </a:lnTo>
                  <a:lnTo>
                    <a:pt x="1959" y="2412"/>
                  </a:lnTo>
                  <a:lnTo>
                    <a:pt x="1959" y="2412"/>
                  </a:lnTo>
                  <a:lnTo>
                    <a:pt x="1959" y="2412"/>
                  </a:lnTo>
                  <a:lnTo>
                    <a:pt x="1959" y="2412"/>
                  </a:lnTo>
                  <a:lnTo>
                    <a:pt x="1959" y="2412"/>
                  </a:lnTo>
                  <a:lnTo>
                    <a:pt x="1959" y="2412"/>
                  </a:lnTo>
                  <a:lnTo>
                    <a:pt x="1957" y="2412"/>
                  </a:lnTo>
                  <a:lnTo>
                    <a:pt x="1957" y="2412"/>
                  </a:lnTo>
                  <a:lnTo>
                    <a:pt x="1957" y="2412"/>
                  </a:lnTo>
                  <a:lnTo>
                    <a:pt x="1957" y="2412"/>
                  </a:lnTo>
                  <a:lnTo>
                    <a:pt x="1957" y="2412"/>
                  </a:lnTo>
                  <a:lnTo>
                    <a:pt x="1957" y="2412"/>
                  </a:lnTo>
                  <a:lnTo>
                    <a:pt x="1957" y="2412"/>
                  </a:lnTo>
                  <a:lnTo>
                    <a:pt x="1957" y="2410"/>
                  </a:lnTo>
                  <a:lnTo>
                    <a:pt x="1955" y="2410"/>
                  </a:lnTo>
                  <a:lnTo>
                    <a:pt x="1955" y="2410"/>
                  </a:lnTo>
                  <a:lnTo>
                    <a:pt x="1955" y="2410"/>
                  </a:lnTo>
                  <a:lnTo>
                    <a:pt x="1955" y="2410"/>
                  </a:lnTo>
                  <a:lnTo>
                    <a:pt x="1955" y="2410"/>
                  </a:lnTo>
                  <a:lnTo>
                    <a:pt x="1955" y="2410"/>
                  </a:lnTo>
                  <a:lnTo>
                    <a:pt x="1955" y="2410"/>
                  </a:lnTo>
                  <a:lnTo>
                    <a:pt x="1955" y="2410"/>
                  </a:lnTo>
                  <a:lnTo>
                    <a:pt x="1955" y="2410"/>
                  </a:lnTo>
                  <a:lnTo>
                    <a:pt x="1955" y="2410"/>
                  </a:lnTo>
                  <a:lnTo>
                    <a:pt x="1955" y="2410"/>
                  </a:lnTo>
                  <a:lnTo>
                    <a:pt x="1955" y="2410"/>
                  </a:lnTo>
                  <a:lnTo>
                    <a:pt x="1955" y="2410"/>
                  </a:lnTo>
                  <a:lnTo>
                    <a:pt x="1952" y="2410"/>
                  </a:lnTo>
                  <a:lnTo>
                    <a:pt x="1952" y="2408"/>
                  </a:lnTo>
                  <a:lnTo>
                    <a:pt x="1952" y="2408"/>
                  </a:lnTo>
                  <a:lnTo>
                    <a:pt x="1952" y="2408"/>
                  </a:lnTo>
                  <a:lnTo>
                    <a:pt x="1952" y="2408"/>
                  </a:lnTo>
                  <a:lnTo>
                    <a:pt x="1952" y="2408"/>
                  </a:lnTo>
                  <a:lnTo>
                    <a:pt x="1952" y="2408"/>
                  </a:lnTo>
                  <a:lnTo>
                    <a:pt x="1950" y="2408"/>
                  </a:lnTo>
                  <a:lnTo>
                    <a:pt x="1950" y="2408"/>
                  </a:lnTo>
                  <a:lnTo>
                    <a:pt x="1950" y="2408"/>
                  </a:lnTo>
                  <a:lnTo>
                    <a:pt x="1950" y="2408"/>
                  </a:lnTo>
                  <a:lnTo>
                    <a:pt x="1950" y="2408"/>
                  </a:lnTo>
                  <a:lnTo>
                    <a:pt x="1950" y="2410"/>
                  </a:lnTo>
                  <a:lnTo>
                    <a:pt x="1950" y="2410"/>
                  </a:lnTo>
                  <a:lnTo>
                    <a:pt x="1950" y="2410"/>
                  </a:lnTo>
                  <a:lnTo>
                    <a:pt x="1952" y="2410"/>
                  </a:lnTo>
                  <a:lnTo>
                    <a:pt x="1952" y="2410"/>
                  </a:lnTo>
                  <a:lnTo>
                    <a:pt x="1952" y="2410"/>
                  </a:lnTo>
                  <a:lnTo>
                    <a:pt x="1952" y="2410"/>
                  </a:lnTo>
                  <a:lnTo>
                    <a:pt x="1952" y="2410"/>
                  </a:lnTo>
                  <a:lnTo>
                    <a:pt x="1952" y="2410"/>
                  </a:lnTo>
                  <a:lnTo>
                    <a:pt x="1952" y="2410"/>
                  </a:lnTo>
                  <a:lnTo>
                    <a:pt x="1952" y="2410"/>
                  </a:lnTo>
                  <a:lnTo>
                    <a:pt x="1952" y="2410"/>
                  </a:lnTo>
                  <a:lnTo>
                    <a:pt x="1952" y="2412"/>
                  </a:lnTo>
                  <a:lnTo>
                    <a:pt x="1955" y="2412"/>
                  </a:lnTo>
                  <a:lnTo>
                    <a:pt x="1955" y="2412"/>
                  </a:lnTo>
                  <a:lnTo>
                    <a:pt x="1955" y="2412"/>
                  </a:lnTo>
                  <a:lnTo>
                    <a:pt x="1955" y="2412"/>
                  </a:lnTo>
                  <a:lnTo>
                    <a:pt x="1955" y="2412"/>
                  </a:lnTo>
                  <a:lnTo>
                    <a:pt x="1955" y="2412"/>
                  </a:lnTo>
                  <a:lnTo>
                    <a:pt x="1955" y="2412"/>
                  </a:lnTo>
                  <a:lnTo>
                    <a:pt x="1955" y="2412"/>
                  </a:lnTo>
                  <a:lnTo>
                    <a:pt x="1955" y="2412"/>
                  </a:lnTo>
                  <a:lnTo>
                    <a:pt x="1955" y="2415"/>
                  </a:lnTo>
                  <a:lnTo>
                    <a:pt x="1955" y="2415"/>
                  </a:lnTo>
                  <a:lnTo>
                    <a:pt x="1955" y="2415"/>
                  </a:lnTo>
                  <a:lnTo>
                    <a:pt x="1955" y="2415"/>
                  </a:lnTo>
                  <a:lnTo>
                    <a:pt x="1955" y="2415"/>
                  </a:lnTo>
                  <a:lnTo>
                    <a:pt x="1955" y="2415"/>
                  </a:lnTo>
                  <a:lnTo>
                    <a:pt x="1955" y="2415"/>
                  </a:lnTo>
                  <a:lnTo>
                    <a:pt x="1955" y="2417"/>
                  </a:lnTo>
                  <a:lnTo>
                    <a:pt x="1955" y="2417"/>
                  </a:lnTo>
                  <a:lnTo>
                    <a:pt x="1955" y="2417"/>
                  </a:lnTo>
                  <a:lnTo>
                    <a:pt x="1957" y="2417"/>
                  </a:lnTo>
                  <a:lnTo>
                    <a:pt x="1957" y="2417"/>
                  </a:lnTo>
                  <a:lnTo>
                    <a:pt x="1957" y="2417"/>
                  </a:lnTo>
                  <a:lnTo>
                    <a:pt x="1959" y="2417"/>
                  </a:lnTo>
                  <a:lnTo>
                    <a:pt x="1959" y="2417"/>
                  </a:lnTo>
                  <a:lnTo>
                    <a:pt x="1959" y="2417"/>
                  </a:lnTo>
                  <a:lnTo>
                    <a:pt x="1959" y="2420"/>
                  </a:lnTo>
                  <a:lnTo>
                    <a:pt x="1959" y="2420"/>
                  </a:lnTo>
                  <a:lnTo>
                    <a:pt x="1962" y="2420"/>
                  </a:lnTo>
                  <a:lnTo>
                    <a:pt x="1962" y="2420"/>
                  </a:lnTo>
                  <a:lnTo>
                    <a:pt x="1962" y="2420"/>
                  </a:lnTo>
                  <a:lnTo>
                    <a:pt x="1962" y="2420"/>
                  </a:lnTo>
                  <a:lnTo>
                    <a:pt x="1962" y="2417"/>
                  </a:lnTo>
                  <a:lnTo>
                    <a:pt x="1962" y="2417"/>
                  </a:lnTo>
                  <a:close/>
                  <a:moveTo>
                    <a:pt x="3614" y="2838"/>
                  </a:moveTo>
                  <a:lnTo>
                    <a:pt x="3611" y="2843"/>
                  </a:lnTo>
                  <a:lnTo>
                    <a:pt x="3614" y="2841"/>
                  </a:lnTo>
                  <a:lnTo>
                    <a:pt x="3616" y="2838"/>
                  </a:lnTo>
                  <a:lnTo>
                    <a:pt x="3616" y="2838"/>
                  </a:lnTo>
                  <a:lnTo>
                    <a:pt x="3616" y="2838"/>
                  </a:lnTo>
                  <a:lnTo>
                    <a:pt x="3616" y="2838"/>
                  </a:lnTo>
                  <a:lnTo>
                    <a:pt x="3616" y="2838"/>
                  </a:lnTo>
                  <a:lnTo>
                    <a:pt x="3614" y="2838"/>
                  </a:lnTo>
                  <a:close/>
                  <a:moveTo>
                    <a:pt x="3621" y="2834"/>
                  </a:moveTo>
                  <a:lnTo>
                    <a:pt x="3621" y="2836"/>
                  </a:lnTo>
                  <a:lnTo>
                    <a:pt x="3621" y="2836"/>
                  </a:lnTo>
                  <a:lnTo>
                    <a:pt x="3621" y="2834"/>
                  </a:lnTo>
                  <a:lnTo>
                    <a:pt x="3621" y="2834"/>
                  </a:lnTo>
                  <a:lnTo>
                    <a:pt x="3618" y="2836"/>
                  </a:lnTo>
                  <a:lnTo>
                    <a:pt x="3618" y="2836"/>
                  </a:lnTo>
                  <a:lnTo>
                    <a:pt x="3621" y="2836"/>
                  </a:lnTo>
                  <a:lnTo>
                    <a:pt x="3621" y="2836"/>
                  </a:lnTo>
                  <a:lnTo>
                    <a:pt x="3621" y="2836"/>
                  </a:lnTo>
                  <a:lnTo>
                    <a:pt x="3621" y="2836"/>
                  </a:lnTo>
                  <a:lnTo>
                    <a:pt x="3621" y="2836"/>
                  </a:lnTo>
                  <a:lnTo>
                    <a:pt x="3621" y="2834"/>
                  </a:lnTo>
                  <a:lnTo>
                    <a:pt x="3621" y="2834"/>
                  </a:lnTo>
                  <a:close/>
                  <a:moveTo>
                    <a:pt x="3640" y="2805"/>
                  </a:moveTo>
                  <a:lnTo>
                    <a:pt x="3640" y="2807"/>
                  </a:lnTo>
                  <a:lnTo>
                    <a:pt x="3637" y="2807"/>
                  </a:lnTo>
                  <a:lnTo>
                    <a:pt x="3637" y="2807"/>
                  </a:lnTo>
                  <a:lnTo>
                    <a:pt x="3637" y="2807"/>
                  </a:lnTo>
                  <a:lnTo>
                    <a:pt x="3637" y="2810"/>
                  </a:lnTo>
                  <a:lnTo>
                    <a:pt x="3637" y="2810"/>
                  </a:lnTo>
                  <a:lnTo>
                    <a:pt x="3637" y="2810"/>
                  </a:lnTo>
                  <a:lnTo>
                    <a:pt x="3637" y="2810"/>
                  </a:lnTo>
                  <a:lnTo>
                    <a:pt x="3637" y="2812"/>
                  </a:lnTo>
                  <a:lnTo>
                    <a:pt x="3637" y="2815"/>
                  </a:lnTo>
                  <a:lnTo>
                    <a:pt x="3635" y="2815"/>
                  </a:lnTo>
                  <a:lnTo>
                    <a:pt x="3632" y="2815"/>
                  </a:lnTo>
                  <a:lnTo>
                    <a:pt x="3632" y="2817"/>
                  </a:lnTo>
                  <a:lnTo>
                    <a:pt x="3635" y="2817"/>
                  </a:lnTo>
                  <a:lnTo>
                    <a:pt x="3635" y="2817"/>
                  </a:lnTo>
                  <a:lnTo>
                    <a:pt x="3635" y="2817"/>
                  </a:lnTo>
                  <a:lnTo>
                    <a:pt x="3635" y="2817"/>
                  </a:lnTo>
                  <a:lnTo>
                    <a:pt x="3635" y="2817"/>
                  </a:lnTo>
                  <a:lnTo>
                    <a:pt x="3635" y="2817"/>
                  </a:lnTo>
                  <a:lnTo>
                    <a:pt x="3635" y="2817"/>
                  </a:lnTo>
                  <a:lnTo>
                    <a:pt x="3635" y="2817"/>
                  </a:lnTo>
                  <a:lnTo>
                    <a:pt x="3635" y="2819"/>
                  </a:lnTo>
                  <a:lnTo>
                    <a:pt x="3635" y="2819"/>
                  </a:lnTo>
                  <a:lnTo>
                    <a:pt x="3632" y="2819"/>
                  </a:lnTo>
                  <a:lnTo>
                    <a:pt x="3632" y="2819"/>
                  </a:lnTo>
                  <a:lnTo>
                    <a:pt x="3632" y="2819"/>
                  </a:lnTo>
                  <a:lnTo>
                    <a:pt x="3632" y="2822"/>
                  </a:lnTo>
                  <a:lnTo>
                    <a:pt x="3632" y="2824"/>
                  </a:lnTo>
                  <a:lnTo>
                    <a:pt x="3632" y="2824"/>
                  </a:lnTo>
                  <a:lnTo>
                    <a:pt x="3630" y="2824"/>
                  </a:lnTo>
                  <a:lnTo>
                    <a:pt x="3630" y="2824"/>
                  </a:lnTo>
                  <a:lnTo>
                    <a:pt x="3630" y="2826"/>
                  </a:lnTo>
                  <a:lnTo>
                    <a:pt x="3630" y="2826"/>
                  </a:lnTo>
                  <a:lnTo>
                    <a:pt x="3630" y="2826"/>
                  </a:lnTo>
                  <a:lnTo>
                    <a:pt x="3628" y="2826"/>
                  </a:lnTo>
                  <a:lnTo>
                    <a:pt x="3630" y="2826"/>
                  </a:lnTo>
                  <a:lnTo>
                    <a:pt x="3630" y="2826"/>
                  </a:lnTo>
                  <a:lnTo>
                    <a:pt x="3630" y="2826"/>
                  </a:lnTo>
                  <a:lnTo>
                    <a:pt x="3632" y="2824"/>
                  </a:lnTo>
                  <a:lnTo>
                    <a:pt x="3632" y="2822"/>
                  </a:lnTo>
                  <a:lnTo>
                    <a:pt x="3632" y="2822"/>
                  </a:lnTo>
                  <a:lnTo>
                    <a:pt x="3635" y="2819"/>
                  </a:lnTo>
                  <a:lnTo>
                    <a:pt x="3635" y="2819"/>
                  </a:lnTo>
                  <a:lnTo>
                    <a:pt x="3635" y="2819"/>
                  </a:lnTo>
                  <a:lnTo>
                    <a:pt x="3635" y="2819"/>
                  </a:lnTo>
                  <a:lnTo>
                    <a:pt x="3637" y="2815"/>
                  </a:lnTo>
                  <a:lnTo>
                    <a:pt x="3637" y="2815"/>
                  </a:lnTo>
                  <a:lnTo>
                    <a:pt x="3637" y="2815"/>
                  </a:lnTo>
                  <a:lnTo>
                    <a:pt x="3637" y="2812"/>
                  </a:lnTo>
                  <a:lnTo>
                    <a:pt x="3640" y="2810"/>
                  </a:lnTo>
                  <a:lnTo>
                    <a:pt x="3640" y="2807"/>
                  </a:lnTo>
                  <a:lnTo>
                    <a:pt x="3640" y="2807"/>
                  </a:lnTo>
                  <a:lnTo>
                    <a:pt x="3640" y="2807"/>
                  </a:lnTo>
                  <a:lnTo>
                    <a:pt x="3640" y="2807"/>
                  </a:lnTo>
                  <a:lnTo>
                    <a:pt x="3640" y="2805"/>
                  </a:lnTo>
                  <a:lnTo>
                    <a:pt x="3640" y="2805"/>
                  </a:lnTo>
                  <a:lnTo>
                    <a:pt x="3642" y="2805"/>
                  </a:lnTo>
                  <a:lnTo>
                    <a:pt x="3642" y="2805"/>
                  </a:lnTo>
                  <a:lnTo>
                    <a:pt x="3642" y="2805"/>
                  </a:lnTo>
                  <a:lnTo>
                    <a:pt x="3642" y="2805"/>
                  </a:lnTo>
                  <a:lnTo>
                    <a:pt x="3640" y="2805"/>
                  </a:lnTo>
                  <a:lnTo>
                    <a:pt x="3640" y="2805"/>
                  </a:lnTo>
                  <a:close/>
                  <a:moveTo>
                    <a:pt x="3609" y="2841"/>
                  </a:moveTo>
                  <a:lnTo>
                    <a:pt x="3606" y="2843"/>
                  </a:lnTo>
                  <a:lnTo>
                    <a:pt x="3606" y="2843"/>
                  </a:lnTo>
                  <a:lnTo>
                    <a:pt x="3609" y="2843"/>
                  </a:lnTo>
                  <a:lnTo>
                    <a:pt x="3609" y="2843"/>
                  </a:lnTo>
                  <a:lnTo>
                    <a:pt x="3609" y="2845"/>
                  </a:lnTo>
                  <a:lnTo>
                    <a:pt x="3609" y="2843"/>
                  </a:lnTo>
                  <a:lnTo>
                    <a:pt x="3609" y="2843"/>
                  </a:lnTo>
                  <a:lnTo>
                    <a:pt x="3609" y="2843"/>
                  </a:lnTo>
                  <a:lnTo>
                    <a:pt x="3611" y="2843"/>
                  </a:lnTo>
                  <a:lnTo>
                    <a:pt x="3611" y="2841"/>
                  </a:lnTo>
                  <a:lnTo>
                    <a:pt x="3611" y="2841"/>
                  </a:lnTo>
                  <a:lnTo>
                    <a:pt x="3609" y="2841"/>
                  </a:lnTo>
                  <a:close/>
                  <a:moveTo>
                    <a:pt x="3623" y="2831"/>
                  </a:moveTo>
                  <a:lnTo>
                    <a:pt x="3623" y="2834"/>
                  </a:lnTo>
                  <a:lnTo>
                    <a:pt x="3623" y="2834"/>
                  </a:lnTo>
                  <a:lnTo>
                    <a:pt x="3623" y="2834"/>
                  </a:lnTo>
                  <a:lnTo>
                    <a:pt x="3623" y="2834"/>
                  </a:lnTo>
                  <a:lnTo>
                    <a:pt x="3625" y="2834"/>
                  </a:lnTo>
                  <a:lnTo>
                    <a:pt x="3625" y="2831"/>
                  </a:lnTo>
                  <a:lnTo>
                    <a:pt x="3625" y="2831"/>
                  </a:lnTo>
                  <a:lnTo>
                    <a:pt x="3625" y="2831"/>
                  </a:lnTo>
                  <a:lnTo>
                    <a:pt x="3623" y="2831"/>
                  </a:lnTo>
                  <a:close/>
                  <a:moveTo>
                    <a:pt x="3628" y="2829"/>
                  </a:moveTo>
                  <a:lnTo>
                    <a:pt x="3628" y="2829"/>
                  </a:lnTo>
                  <a:lnTo>
                    <a:pt x="3628" y="2831"/>
                  </a:lnTo>
                  <a:lnTo>
                    <a:pt x="3628" y="2829"/>
                  </a:lnTo>
                  <a:lnTo>
                    <a:pt x="3628" y="2829"/>
                  </a:lnTo>
                  <a:lnTo>
                    <a:pt x="3628" y="2829"/>
                  </a:lnTo>
                  <a:lnTo>
                    <a:pt x="3628" y="2829"/>
                  </a:lnTo>
                  <a:lnTo>
                    <a:pt x="3628" y="2829"/>
                  </a:lnTo>
                  <a:close/>
                  <a:moveTo>
                    <a:pt x="3592" y="2848"/>
                  </a:moveTo>
                  <a:lnTo>
                    <a:pt x="3592" y="2848"/>
                  </a:lnTo>
                  <a:lnTo>
                    <a:pt x="3592" y="2848"/>
                  </a:lnTo>
                  <a:lnTo>
                    <a:pt x="3592" y="2848"/>
                  </a:lnTo>
                  <a:lnTo>
                    <a:pt x="3592" y="2848"/>
                  </a:lnTo>
                  <a:lnTo>
                    <a:pt x="3592" y="2848"/>
                  </a:lnTo>
                  <a:lnTo>
                    <a:pt x="3592" y="2848"/>
                  </a:lnTo>
                  <a:lnTo>
                    <a:pt x="3592" y="2848"/>
                  </a:lnTo>
                  <a:lnTo>
                    <a:pt x="3592" y="2848"/>
                  </a:lnTo>
                  <a:lnTo>
                    <a:pt x="3592" y="2848"/>
                  </a:lnTo>
                  <a:lnTo>
                    <a:pt x="3592" y="2848"/>
                  </a:lnTo>
                  <a:lnTo>
                    <a:pt x="3592" y="2848"/>
                  </a:lnTo>
                  <a:lnTo>
                    <a:pt x="3592" y="2848"/>
                  </a:lnTo>
                  <a:close/>
                  <a:moveTo>
                    <a:pt x="3595" y="2848"/>
                  </a:moveTo>
                  <a:lnTo>
                    <a:pt x="3595" y="2848"/>
                  </a:lnTo>
                  <a:lnTo>
                    <a:pt x="3595" y="2848"/>
                  </a:lnTo>
                  <a:lnTo>
                    <a:pt x="3595" y="2848"/>
                  </a:lnTo>
                  <a:lnTo>
                    <a:pt x="3595" y="2848"/>
                  </a:lnTo>
                  <a:lnTo>
                    <a:pt x="3595" y="2848"/>
                  </a:lnTo>
                  <a:close/>
                  <a:moveTo>
                    <a:pt x="3595" y="2845"/>
                  </a:moveTo>
                  <a:lnTo>
                    <a:pt x="3592" y="2843"/>
                  </a:lnTo>
                  <a:lnTo>
                    <a:pt x="3592" y="2843"/>
                  </a:lnTo>
                  <a:lnTo>
                    <a:pt x="3592" y="2843"/>
                  </a:lnTo>
                  <a:lnTo>
                    <a:pt x="3592" y="2843"/>
                  </a:lnTo>
                  <a:lnTo>
                    <a:pt x="3597" y="2848"/>
                  </a:lnTo>
                  <a:lnTo>
                    <a:pt x="3597" y="2850"/>
                  </a:lnTo>
                  <a:lnTo>
                    <a:pt x="3597" y="2848"/>
                  </a:lnTo>
                  <a:lnTo>
                    <a:pt x="3597" y="2845"/>
                  </a:lnTo>
                  <a:lnTo>
                    <a:pt x="3595" y="2845"/>
                  </a:lnTo>
                  <a:close/>
                  <a:moveTo>
                    <a:pt x="3602" y="2845"/>
                  </a:moveTo>
                  <a:lnTo>
                    <a:pt x="3599" y="2848"/>
                  </a:lnTo>
                  <a:lnTo>
                    <a:pt x="3602" y="2848"/>
                  </a:lnTo>
                  <a:lnTo>
                    <a:pt x="3602" y="2848"/>
                  </a:lnTo>
                  <a:lnTo>
                    <a:pt x="3602" y="2845"/>
                  </a:lnTo>
                  <a:lnTo>
                    <a:pt x="3602" y="2845"/>
                  </a:lnTo>
                  <a:lnTo>
                    <a:pt x="3602" y="2845"/>
                  </a:lnTo>
                  <a:close/>
                  <a:moveTo>
                    <a:pt x="3597" y="2845"/>
                  </a:moveTo>
                  <a:lnTo>
                    <a:pt x="3597" y="2845"/>
                  </a:lnTo>
                  <a:lnTo>
                    <a:pt x="3597" y="2845"/>
                  </a:lnTo>
                  <a:lnTo>
                    <a:pt x="3597" y="2845"/>
                  </a:lnTo>
                  <a:lnTo>
                    <a:pt x="3597" y="2845"/>
                  </a:lnTo>
                  <a:lnTo>
                    <a:pt x="3597" y="2845"/>
                  </a:lnTo>
                  <a:lnTo>
                    <a:pt x="3599" y="2848"/>
                  </a:lnTo>
                  <a:lnTo>
                    <a:pt x="3599" y="2845"/>
                  </a:lnTo>
                  <a:lnTo>
                    <a:pt x="3599" y="2845"/>
                  </a:lnTo>
                  <a:lnTo>
                    <a:pt x="3597" y="2845"/>
                  </a:lnTo>
                  <a:close/>
                  <a:moveTo>
                    <a:pt x="3661" y="2346"/>
                  </a:moveTo>
                  <a:lnTo>
                    <a:pt x="3661" y="2349"/>
                  </a:lnTo>
                  <a:lnTo>
                    <a:pt x="3661" y="2349"/>
                  </a:lnTo>
                  <a:lnTo>
                    <a:pt x="3661" y="2351"/>
                  </a:lnTo>
                  <a:lnTo>
                    <a:pt x="3661" y="2351"/>
                  </a:lnTo>
                  <a:lnTo>
                    <a:pt x="3661" y="2349"/>
                  </a:lnTo>
                  <a:lnTo>
                    <a:pt x="3661" y="2346"/>
                  </a:lnTo>
                  <a:lnTo>
                    <a:pt x="3663" y="2346"/>
                  </a:lnTo>
                  <a:lnTo>
                    <a:pt x="3663" y="2346"/>
                  </a:lnTo>
                  <a:lnTo>
                    <a:pt x="3663" y="2346"/>
                  </a:lnTo>
                  <a:lnTo>
                    <a:pt x="3663" y="2346"/>
                  </a:lnTo>
                  <a:lnTo>
                    <a:pt x="3661" y="2346"/>
                  </a:lnTo>
                  <a:close/>
                  <a:moveTo>
                    <a:pt x="3720" y="2294"/>
                  </a:moveTo>
                  <a:lnTo>
                    <a:pt x="3718" y="2294"/>
                  </a:lnTo>
                  <a:lnTo>
                    <a:pt x="3718" y="2297"/>
                  </a:lnTo>
                  <a:lnTo>
                    <a:pt x="3718" y="2297"/>
                  </a:lnTo>
                  <a:lnTo>
                    <a:pt x="3718" y="2297"/>
                  </a:lnTo>
                  <a:lnTo>
                    <a:pt x="3713" y="2304"/>
                  </a:lnTo>
                  <a:lnTo>
                    <a:pt x="3711" y="2311"/>
                  </a:lnTo>
                  <a:lnTo>
                    <a:pt x="3711" y="2313"/>
                  </a:lnTo>
                  <a:lnTo>
                    <a:pt x="3711" y="2313"/>
                  </a:lnTo>
                  <a:lnTo>
                    <a:pt x="3711" y="2313"/>
                  </a:lnTo>
                  <a:lnTo>
                    <a:pt x="3715" y="2304"/>
                  </a:lnTo>
                  <a:lnTo>
                    <a:pt x="3715" y="2301"/>
                  </a:lnTo>
                  <a:lnTo>
                    <a:pt x="3718" y="2299"/>
                  </a:lnTo>
                  <a:lnTo>
                    <a:pt x="3718" y="2299"/>
                  </a:lnTo>
                  <a:lnTo>
                    <a:pt x="3720" y="2297"/>
                  </a:lnTo>
                  <a:lnTo>
                    <a:pt x="3720" y="2294"/>
                  </a:lnTo>
                  <a:lnTo>
                    <a:pt x="3720" y="2294"/>
                  </a:lnTo>
                  <a:lnTo>
                    <a:pt x="3720" y="2294"/>
                  </a:lnTo>
                  <a:lnTo>
                    <a:pt x="3720" y="2294"/>
                  </a:lnTo>
                  <a:close/>
                  <a:moveTo>
                    <a:pt x="3642" y="2786"/>
                  </a:moveTo>
                  <a:lnTo>
                    <a:pt x="3642" y="2786"/>
                  </a:lnTo>
                  <a:lnTo>
                    <a:pt x="3642" y="2786"/>
                  </a:lnTo>
                  <a:lnTo>
                    <a:pt x="3642" y="2786"/>
                  </a:lnTo>
                  <a:lnTo>
                    <a:pt x="3642" y="2789"/>
                  </a:lnTo>
                  <a:lnTo>
                    <a:pt x="3642" y="2789"/>
                  </a:lnTo>
                  <a:lnTo>
                    <a:pt x="3642" y="2786"/>
                  </a:lnTo>
                  <a:lnTo>
                    <a:pt x="3642" y="2784"/>
                  </a:lnTo>
                  <a:lnTo>
                    <a:pt x="3642" y="2784"/>
                  </a:lnTo>
                  <a:lnTo>
                    <a:pt x="3642" y="2784"/>
                  </a:lnTo>
                  <a:lnTo>
                    <a:pt x="3642" y="2786"/>
                  </a:lnTo>
                  <a:lnTo>
                    <a:pt x="3642" y="2786"/>
                  </a:lnTo>
                  <a:lnTo>
                    <a:pt x="3642" y="2786"/>
                  </a:lnTo>
                  <a:lnTo>
                    <a:pt x="3642" y="2786"/>
                  </a:lnTo>
                  <a:lnTo>
                    <a:pt x="3642" y="2786"/>
                  </a:lnTo>
                  <a:lnTo>
                    <a:pt x="3642" y="2786"/>
                  </a:lnTo>
                  <a:lnTo>
                    <a:pt x="3642" y="2786"/>
                  </a:lnTo>
                  <a:close/>
                  <a:moveTo>
                    <a:pt x="3701" y="2311"/>
                  </a:moveTo>
                  <a:lnTo>
                    <a:pt x="3694" y="2313"/>
                  </a:lnTo>
                  <a:lnTo>
                    <a:pt x="3689" y="2315"/>
                  </a:lnTo>
                  <a:lnTo>
                    <a:pt x="3687" y="2315"/>
                  </a:lnTo>
                  <a:lnTo>
                    <a:pt x="3687" y="2315"/>
                  </a:lnTo>
                  <a:lnTo>
                    <a:pt x="3696" y="2311"/>
                  </a:lnTo>
                  <a:lnTo>
                    <a:pt x="3699" y="2311"/>
                  </a:lnTo>
                  <a:lnTo>
                    <a:pt x="3703" y="2311"/>
                  </a:lnTo>
                  <a:lnTo>
                    <a:pt x="3703" y="2311"/>
                  </a:lnTo>
                  <a:lnTo>
                    <a:pt x="3701" y="2311"/>
                  </a:lnTo>
                  <a:close/>
                  <a:moveTo>
                    <a:pt x="3732" y="2280"/>
                  </a:moveTo>
                  <a:lnTo>
                    <a:pt x="3729" y="2282"/>
                  </a:lnTo>
                  <a:lnTo>
                    <a:pt x="3727" y="2282"/>
                  </a:lnTo>
                  <a:lnTo>
                    <a:pt x="3727" y="2282"/>
                  </a:lnTo>
                  <a:lnTo>
                    <a:pt x="3727" y="2285"/>
                  </a:lnTo>
                  <a:lnTo>
                    <a:pt x="3727" y="2285"/>
                  </a:lnTo>
                  <a:lnTo>
                    <a:pt x="3727" y="2285"/>
                  </a:lnTo>
                  <a:lnTo>
                    <a:pt x="3729" y="2282"/>
                  </a:lnTo>
                  <a:lnTo>
                    <a:pt x="3734" y="2280"/>
                  </a:lnTo>
                  <a:lnTo>
                    <a:pt x="3734" y="2278"/>
                  </a:lnTo>
                  <a:lnTo>
                    <a:pt x="3734" y="2278"/>
                  </a:lnTo>
                  <a:lnTo>
                    <a:pt x="3734" y="2278"/>
                  </a:lnTo>
                  <a:lnTo>
                    <a:pt x="3734" y="2278"/>
                  </a:lnTo>
                  <a:lnTo>
                    <a:pt x="3734" y="2278"/>
                  </a:lnTo>
                  <a:lnTo>
                    <a:pt x="3732" y="2280"/>
                  </a:lnTo>
                  <a:close/>
                  <a:moveTo>
                    <a:pt x="3725" y="2287"/>
                  </a:moveTo>
                  <a:lnTo>
                    <a:pt x="3725" y="2287"/>
                  </a:lnTo>
                  <a:lnTo>
                    <a:pt x="3725" y="2287"/>
                  </a:lnTo>
                  <a:lnTo>
                    <a:pt x="3725" y="2287"/>
                  </a:lnTo>
                  <a:lnTo>
                    <a:pt x="3725" y="2287"/>
                  </a:lnTo>
                  <a:lnTo>
                    <a:pt x="3722" y="2287"/>
                  </a:lnTo>
                  <a:lnTo>
                    <a:pt x="3722" y="2289"/>
                  </a:lnTo>
                  <a:lnTo>
                    <a:pt x="3722" y="2289"/>
                  </a:lnTo>
                  <a:lnTo>
                    <a:pt x="3722" y="2292"/>
                  </a:lnTo>
                  <a:lnTo>
                    <a:pt x="3722" y="2292"/>
                  </a:lnTo>
                  <a:lnTo>
                    <a:pt x="3722" y="2289"/>
                  </a:lnTo>
                  <a:lnTo>
                    <a:pt x="3725" y="2287"/>
                  </a:lnTo>
                  <a:lnTo>
                    <a:pt x="3725" y="2287"/>
                  </a:lnTo>
                  <a:lnTo>
                    <a:pt x="3725" y="2287"/>
                  </a:lnTo>
                  <a:lnTo>
                    <a:pt x="3725" y="2287"/>
                  </a:lnTo>
                  <a:lnTo>
                    <a:pt x="3725" y="2287"/>
                  </a:lnTo>
                  <a:lnTo>
                    <a:pt x="3725" y="2287"/>
                  </a:lnTo>
                  <a:lnTo>
                    <a:pt x="3725" y="2287"/>
                  </a:lnTo>
                  <a:close/>
                  <a:moveTo>
                    <a:pt x="3708" y="2311"/>
                  </a:moveTo>
                  <a:lnTo>
                    <a:pt x="3708" y="2311"/>
                  </a:lnTo>
                  <a:lnTo>
                    <a:pt x="3706" y="2311"/>
                  </a:lnTo>
                  <a:lnTo>
                    <a:pt x="3706" y="2311"/>
                  </a:lnTo>
                  <a:lnTo>
                    <a:pt x="3706" y="2311"/>
                  </a:lnTo>
                  <a:lnTo>
                    <a:pt x="3706" y="2311"/>
                  </a:lnTo>
                  <a:lnTo>
                    <a:pt x="3708" y="2311"/>
                  </a:lnTo>
                  <a:lnTo>
                    <a:pt x="3708" y="2311"/>
                  </a:lnTo>
                  <a:lnTo>
                    <a:pt x="3711" y="2313"/>
                  </a:lnTo>
                  <a:lnTo>
                    <a:pt x="3711" y="2311"/>
                  </a:lnTo>
                  <a:lnTo>
                    <a:pt x="3711" y="2311"/>
                  </a:lnTo>
                  <a:lnTo>
                    <a:pt x="3708" y="2311"/>
                  </a:lnTo>
                  <a:close/>
                  <a:moveTo>
                    <a:pt x="3642" y="2796"/>
                  </a:moveTo>
                  <a:lnTo>
                    <a:pt x="3642" y="2798"/>
                  </a:lnTo>
                  <a:lnTo>
                    <a:pt x="3642" y="2800"/>
                  </a:lnTo>
                  <a:lnTo>
                    <a:pt x="3642" y="2800"/>
                  </a:lnTo>
                  <a:lnTo>
                    <a:pt x="3642" y="2800"/>
                  </a:lnTo>
                  <a:lnTo>
                    <a:pt x="3642" y="2800"/>
                  </a:lnTo>
                  <a:lnTo>
                    <a:pt x="3642" y="2800"/>
                  </a:lnTo>
                  <a:lnTo>
                    <a:pt x="3642" y="2800"/>
                  </a:lnTo>
                  <a:lnTo>
                    <a:pt x="3642" y="2800"/>
                  </a:lnTo>
                  <a:lnTo>
                    <a:pt x="3642" y="2800"/>
                  </a:lnTo>
                  <a:lnTo>
                    <a:pt x="3642" y="2798"/>
                  </a:lnTo>
                  <a:lnTo>
                    <a:pt x="3642" y="2798"/>
                  </a:lnTo>
                  <a:lnTo>
                    <a:pt x="3642" y="2798"/>
                  </a:lnTo>
                  <a:lnTo>
                    <a:pt x="3642" y="2796"/>
                  </a:lnTo>
                  <a:lnTo>
                    <a:pt x="3642" y="2796"/>
                  </a:lnTo>
                  <a:lnTo>
                    <a:pt x="3642" y="2796"/>
                  </a:lnTo>
                  <a:close/>
                  <a:moveTo>
                    <a:pt x="3677" y="2325"/>
                  </a:moveTo>
                  <a:lnTo>
                    <a:pt x="3675" y="2325"/>
                  </a:lnTo>
                  <a:lnTo>
                    <a:pt x="3675" y="2327"/>
                  </a:lnTo>
                  <a:lnTo>
                    <a:pt x="3675" y="2327"/>
                  </a:lnTo>
                  <a:lnTo>
                    <a:pt x="3670" y="2332"/>
                  </a:lnTo>
                  <a:lnTo>
                    <a:pt x="3668" y="2332"/>
                  </a:lnTo>
                  <a:lnTo>
                    <a:pt x="3668" y="2334"/>
                  </a:lnTo>
                  <a:lnTo>
                    <a:pt x="3668" y="2334"/>
                  </a:lnTo>
                  <a:lnTo>
                    <a:pt x="3673" y="2330"/>
                  </a:lnTo>
                  <a:lnTo>
                    <a:pt x="3673" y="2330"/>
                  </a:lnTo>
                  <a:lnTo>
                    <a:pt x="3673" y="2330"/>
                  </a:lnTo>
                  <a:lnTo>
                    <a:pt x="3677" y="2325"/>
                  </a:lnTo>
                  <a:lnTo>
                    <a:pt x="3677" y="2325"/>
                  </a:lnTo>
                  <a:lnTo>
                    <a:pt x="3677" y="2325"/>
                  </a:lnTo>
                  <a:lnTo>
                    <a:pt x="3677" y="2325"/>
                  </a:lnTo>
                  <a:lnTo>
                    <a:pt x="3677" y="2325"/>
                  </a:lnTo>
                  <a:lnTo>
                    <a:pt x="3677" y="2325"/>
                  </a:lnTo>
                  <a:lnTo>
                    <a:pt x="3677" y="2325"/>
                  </a:lnTo>
                  <a:close/>
                  <a:moveTo>
                    <a:pt x="3658" y="2360"/>
                  </a:moveTo>
                  <a:lnTo>
                    <a:pt x="3658" y="2360"/>
                  </a:lnTo>
                  <a:lnTo>
                    <a:pt x="3658" y="2360"/>
                  </a:lnTo>
                  <a:lnTo>
                    <a:pt x="3656" y="2360"/>
                  </a:lnTo>
                  <a:lnTo>
                    <a:pt x="3656" y="2363"/>
                  </a:lnTo>
                  <a:lnTo>
                    <a:pt x="3658" y="2363"/>
                  </a:lnTo>
                  <a:lnTo>
                    <a:pt x="3658" y="2363"/>
                  </a:lnTo>
                  <a:lnTo>
                    <a:pt x="3658" y="2363"/>
                  </a:lnTo>
                  <a:lnTo>
                    <a:pt x="3658" y="2363"/>
                  </a:lnTo>
                  <a:lnTo>
                    <a:pt x="3658" y="2363"/>
                  </a:lnTo>
                  <a:lnTo>
                    <a:pt x="3661" y="2360"/>
                  </a:lnTo>
                  <a:lnTo>
                    <a:pt x="3658" y="2360"/>
                  </a:lnTo>
                  <a:lnTo>
                    <a:pt x="3658" y="2360"/>
                  </a:lnTo>
                  <a:close/>
                  <a:moveTo>
                    <a:pt x="3590" y="2848"/>
                  </a:moveTo>
                  <a:lnTo>
                    <a:pt x="3590" y="2848"/>
                  </a:lnTo>
                  <a:lnTo>
                    <a:pt x="3590" y="2848"/>
                  </a:lnTo>
                  <a:lnTo>
                    <a:pt x="3590" y="2848"/>
                  </a:lnTo>
                  <a:lnTo>
                    <a:pt x="3590" y="2848"/>
                  </a:lnTo>
                  <a:lnTo>
                    <a:pt x="3590" y="2848"/>
                  </a:lnTo>
                  <a:lnTo>
                    <a:pt x="3590" y="2848"/>
                  </a:lnTo>
                  <a:lnTo>
                    <a:pt x="3590" y="2848"/>
                  </a:lnTo>
                  <a:lnTo>
                    <a:pt x="3590" y="2848"/>
                  </a:lnTo>
                  <a:lnTo>
                    <a:pt x="3590" y="2848"/>
                  </a:lnTo>
                  <a:lnTo>
                    <a:pt x="3590" y="2848"/>
                  </a:lnTo>
                  <a:lnTo>
                    <a:pt x="3590" y="2848"/>
                  </a:lnTo>
                  <a:lnTo>
                    <a:pt x="3590" y="2848"/>
                  </a:lnTo>
                  <a:lnTo>
                    <a:pt x="3590" y="2848"/>
                  </a:lnTo>
                  <a:lnTo>
                    <a:pt x="3590" y="2848"/>
                  </a:lnTo>
                  <a:lnTo>
                    <a:pt x="3590" y="2848"/>
                  </a:lnTo>
                  <a:lnTo>
                    <a:pt x="3590" y="2848"/>
                  </a:lnTo>
                  <a:lnTo>
                    <a:pt x="3592" y="2850"/>
                  </a:lnTo>
                  <a:lnTo>
                    <a:pt x="3592" y="2848"/>
                  </a:lnTo>
                  <a:lnTo>
                    <a:pt x="3592" y="2848"/>
                  </a:lnTo>
                  <a:lnTo>
                    <a:pt x="3590" y="2848"/>
                  </a:lnTo>
                  <a:close/>
                  <a:moveTo>
                    <a:pt x="3561" y="2860"/>
                  </a:moveTo>
                  <a:lnTo>
                    <a:pt x="3561" y="2860"/>
                  </a:lnTo>
                  <a:lnTo>
                    <a:pt x="3564" y="2860"/>
                  </a:lnTo>
                  <a:lnTo>
                    <a:pt x="3564" y="2860"/>
                  </a:lnTo>
                  <a:lnTo>
                    <a:pt x="3564" y="2860"/>
                  </a:lnTo>
                  <a:lnTo>
                    <a:pt x="3561" y="2860"/>
                  </a:lnTo>
                  <a:close/>
                  <a:moveTo>
                    <a:pt x="3502" y="2654"/>
                  </a:moveTo>
                  <a:lnTo>
                    <a:pt x="3502" y="2654"/>
                  </a:lnTo>
                  <a:lnTo>
                    <a:pt x="3502" y="2654"/>
                  </a:lnTo>
                  <a:lnTo>
                    <a:pt x="3505" y="2654"/>
                  </a:lnTo>
                  <a:lnTo>
                    <a:pt x="3505" y="2654"/>
                  </a:lnTo>
                  <a:lnTo>
                    <a:pt x="3505" y="2654"/>
                  </a:lnTo>
                  <a:lnTo>
                    <a:pt x="3505" y="2654"/>
                  </a:lnTo>
                  <a:lnTo>
                    <a:pt x="3505" y="2654"/>
                  </a:lnTo>
                  <a:lnTo>
                    <a:pt x="3505" y="2654"/>
                  </a:lnTo>
                  <a:lnTo>
                    <a:pt x="3505" y="2654"/>
                  </a:lnTo>
                  <a:lnTo>
                    <a:pt x="3505" y="2654"/>
                  </a:lnTo>
                  <a:lnTo>
                    <a:pt x="3505" y="2654"/>
                  </a:lnTo>
                  <a:lnTo>
                    <a:pt x="3505" y="2654"/>
                  </a:lnTo>
                  <a:lnTo>
                    <a:pt x="3505" y="2654"/>
                  </a:lnTo>
                  <a:lnTo>
                    <a:pt x="3505" y="2654"/>
                  </a:lnTo>
                  <a:lnTo>
                    <a:pt x="3505" y="2654"/>
                  </a:lnTo>
                  <a:lnTo>
                    <a:pt x="3505" y="2654"/>
                  </a:lnTo>
                  <a:lnTo>
                    <a:pt x="3502" y="2654"/>
                  </a:lnTo>
                  <a:close/>
                  <a:moveTo>
                    <a:pt x="3486" y="2635"/>
                  </a:moveTo>
                  <a:lnTo>
                    <a:pt x="3486" y="2635"/>
                  </a:lnTo>
                  <a:lnTo>
                    <a:pt x="3483" y="2635"/>
                  </a:lnTo>
                  <a:lnTo>
                    <a:pt x="3483" y="2635"/>
                  </a:lnTo>
                  <a:lnTo>
                    <a:pt x="3483" y="2637"/>
                  </a:lnTo>
                  <a:lnTo>
                    <a:pt x="3486" y="2637"/>
                  </a:lnTo>
                  <a:lnTo>
                    <a:pt x="3486" y="2637"/>
                  </a:lnTo>
                  <a:lnTo>
                    <a:pt x="3486" y="2635"/>
                  </a:lnTo>
                  <a:lnTo>
                    <a:pt x="3486" y="2635"/>
                  </a:lnTo>
                  <a:lnTo>
                    <a:pt x="3486" y="2635"/>
                  </a:lnTo>
                  <a:close/>
                  <a:moveTo>
                    <a:pt x="3505" y="2651"/>
                  </a:moveTo>
                  <a:lnTo>
                    <a:pt x="3502" y="2651"/>
                  </a:lnTo>
                  <a:lnTo>
                    <a:pt x="3502" y="2651"/>
                  </a:lnTo>
                  <a:lnTo>
                    <a:pt x="3502" y="2651"/>
                  </a:lnTo>
                  <a:lnTo>
                    <a:pt x="3502" y="2651"/>
                  </a:lnTo>
                  <a:lnTo>
                    <a:pt x="3502" y="2651"/>
                  </a:lnTo>
                  <a:lnTo>
                    <a:pt x="3502" y="2651"/>
                  </a:lnTo>
                  <a:lnTo>
                    <a:pt x="3502" y="2651"/>
                  </a:lnTo>
                  <a:lnTo>
                    <a:pt x="3502" y="2654"/>
                  </a:lnTo>
                  <a:lnTo>
                    <a:pt x="3502" y="2654"/>
                  </a:lnTo>
                  <a:lnTo>
                    <a:pt x="3505" y="2651"/>
                  </a:lnTo>
                  <a:lnTo>
                    <a:pt x="3505" y="2651"/>
                  </a:lnTo>
                  <a:lnTo>
                    <a:pt x="3505" y="2651"/>
                  </a:lnTo>
                  <a:lnTo>
                    <a:pt x="3505" y="2651"/>
                  </a:lnTo>
                  <a:close/>
                  <a:moveTo>
                    <a:pt x="3538" y="2748"/>
                  </a:moveTo>
                  <a:lnTo>
                    <a:pt x="3538" y="2748"/>
                  </a:lnTo>
                  <a:lnTo>
                    <a:pt x="3538" y="2746"/>
                  </a:lnTo>
                  <a:lnTo>
                    <a:pt x="3538" y="2746"/>
                  </a:lnTo>
                  <a:lnTo>
                    <a:pt x="3538" y="2748"/>
                  </a:lnTo>
                  <a:lnTo>
                    <a:pt x="3538" y="2748"/>
                  </a:lnTo>
                  <a:lnTo>
                    <a:pt x="3538" y="2751"/>
                  </a:lnTo>
                  <a:lnTo>
                    <a:pt x="3538" y="2751"/>
                  </a:lnTo>
                  <a:lnTo>
                    <a:pt x="3538" y="2751"/>
                  </a:lnTo>
                  <a:lnTo>
                    <a:pt x="3538" y="2748"/>
                  </a:lnTo>
                  <a:lnTo>
                    <a:pt x="3538" y="2748"/>
                  </a:lnTo>
                  <a:close/>
                  <a:moveTo>
                    <a:pt x="3517" y="2720"/>
                  </a:moveTo>
                  <a:lnTo>
                    <a:pt x="3517" y="2720"/>
                  </a:lnTo>
                  <a:lnTo>
                    <a:pt x="3514" y="2720"/>
                  </a:lnTo>
                  <a:lnTo>
                    <a:pt x="3514" y="2718"/>
                  </a:lnTo>
                  <a:lnTo>
                    <a:pt x="3514" y="2720"/>
                  </a:lnTo>
                  <a:lnTo>
                    <a:pt x="3514" y="2720"/>
                  </a:lnTo>
                  <a:lnTo>
                    <a:pt x="3517" y="2720"/>
                  </a:lnTo>
                  <a:lnTo>
                    <a:pt x="3517" y="2720"/>
                  </a:lnTo>
                  <a:lnTo>
                    <a:pt x="3519" y="2722"/>
                  </a:lnTo>
                  <a:lnTo>
                    <a:pt x="3519" y="2725"/>
                  </a:lnTo>
                  <a:lnTo>
                    <a:pt x="3519" y="2722"/>
                  </a:lnTo>
                  <a:lnTo>
                    <a:pt x="3517" y="2720"/>
                  </a:lnTo>
                  <a:close/>
                  <a:moveTo>
                    <a:pt x="3318" y="2595"/>
                  </a:moveTo>
                  <a:lnTo>
                    <a:pt x="3318" y="2595"/>
                  </a:lnTo>
                  <a:lnTo>
                    <a:pt x="3315" y="2595"/>
                  </a:lnTo>
                  <a:lnTo>
                    <a:pt x="3315" y="2595"/>
                  </a:lnTo>
                  <a:lnTo>
                    <a:pt x="3311" y="2597"/>
                  </a:lnTo>
                  <a:lnTo>
                    <a:pt x="3308" y="2597"/>
                  </a:lnTo>
                  <a:lnTo>
                    <a:pt x="3308" y="2597"/>
                  </a:lnTo>
                  <a:lnTo>
                    <a:pt x="3306" y="2597"/>
                  </a:lnTo>
                  <a:lnTo>
                    <a:pt x="3306" y="2597"/>
                  </a:lnTo>
                  <a:lnTo>
                    <a:pt x="3306" y="2597"/>
                  </a:lnTo>
                  <a:lnTo>
                    <a:pt x="3304" y="2597"/>
                  </a:lnTo>
                  <a:lnTo>
                    <a:pt x="3301" y="2599"/>
                  </a:lnTo>
                  <a:lnTo>
                    <a:pt x="3294" y="2602"/>
                  </a:lnTo>
                  <a:lnTo>
                    <a:pt x="3292" y="2602"/>
                  </a:lnTo>
                  <a:lnTo>
                    <a:pt x="3292" y="2602"/>
                  </a:lnTo>
                  <a:lnTo>
                    <a:pt x="3294" y="2602"/>
                  </a:lnTo>
                  <a:lnTo>
                    <a:pt x="3308" y="2597"/>
                  </a:lnTo>
                  <a:lnTo>
                    <a:pt x="3322" y="2595"/>
                  </a:lnTo>
                  <a:lnTo>
                    <a:pt x="3322" y="2595"/>
                  </a:lnTo>
                  <a:lnTo>
                    <a:pt x="3322" y="2595"/>
                  </a:lnTo>
                  <a:lnTo>
                    <a:pt x="3322" y="2595"/>
                  </a:lnTo>
                  <a:lnTo>
                    <a:pt x="3322" y="2595"/>
                  </a:lnTo>
                  <a:lnTo>
                    <a:pt x="3322" y="2595"/>
                  </a:lnTo>
                  <a:lnTo>
                    <a:pt x="3322" y="2595"/>
                  </a:lnTo>
                  <a:lnTo>
                    <a:pt x="3322" y="2595"/>
                  </a:lnTo>
                  <a:lnTo>
                    <a:pt x="3325" y="2595"/>
                  </a:lnTo>
                  <a:lnTo>
                    <a:pt x="3325" y="2595"/>
                  </a:lnTo>
                  <a:lnTo>
                    <a:pt x="3320" y="2595"/>
                  </a:lnTo>
                  <a:lnTo>
                    <a:pt x="3318" y="2595"/>
                  </a:lnTo>
                  <a:close/>
                  <a:moveTo>
                    <a:pt x="3412" y="2611"/>
                  </a:moveTo>
                  <a:lnTo>
                    <a:pt x="3410" y="2614"/>
                  </a:lnTo>
                  <a:lnTo>
                    <a:pt x="3410" y="2614"/>
                  </a:lnTo>
                  <a:lnTo>
                    <a:pt x="3410" y="2614"/>
                  </a:lnTo>
                  <a:lnTo>
                    <a:pt x="3412" y="2614"/>
                  </a:lnTo>
                  <a:lnTo>
                    <a:pt x="3412" y="2614"/>
                  </a:lnTo>
                  <a:lnTo>
                    <a:pt x="3412" y="2611"/>
                  </a:lnTo>
                  <a:lnTo>
                    <a:pt x="3412" y="2611"/>
                  </a:lnTo>
                  <a:lnTo>
                    <a:pt x="3412" y="2611"/>
                  </a:lnTo>
                  <a:close/>
                  <a:moveTo>
                    <a:pt x="3540" y="2753"/>
                  </a:moveTo>
                  <a:lnTo>
                    <a:pt x="3540" y="2753"/>
                  </a:lnTo>
                  <a:lnTo>
                    <a:pt x="3540" y="2753"/>
                  </a:lnTo>
                  <a:lnTo>
                    <a:pt x="3540" y="2753"/>
                  </a:lnTo>
                  <a:lnTo>
                    <a:pt x="3538" y="2753"/>
                  </a:lnTo>
                  <a:lnTo>
                    <a:pt x="3540" y="2755"/>
                  </a:lnTo>
                  <a:lnTo>
                    <a:pt x="3540" y="2755"/>
                  </a:lnTo>
                  <a:lnTo>
                    <a:pt x="3540" y="2755"/>
                  </a:lnTo>
                  <a:lnTo>
                    <a:pt x="3540" y="2755"/>
                  </a:lnTo>
                  <a:lnTo>
                    <a:pt x="3540" y="2753"/>
                  </a:lnTo>
                  <a:close/>
                  <a:moveTo>
                    <a:pt x="3256" y="2609"/>
                  </a:moveTo>
                  <a:lnTo>
                    <a:pt x="3256" y="2609"/>
                  </a:lnTo>
                  <a:lnTo>
                    <a:pt x="3256" y="2609"/>
                  </a:lnTo>
                  <a:lnTo>
                    <a:pt x="3254" y="2609"/>
                  </a:lnTo>
                  <a:lnTo>
                    <a:pt x="3254" y="2609"/>
                  </a:lnTo>
                  <a:lnTo>
                    <a:pt x="3251" y="2609"/>
                  </a:lnTo>
                  <a:lnTo>
                    <a:pt x="3247" y="2611"/>
                  </a:lnTo>
                  <a:lnTo>
                    <a:pt x="3247" y="2611"/>
                  </a:lnTo>
                  <a:lnTo>
                    <a:pt x="3256" y="2609"/>
                  </a:lnTo>
                  <a:lnTo>
                    <a:pt x="3256" y="2609"/>
                  </a:lnTo>
                  <a:lnTo>
                    <a:pt x="3259" y="2609"/>
                  </a:lnTo>
                  <a:lnTo>
                    <a:pt x="3259" y="2609"/>
                  </a:lnTo>
                  <a:lnTo>
                    <a:pt x="3256" y="2609"/>
                  </a:lnTo>
                  <a:close/>
                  <a:moveTo>
                    <a:pt x="3391" y="2623"/>
                  </a:moveTo>
                  <a:lnTo>
                    <a:pt x="3391" y="2621"/>
                  </a:lnTo>
                  <a:lnTo>
                    <a:pt x="3391" y="2621"/>
                  </a:lnTo>
                  <a:lnTo>
                    <a:pt x="3391" y="2621"/>
                  </a:lnTo>
                  <a:lnTo>
                    <a:pt x="3391" y="2621"/>
                  </a:lnTo>
                  <a:lnTo>
                    <a:pt x="3389" y="2621"/>
                  </a:lnTo>
                  <a:lnTo>
                    <a:pt x="3389" y="2623"/>
                  </a:lnTo>
                  <a:lnTo>
                    <a:pt x="3389" y="2623"/>
                  </a:lnTo>
                  <a:lnTo>
                    <a:pt x="3386" y="2623"/>
                  </a:lnTo>
                  <a:lnTo>
                    <a:pt x="3386" y="2623"/>
                  </a:lnTo>
                  <a:lnTo>
                    <a:pt x="3386" y="2623"/>
                  </a:lnTo>
                  <a:lnTo>
                    <a:pt x="3389" y="2623"/>
                  </a:lnTo>
                  <a:lnTo>
                    <a:pt x="3389" y="2623"/>
                  </a:lnTo>
                  <a:lnTo>
                    <a:pt x="3389" y="2623"/>
                  </a:lnTo>
                  <a:lnTo>
                    <a:pt x="3389" y="2625"/>
                  </a:lnTo>
                  <a:lnTo>
                    <a:pt x="3389" y="2625"/>
                  </a:lnTo>
                  <a:lnTo>
                    <a:pt x="3391" y="2625"/>
                  </a:lnTo>
                  <a:lnTo>
                    <a:pt x="3391" y="2625"/>
                  </a:lnTo>
                  <a:lnTo>
                    <a:pt x="3391" y="2623"/>
                  </a:lnTo>
                  <a:lnTo>
                    <a:pt x="3391" y="2623"/>
                  </a:lnTo>
                  <a:lnTo>
                    <a:pt x="3391" y="2623"/>
                  </a:lnTo>
                  <a:lnTo>
                    <a:pt x="3391" y="2623"/>
                  </a:lnTo>
                  <a:lnTo>
                    <a:pt x="3391" y="2623"/>
                  </a:lnTo>
                  <a:close/>
                  <a:moveTo>
                    <a:pt x="3408" y="2616"/>
                  </a:moveTo>
                  <a:lnTo>
                    <a:pt x="3408" y="2616"/>
                  </a:lnTo>
                  <a:lnTo>
                    <a:pt x="3405" y="2618"/>
                  </a:lnTo>
                  <a:lnTo>
                    <a:pt x="3405" y="2618"/>
                  </a:lnTo>
                  <a:lnTo>
                    <a:pt x="3405" y="2618"/>
                  </a:lnTo>
                  <a:lnTo>
                    <a:pt x="3405" y="2618"/>
                  </a:lnTo>
                  <a:lnTo>
                    <a:pt x="3405" y="2618"/>
                  </a:lnTo>
                  <a:lnTo>
                    <a:pt x="3405" y="2618"/>
                  </a:lnTo>
                  <a:lnTo>
                    <a:pt x="3405" y="2618"/>
                  </a:lnTo>
                  <a:lnTo>
                    <a:pt x="3405" y="2618"/>
                  </a:lnTo>
                  <a:lnTo>
                    <a:pt x="3405" y="2618"/>
                  </a:lnTo>
                  <a:lnTo>
                    <a:pt x="3396" y="2625"/>
                  </a:lnTo>
                  <a:lnTo>
                    <a:pt x="3393" y="2625"/>
                  </a:lnTo>
                  <a:lnTo>
                    <a:pt x="3393" y="2625"/>
                  </a:lnTo>
                  <a:lnTo>
                    <a:pt x="3391" y="2625"/>
                  </a:lnTo>
                  <a:lnTo>
                    <a:pt x="3391" y="2625"/>
                  </a:lnTo>
                  <a:lnTo>
                    <a:pt x="3393" y="2625"/>
                  </a:lnTo>
                  <a:lnTo>
                    <a:pt x="3393" y="2625"/>
                  </a:lnTo>
                  <a:lnTo>
                    <a:pt x="3396" y="2625"/>
                  </a:lnTo>
                  <a:lnTo>
                    <a:pt x="3398" y="2625"/>
                  </a:lnTo>
                  <a:lnTo>
                    <a:pt x="3401" y="2623"/>
                  </a:lnTo>
                  <a:lnTo>
                    <a:pt x="3401" y="2623"/>
                  </a:lnTo>
                  <a:lnTo>
                    <a:pt x="3405" y="2621"/>
                  </a:lnTo>
                  <a:lnTo>
                    <a:pt x="3408" y="2618"/>
                  </a:lnTo>
                  <a:lnTo>
                    <a:pt x="3408" y="2616"/>
                  </a:lnTo>
                  <a:lnTo>
                    <a:pt x="3408" y="2616"/>
                  </a:lnTo>
                  <a:lnTo>
                    <a:pt x="3408" y="2616"/>
                  </a:lnTo>
                  <a:lnTo>
                    <a:pt x="3408" y="2616"/>
                  </a:lnTo>
                  <a:lnTo>
                    <a:pt x="3408" y="2616"/>
                  </a:lnTo>
                  <a:lnTo>
                    <a:pt x="3408" y="2616"/>
                  </a:lnTo>
                  <a:close/>
                  <a:moveTo>
                    <a:pt x="3545" y="2753"/>
                  </a:moveTo>
                  <a:lnTo>
                    <a:pt x="3545" y="2751"/>
                  </a:lnTo>
                  <a:lnTo>
                    <a:pt x="3543" y="2751"/>
                  </a:lnTo>
                  <a:lnTo>
                    <a:pt x="3543" y="2751"/>
                  </a:lnTo>
                  <a:lnTo>
                    <a:pt x="3543" y="2753"/>
                  </a:lnTo>
                  <a:lnTo>
                    <a:pt x="3545" y="2755"/>
                  </a:lnTo>
                  <a:lnTo>
                    <a:pt x="3545" y="2755"/>
                  </a:lnTo>
                  <a:lnTo>
                    <a:pt x="3545" y="2758"/>
                  </a:lnTo>
                  <a:lnTo>
                    <a:pt x="3547" y="2758"/>
                  </a:lnTo>
                  <a:lnTo>
                    <a:pt x="3547" y="2760"/>
                  </a:lnTo>
                  <a:lnTo>
                    <a:pt x="3547" y="2763"/>
                  </a:lnTo>
                  <a:lnTo>
                    <a:pt x="3550" y="2763"/>
                  </a:lnTo>
                  <a:lnTo>
                    <a:pt x="3550" y="2760"/>
                  </a:lnTo>
                  <a:lnTo>
                    <a:pt x="3547" y="2758"/>
                  </a:lnTo>
                  <a:lnTo>
                    <a:pt x="3547" y="2758"/>
                  </a:lnTo>
                  <a:lnTo>
                    <a:pt x="3547" y="2755"/>
                  </a:lnTo>
                  <a:lnTo>
                    <a:pt x="3545" y="2755"/>
                  </a:lnTo>
                  <a:lnTo>
                    <a:pt x="3545" y="2753"/>
                  </a:lnTo>
                  <a:lnTo>
                    <a:pt x="3545" y="2753"/>
                  </a:lnTo>
                  <a:close/>
                  <a:moveTo>
                    <a:pt x="3580" y="2855"/>
                  </a:moveTo>
                  <a:lnTo>
                    <a:pt x="3580" y="2855"/>
                  </a:lnTo>
                  <a:lnTo>
                    <a:pt x="3580" y="2855"/>
                  </a:lnTo>
                  <a:lnTo>
                    <a:pt x="3580" y="2855"/>
                  </a:lnTo>
                  <a:lnTo>
                    <a:pt x="3578" y="2855"/>
                  </a:lnTo>
                  <a:lnTo>
                    <a:pt x="3578" y="2857"/>
                  </a:lnTo>
                  <a:lnTo>
                    <a:pt x="3578" y="2857"/>
                  </a:lnTo>
                  <a:lnTo>
                    <a:pt x="3578" y="2857"/>
                  </a:lnTo>
                  <a:lnTo>
                    <a:pt x="3578" y="2857"/>
                  </a:lnTo>
                  <a:lnTo>
                    <a:pt x="3578" y="2857"/>
                  </a:lnTo>
                  <a:lnTo>
                    <a:pt x="3578" y="2857"/>
                  </a:lnTo>
                  <a:lnTo>
                    <a:pt x="3578" y="2857"/>
                  </a:lnTo>
                  <a:lnTo>
                    <a:pt x="3580" y="2855"/>
                  </a:lnTo>
                  <a:lnTo>
                    <a:pt x="3580" y="2855"/>
                  </a:lnTo>
                  <a:lnTo>
                    <a:pt x="3580" y="2855"/>
                  </a:lnTo>
                  <a:lnTo>
                    <a:pt x="3580" y="2855"/>
                  </a:lnTo>
                  <a:lnTo>
                    <a:pt x="3580" y="2855"/>
                  </a:lnTo>
                  <a:lnTo>
                    <a:pt x="3580" y="2855"/>
                  </a:lnTo>
                  <a:lnTo>
                    <a:pt x="3580" y="2855"/>
                  </a:lnTo>
                  <a:lnTo>
                    <a:pt x="3580" y="2855"/>
                  </a:lnTo>
                  <a:lnTo>
                    <a:pt x="3580" y="2855"/>
                  </a:lnTo>
                  <a:lnTo>
                    <a:pt x="3580" y="2855"/>
                  </a:lnTo>
                  <a:lnTo>
                    <a:pt x="3580" y="2855"/>
                  </a:lnTo>
                  <a:lnTo>
                    <a:pt x="3580" y="2855"/>
                  </a:lnTo>
                  <a:lnTo>
                    <a:pt x="3580" y="2855"/>
                  </a:lnTo>
                  <a:close/>
                  <a:moveTo>
                    <a:pt x="3588" y="2848"/>
                  </a:moveTo>
                  <a:lnTo>
                    <a:pt x="3588" y="2848"/>
                  </a:lnTo>
                  <a:lnTo>
                    <a:pt x="3588" y="2848"/>
                  </a:lnTo>
                  <a:lnTo>
                    <a:pt x="3588" y="2848"/>
                  </a:lnTo>
                  <a:lnTo>
                    <a:pt x="3588" y="2848"/>
                  </a:lnTo>
                  <a:lnTo>
                    <a:pt x="3588" y="2848"/>
                  </a:lnTo>
                  <a:lnTo>
                    <a:pt x="3588" y="2848"/>
                  </a:lnTo>
                  <a:lnTo>
                    <a:pt x="3588" y="2848"/>
                  </a:lnTo>
                  <a:lnTo>
                    <a:pt x="3588" y="2848"/>
                  </a:lnTo>
                  <a:lnTo>
                    <a:pt x="3588" y="2848"/>
                  </a:lnTo>
                  <a:lnTo>
                    <a:pt x="3588" y="2850"/>
                  </a:lnTo>
                  <a:lnTo>
                    <a:pt x="3588" y="2850"/>
                  </a:lnTo>
                  <a:lnTo>
                    <a:pt x="3588" y="2850"/>
                  </a:lnTo>
                  <a:lnTo>
                    <a:pt x="3590" y="2850"/>
                  </a:lnTo>
                  <a:lnTo>
                    <a:pt x="3590" y="2850"/>
                  </a:lnTo>
                  <a:lnTo>
                    <a:pt x="3590" y="2850"/>
                  </a:lnTo>
                  <a:lnTo>
                    <a:pt x="3590" y="2850"/>
                  </a:lnTo>
                  <a:lnTo>
                    <a:pt x="3590" y="2850"/>
                  </a:lnTo>
                  <a:lnTo>
                    <a:pt x="3590" y="2850"/>
                  </a:lnTo>
                  <a:lnTo>
                    <a:pt x="3588" y="2850"/>
                  </a:lnTo>
                  <a:lnTo>
                    <a:pt x="3588" y="2850"/>
                  </a:lnTo>
                  <a:lnTo>
                    <a:pt x="3588" y="2850"/>
                  </a:lnTo>
                  <a:lnTo>
                    <a:pt x="3588" y="2850"/>
                  </a:lnTo>
                  <a:lnTo>
                    <a:pt x="3588" y="2850"/>
                  </a:lnTo>
                  <a:lnTo>
                    <a:pt x="3588" y="2850"/>
                  </a:lnTo>
                  <a:lnTo>
                    <a:pt x="3588" y="2850"/>
                  </a:lnTo>
                  <a:lnTo>
                    <a:pt x="3588" y="2852"/>
                  </a:lnTo>
                  <a:lnTo>
                    <a:pt x="3588" y="2852"/>
                  </a:lnTo>
                  <a:lnTo>
                    <a:pt x="3588" y="2852"/>
                  </a:lnTo>
                  <a:lnTo>
                    <a:pt x="3585" y="2852"/>
                  </a:lnTo>
                  <a:lnTo>
                    <a:pt x="3585" y="2852"/>
                  </a:lnTo>
                  <a:lnTo>
                    <a:pt x="3585" y="2852"/>
                  </a:lnTo>
                  <a:lnTo>
                    <a:pt x="3585" y="2855"/>
                  </a:lnTo>
                  <a:lnTo>
                    <a:pt x="3588" y="2852"/>
                  </a:lnTo>
                  <a:lnTo>
                    <a:pt x="3590" y="2850"/>
                  </a:lnTo>
                  <a:lnTo>
                    <a:pt x="3590" y="2850"/>
                  </a:lnTo>
                  <a:lnTo>
                    <a:pt x="3590" y="2850"/>
                  </a:lnTo>
                  <a:lnTo>
                    <a:pt x="3588" y="2848"/>
                  </a:lnTo>
                  <a:close/>
                  <a:moveTo>
                    <a:pt x="3580" y="2789"/>
                  </a:moveTo>
                  <a:lnTo>
                    <a:pt x="3580" y="2789"/>
                  </a:lnTo>
                  <a:lnTo>
                    <a:pt x="3580" y="2789"/>
                  </a:lnTo>
                  <a:lnTo>
                    <a:pt x="3580" y="2789"/>
                  </a:lnTo>
                  <a:lnTo>
                    <a:pt x="3583" y="2789"/>
                  </a:lnTo>
                  <a:lnTo>
                    <a:pt x="3583" y="2791"/>
                  </a:lnTo>
                  <a:lnTo>
                    <a:pt x="3583" y="2791"/>
                  </a:lnTo>
                  <a:lnTo>
                    <a:pt x="3583" y="2791"/>
                  </a:lnTo>
                  <a:lnTo>
                    <a:pt x="3583" y="2789"/>
                  </a:lnTo>
                  <a:lnTo>
                    <a:pt x="3583" y="2789"/>
                  </a:lnTo>
                  <a:lnTo>
                    <a:pt x="3583" y="2789"/>
                  </a:lnTo>
                  <a:lnTo>
                    <a:pt x="3583" y="2789"/>
                  </a:lnTo>
                  <a:lnTo>
                    <a:pt x="3583" y="2789"/>
                  </a:lnTo>
                  <a:lnTo>
                    <a:pt x="3580" y="2789"/>
                  </a:lnTo>
                  <a:lnTo>
                    <a:pt x="3580" y="2789"/>
                  </a:lnTo>
                  <a:lnTo>
                    <a:pt x="3580" y="2789"/>
                  </a:lnTo>
                  <a:lnTo>
                    <a:pt x="3580" y="2789"/>
                  </a:lnTo>
                  <a:lnTo>
                    <a:pt x="3580" y="2789"/>
                  </a:lnTo>
                  <a:lnTo>
                    <a:pt x="3580" y="2789"/>
                  </a:lnTo>
                  <a:lnTo>
                    <a:pt x="3580" y="2789"/>
                  </a:lnTo>
                  <a:lnTo>
                    <a:pt x="3580" y="2791"/>
                  </a:lnTo>
                  <a:lnTo>
                    <a:pt x="3580" y="2791"/>
                  </a:lnTo>
                  <a:lnTo>
                    <a:pt x="3580" y="2791"/>
                  </a:lnTo>
                  <a:lnTo>
                    <a:pt x="3580" y="2789"/>
                  </a:lnTo>
                  <a:lnTo>
                    <a:pt x="3580" y="2789"/>
                  </a:lnTo>
                  <a:lnTo>
                    <a:pt x="3580" y="2789"/>
                  </a:lnTo>
                  <a:lnTo>
                    <a:pt x="3580" y="2789"/>
                  </a:lnTo>
                  <a:lnTo>
                    <a:pt x="3580" y="2789"/>
                  </a:lnTo>
                  <a:close/>
                  <a:moveTo>
                    <a:pt x="3585" y="2791"/>
                  </a:moveTo>
                  <a:lnTo>
                    <a:pt x="3585" y="2791"/>
                  </a:lnTo>
                  <a:lnTo>
                    <a:pt x="3585" y="2791"/>
                  </a:lnTo>
                  <a:lnTo>
                    <a:pt x="3585" y="2791"/>
                  </a:lnTo>
                  <a:lnTo>
                    <a:pt x="3585" y="2791"/>
                  </a:lnTo>
                  <a:lnTo>
                    <a:pt x="3585" y="2791"/>
                  </a:lnTo>
                  <a:lnTo>
                    <a:pt x="3585" y="2791"/>
                  </a:lnTo>
                  <a:lnTo>
                    <a:pt x="3588" y="2791"/>
                  </a:lnTo>
                  <a:lnTo>
                    <a:pt x="3585" y="2791"/>
                  </a:lnTo>
                  <a:lnTo>
                    <a:pt x="3585" y="2791"/>
                  </a:lnTo>
                  <a:lnTo>
                    <a:pt x="3585" y="2789"/>
                  </a:lnTo>
                  <a:lnTo>
                    <a:pt x="3585" y="2789"/>
                  </a:lnTo>
                  <a:lnTo>
                    <a:pt x="3585" y="2789"/>
                  </a:lnTo>
                  <a:lnTo>
                    <a:pt x="3583" y="2789"/>
                  </a:lnTo>
                  <a:lnTo>
                    <a:pt x="3583" y="2789"/>
                  </a:lnTo>
                  <a:lnTo>
                    <a:pt x="3583" y="2789"/>
                  </a:lnTo>
                  <a:lnTo>
                    <a:pt x="3583" y="2791"/>
                  </a:lnTo>
                  <a:lnTo>
                    <a:pt x="3583" y="2791"/>
                  </a:lnTo>
                  <a:lnTo>
                    <a:pt x="3583" y="2791"/>
                  </a:lnTo>
                  <a:lnTo>
                    <a:pt x="3583" y="2791"/>
                  </a:lnTo>
                  <a:lnTo>
                    <a:pt x="3585" y="2791"/>
                  </a:lnTo>
                  <a:lnTo>
                    <a:pt x="3585" y="2791"/>
                  </a:lnTo>
                  <a:lnTo>
                    <a:pt x="3585" y="2791"/>
                  </a:lnTo>
                  <a:close/>
                  <a:moveTo>
                    <a:pt x="3583" y="2852"/>
                  </a:moveTo>
                  <a:lnTo>
                    <a:pt x="3583" y="2855"/>
                  </a:lnTo>
                  <a:lnTo>
                    <a:pt x="3583" y="2855"/>
                  </a:lnTo>
                  <a:lnTo>
                    <a:pt x="3580" y="2852"/>
                  </a:lnTo>
                  <a:lnTo>
                    <a:pt x="3580" y="2852"/>
                  </a:lnTo>
                  <a:lnTo>
                    <a:pt x="3580" y="2855"/>
                  </a:lnTo>
                  <a:lnTo>
                    <a:pt x="3580" y="2855"/>
                  </a:lnTo>
                  <a:lnTo>
                    <a:pt x="3580" y="2855"/>
                  </a:lnTo>
                  <a:lnTo>
                    <a:pt x="3580" y="2855"/>
                  </a:lnTo>
                  <a:lnTo>
                    <a:pt x="3580" y="2855"/>
                  </a:lnTo>
                  <a:lnTo>
                    <a:pt x="3580" y="2855"/>
                  </a:lnTo>
                  <a:lnTo>
                    <a:pt x="3580" y="2855"/>
                  </a:lnTo>
                  <a:lnTo>
                    <a:pt x="3585" y="2855"/>
                  </a:lnTo>
                  <a:lnTo>
                    <a:pt x="3583" y="2852"/>
                  </a:lnTo>
                  <a:lnTo>
                    <a:pt x="3583" y="2852"/>
                  </a:lnTo>
                  <a:close/>
                  <a:moveTo>
                    <a:pt x="3578" y="2786"/>
                  </a:moveTo>
                  <a:lnTo>
                    <a:pt x="3578" y="2786"/>
                  </a:lnTo>
                  <a:lnTo>
                    <a:pt x="3578" y="2786"/>
                  </a:lnTo>
                  <a:lnTo>
                    <a:pt x="3578" y="2789"/>
                  </a:lnTo>
                  <a:lnTo>
                    <a:pt x="3578" y="2789"/>
                  </a:lnTo>
                  <a:lnTo>
                    <a:pt x="3578" y="2789"/>
                  </a:lnTo>
                  <a:lnTo>
                    <a:pt x="3578" y="2789"/>
                  </a:lnTo>
                  <a:lnTo>
                    <a:pt x="3578" y="2789"/>
                  </a:lnTo>
                  <a:lnTo>
                    <a:pt x="3578" y="2789"/>
                  </a:lnTo>
                  <a:lnTo>
                    <a:pt x="3578" y="2789"/>
                  </a:lnTo>
                  <a:lnTo>
                    <a:pt x="3578" y="2789"/>
                  </a:lnTo>
                  <a:lnTo>
                    <a:pt x="3578" y="2789"/>
                  </a:lnTo>
                  <a:lnTo>
                    <a:pt x="3578" y="2789"/>
                  </a:lnTo>
                  <a:lnTo>
                    <a:pt x="3578" y="2789"/>
                  </a:lnTo>
                  <a:lnTo>
                    <a:pt x="3578" y="2789"/>
                  </a:lnTo>
                  <a:lnTo>
                    <a:pt x="3578" y="2786"/>
                  </a:lnTo>
                  <a:lnTo>
                    <a:pt x="3578" y="2786"/>
                  </a:lnTo>
                  <a:close/>
                  <a:moveTo>
                    <a:pt x="3240" y="2614"/>
                  </a:moveTo>
                  <a:lnTo>
                    <a:pt x="3240" y="2614"/>
                  </a:lnTo>
                  <a:lnTo>
                    <a:pt x="3242" y="2614"/>
                  </a:lnTo>
                  <a:lnTo>
                    <a:pt x="3242" y="2614"/>
                  </a:lnTo>
                  <a:lnTo>
                    <a:pt x="3240" y="2614"/>
                  </a:lnTo>
                  <a:lnTo>
                    <a:pt x="3240" y="2614"/>
                  </a:lnTo>
                  <a:close/>
                  <a:moveTo>
                    <a:pt x="3550" y="2763"/>
                  </a:moveTo>
                  <a:lnTo>
                    <a:pt x="3547" y="2763"/>
                  </a:lnTo>
                  <a:lnTo>
                    <a:pt x="3547" y="2763"/>
                  </a:lnTo>
                  <a:lnTo>
                    <a:pt x="3545" y="2763"/>
                  </a:lnTo>
                  <a:lnTo>
                    <a:pt x="3545" y="2763"/>
                  </a:lnTo>
                  <a:lnTo>
                    <a:pt x="3545" y="2763"/>
                  </a:lnTo>
                  <a:lnTo>
                    <a:pt x="3545" y="2760"/>
                  </a:lnTo>
                  <a:lnTo>
                    <a:pt x="3543" y="2760"/>
                  </a:lnTo>
                  <a:lnTo>
                    <a:pt x="3543" y="2760"/>
                  </a:lnTo>
                  <a:lnTo>
                    <a:pt x="3543" y="2760"/>
                  </a:lnTo>
                  <a:lnTo>
                    <a:pt x="3543" y="2760"/>
                  </a:lnTo>
                  <a:lnTo>
                    <a:pt x="3543" y="2760"/>
                  </a:lnTo>
                  <a:lnTo>
                    <a:pt x="3545" y="2763"/>
                  </a:lnTo>
                  <a:lnTo>
                    <a:pt x="3545" y="2763"/>
                  </a:lnTo>
                  <a:lnTo>
                    <a:pt x="3545" y="2763"/>
                  </a:lnTo>
                  <a:lnTo>
                    <a:pt x="3545" y="2765"/>
                  </a:lnTo>
                  <a:lnTo>
                    <a:pt x="3547" y="2765"/>
                  </a:lnTo>
                  <a:lnTo>
                    <a:pt x="3550" y="2765"/>
                  </a:lnTo>
                  <a:lnTo>
                    <a:pt x="3550" y="2765"/>
                  </a:lnTo>
                  <a:lnTo>
                    <a:pt x="3550" y="2763"/>
                  </a:lnTo>
                  <a:lnTo>
                    <a:pt x="3552" y="2763"/>
                  </a:lnTo>
                  <a:lnTo>
                    <a:pt x="3550" y="2763"/>
                  </a:lnTo>
                  <a:lnTo>
                    <a:pt x="3550" y="2763"/>
                  </a:lnTo>
                  <a:close/>
                  <a:moveTo>
                    <a:pt x="3571" y="2789"/>
                  </a:moveTo>
                  <a:lnTo>
                    <a:pt x="3571" y="2789"/>
                  </a:lnTo>
                  <a:lnTo>
                    <a:pt x="3571" y="2789"/>
                  </a:lnTo>
                  <a:lnTo>
                    <a:pt x="3571" y="2789"/>
                  </a:lnTo>
                  <a:lnTo>
                    <a:pt x="3571" y="2789"/>
                  </a:lnTo>
                  <a:lnTo>
                    <a:pt x="3571" y="2789"/>
                  </a:lnTo>
                  <a:lnTo>
                    <a:pt x="3571" y="2789"/>
                  </a:lnTo>
                  <a:lnTo>
                    <a:pt x="3571" y="2789"/>
                  </a:lnTo>
                  <a:lnTo>
                    <a:pt x="3571" y="2789"/>
                  </a:lnTo>
                  <a:lnTo>
                    <a:pt x="3571" y="2791"/>
                  </a:lnTo>
                  <a:lnTo>
                    <a:pt x="3571" y="2791"/>
                  </a:lnTo>
                  <a:lnTo>
                    <a:pt x="3571" y="2791"/>
                  </a:lnTo>
                  <a:lnTo>
                    <a:pt x="3573" y="2789"/>
                  </a:lnTo>
                  <a:lnTo>
                    <a:pt x="3573" y="2789"/>
                  </a:lnTo>
                  <a:lnTo>
                    <a:pt x="3573" y="2789"/>
                  </a:lnTo>
                  <a:lnTo>
                    <a:pt x="3571" y="2789"/>
                  </a:lnTo>
                  <a:close/>
                  <a:moveTo>
                    <a:pt x="3561" y="2857"/>
                  </a:moveTo>
                  <a:lnTo>
                    <a:pt x="3561" y="2857"/>
                  </a:lnTo>
                  <a:lnTo>
                    <a:pt x="3561" y="2857"/>
                  </a:lnTo>
                  <a:lnTo>
                    <a:pt x="3561" y="2857"/>
                  </a:lnTo>
                  <a:lnTo>
                    <a:pt x="3561" y="2857"/>
                  </a:lnTo>
                  <a:lnTo>
                    <a:pt x="3561" y="2857"/>
                  </a:lnTo>
                  <a:lnTo>
                    <a:pt x="3561" y="2857"/>
                  </a:lnTo>
                  <a:lnTo>
                    <a:pt x="3561" y="2857"/>
                  </a:lnTo>
                  <a:lnTo>
                    <a:pt x="3564" y="2857"/>
                  </a:lnTo>
                  <a:lnTo>
                    <a:pt x="3564" y="2857"/>
                  </a:lnTo>
                  <a:lnTo>
                    <a:pt x="3564" y="2857"/>
                  </a:lnTo>
                  <a:lnTo>
                    <a:pt x="3564" y="2857"/>
                  </a:lnTo>
                  <a:lnTo>
                    <a:pt x="3561" y="2857"/>
                  </a:lnTo>
                  <a:close/>
                </a:path>
              </a:pathLst>
            </a:custGeom>
            <a:grpFill/>
            <a:ln w="6350" cap="rnd">
              <a:solidFill>
                <a:schemeClr val="bg1"/>
              </a:solidFill>
              <a:prstDash val="solid"/>
              <a:round/>
              <a:headEnd/>
              <a:tailEnd/>
            </a:ln>
          </p:spPr>
          <p:txBody>
            <a:bodyPr vert="horz" wrap="square" lIns="91440" tIns="45721" rIns="91440" bIns="45721" numCol="1" anchor="t" anchorCtr="0" compatLnSpc="1">
              <a:prstTxWarp prst="textNoShape">
                <a:avLst/>
              </a:prstTxWarp>
            </a:bodyPr>
            <a:lstStyle/>
            <a:p>
              <a:endParaRPr lang="en-US" sz="1801"/>
            </a:p>
          </p:txBody>
        </p:sp>
        <p:sp>
          <p:nvSpPr>
            <p:cNvPr id="5" name="Mexico">
              <a:extLst>
                <a:ext uri="{FF2B5EF4-FFF2-40B4-BE49-F238E27FC236}">
                  <a16:creationId xmlns:a16="http://schemas.microsoft.com/office/drawing/2014/main" id="{3734DF0B-01F1-2BDE-AB3C-5A4EED38A1DC}"/>
                </a:ext>
              </a:extLst>
            </p:cNvPr>
            <p:cNvSpPr>
              <a:spLocks noEditPoints="1"/>
            </p:cNvSpPr>
            <p:nvPr/>
          </p:nvSpPr>
          <p:spPr bwMode="auto">
            <a:xfrm>
              <a:off x="3549" y="3431"/>
              <a:ext cx="1451" cy="963"/>
            </a:xfrm>
            <a:custGeom>
              <a:avLst/>
              <a:gdLst>
                <a:gd name="T0" fmla="*/ 1424 w 1451"/>
                <a:gd name="T1" fmla="*/ 578 h 963"/>
                <a:gd name="T2" fmla="*/ 1287 w 1451"/>
                <a:gd name="T3" fmla="*/ 613 h 963"/>
                <a:gd name="T4" fmla="*/ 1238 w 1451"/>
                <a:gd name="T5" fmla="*/ 750 h 963"/>
                <a:gd name="T6" fmla="*/ 1212 w 1451"/>
                <a:gd name="T7" fmla="*/ 753 h 963"/>
                <a:gd name="T8" fmla="*/ 1114 w 1451"/>
                <a:gd name="T9" fmla="*/ 774 h 963"/>
                <a:gd name="T10" fmla="*/ 991 w 1451"/>
                <a:gd name="T11" fmla="*/ 717 h 963"/>
                <a:gd name="T12" fmla="*/ 913 w 1451"/>
                <a:gd name="T13" fmla="*/ 563 h 963"/>
                <a:gd name="T14" fmla="*/ 899 w 1451"/>
                <a:gd name="T15" fmla="*/ 384 h 963"/>
                <a:gd name="T16" fmla="*/ 835 w 1451"/>
                <a:gd name="T17" fmla="*/ 320 h 963"/>
                <a:gd name="T18" fmla="*/ 788 w 1451"/>
                <a:gd name="T19" fmla="*/ 246 h 963"/>
                <a:gd name="T20" fmla="*/ 724 w 1451"/>
                <a:gd name="T21" fmla="*/ 194 h 963"/>
                <a:gd name="T22" fmla="*/ 655 w 1451"/>
                <a:gd name="T23" fmla="*/ 228 h 963"/>
                <a:gd name="T24" fmla="*/ 587 w 1451"/>
                <a:gd name="T25" fmla="*/ 142 h 963"/>
                <a:gd name="T26" fmla="*/ 483 w 1451"/>
                <a:gd name="T27" fmla="*/ 86 h 963"/>
                <a:gd name="T28" fmla="*/ 400 w 1451"/>
                <a:gd name="T29" fmla="*/ 102 h 963"/>
                <a:gd name="T30" fmla="*/ 87 w 1451"/>
                <a:gd name="T31" fmla="*/ 27 h 963"/>
                <a:gd name="T32" fmla="*/ 121 w 1451"/>
                <a:gd name="T33" fmla="*/ 133 h 963"/>
                <a:gd name="T34" fmla="*/ 182 w 1451"/>
                <a:gd name="T35" fmla="*/ 235 h 963"/>
                <a:gd name="T36" fmla="*/ 180 w 1451"/>
                <a:gd name="T37" fmla="*/ 256 h 963"/>
                <a:gd name="T38" fmla="*/ 137 w 1451"/>
                <a:gd name="T39" fmla="*/ 251 h 963"/>
                <a:gd name="T40" fmla="*/ 213 w 1451"/>
                <a:gd name="T41" fmla="*/ 308 h 963"/>
                <a:gd name="T42" fmla="*/ 258 w 1451"/>
                <a:gd name="T43" fmla="*/ 377 h 963"/>
                <a:gd name="T44" fmla="*/ 258 w 1451"/>
                <a:gd name="T45" fmla="*/ 419 h 963"/>
                <a:gd name="T46" fmla="*/ 348 w 1451"/>
                <a:gd name="T47" fmla="*/ 526 h 963"/>
                <a:gd name="T48" fmla="*/ 343 w 1451"/>
                <a:gd name="T49" fmla="*/ 457 h 963"/>
                <a:gd name="T50" fmla="*/ 312 w 1451"/>
                <a:gd name="T51" fmla="*/ 433 h 963"/>
                <a:gd name="T52" fmla="*/ 305 w 1451"/>
                <a:gd name="T53" fmla="*/ 388 h 963"/>
                <a:gd name="T54" fmla="*/ 291 w 1451"/>
                <a:gd name="T55" fmla="*/ 334 h 963"/>
                <a:gd name="T56" fmla="*/ 260 w 1451"/>
                <a:gd name="T57" fmla="*/ 299 h 963"/>
                <a:gd name="T58" fmla="*/ 237 w 1451"/>
                <a:gd name="T59" fmla="*/ 232 h 963"/>
                <a:gd name="T60" fmla="*/ 208 w 1451"/>
                <a:gd name="T61" fmla="*/ 190 h 963"/>
                <a:gd name="T62" fmla="*/ 177 w 1451"/>
                <a:gd name="T63" fmla="*/ 150 h 963"/>
                <a:gd name="T64" fmla="*/ 175 w 1451"/>
                <a:gd name="T65" fmla="*/ 53 h 963"/>
                <a:gd name="T66" fmla="*/ 241 w 1451"/>
                <a:gd name="T67" fmla="*/ 114 h 963"/>
                <a:gd name="T68" fmla="*/ 284 w 1451"/>
                <a:gd name="T69" fmla="*/ 220 h 963"/>
                <a:gd name="T70" fmla="*/ 336 w 1451"/>
                <a:gd name="T71" fmla="*/ 275 h 963"/>
                <a:gd name="T72" fmla="*/ 381 w 1451"/>
                <a:gd name="T73" fmla="*/ 332 h 963"/>
                <a:gd name="T74" fmla="*/ 386 w 1451"/>
                <a:gd name="T75" fmla="*/ 386 h 963"/>
                <a:gd name="T76" fmla="*/ 407 w 1451"/>
                <a:gd name="T77" fmla="*/ 396 h 963"/>
                <a:gd name="T78" fmla="*/ 438 w 1451"/>
                <a:gd name="T79" fmla="*/ 433 h 963"/>
                <a:gd name="T80" fmla="*/ 450 w 1451"/>
                <a:gd name="T81" fmla="*/ 452 h 963"/>
                <a:gd name="T82" fmla="*/ 561 w 1451"/>
                <a:gd name="T83" fmla="*/ 623 h 963"/>
                <a:gd name="T84" fmla="*/ 577 w 1451"/>
                <a:gd name="T85" fmla="*/ 727 h 963"/>
                <a:gd name="T86" fmla="*/ 738 w 1451"/>
                <a:gd name="T87" fmla="*/ 819 h 963"/>
                <a:gd name="T88" fmla="*/ 904 w 1451"/>
                <a:gd name="T89" fmla="*/ 888 h 963"/>
                <a:gd name="T90" fmla="*/ 1053 w 1451"/>
                <a:gd name="T91" fmla="*/ 888 h 963"/>
                <a:gd name="T92" fmla="*/ 1098 w 1451"/>
                <a:gd name="T93" fmla="*/ 885 h 963"/>
                <a:gd name="T94" fmla="*/ 1207 w 1451"/>
                <a:gd name="T95" fmla="*/ 925 h 963"/>
                <a:gd name="T96" fmla="*/ 1280 w 1451"/>
                <a:gd name="T97" fmla="*/ 852 h 963"/>
                <a:gd name="T98" fmla="*/ 1372 w 1451"/>
                <a:gd name="T99" fmla="*/ 757 h 963"/>
                <a:gd name="T100" fmla="*/ 1408 w 1451"/>
                <a:gd name="T101" fmla="*/ 746 h 963"/>
                <a:gd name="T102" fmla="*/ 1422 w 1451"/>
                <a:gd name="T103" fmla="*/ 682 h 963"/>
                <a:gd name="T104" fmla="*/ 1434 w 1451"/>
                <a:gd name="T105" fmla="*/ 625 h 963"/>
                <a:gd name="T106" fmla="*/ 246 w 1451"/>
                <a:gd name="T107" fmla="*/ 414 h 963"/>
                <a:gd name="T108" fmla="*/ 494 w 1451"/>
                <a:gd name="T109" fmla="*/ 594 h 963"/>
                <a:gd name="T110" fmla="*/ 1221 w 1451"/>
                <a:gd name="T111" fmla="*/ 743 h 963"/>
                <a:gd name="T112" fmla="*/ 85 w 1451"/>
                <a:gd name="T113" fmla="*/ 391 h 963"/>
                <a:gd name="T114" fmla="*/ 229 w 1451"/>
                <a:gd name="T115" fmla="*/ 197 h 963"/>
                <a:gd name="T116" fmla="*/ 241 w 1451"/>
                <a:gd name="T117" fmla="*/ 225 h 963"/>
                <a:gd name="T118" fmla="*/ 258 w 1451"/>
                <a:gd name="T119" fmla="*/ 206 h 963"/>
                <a:gd name="T120" fmla="*/ 925 w 1451"/>
                <a:gd name="T121" fmla="*/ 604 h 963"/>
                <a:gd name="T122" fmla="*/ 329 w 1451"/>
                <a:gd name="T123" fmla="*/ 438 h 963"/>
                <a:gd name="T124" fmla="*/ 296 w 1451"/>
                <a:gd name="T125" fmla="*/ 372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963">
                  <a:moveTo>
                    <a:pt x="284" y="703"/>
                  </a:moveTo>
                  <a:lnTo>
                    <a:pt x="284" y="703"/>
                  </a:lnTo>
                  <a:lnTo>
                    <a:pt x="284" y="703"/>
                  </a:lnTo>
                  <a:lnTo>
                    <a:pt x="284" y="703"/>
                  </a:lnTo>
                  <a:lnTo>
                    <a:pt x="282" y="705"/>
                  </a:lnTo>
                  <a:lnTo>
                    <a:pt x="282" y="705"/>
                  </a:lnTo>
                  <a:lnTo>
                    <a:pt x="282" y="705"/>
                  </a:lnTo>
                  <a:lnTo>
                    <a:pt x="282" y="705"/>
                  </a:lnTo>
                  <a:lnTo>
                    <a:pt x="282" y="705"/>
                  </a:lnTo>
                  <a:lnTo>
                    <a:pt x="282" y="705"/>
                  </a:lnTo>
                  <a:lnTo>
                    <a:pt x="282" y="705"/>
                  </a:lnTo>
                  <a:lnTo>
                    <a:pt x="284" y="705"/>
                  </a:lnTo>
                  <a:lnTo>
                    <a:pt x="284" y="703"/>
                  </a:lnTo>
                  <a:lnTo>
                    <a:pt x="284" y="703"/>
                  </a:lnTo>
                  <a:lnTo>
                    <a:pt x="284" y="703"/>
                  </a:lnTo>
                  <a:close/>
                  <a:moveTo>
                    <a:pt x="277" y="443"/>
                  </a:moveTo>
                  <a:lnTo>
                    <a:pt x="274" y="443"/>
                  </a:lnTo>
                  <a:lnTo>
                    <a:pt x="274" y="443"/>
                  </a:lnTo>
                  <a:lnTo>
                    <a:pt x="272" y="443"/>
                  </a:lnTo>
                  <a:lnTo>
                    <a:pt x="272" y="443"/>
                  </a:lnTo>
                  <a:lnTo>
                    <a:pt x="270" y="443"/>
                  </a:lnTo>
                  <a:lnTo>
                    <a:pt x="270" y="443"/>
                  </a:lnTo>
                  <a:lnTo>
                    <a:pt x="270" y="443"/>
                  </a:lnTo>
                  <a:lnTo>
                    <a:pt x="270" y="443"/>
                  </a:lnTo>
                  <a:lnTo>
                    <a:pt x="270" y="443"/>
                  </a:lnTo>
                  <a:lnTo>
                    <a:pt x="270" y="443"/>
                  </a:lnTo>
                  <a:lnTo>
                    <a:pt x="270" y="443"/>
                  </a:lnTo>
                  <a:lnTo>
                    <a:pt x="272" y="443"/>
                  </a:lnTo>
                  <a:lnTo>
                    <a:pt x="274" y="443"/>
                  </a:lnTo>
                  <a:lnTo>
                    <a:pt x="274" y="443"/>
                  </a:lnTo>
                  <a:lnTo>
                    <a:pt x="279" y="445"/>
                  </a:lnTo>
                  <a:lnTo>
                    <a:pt x="279" y="445"/>
                  </a:lnTo>
                  <a:lnTo>
                    <a:pt x="277" y="443"/>
                  </a:lnTo>
                  <a:close/>
                  <a:moveTo>
                    <a:pt x="1443" y="613"/>
                  </a:moveTo>
                  <a:lnTo>
                    <a:pt x="1443" y="613"/>
                  </a:lnTo>
                  <a:lnTo>
                    <a:pt x="1443" y="611"/>
                  </a:lnTo>
                  <a:lnTo>
                    <a:pt x="1443" y="606"/>
                  </a:lnTo>
                  <a:lnTo>
                    <a:pt x="1443" y="606"/>
                  </a:lnTo>
                  <a:lnTo>
                    <a:pt x="1443" y="606"/>
                  </a:lnTo>
                  <a:lnTo>
                    <a:pt x="1443" y="604"/>
                  </a:lnTo>
                  <a:lnTo>
                    <a:pt x="1443" y="604"/>
                  </a:lnTo>
                  <a:lnTo>
                    <a:pt x="1443" y="604"/>
                  </a:lnTo>
                  <a:lnTo>
                    <a:pt x="1446" y="604"/>
                  </a:lnTo>
                  <a:lnTo>
                    <a:pt x="1446" y="604"/>
                  </a:lnTo>
                  <a:lnTo>
                    <a:pt x="1446" y="604"/>
                  </a:lnTo>
                  <a:lnTo>
                    <a:pt x="1446" y="604"/>
                  </a:lnTo>
                  <a:lnTo>
                    <a:pt x="1446" y="604"/>
                  </a:lnTo>
                  <a:lnTo>
                    <a:pt x="1446" y="604"/>
                  </a:lnTo>
                  <a:lnTo>
                    <a:pt x="1446" y="604"/>
                  </a:lnTo>
                  <a:lnTo>
                    <a:pt x="1446" y="601"/>
                  </a:lnTo>
                  <a:lnTo>
                    <a:pt x="1446" y="601"/>
                  </a:lnTo>
                  <a:lnTo>
                    <a:pt x="1446" y="601"/>
                  </a:lnTo>
                  <a:lnTo>
                    <a:pt x="1446" y="599"/>
                  </a:lnTo>
                  <a:lnTo>
                    <a:pt x="1446" y="597"/>
                  </a:lnTo>
                  <a:lnTo>
                    <a:pt x="1446" y="597"/>
                  </a:lnTo>
                  <a:lnTo>
                    <a:pt x="1446" y="597"/>
                  </a:lnTo>
                  <a:lnTo>
                    <a:pt x="1446" y="597"/>
                  </a:lnTo>
                  <a:lnTo>
                    <a:pt x="1443" y="597"/>
                  </a:lnTo>
                  <a:lnTo>
                    <a:pt x="1443" y="594"/>
                  </a:lnTo>
                  <a:lnTo>
                    <a:pt x="1443" y="592"/>
                  </a:lnTo>
                  <a:lnTo>
                    <a:pt x="1441" y="590"/>
                  </a:lnTo>
                  <a:lnTo>
                    <a:pt x="1441" y="590"/>
                  </a:lnTo>
                  <a:lnTo>
                    <a:pt x="1443" y="587"/>
                  </a:lnTo>
                  <a:lnTo>
                    <a:pt x="1443" y="587"/>
                  </a:lnTo>
                  <a:lnTo>
                    <a:pt x="1441" y="585"/>
                  </a:lnTo>
                  <a:lnTo>
                    <a:pt x="1441" y="582"/>
                  </a:lnTo>
                  <a:lnTo>
                    <a:pt x="1441" y="582"/>
                  </a:lnTo>
                  <a:lnTo>
                    <a:pt x="1439" y="582"/>
                  </a:lnTo>
                  <a:lnTo>
                    <a:pt x="1439" y="582"/>
                  </a:lnTo>
                  <a:lnTo>
                    <a:pt x="1439" y="582"/>
                  </a:lnTo>
                  <a:lnTo>
                    <a:pt x="1439" y="585"/>
                  </a:lnTo>
                  <a:lnTo>
                    <a:pt x="1436" y="585"/>
                  </a:lnTo>
                  <a:lnTo>
                    <a:pt x="1436" y="585"/>
                  </a:lnTo>
                  <a:lnTo>
                    <a:pt x="1436" y="582"/>
                  </a:lnTo>
                  <a:lnTo>
                    <a:pt x="1436" y="582"/>
                  </a:lnTo>
                  <a:lnTo>
                    <a:pt x="1436" y="582"/>
                  </a:lnTo>
                  <a:lnTo>
                    <a:pt x="1436" y="582"/>
                  </a:lnTo>
                  <a:lnTo>
                    <a:pt x="1434" y="580"/>
                  </a:lnTo>
                  <a:lnTo>
                    <a:pt x="1432" y="578"/>
                  </a:lnTo>
                  <a:lnTo>
                    <a:pt x="1432" y="575"/>
                  </a:lnTo>
                  <a:lnTo>
                    <a:pt x="1429" y="575"/>
                  </a:lnTo>
                  <a:lnTo>
                    <a:pt x="1427" y="575"/>
                  </a:lnTo>
                  <a:lnTo>
                    <a:pt x="1424" y="575"/>
                  </a:lnTo>
                  <a:lnTo>
                    <a:pt x="1420" y="580"/>
                  </a:lnTo>
                  <a:lnTo>
                    <a:pt x="1420" y="580"/>
                  </a:lnTo>
                  <a:lnTo>
                    <a:pt x="1417" y="580"/>
                  </a:lnTo>
                  <a:lnTo>
                    <a:pt x="1417" y="580"/>
                  </a:lnTo>
                  <a:lnTo>
                    <a:pt x="1415" y="580"/>
                  </a:lnTo>
                  <a:lnTo>
                    <a:pt x="1415" y="580"/>
                  </a:lnTo>
                  <a:lnTo>
                    <a:pt x="1415" y="580"/>
                  </a:lnTo>
                  <a:lnTo>
                    <a:pt x="1415" y="580"/>
                  </a:lnTo>
                  <a:lnTo>
                    <a:pt x="1415" y="580"/>
                  </a:lnTo>
                  <a:lnTo>
                    <a:pt x="1413" y="582"/>
                  </a:lnTo>
                  <a:lnTo>
                    <a:pt x="1413" y="582"/>
                  </a:lnTo>
                  <a:lnTo>
                    <a:pt x="1413" y="582"/>
                  </a:lnTo>
                  <a:lnTo>
                    <a:pt x="1413" y="582"/>
                  </a:lnTo>
                  <a:lnTo>
                    <a:pt x="1413" y="582"/>
                  </a:lnTo>
                  <a:lnTo>
                    <a:pt x="1413" y="582"/>
                  </a:lnTo>
                  <a:lnTo>
                    <a:pt x="1413" y="582"/>
                  </a:lnTo>
                  <a:lnTo>
                    <a:pt x="1413" y="582"/>
                  </a:lnTo>
                  <a:lnTo>
                    <a:pt x="1413" y="582"/>
                  </a:lnTo>
                  <a:lnTo>
                    <a:pt x="1415" y="582"/>
                  </a:lnTo>
                  <a:lnTo>
                    <a:pt x="1415" y="580"/>
                  </a:lnTo>
                  <a:lnTo>
                    <a:pt x="1415" y="580"/>
                  </a:lnTo>
                  <a:lnTo>
                    <a:pt x="1415" y="580"/>
                  </a:lnTo>
                  <a:lnTo>
                    <a:pt x="1417" y="580"/>
                  </a:lnTo>
                  <a:lnTo>
                    <a:pt x="1417" y="580"/>
                  </a:lnTo>
                  <a:lnTo>
                    <a:pt x="1417" y="580"/>
                  </a:lnTo>
                  <a:lnTo>
                    <a:pt x="1420" y="580"/>
                  </a:lnTo>
                  <a:lnTo>
                    <a:pt x="1420" y="580"/>
                  </a:lnTo>
                  <a:lnTo>
                    <a:pt x="1420" y="580"/>
                  </a:lnTo>
                  <a:lnTo>
                    <a:pt x="1422" y="580"/>
                  </a:lnTo>
                  <a:lnTo>
                    <a:pt x="1422" y="580"/>
                  </a:lnTo>
                  <a:lnTo>
                    <a:pt x="1424" y="578"/>
                  </a:lnTo>
                  <a:lnTo>
                    <a:pt x="1424" y="578"/>
                  </a:lnTo>
                  <a:lnTo>
                    <a:pt x="1424" y="578"/>
                  </a:lnTo>
                  <a:lnTo>
                    <a:pt x="1427" y="578"/>
                  </a:lnTo>
                  <a:lnTo>
                    <a:pt x="1424" y="580"/>
                  </a:lnTo>
                  <a:lnTo>
                    <a:pt x="1424" y="580"/>
                  </a:lnTo>
                  <a:lnTo>
                    <a:pt x="1427" y="580"/>
                  </a:lnTo>
                  <a:lnTo>
                    <a:pt x="1427" y="580"/>
                  </a:lnTo>
                  <a:lnTo>
                    <a:pt x="1427" y="580"/>
                  </a:lnTo>
                  <a:lnTo>
                    <a:pt x="1427" y="582"/>
                  </a:lnTo>
                  <a:lnTo>
                    <a:pt x="1427" y="582"/>
                  </a:lnTo>
                  <a:lnTo>
                    <a:pt x="1424" y="582"/>
                  </a:lnTo>
                  <a:lnTo>
                    <a:pt x="1424" y="582"/>
                  </a:lnTo>
                  <a:lnTo>
                    <a:pt x="1422" y="585"/>
                  </a:lnTo>
                  <a:lnTo>
                    <a:pt x="1420" y="585"/>
                  </a:lnTo>
                  <a:lnTo>
                    <a:pt x="1420" y="585"/>
                  </a:lnTo>
                  <a:lnTo>
                    <a:pt x="1420" y="585"/>
                  </a:lnTo>
                  <a:lnTo>
                    <a:pt x="1415" y="585"/>
                  </a:lnTo>
                  <a:lnTo>
                    <a:pt x="1413" y="585"/>
                  </a:lnTo>
                  <a:lnTo>
                    <a:pt x="1413" y="585"/>
                  </a:lnTo>
                  <a:lnTo>
                    <a:pt x="1410" y="585"/>
                  </a:lnTo>
                  <a:lnTo>
                    <a:pt x="1410" y="585"/>
                  </a:lnTo>
                  <a:lnTo>
                    <a:pt x="1408" y="585"/>
                  </a:lnTo>
                  <a:lnTo>
                    <a:pt x="1408" y="585"/>
                  </a:lnTo>
                  <a:lnTo>
                    <a:pt x="1410" y="585"/>
                  </a:lnTo>
                  <a:lnTo>
                    <a:pt x="1410" y="585"/>
                  </a:lnTo>
                  <a:lnTo>
                    <a:pt x="1410" y="585"/>
                  </a:lnTo>
                  <a:lnTo>
                    <a:pt x="1410" y="585"/>
                  </a:lnTo>
                  <a:lnTo>
                    <a:pt x="1410" y="585"/>
                  </a:lnTo>
                  <a:lnTo>
                    <a:pt x="1408" y="585"/>
                  </a:lnTo>
                  <a:lnTo>
                    <a:pt x="1408" y="585"/>
                  </a:lnTo>
                  <a:lnTo>
                    <a:pt x="1408" y="585"/>
                  </a:lnTo>
                  <a:lnTo>
                    <a:pt x="1408" y="585"/>
                  </a:lnTo>
                  <a:lnTo>
                    <a:pt x="1408" y="585"/>
                  </a:lnTo>
                  <a:lnTo>
                    <a:pt x="1406" y="585"/>
                  </a:lnTo>
                  <a:lnTo>
                    <a:pt x="1403" y="582"/>
                  </a:lnTo>
                  <a:lnTo>
                    <a:pt x="1401" y="582"/>
                  </a:lnTo>
                  <a:lnTo>
                    <a:pt x="1398" y="582"/>
                  </a:lnTo>
                  <a:lnTo>
                    <a:pt x="1401" y="585"/>
                  </a:lnTo>
                  <a:lnTo>
                    <a:pt x="1401" y="585"/>
                  </a:lnTo>
                  <a:lnTo>
                    <a:pt x="1403" y="585"/>
                  </a:lnTo>
                  <a:lnTo>
                    <a:pt x="1403" y="585"/>
                  </a:lnTo>
                  <a:lnTo>
                    <a:pt x="1401" y="585"/>
                  </a:lnTo>
                  <a:lnTo>
                    <a:pt x="1401" y="585"/>
                  </a:lnTo>
                  <a:lnTo>
                    <a:pt x="1396" y="585"/>
                  </a:lnTo>
                  <a:lnTo>
                    <a:pt x="1396" y="585"/>
                  </a:lnTo>
                  <a:lnTo>
                    <a:pt x="1394" y="585"/>
                  </a:lnTo>
                  <a:lnTo>
                    <a:pt x="1391" y="585"/>
                  </a:lnTo>
                  <a:lnTo>
                    <a:pt x="1391" y="582"/>
                  </a:lnTo>
                  <a:lnTo>
                    <a:pt x="1391" y="582"/>
                  </a:lnTo>
                  <a:lnTo>
                    <a:pt x="1396" y="582"/>
                  </a:lnTo>
                  <a:lnTo>
                    <a:pt x="1396" y="585"/>
                  </a:lnTo>
                  <a:lnTo>
                    <a:pt x="1396" y="585"/>
                  </a:lnTo>
                  <a:lnTo>
                    <a:pt x="1396" y="585"/>
                  </a:lnTo>
                  <a:lnTo>
                    <a:pt x="1398" y="585"/>
                  </a:lnTo>
                  <a:lnTo>
                    <a:pt x="1398" y="582"/>
                  </a:lnTo>
                  <a:lnTo>
                    <a:pt x="1398" y="582"/>
                  </a:lnTo>
                  <a:lnTo>
                    <a:pt x="1398" y="582"/>
                  </a:lnTo>
                  <a:lnTo>
                    <a:pt x="1396" y="582"/>
                  </a:lnTo>
                  <a:lnTo>
                    <a:pt x="1391" y="582"/>
                  </a:lnTo>
                  <a:lnTo>
                    <a:pt x="1389" y="582"/>
                  </a:lnTo>
                  <a:lnTo>
                    <a:pt x="1387" y="580"/>
                  </a:lnTo>
                  <a:lnTo>
                    <a:pt x="1384" y="580"/>
                  </a:lnTo>
                  <a:lnTo>
                    <a:pt x="1382" y="582"/>
                  </a:lnTo>
                  <a:lnTo>
                    <a:pt x="1380" y="580"/>
                  </a:lnTo>
                  <a:lnTo>
                    <a:pt x="1377" y="580"/>
                  </a:lnTo>
                  <a:lnTo>
                    <a:pt x="1377" y="582"/>
                  </a:lnTo>
                  <a:lnTo>
                    <a:pt x="1377" y="582"/>
                  </a:lnTo>
                  <a:lnTo>
                    <a:pt x="1375" y="582"/>
                  </a:lnTo>
                  <a:lnTo>
                    <a:pt x="1375" y="582"/>
                  </a:lnTo>
                  <a:lnTo>
                    <a:pt x="1372" y="582"/>
                  </a:lnTo>
                  <a:lnTo>
                    <a:pt x="1372" y="585"/>
                  </a:lnTo>
                  <a:lnTo>
                    <a:pt x="1375" y="585"/>
                  </a:lnTo>
                  <a:lnTo>
                    <a:pt x="1375" y="582"/>
                  </a:lnTo>
                  <a:lnTo>
                    <a:pt x="1377" y="582"/>
                  </a:lnTo>
                  <a:lnTo>
                    <a:pt x="1377" y="582"/>
                  </a:lnTo>
                  <a:lnTo>
                    <a:pt x="1380" y="582"/>
                  </a:lnTo>
                  <a:lnTo>
                    <a:pt x="1380" y="582"/>
                  </a:lnTo>
                  <a:lnTo>
                    <a:pt x="1377" y="582"/>
                  </a:lnTo>
                  <a:lnTo>
                    <a:pt x="1377" y="582"/>
                  </a:lnTo>
                  <a:lnTo>
                    <a:pt x="1377" y="582"/>
                  </a:lnTo>
                  <a:lnTo>
                    <a:pt x="1375" y="585"/>
                  </a:lnTo>
                  <a:lnTo>
                    <a:pt x="1372" y="585"/>
                  </a:lnTo>
                  <a:lnTo>
                    <a:pt x="1370" y="585"/>
                  </a:lnTo>
                  <a:lnTo>
                    <a:pt x="1370" y="585"/>
                  </a:lnTo>
                  <a:lnTo>
                    <a:pt x="1370" y="585"/>
                  </a:lnTo>
                  <a:lnTo>
                    <a:pt x="1368" y="585"/>
                  </a:lnTo>
                  <a:lnTo>
                    <a:pt x="1368" y="585"/>
                  </a:lnTo>
                  <a:lnTo>
                    <a:pt x="1363" y="585"/>
                  </a:lnTo>
                  <a:lnTo>
                    <a:pt x="1363" y="585"/>
                  </a:lnTo>
                  <a:lnTo>
                    <a:pt x="1361" y="587"/>
                  </a:lnTo>
                  <a:lnTo>
                    <a:pt x="1361" y="587"/>
                  </a:lnTo>
                  <a:lnTo>
                    <a:pt x="1356" y="587"/>
                  </a:lnTo>
                  <a:lnTo>
                    <a:pt x="1356" y="587"/>
                  </a:lnTo>
                  <a:lnTo>
                    <a:pt x="1354" y="592"/>
                  </a:lnTo>
                  <a:lnTo>
                    <a:pt x="1351" y="592"/>
                  </a:lnTo>
                  <a:lnTo>
                    <a:pt x="1346" y="594"/>
                  </a:lnTo>
                  <a:lnTo>
                    <a:pt x="1344" y="594"/>
                  </a:lnTo>
                  <a:lnTo>
                    <a:pt x="1344" y="594"/>
                  </a:lnTo>
                  <a:lnTo>
                    <a:pt x="1342" y="597"/>
                  </a:lnTo>
                  <a:lnTo>
                    <a:pt x="1339" y="597"/>
                  </a:lnTo>
                  <a:lnTo>
                    <a:pt x="1335" y="599"/>
                  </a:lnTo>
                  <a:lnTo>
                    <a:pt x="1335" y="599"/>
                  </a:lnTo>
                  <a:lnTo>
                    <a:pt x="1332" y="599"/>
                  </a:lnTo>
                  <a:lnTo>
                    <a:pt x="1332" y="599"/>
                  </a:lnTo>
                  <a:lnTo>
                    <a:pt x="1332" y="599"/>
                  </a:lnTo>
                  <a:lnTo>
                    <a:pt x="1330" y="599"/>
                  </a:lnTo>
                  <a:lnTo>
                    <a:pt x="1330" y="599"/>
                  </a:lnTo>
                  <a:lnTo>
                    <a:pt x="1325" y="601"/>
                  </a:lnTo>
                  <a:lnTo>
                    <a:pt x="1316" y="601"/>
                  </a:lnTo>
                  <a:lnTo>
                    <a:pt x="1309" y="604"/>
                  </a:lnTo>
                  <a:lnTo>
                    <a:pt x="1306" y="604"/>
                  </a:lnTo>
                  <a:lnTo>
                    <a:pt x="1301" y="606"/>
                  </a:lnTo>
                  <a:lnTo>
                    <a:pt x="1297" y="608"/>
                  </a:lnTo>
                  <a:lnTo>
                    <a:pt x="1294" y="608"/>
                  </a:lnTo>
                  <a:lnTo>
                    <a:pt x="1294" y="608"/>
                  </a:lnTo>
                  <a:lnTo>
                    <a:pt x="1292" y="611"/>
                  </a:lnTo>
                  <a:lnTo>
                    <a:pt x="1290" y="613"/>
                  </a:lnTo>
                  <a:lnTo>
                    <a:pt x="1287" y="613"/>
                  </a:lnTo>
                  <a:lnTo>
                    <a:pt x="1287" y="613"/>
                  </a:lnTo>
                  <a:lnTo>
                    <a:pt x="1287" y="613"/>
                  </a:lnTo>
                  <a:lnTo>
                    <a:pt x="1285" y="616"/>
                  </a:lnTo>
                  <a:lnTo>
                    <a:pt x="1283" y="616"/>
                  </a:lnTo>
                  <a:lnTo>
                    <a:pt x="1280" y="618"/>
                  </a:lnTo>
                  <a:lnTo>
                    <a:pt x="1275" y="620"/>
                  </a:lnTo>
                  <a:lnTo>
                    <a:pt x="1275" y="623"/>
                  </a:lnTo>
                  <a:lnTo>
                    <a:pt x="1275" y="623"/>
                  </a:lnTo>
                  <a:lnTo>
                    <a:pt x="1273" y="632"/>
                  </a:lnTo>
                  <a:lnTo>
                    <a:pt x="1271" y="634"/>
                  </a:lnTo>
                  <a:lnTo>
                    <a:pt x="1271" y="634"/>
                  </a:lnTo>
                  <a:lnTo>
                    <a:pt x="1273" y="634"/>
                  </a:lnTo>
                  <a:lnTo>
                    <a:pt x="1273" y="632"/>
                  </a:lnTo>
                  <a:lnTo>
                    <a:pt x="1273" y="630"/>
                  </a:lnTo>
                  <a:lnTo>
                    <a:pt x="1273" y="630"/>
                  </a:lnTo>
                  <a:lnTo>
                    <a:pt x="1275" y="630"/>
                  </a:lnTo>
                  <a:lnTo>
                    <a:pt x="1275" y="627"/>
                  </a:lnTo>
                  <a:lnTo>
                    <a:pt x="1275" y="625"/>
                  </a:lnTo>
                  <a:lnTo>
                    <a:pt x="1275" y="625"/>
                  </a:lnTo>
                  <a:lnTo>
                    <a:pt x="1275" y="625"/>
                  </a:lnTo>
                  <a:lnTo>
                    <a:pt x="1275" y="630"/>
                  </a:lnTo>
                  <a:lnTo>
                    <a:pt x="1275" y="632"/>
                  </a:lnTo>
                  <a:lnTo>
                    <a:pt x="1273" y="632"/>
                  </a:lnTo>
                  <a:lnTo>
                    <a:pt x="1271" y="637"/>
                  </a:lnTo>
                  <a:lnTo>
                    <a:pt x="1271" y="637"/>
                  </a:lnTo>
                  <a:lnTo>
                    <a:pt x="1271" y="644"/>
                  </a:lnTo>
                  <a:lnTo>
                    <a:pt x="1271" y="646"/>
                  </a:lnTo>
                  <a:lnTo>
                    <a:pt x="1271" y="649"/>
                  </a:lnTo>
                  <a:lnTo>
                    <a:pt x="1271" y="653"/>
                  </a:lnTo>
                  <a:lnTo>
                    <a:pt x="1273" y="656"/>
                  </a:lnTo>
                  <a:lnTo>
                    <a:pt x="1271" y="658"/>
                  </a:lnTo>
                  <a:lnTo>
                    <a:pt x="1271" y="660"/>
                  </a:lnTo>
                  <a:lnTo>
                    <a:pt x="1273" y="663"/>
                  </a:lnTo>
                  <a:lnTo>
                    <a:pt x="1271" y="665"/>
                  </a:lnTo>
                  <a:lnTo>
                    <a:pt x="1273" y="670"/>
                  </a:lnTo>
                  <a:lnTo>
                    <a:pt x="1273" y="670"/>
                  </a:lnTo>
                  <a:lnTo>
                    <a:pt x="1273" y="670"/>
                  </a:lnTo>
                  <a:lnTo>
                    <a:pt x="1273" y="672"/>
                  </a:lnTo>
                  <a:lnTo>
                    <a:pt x="1273" y="675"/>
                  </a:lnTo>
                  <a:lnTo>
                    <a:pt x="1273" y="675"/>
                  </a:lnTo>
                  <a:lnTo>
                    <a:pt x="1273" y="675"/>
                  </a:lnTo>
                  <a:lnTo>
                    <a:pt x="1273" y="677"/>
                  </a:lnTo>
                  <a:lnTo>
                    <a:pt x="1273" y="679"/>
                  </a:lnTo>
                  <a:lnTo>
                    <a:pt x="1273" y="682"/>
                  </a:lnTo>
                  <a:lnTo>
                    <a:pt x="1268" y="684"/>
                  </a:lnTo>
                  <a:lnTo>
                    <a:pt x="1266" y="686"/>
                  </a:lnTo>
                  <a:lnTo>
                    <a:pt x="1264" y="689"/>
                  </a:lnTo>
                  <a:lnTo>
                    <a:pt x="1264" y="691"/>
                  </a:lnTo>
                  <a:lnTo>
                    <a:pt x="1264" y="691"/>
                  </a:lnTo>
                  <a:lnTo>
                    <a:pt x="1264" y="691"/>
                  </a:lnTo>
                  <a:lnTo>
                    <a:pt x="1264" y="694"/>
                  </a:lnTo>
                  <a:lnTo>
                    <a:pt x="1264" y="694"/>
                  </a:lnTo>
                  <a:lnTo>
                    <a:pt x="1264" y="696"/>
                  </a:lnTo>
                  <a:lnTo>
                    <a:pt x="1264" y="698"/>
                  </a:lnTo>
                  <a:lnTo>
                    <a:pt x="1264" y="708"/>
                  </a:lnTo>
                  <a:lnTo>
                    <a:pt x="1264" y="710"/>
                  </a:lnTo>
                  <a:lnTo>
                    <a:pt x="1261" y="710"/>
                  </a:lnTo>
                  <a:lnTo>
                    <a:pt x="1261" y="713"/>
                  </a:lnTo>
                  <a:lnTo>
                    <a:pt x="1259" y="713"/>
                  </a:lnTo>
                  <a:lnTo>
                    <a:pt x="1259" y="715"/>
                  </a:lnTo>
                  <a:lnTo>
                    <a:pt x="1254" y="720"/>
                  </a:lnTo>
                  <a:lnTo>
                    <a:pt x="1252" y="722"/>
                  </a:lnTo>
                  <a:lnTo>
                    <a:pt x="1249" y="724"/>
                  </a:lnTo>
                  <a:lnTo>
                    <a:pt x="1247" y="724"/>
                  </a:lnTo>
                  <a:lnTo>
                    <a:pt x="1245" y="727"/>
                  </a:lnTo>
                  <a:lnTo>
                    <a:pt x="1238" y="731"/>
                  </a:lnTo>
                  <a:lnTo>
                    <a:pt x="1235" y="734"/>
                  </a:lnTo>
                  <a:lnTo>
                    <a:pt x="1233" y="736"/>
                  </a:lnTo>
                  <a:lnTo>
                    <a:pt x="1230" y="739"/>
                  </a:lnTo>
                  <a:lnTo>
                    <a:pt x="1228" y="739"/>
                  </a:lnTo>
                  <a:lnTo>
                    <a:pt x="1228" y="741"/>
                  </a:lnTo>
                  <a:lnTo>
                    <a:pt x="1230" y="741"/>
                  </a:lnTo>
                  <a:lnTo>
                    <a:pt x="1230" y="739"/>
                  </a:lnTo>
                  <a:lnTo>
                    <a:pt x="1230" y="739"/>
                  </a:lnTo>
                  <a:lnTo>
                    <a:pt x="1233" y="739"/>
                  </a:lnTo>
                  <a:lnTo>
                    <a:pt x="1233" y="739"/>
                  </a:lnTo>
                  <a:lnTo>
                    <a:pt x="1233" y="739"/>
                  </a:lnTo>
                  <a:lnTo>
                    <a:pt x="1233" y="736"/>
                  </a:lnTo>
                  <a:lnTo>
                    <a:pt x="1233" y="736"/>
                  </a:lnTo>
                  <a:lnTo>
                    <a:pt x="1238" y="734"/>
                  </a:lnTo>
                  <a:lnTo>
                    <a:pt x="1240" y="731"/>
                  </a:lnTo>
                  <a:lnTo>
                    <a:pt x="1240" y="731"/>
                  </a:lnTo>
                  <a:lnTo>
                    <a:pt x="1240" y="731"/>
                  </a:lnTo>
                  <a:lnTo>
                    <a:pt x="1240" y="734"/>
                  </a:lnTo>
                  <a:lnTo>
                    <a:pt x="1238" y="734"/>
                  </a:lnTo>
                  <a:lnTo>
                    <a:pt x="1235" y="736"/>
                  </a:lnTo>
                  <a:lnTo>
                    <a:pt x="1235" y="736"/>
                  </a:lnTo>
                  <a:lnTo>
                    <a:pt x="1233" y="739"/>
                  </a:lnTo>
                  <a:lnTo>
                    <a:pt x="1233" y="739"/>
                  </a:lnTo>
                  <a:lnTo>
                    <a:pt x="1233" y="739"/>
                  </a:lnTo>
                  <a:lnTo>
                    <a:pt x="1235" y="741"/>
                  </a:lnTo>
                  <a:lnTo>
                    <a:pt x="1235" y="741"/>
                  </a:lnTo>
                  <a:lnTo>
                    <a:pt x="1238" y="741"/>
                  </a:lnTo>
                  <a:lnTo>
                    <a:pt x="1238" y="741"/>
                  </a:lnTo>
                  <a:lnTo>
                    <a:pt x="1238" y="741"/>
                  </a:lnTo>
                  <a:lnTo>
                    <a:pt x="1238" y="741"/>
                  </a:lnTo>
                  <a:lnTo>
                    <a:pt x="1238" y="741"/>
                  </a:lnTo>
                  <a:lnTo>
                    <a:pt x="1238" y="741"/>
                  </a:lnTo>
                  <a:lnTo>
                    <a:pt x="1240" y="741"/>
                  </a:lnTo>
                  <a:lnTo>
                    <a:pt x="1240" y="743"/>
                  </a:lnTo>
                  <a:lnTo>
                    <a:pt x="1240" y="743"/>
                  </a:lnTo>
                  <a:lnTo>
                    <a:pt x="1240" y="748"/>
                  </a:lnTo>
                  <a:lnTo>
                    <a:pt x="1240" y="748"/>
                  </a:lnTo>
                  <a:lnTo>
                    <a:pt x="1242" y="748"/>
                  </a:lnTo>
                  <a:lnTo>
                    <a:pt x="1242" y="746"/>
                  </a:lnTo>
                  <a:lnTo>
                    <a:pt x="1245" y="746"/>
                  </a:lnTo>
                  <a:lnTo>
                    <a:pt x="1245" y="746"/>
                  </a:lnTo>
                  <a:lnTo>
                    <a:pt x="1245" y="748"/>
                  </a:lnTo>
                  <a:lnTo>
                    <a:pt x="1242" y="748"/>
                  </a:lnTo>
                  <a:lnTo>
                    <a:pt x="1242" y="748"/>
                  </a:lnTo>
                  <a:lnTo>
                    <a:pt x="1242" y="748"/>
                  </a:lnTo>
                  <a:lnTo>
                    <a:pt x="1240" y="748"/>
                  </a:lnTo>
                  <a:lnTo>
                    <a:pt x="1240" y="748"/>
                  </a:lnTo>
                  <a:lnTo>
                    <a:pt x="1240" y="748"/>
                  </a:lnTo>
                  <a:lnTo>
                    <a:pt x="1238" y="750"/>
                  </a:lnTo>
                  <a:lnTo>
                    <a:pt x="1238" y="750"/>
                  </a:lnTo>
                  <a:lnTo>
                    <a:pt x="1238" y="753"/>
                  </a:lnTo>
                  <a:lnTo>
                    <a:pt x="1238" y="753"/>
                  </a:lnTo>
                  <a:lnTo>
                    <a:pt x="1235" y="753"/>
                  </a:lnTo>
                  <a:lnTo>
                    <a:pt x="1235" y="753"/>
                  </a:lnTo>
                  <a:lnTo>
                    <a:pt x="1233" y="753"/>
                  </a:lnTo>
                  <a:lnTo>
                    <a:pt x="1230" y="755"/>
                  </a:lnTo>
                  <a:lnTo>
                    <a:pt x="1230" y="755"/>
                  </a:lnTo>
                  <a:lnTo>
                    <a:pt x="1228" y="755"/>
                  </a:lnTo>
                  <a:lnTo>
                    <a:pt x="1228" y="757"/>
                  </a:lnTo>
                  <a:lnTo>
                    <a:pt x="1228" y="757"/>
                  </a:lnTo>
                  <a:lnTo>
                    <a:pt x="1228" y="757"/>
                  </a:lnTo>
                  <a:lnTo>
                    <a:pt x="1230" y="757"/>
                  </a:lnTo>
                  <a:lnTo>
                    <a:pt x="1230" y="757"/>
                  </a:lnTo>
                  <a:lnTo>
                    <a:pt x="1230" y="757"/>
                  </a:lnTo>
                  <a:lnTo>
                    <a:pt x="1230" y="755"/>
                  </a:lnTo>
                  <a:lnTo>
                    <a:pt x="1230" y="755"/>
                  </a:lnTo>
                  <a:lnTo>
                    <a:pt x="1230" y="755"/>
                  </a:lnTo>
                  <a:lnTo>
                    <a:pt x="1230" y="757"/>
                  </a:lnTo>
                  <a:lnTo>
                    <a:pt x="1230" y="757"/>
                  </a:lnTo>
                  <a:lnTo>
                    <a:pt x="1230" y="757"/>
                  </a:lnTo>
                  <a:lnTo>
                    <a:pt x="1230" y="760"/>
                  </a:lnTo>
                  <a:lnTo>
                    <a:pt x="1230" y="760"/>
                  </a:lnTo>
                  <a:lnTo>
                    <a:pt x="1230" y="757"/>
                  </a:lnTo>
                  <a:lnTo>
                    <a:pt x="1230" y="757"/>
                  </a:lnTo>
                  <a:lnTo>
                    <a:pt x="1228" y="757"/>
                  </a:lnTo>
                  <a:lnTo>
                    <a:pt x="1228" y="757"/>
                  </a:lnTo>
                  <a:lnTo>
                    <a:pt x="1226" y="760"/>
                  </a:lnTo>
                  <a:lnTo>
                    <a:pt x="1223" y="760"/>
                  </a:lnTo>
                  <a:lnTo>
                    <a:pt x="1221" y="757"/>
                  </a:lnTo>
                  <a:lnTo>
                    <a:pt x="1221" y="760"/>
                  </a:lnTo>
                  <a:lnTo>
                    <a:pt x="1219" y="757"/>
                  </a:lnTo>
                  <a:lnTo>
                    <a:pt x="1216" y="757"/>
                  </a:lnTo>
                  <a:lnTo>
                    <a:pt x="1216" y="757"/>
                  </a:lnTo>
                  <a:lnTo>
                    <a:pt x="1214" y="757"/>
                  </a:lnTo>
                  <a:lnTo>
                    <a:pt x="1216" y="760"/>
                  </a:lnTo>
                  <a:lnTo>
                    <a:pt x="1216" y="760"/>
                  </a:lnTo>
                  <a:lnTo>
                    <a:pt x="1216" y="760"/>
                  </a:lnTo>
                  <a:lnTo>
                    <a:pt x="1216" y="760"/>
                  </a:lnTo>
                  <a:lnTo>
                    <a:pt x="1216" y="760"/>
                  </a:lnTo>
                  <a:lnTo>
                    <a:pt x="1216" y="760"/>
                  </a:lnTo>
                  <a:lnTo>
                    <a:pt x="1214" y="760"/>
                  </a:lnTo>
                  <a:lnTo>
                    <a:pt x="1214" y="760"/>
                  </a:lnTo>
                  <a:lnTo>
                    <a:pt x="1216" y="762"/>
                  </a:lnTo>
                  <a:lnTo>
                    <a:pt x="1216" y="762"/>
                  </a:lnTo>
                  <a:lnTo>
                    <a:pt x="1216" y="762"/>
                  </a:lnTo>
                  <a:lnTo>
                    <a:pt x="1214" y="762"/>
                  </a:lnTo>
                  <a:lnTo>
                    <a:pt x="1214" y="762"/>
                  </a:lnTo>
                  <a:lnTo>
                    <a:pt x="1214" y="762"/>
                  </a:lnTo>
                  <a:lnTo>
                    <a:pt x="1212" y="760"/>
                  </a:lnTo>
                  <a:lnTo>
                    <a:pt x="1212" y="760"/>
                  </a:lnTo>
                  <a:lnTo>
                    <a:pt x="1214" y="757"/>
                  </a:lnTo>
                  <a:lnTo>
                    <a:pt x="1214" y="757"/>
                  </a:lnTo>
                  <a:lnTo>
                    <a:pt x="1214" y="757"/>
                  </a:lnTo>
                  <a:lnTo>
                    <a:pt x="1212" y="757"/>
                  </a:lnTo>
                  <a:lnTo>
                    <a:pt x="1212" y="755"/>
                  </a:lnTo>
                  <a:lnTo>
                    <a:pt x="1212" y="755"/>
                  </a:lnTo>
                  <a:lnTo>
                    <a:pt x="1212" y="755"/>
                  </a:lnTo>
                  <a:lnTo>
                    <a:pt x="1212" y="755"/>
                  </a:lnTo>
                  <a:lnTo>
                    <a:pt x="1212" y="755"/>
                  </a:lnTo>
                  <a:lnTo>
                    <a:pt x="1212" y="755"/>
                  </a:lnTo>
                  <a:lnTo>
                    <a:pt x="1212" y="755"/>
                  </a:lnTo>
                  <a:lnTo>
                    <a:pt x="1212" y="755"/>
                  </a:lnTo>
                  <a:lnTo>
                    <a:pt x="1209" y="755"/>
                  </a:lnTo>
                  <a:lnTo>
                    <a:pt x="1209" y="755"/>
                  </a:lnTo>
                  <a:lnTo>
                    <a:pt x="1209" y="753"/>
                  </a:lnTo>
                  <a:lnTo>
                    <a:pt x="1209" y="753"/>
                  </a:lnTo>
                  <a:lnTo>
                    <a:pt x="1209" y="753"/>
                  </a:lnTo>
                  <a:lnTo>
                    <a:pt x="1207" y="753"/>
                  </a:lnTo>
                  <a:lnTo>
                    <a:pt x="1207" y="753"/>
                  </a:lnTo>
                  <a:lnTo>
                    <a:pt x="1207" y="755"/>
                  </a:lnTo>
                  <a:lnTo>
                    <a:pt x="1207" y="755"/>
                  </a:lnTo>
                  <a:lnTo>
                    <a:pt x="1209" y="755"/>
                  </a:lnTo>
                  <a:lnTo>
                    <a:pt x="1212" y="757"/>
                  </a:lnTo>
                  <a:lnTo>
                    <a:pt x="1209" y="757"/>
                  </a:lnTo>
                  <a:lnTo>
                    <a:pt x="1209" y="757"/>
                  </a:lnTo>
                  <a:lnTo>
                    <a:pt x="1209" y="755"/>
                  </a:lnTo>
                  <a:lnTo>
                    <a:pt x="1207" y="755"/>
                  </a:lnTo>
                  <a:lnTo>
                    <a:pt x="1207" y="755"/>
                  </a:lnTo>
                  <a:lnTo>
                    <a:pt x="1207" y="755"/>
                  </a:lnTo>
                  <a:lnTo>
                    <a:pt x="1204" y="755"/>
                  </a:lnTo>
                  <a:lnTo>
                    <a:pt x="1204" y="755"/>
                  </a:lnTo>
                  <a:lnTo>
                    <a:pt x="1204" y="755"/>
                  </a:lnTo>
                  <a:lnTo>
                    <a:pt x="1204" y="755"/>
                  </a:lnTo>
                  <a:lnTo>
                    <a:pt x="1202" y="755"/>
                  </a:lnTo>
                  <a:lnTo>
                    <a:pt x="1202" y="755"/>
                  </a:lnTo>
                  <a:lnTo>
                    <a:pt x="1202" y="755"/>
                  </a:lnTo>
                  <a:lnTo>
                    <a:pt x="1202" y="755"/>
                  </a:lnTo>
                  <a:lnTo>
                    <a:pt x="1202" y="753"/>
                  </a:lnTo>
                  <a:lnTo>
                    <a:pt x="1204" y="753"/>
                  </a:lnTo>
                  <a:lnTo>
                    <a:pt x="1202" y="753"/>
                  </a:lnTo>
                  <a:lnTo>
                    <a:pt x="1202" y="753"/>
                  </a:lnTo>
                  <a:lnTo>
                    <a:pt x="1202" y="753"/>
                  </a:lnTo>
                  <a:lnTo>
                    <a:pt x="1202" y="753"/>
                  </a:lnTo>
                  <a:lnTo>
                    <a:pt x="1204" y="753"/>
                  </a:lnTo>
                  <a:lnTo>
                    <a:pt x="1204" y="753"/>
                  </a:lnTo>
                  <a:lnTo>
                    <a:pt x="1204" y="753"/>
                  </a:lnTo>
                  <a:lnTo>
                    <a:pt x="1204" y="753"/>
                  </a:lnTo>
                  <a:lnTo>
                    <a:pt x="1204" y="753"/>
                  </a:lnTo>
                  <a:lnTo>
                    <a:pt x="1204" y="753"/>
                  </a:lnTo>
                  <a:lnTo>
                    <a:pt x="1204" y="753"/>
                  </a:lnTo>
                  <a:lnTo>
                    <a:pt x="1204" y="753"/>
                  </a:lnTo>
                  <a:lnTo>
                    <a:pt x="1204" y="750"/>
                  </a:lnTo>
                  <a:lnTo>
                    <a:pt x="1204" y="753"/>
                  </a:lnTo>
                  <a:lnTo>
                    <a:pt x="1207" y="753"/>
                  </a:lnTo>
                  <a:lnTo>
                    <a:pt x="1207" y="753"/>
                  </a:lnTo>
                  <a:lnTo>
                    <a:pt x="1207" y="750"/>
                  </a:lnTo>
                  <a:lnTo>
                    <a:pt x="1207" y="750"/>
                  </a:lnTo>
                  <a:lnTo>
                    <a:pt x="1207" y="750"/>
                  </a:lnTo>
                  <a:lnTo>
                    <a:pt x="1207" y="750"/>
                  </a:lnTo>
                  <a:lnTo>
                    <a:pt x="1207" y="753"/>
                  </a:lnTo>
                  <a:lnTo>
                    <a:pt x="1207" y="753"/>
                  </a:lnTo>
                  <a:lnTo>
                    <a:pt x="1209" y="753"/>
                  </a:lnTo>
                  <a:lnTo>
                    <a:pt x="1209" y="753"/>
                  </a:lnTo>
                  <a:lnTo>
                    <a:pt x="1209" y="753"/>
                  </a:lnTo>
                  <a:lnTo>
                    <a:pt x="1212" y="753"/>
                  </a:lnTo>
                  <a:lnTo>
                    <a:pt x="1212" y="753"/>
                  </a:lnTo>
                  <a:lnTo>
                    <a:pt x="1212" y="753"/>
                  </a:lnTo>
                  <a:lnTo>
                    <a:pt x="1212" y="753"/>
                  </a:lnTo>
                  <a:lnTo>
                    <a:pt x="1212" y="753"/>
                  </a:lnTo>
                  <a:lnTo>
                    <a:pt x="1212" y="750"/>
                  </a:lnTo>
                  <a:lnTo>
                    <a:pt x="1212" y="750"/>
                  </a:lnTo>
                  <a:lnTo>
                    <a:pt x="1212" y="750"/>
                  </a:lnTo>
                  <a:lnTo>
                    <a:pt x="1209" y="748"/>
                  </a:lnTo>
                  <a:lnTo>
                    <a:pt x="1207" y="748"/>
                  </a:lnTo>
                  <a:lnTo>
                    <a:pt x="1204" y="748"/>
                  </a:lnTo>
                  <a:lnTo>
                    <a:pt x="1202" y="748"/>
                  </a:lnTo>
                  <a:lnTo>
                    <a:pt x="1195" y="748"/>
                  </a:lnTo>
                  <a:lnTo>
                    <a:pt x="1190" y="750"/>
                  </a:lnTo>
                  <a:lnTo>
                    <a:pt x="1185" y="750"/>
                  </a:lnTo>
                  <a:lnTo>
                    <a:pt x="1181" y="753"/>
                  </a:lnTo>
                  <a:lnTo>
                    <a:pt x="1176" y="753"/>
                  </a:lnTo>
                  <a:lnTo>
                    <a:pt x="1174" y="753"/>
                  </a:lnTo>
                  <a:lnTo>
                    <a:pt x="1174" y="753"/>
                  </a:lnTo>
                  <a:lnTo>
                    <a:pt x="1171" y="753"/>
                  </a:lnTo>
                  <a:lnTo>
                    <a:pt x="1171" y="755"/>
                  </a:lnTo>
                  <a:lnTo>
                    <a:pt x="1171" y="755"/>
                  </a:lnTo>
                  <a:lnTo>
                    <a:pt x="1171" y="757"/>
                  </a:lnTo>
                  <a:lnTo>
                    <a:pt x="1174" y="757"/>
                  </a:lnTo>
                  <a:lnTo>
                    <a:pt x="1171" y="760"/>
                  </a:lnTo>
                  <a:lnTo>
                    <a:pt x="1171" y="762"/>
                  </a:lnTo>
                  <a:lnTo>
                    <a:pt x="1174" y="762"/>
                  </a:lnTo>
                  <a:lnTo>
                    <a:pt x="1174" y="765"/>
                  </a:lnTo>
                  <a:lnTo>
                    <a:pt x="1171" y="762"/>
                  </a:lnTo>
                  <a:lnTo>
                    <a:pt x="1171" y="757"/>
                  </a:lnTo>
                  <a:lnTo>
                    <a:pt x="1171" y="755"/>
                  </a:lnTo>
                  <a:lnTo>
                    <a:pt x="1171" y="755"/>
                  </a:lnTo>
                  <a:lnTo>
                    <a:pt x="1169" y="755"/>
                  </a:lnTo>
                  <a:lnTo>
                    <a:pt x="1169" y="755"/>
                  </a:lnTo>
                  <a:lnTo>
                    <a:pt x="1169" y="755"/>
                  </a:lnTo>
                  <a:lnTo>
                    <a:pt x="1169" y="757"/>
                  </a:lnTo>
                  <a:lnTo>
                    <a:pt x="1169" y="757"/>
                  </a:lnTo>
                  <a:lnTo>
                    <a:pt x="1167" y="760"/>
                  </a:lnTo>
                  <a:lnTo>
                    <a:pt x="1164" y="762"/>
                  </a:lnTo>
                  <a:lnTo>
                    <a:pt x="1159" y="765"/>
                  </a:lnTo>
                  <a:lnTo>
                    <a:pt x="1152" y="765"/>
                  </a:lnTo>
                  <a:lnTo>
                    <a:pt x="1150" y="765"/>
                  </a:lnTo>
                  <a:lnTo>
                    <a:pt x="1150" y="765"/>
                  </a:lnTo>
                  <a:lnTo>
                    <a:pt x="1150" y="765"/>
                  </a:lnTo>
                  <a:lnTo>
                    <a:pt x="1150" y="765"/>
                  </a:lnTo>
                  <a:lnTo>
                    <a:pt x="1152" y="767"/>
                  </a:lnTo>
                  <a:lnTo>
                    <a:pt x="1152" y="767"/>
                  </a:lnTo>
                  <a:lnTo>
                    <a:pt x="1152" y="767"/>
                  </a:lnTo>
                  <a:lnTo>
                    <a:pt x="1150" y="767"/>
                  </a:lnTo>
                  <a:lnTo>
                    <a:pt x="1152" y="767"/>
                  </a:lnTo>
                  <a:lnTo>
                    <a:pt x="1150" y="769"/>
                  </a:lnTo>
                  <a:lnTo>
                    <a:pt x="1150" y="769"/>
                  </a:lnTo>
                  <a:lnTo>
                    <a:pt x="1150" y="769"/>
                  </a:lnTo>
                  <a:lnTo>
                    <a:pt x="1150" y="769"/>
                  </a:lnTo>
                  <a:lnTo>
                    <a:pt x="1150" y="767"/>
                  </a:lnTo>
                  <a:lnTo>
                    <a:pt x="1150" y="767"/>
                  </a:lnTo>
                  <a:lnTo>
                    <a:pt x="1150" y="767"/>
                  </a:lnTo>
                  <a:lnTo>
                    <a:pt x="1150" y="767"/>
                  </a:lnTo>
                  <a:lnTo>
                    <a:pt x="1148" y="769"/>
                  </a:lnTo>
                  <a:lnTo>
                    <a:pt x="1148" y="769"/>
                  </a:lnTo>
                  <a:lnTo>
                    <a:pt x="1148" y="767"/>
                  </a:lnTo>
                  <a:lnTo>
                    <a:pt x="1148" y="767"/>
                  </a:lnTo>
                  <a:lnTo>
                    <a:pt x="1148" y="767"/>
                  </a:lnTo>
                  <a:lnTo>
                    <a:pt x="1148" y="767"/>
                  </a:lnTo>
                  <a:lnTo>
                    <a:pt x="1148" y="765"/>
                  </a:lnTo>
                  <a:lnTo>
                    <a:pt x="1148" y="765"/>
                  </a:lnTo>
                  <a:lnTo>
                    <a:pt x="1148" y="765"/>
                  </a:lnTo>
                  <a:lnTo>
                    <a:pt x="1141" y="765"/>
                  </a:lnTo>
                  <a:lnTo>
                    <a:pt x="1133" y="765"/>
                  </a:lnTo>
                  <a:lnTo>
                    <a:pt x="1129" y="767"/>
                  </a:lnTo>
                  <a:lnTo>
                    <a:pt x="1126" y="767"/>
                  </a:lnTo>
                  <a:lnTo>
                    <a:pt x="1117" y="772"/>
                  </a:lnTo>
                  <a:lnTo>
                    <a:pt x="1117" y="772"/>
                  </a:lnTo>
                  <a:lnTo>
                    <a:pt x="1117" y="772"/>
                  </a:lnTo>
                  <a:lnTo>
                    <a:pt x="1117" y="772"/>
                  </a:lnTo>
                  <a:lnTo>
                    <a:pt x="1114" y="772"/>
                  </a:lnTo>
                  <a:lnTo>
                    <a:pt x="1114" y="774"/>
                  </a:lnTo>
                  <a:lnTo>
                    <a:pt x="1114" y="774"/>
                  </a:lnTo>
                  <a:lnTo>
                    <a:pt x="1117" y="774"/>
                  </a:lnTo>
                  <a:lnTo>
                    <a:pt x="1117" y="774"/>
                  </a:lnTo>
                  <a:lnTo>
                    <a:pt x="1117" y="772"/>
                  </a:lnTo>
                  <a:lnTo>
                    <a:pt x="1119" y="772"/>
                  </a:lnTo>
                  <a:lnTo>
                    <a:pt x="1122" y="772"/>
                  </a:lnTo>
                  <a:lnTo>
                    <a:pt x="1122" y="772"/>
                  </a:lnTo>
                  <a:lnTo>
                    <a:pt x="1122" y="769"/>
                  </a:lnTo>
                  <a:lnTo>
                    <a:pt x="1122" y="769"/>
                  </a:lnTo>
                  <a:lnTo>
                    <a:pt x="1126" y="769"/>
                  </a:lnTo>
                  <a:lnTo>
                    <a:pt x="1126" y="767"/>
                  </a:lnTo>
                  <a:lnTo>
                    <a:pt x="1126" y="767"/>
                  </a:lnTo>
                  <a:lnTo>
                    <a:pt x="1126" y="767"/>
                  </a:lnTo>
                  <a:lnTo>
                    <a:pt x="1126" y="767"/>
                  </a:lnTo>
                  <a:lnTo>
                    <a:pt x="1129" y="767"/>
                  </a:lnTo>
                  <a:lnTo>
                    <a:pt x="1129" y="767"/>
                  </a:lnTo>
                  <a:lnTo>
                    <a:pt x="1129" y="769"/>
                  </a:lnTo>
                  <a:lnTo>
                    <a:pt x="1129" y="769"/>
                  </a:lnTo>
                  <a:lnTo>
                    <a:pt x="1126" y="772"/>
                  </a:lnTo>
                  <a:lnTo>
                    <a:pt x="1124" y="772"/>
                  </a:lnTo>
                  <a:lnTo>
                    <a:pt x="1124" y="772"/>
                  </a:lnTo>
                  <a:lnTo>
                    <a:pt x="1124" y="769"/>
                  </a:lnTo>
                  <a:lnTo>
                    <a:pt x="1122" y="772"/>
                  </a:lnTo>
                  <a:lnTo>
                    <a:pt x="1122" y="772"/>
                  </a:lnTo>
                  <a:lnTo>
                    <a:pt x="1122" y="772"/>
                  </a:lnTo>
                  <a:lnTo>
                    <a:pt x="1119" y="772"/>
                  </a:lnTo>
                  <a:lnTo>
                    <a:pt x="1119" y="772"/>
                  </a:lnTo>
                  <a:lnTo>
                    <a:pt x="1119" y="772"/>
                  </a:lnTo>
                  <a:lnTo>
                    <a:pt x="1119" y="772"/>
                  </a:lnTo>
                  <a:lnTo>
                    <a:pt x="1119" y="772"/>
                  </a:lnTo>
                  <a:lnTo>
                    <a:pt x="1119" y="774"/>
                  </a:lnTo>
                  <a:lnTo>
                    <a:pt x="1119" y="774"/>
                  </a:lnTo>
                  <a:lnTo>
                    <a:pt x="1119" y="774"/>
                  </a:lnTo>
                  <a:lnTo>
                    <a:pt x="1119" y="774"/>
                  </a:lnTo>
                  <a:lnTo>
                    <a:pt x="1119" y="774"/>
                  </a:lnTo>
                  <a:lnTo>
                    <a:pt x="1117" y="774"/>
                  </a:lnTo>
                  <a:lnTo>
                    <a:pt x="1114" y="776"/>
                  </a:lnTo>
                  <a:lnTo>
                    <a:pt x="1112" y="776"/>
                  </a:lnTo>
                  <a:lnTo>
                    <a:pt x="1112" y="774"/>
                  </a:lnTo>
                  <a:lnTo>
                    <a:pt x="1114" y="774"/>
                  </a:lnTo>
                  <a:lnTo>
                    <a:pt x="1114" y="774"/>
                  </a:lnTo>
                  <a:lnTo>
                    <a:pt x="1114" y="774"/>
                  </a:lnTo>
                  <a:lnTo>
                    <a:pt x="1110" y="776"/>
                  </a:lnTo>
                  <a:lnTo>
                    <a:pt x="1107" y="776"/>
                  </a:lnTo>
                  <a:lnTo>
                    <a:pt x="1107" y="776"/>
                  </a:lnTo>
                  <a:lnTo>
                    <a:pt x="1103" y="779"/>
                  </a:lnTo>
                  <a:lnTo>
                    <a:pt x="1103" y="779"/>
                  </a:lnTo>
                  <a:lnTo>
                    <a:pt x="1100" y="779"/>
                  </a:lnTo>
                  <a:lnTo>
                    <a:pt x="1098" y="781"/>
                  </a:lnTo>
                  <a:lnTo>
                    <a:pt x="1091" y="781"/>
                  </a:lnTo>
                  <a:lnTo>
                    <a:pt x="1088" y="783"/>
                  </a:lnTo>
                  <a:lnTo>
                    <a:pt x="1088" y="783"/>
                  </a:lnTo>
                  <a:lnTo>
                    <a:pt x="1086" y="783"/>
                  </a:lnTo>
                  <a:lnTo>
                    <a:pt x="1084" y="783"/>
                  </a:lnTo>
                  <a:lnTo>
                    <a:pt x="1084" y="783"/>
                  </a:lnTo>
                  <a:lnTo>
                    <a:pt x="1081" y="783"/>
                  </a:lnTo>
                  <a:lnTo>
                    <a:pt x="1081" y="783"/>
                  </a:lnTo>
                  <a:lnTo>
                    <a:pt x="1079" y="781"/>
                  </a:lnTo>
                  <a:lnTo>
                    <a:pt x="1079" y="781"/>
                  </a:lnTo>
                  <a:lnTo>
                    <a:pt x="1077" y="776"/>
                  </a:lnTo>
                  <a:lnTo>
                    <a:pt x="1074" y="774"/>
                  </a:lnTo>
                  <a:lnTo>
                    <a:pt x="1072" y="772"/>
                  </a:lnTo>
                  <a:lnTo>
                    <a:pt x="1072" y="769"/>
                  </a:lnTo>
                  <a:lnTo>
                    <a:pt x="1070" y="767"/>
                  </a:lnTo>
                  <a:lnTo>
                    <a:pt x="1067" y="765"/>
                  </a:lnTo>
                  <a:lnTo>
                    <a:pt x="1067" y="765"/>
                  </a:lnTo>
                  <a:lnTo>
                    <a:pt x="1065" y="765"/>
                  </a:lnTo>
                  <a:lnTo>
                    <a:pt x="1065" y="765"/>
                  </a:lnTo>
                  <a:lnTo>
                    <a:pt x="1058" y="762"/>
                  </a:lnTo>
                  <a:lnTo>
                    <a:pt x="1055" y="762"/>
                  </a:lnTo>
                  <a:lnTo>
                    <a:pt x="1055" y="762"/>
                  </a:lnTo>
                  <a:lnTo>
                    <a:pt x="1055" y="762"/>
                  </a:lnTo>
                  <a:lnTo>
                    <a:pt x="1055" y="760"/>
                  </a:lnTo>
                  <a:lnTo>
                    <a:pt x="1051" y="757"/>
                  </a:lnTo>
                  <a:lnTo>
                    <a:pt x="1048" y="757"/>
                  </a:lnTo>
                  <a:lnTo>
                    <a:pt x="1048" y="755"/>
                  </a:lnTo>
                  <a:lnTo>
                    <a:pt x="1046" y="755"/>
                  </a:lnTo>
                  <a:lnTo>
                    <a:pt x="1044" y="755"/>
                  </a:lnTo>
                  <a:lnTo>
                    <a:pt x="1039" y="757"/>
                  </a:lnTo>
                  <a:lnTo>
                    <a:pt x="1032" y="757"/>
                  </a:lnTo>
                  <a:lnTo>
                    <a:pt x="1029" y="755"/>
                  </a:lnTo>
                  <a:lnTo>
                    <a:pt x="1025" y="755"/>
                  </a:lnTo>
                  <a:lnTo>
                    <a:pt x="1020" y="753"/>
                  </a:lnTo>
                  <a:lnTo>
                    <a:pt x="1022" y="755"/>
                  </a:lnTo>
                  <a:lnTo>
                    <a:pt x="1025" y="755"/>
                  </a:lnTo>
                  <a:lnTo>
                    <a:pt x="1027" y="757"/>
                  </a:lnTo>
                  <a:lnTo>
                    <a:pt x="1029" y="757"/>
                  </a:lnTo>
                  <a:lnTo>
                    <a:pt x="1029" y="760"/>
                  </a:lnTo>
                  <a:lnTo>
                    <a:pt x="1027" y="757"/>
                  </a:lnTo>
                  <a:lnTo>
                    <a:pt x="1027" y="757"/>
                  </a:lnTo>
                  <a:lnTo>
                    <a:pt x="1025" y="757"/>
                  </a:lnTo>
                  <a:lnTo>
                    <a:pt x="1025" y="757"/>
                  </a:lnTo>
                  <a:lnTo>
                    <a:pt x="1020" y="755"/>
                  </a:lnTo>
                  <a:lnTo>
                    <a:pt x="1017" y="755"/>
                  </a:lnTo>
                  <a:lnTo>
                    <a:pt x="1017" y="755"/>
                  </a:lnTo>
                  <a:lnTo>
                    <a:pt x="1017" y="755"/>
                  </a:lnTo>
                  <a:lnTo>
                    <a:pt x="1017" y="755"/>
                  </a:lnTo>
                  <a:lnTo>
                    <a:pt x="1017" y="755"/>
                  </a:lnTo>
                  <a:lnTo>
                    <a:pt x="1017" y="757"/>
                  </a:lnTo>
                  <a:lnTo>
                    <a:pt x="1015" y="757"/>
                  </a:lnTo>
                  <a:lnTo>
                    <a:pt x="1015" y="757"/>
                  </a:lnTo>
                  <a:lnTo>
                    <a:pt x="1015" y="757"/>
                  </a:lnTo>
                  <a:lnTo>
                    <a:pt x="1015" y="755"/>
                  </a:lnTo>
                  <a:lnTo>
                    <a:pt x="1015" y="755"/>
                  </a:lnTo>
                  <a:lnTo>
                    <a:pt x="1015" y="755"/>
                  </a:lnTo>
                  <a:lnTo>
                    <a:pt x="1015" y="755"/>
                  </a:lnTo>
                  <a:lnTo>
                    <a:pt x="1017" y="755"/>
                  </a:lnTo>
                  <a:lnTo>
                    <a:pt x="1017" y="755"/>
                  </a:lnTo>
                  <a:lnTo>
                    <a:pt x="1017" y="755"/>
                  </a:lnTo>
                  <a:lnTo>
                    <a:pt x="1015" y="753"/>
                  </a:lnTo>
                  <a:lnTo>
                    <a:pt x="1015" y="753"/>
                  </a:lnTo>
                  <a:lnTo>
                    <a:pt x="1013" y="753"/>
                  </a:lnTo>
                  <a:lnTo>
                    <a:pt x="1013" y="750"/>
                  </a:lnTo>
                  <a:lnTo>
                    <a:pt x="1010" y="750"/>
                  </a:lnTo>
                  <a:lnTo>
                    <a:pt x="1010" y="750"/>
                  </a:lnTo>
                  <a:lnTo>
                    <a:pt x="1010" y="748"/>
                  </a:lnTo>
                  <a:lnTo>
                    <a:pt x="1013" y="750"/>
                  </a:lnTo>
                  <a:lnTo>
                    <a:pt x="1013" y="750"/>
                  </a:lnTo>
                  <a:lnTo>
                    <a:pt x="1017" y="753"/>
                  </a:lnTo>
                  <a:lnTo>
                    <a:pt x="1020" y="753"/>
                  </a:lnTo>
                  <a:lnTo>
                    <a:pt x="1020" y="755"/>
                  </a:lnTo>
                  <a:lnTo>
                    <a:pt x="1020" y="753"/>
                  </a:lnTo>
                  <a:lnTo>
                    <a:pt x="1020" y="753"/>
                  </a:lnTo>
                  <a:lnTo>
                    <a:pt x="1020" y="753"/>
                  </a:lnTo>
                  <a:lnTo>
                    <a:pt x="1017" y="750"/>
                  </a:lnTo>
                  <a:lnTo>
                    <a:pt x="1017" y="750"/>
                  </a:lnTo>
                  <a:lnTo>
                    <a:pt x="1017" y="750"/>
                  </a:lnTo>
                  <a:lnTo>
                    <a:pt x="1015" y="750"/>
                  </a:lnTo>
                  <a:lnTo>
                    <a:pt x="1015" y="750"/>
                  </a:lnTo>
                  <a:lnTo>
                    <a:pt x="1013" y="748"/>
                  </a:lnTo>
                  <a:lnTo>
                    <a:pt x="1010" y="748"/>
                  </a:lnTo>
                  <a:lnTo>
                    <a:pt x="1010" y="746"/>
                  </a:lnTo>
                  <a:lnTo>
                    <a:pt x="1010" y="743"/>
                  </a:lnTo>
                  <a:lnTo>
                    <a:pt x="1008" y="741"/>
                  </a:lnTo>
                  <a:lnTo>
                    <a:pt x="1008" y="739"/>
                  </a:lnTo>
                  <a:lnTo>
                    <a:pt x="1008" y="739"/>
                  </a:lnTo>
                  <a:lnTo>
                    <a:pt x="1006" y="739"/>
                  </a:lnTo>
                  <a:lnTo>
                    <a:pt x="1006" y="739"/>
                  </a:lnTo>
                  <a:lnTo>
                    <a:pt x="1003" y="739"/>
                  </a:lnTo>
                  <a:lnTo>
                    <a:pt x="1003" y="739"/>
                  </a:lnTo>
                  <a:lnTo>
                    <a:pt x="1003" y="736"/>
                  </a:lnTo>
                  <a:lnTo>
                    <a:pt x="1003" y="734"/>
                  </a:lnTo>
                  <a:lnTo>
                    <a:pt x="1001" y="734"/>
                  </a:lnTo>
                  <a:lnTo>
                    <a:pt x="1001" y="731"/>
                  </a:lnTo>
                  <a:lnTo>
                    <a:pt x="1001" y="731"/>
                  </a:lnTo>
                  <a:lnTo>
                    <a:pt x="1001" y="731"/>
                  </a:lnTo>
                  <a:lnTo>
                    <a:pt x="999" y="731"/>
                  </a:lnTo>
                  <a:lnTo>
                    <a:pt x="999" y="731"/>
                  </a:lnTo>
                  <a:lnTo>
                    <a:pt x="994" y="727"/>
                  </a:lnTo>
                  <a:lnTo>
                    <a:pt x="994" y="727"/>
                  </a:lnTo>
                  <a:lnTo>
                    <a:pt x="994" y="727"/>
                  </a:lnTo>
                  <a:lnTo>
                    <a:pt x="991" y="724"/>
                  </a:lnTo>
                  <a:lnTo>
                    <a:pt x="991" y="722"/>
                  </a:lnTo>
                  <a:lnTo>
                    <a:pt x="991" y="722"/>
                  </a:lnTo>
                  <a:lnTo>
                    <a:pt x="991" y="720"/>
                  </a:lnTo>
                  <a:lnTo>
                    <a:pt x="991" y="720"/>
                  </a:lnTo>
                  <a:lnTo>
                    <a:pt x="991" y="717"/>
                  </a:lnTo>
                  <a:lnTo>
                    <a:pt x="989" y="717"/>
                  </a:lnTo>
                  <a:lnTo>
                    <a:pt x="989" y="715"/>
                  </a:lnTo>
                  <a:lnTo>
                    <a:pt x="987" y="710"/>
                  </a:lnTo>
                  <a:lnTo>
                    <a:pt x="987" y="705"/>
                  </a:lnTo>
                  <a:lnTo>
                    <a:pt x="984" y="701"/>
                  </a:lnTo>
                  <a:lnTo>
                    <a:pt x="984" y="698"/>
                  </a:lnTo>
                  <a:lnTo>
                    <a:pt x="982" y="696"/>
                  </a:lnTo>
                  <a:lnTo>
                    <a:pt x="977" y="691"/>
                  </a:lnTo>
                  <a:lnTo>
                    <a:pt x="975" y="686"/>
                  </a:lnTo>
                  <a:lnTo>
                    <a:pt x="973" y="684"/>
                  </a:lnTo>
                  <a:lnTo>
                    <a:pt x="973" y="684"/>
                  </a:lnTo>
                  <a:lnTo>
                    <a:pt x="973" y="684"/>
                  </a:lnTo>
                  <a:lnTo>
                    <a:pt x="970" y="684"/>
                  </a:lnTo>
                  <a:lnTo>
                    <a:pt x="970" y="682"/>
                  </a:lnTo>
                  <a:lnTo>
                    <a:pt x="970" y="682"/>
                  </a:lnTo>
                  <a:lnTo>
                    <a:pt x="970" y="682"/>
                  </a:lnTo>
                  <a:lnTo>
                    <a:pt x="968" y="679"/>
                  </a:lnTo>
                  <a:lnTo>
                    <a:pt x="965" y="677"/>
                  </a:lnTo>
                  <a:lnTo>
                    <a:pt x="963" y="672"/>
                  </a:lnTo>
                  <a:lnTo>
                    <a:pt x="961" y="672"/>
                  </a:lnTo>
                  <a:lnTo>
                    <a:pt x="961" y="672"/>
                  </a:lnTo>
                  <a:lnTo>
                    <a:pt x="958" y="670"/>
                  </a:lnTo>
                  <a:lnTo>
                    <a:pt x="958" y="668"/>
                  </a:lnTo>
                  <a:lnTo>
                    <a:pt x="956" y="668"/>
                  </a:lnTo>
                  <a:lnTo>
                    <a:pt x="954" y="665"/>
                  </a:lnTo>
                  <a:lnTo>
                    <a:pt x="949" y="660"/>
                  </a:lnTo>
                  <a:lnTo>
                    <a:pt x="946" y="656"/>
                  </a:lnTo>
                  <a:lnTo>
                    <a:pt x="946" y="653"/>
                  </a:lnTo>
                  <a:lnTo>
                    <a:pt x="946" y="653"/>
                  </a:lnTo>
                  <a:lnTo>
                    <a:pt x="946" y="653"/>
                  </a:lnTo>
                  <a:lnTo>
                    <a:pt x="946" y="653"/>
                  </a:lnTo>
                  <a:lnTo>
                    <a:pt x="946" y="651"/>
                  </a:lnTo>
                  <a:lnTo>
                    <a:pt x="942" y="646"/>
                  </a:lnTo>
                  <a:lnTo>
                    <a:pt x="939" y="639"/>
                  </a:lnTo>
                  <a:lnTo>
                    <a:pt x="937" y="632"/>
                  </a:lnTo>
                  <a:lnTo>
                    <a:pt x="937" y="630"/>
                  </a:lnTo>
                  <a:lnTo>
                    <a:pt x="935" y="630"/>
                  </a:lnTo>
                  <a:lnTo>
                    <a:pt x="935" y="627"/>
                  </a:lnTo>
                  <a:lnTo>
                    <a:pt x="935" y="627"/>
                  </a:lnTo>
                  <a:lnTo>
                    <a:pt x="932" y="620"/>
                  </a:lnTo>
                  <a:lnTo>
                    <a:pt x="930" y="620"/>
                  </a:lnTo>
                  <a:lnTo>
                    <a:pt x="932" y="618"/>
                  </a:lnTo>
                  <a:lnTo>
                    <a:pt x="932" y="618"/>
                  </a:lnTo>
                  <a:lnTo>
                    <a:pt x="930" y="616"/>
                  </a:lnTo>
                  <a:lnTo>
                    <a:pt x="930" y="618"/>
                  </a:lnTo>
                  <a:lnTo>
                    <a:pt x="930" y="618"/>
                  </a:lnTo>
                  <a:lnTo>
                    <a:pt x="930" y="618"/>
                  </a:lnTo>
                  <a:lnTo>
                    <a:pt x="928" y="618"/>
                  </a:lnTo>
                  <a:lnTo>
                    <a:pt x="928" y="616"/>
                  </a:lnTo>
                  <a:lnTo>
                    <a:pt x="923" y="608"/>
                  </a:lnTo>
                  <a:lnTo>
                    <a:pt x="923" y="608"/>
                  </a:lnTo>
                  <a:lnTo>
                    <a:pt x="923" y="604"/>
                  </a:lnTo>
                  <a:lnTo>
                    <a:pt x="920" y="599"/>
                  </a:lnTo>
                  <a:lnTo>
                    <a:pt x="920" y="597"/>
                  </a:lnTo>
                  <a:lnTo>
                    <a:pt x="920" y="594"/>
                  </a:lnTo>
                  <a:lnTo>
                    <a:pt x="918" y="590"/>
                  </a:lnTo>
                  <a:lnTo>
                    <a:pt x="918" y="590"/>
                  </a:lnTo>
                  <a:lnTo>
                    <a:pt x="918" y="590"/>
                  </a:lnTo>
                  <a:lnTo>
                    <a:pt x="918" y="587"/>
                  </a:lnTo>
                  <a:lnTo>
                    <a:pt x="918" y="587"/>
                  </a:lnTo>
                  <a:lnTo>
                    <a:pt x="918" y="587"/>
                  </a:lnTo>
                  <a:lnTo>
                    <a:pt x="920" y="594"/>
                  </a:lnTo>
                  <a:lnTo>
                    <a:pt x="923" y="597"/>
                  </a:lnTo>
                  <a:lnTo>
                    <a:pt x="923" y="597"/>
                  </a:lnTo>
                  <a:lnTo>
                    <a:pt x="925" y="601"/>
                  </a:lnTo>
                  <a:lnTo>
                    <a:pt x="925" y="601"/>
                  </a:lnTo>
                  <a:lnTo>
                    <a:pt x="925" y="601"/>
                  </a:lnTo>
                  <a:lnTo>
                    <a:pt x="925" y="601"/>
                  </a:lnTo>
                  <a:lnTo>
                    <a:pt x="928" y="606"/>
                  </a:lnTo>
                  <a:lnTo>
                    <a:pt x="930" y="608"/>
                  </a:lnTo>
                  <a:lnTo>
                    <a:pt x="932" y="608"/>
                  </a:lnTo>
                  <a:lnTo>
                    <a:pt x="935" y="611"/>
                  </a:lnTo>
                  <a:lnTo>
                    <a:pt x="935" y="613"/>
                  </a:lnTo>
                  <a:lnTo>
                    <a:pt x="937" y="613"/>
                  </a:lnTo>
                  <a:lnTo>
                    <a:pt x="937" y="613"/>
                  </a:lnTo>
                  <a:lnTo>
                    <a:pt x="937" y="616"/>
                  </a:lnTo>
                  <a:lnTo>
                    <a:pt x="937" y="616"/>
                  </a:lnTo>
                  <a:lnTo>
                    <a:pt x="937" y="616"/>
                  </a:lnTo>
                  <a:lnTo>
                    <a:pt x="937" y="618"/>
                  </a:lnTo>
                  <a:lnTo>
                    <a:pt x="935" y="618"/>
                  </a:lnTo>
                  <a:lnTo>
                    <a:pt x="935" y="618"/>
                  </a:lnTo>
                  <a:lnTo>
                    <a:pt x="935" y="618"/>
                  </a:lnTo>
                  <a:lnTo>
                    <a:pt x="932" y="618"/>
                  </a:lnTo>
                  <a:lnTo>
                    <a:pt x="932" y="620"/>
                  </a:lnTo>
                  <a:lnTo>
                    <a:pt x="932" y="620"/>
                  </a:lnTo>
                  <a:lnTo>
                    <a:pt x="932" y="620"/>
                  </a:lnTo>
                  <a:lnTo>
                    <a:pt x="932" y="623"/>
                  </a:lnTo>
                  <a:lnTo>
                    <a:pt x="935" y="625"/>
                  </a:lnTo>
                  <a:lnTo>
                    <a:pt x="935" y="627"/>
                  </a:lnTo>
                  <a:lnTo>
                    <a:pt x="935" y="627"/>
                  </a:lnTo>
                  <a:lnTo>
                    <a:pt x="935" y="625"/>
                  </a:lnTo>
                  <a:lnTo>
                    <a:pt x="937" y="625"/>
                  </a:lnTo>
                  <a:lnTo>
                    <a:pt x="937" y="623"/>
                  </a:lnTo>
                  <a:lnTo>
                    <a:pt x="937" y="623"/>
                  </a:lnTo>
                  <a:lnTo>
                    <a:pt x="939" y="620"/>
                  </a:lnTo>
                  <a:lnTo>
                    <a:pt x="939" y="620"/>
                  </a:lnTo>
                  <a:lnTo>
                    <a:pt x="939" y="618"/>
                  </a:lnTo>
                  <a:lnTo>
                    <a:pt x="939" y="616"/>
                  </a:lnTo>
                  <a:lnTo>
                    <a:pt x="939" y="613"/>
                  </a:lnTo>
                  <a:lnTo>
                    <a:pt x="939" y="611"/>
                  </a:lnTo>
                  <a:lnTo>
                    <a:pt x="935" y="608"/>
                  </a:lnTo>
                  <a:lnTo>
                    <a:pt x="935" y="608"/>
                  </a:lnTo>
                  <a:lnTo>
                    <a:pt x="935" y="608"/>
                  </a:lnTo>
                  <a:lnTo>
                    <a:pt x="932" y="606"/>
                  </a:lnTo>
                  <a:lnTo>
                    <a:pt x="930" y="604"/>
                  </a:lnTo>
                  <a:lnTo>
                    <a:pt x="925" y="599"/>
                  </a:lnTo>
                  <a:lnTo>
                    <a:pt x="918" y="587"/>
                  </a:lnTo>
                  <a:lnTo>
                    <a:pt x="918" y="585"/>
                  </a:lnTo>
                  <a:lnTo>
                    <a:pt x="918" y="578"/>
                  </a:lnTo>
                  <a:lnTo>
                    <a:pt x="916" y="575"/>
                  </a:lnTo>
                  <a:lnTo>
                    <a:pt x="916" y="575"/>
                  </a:lnTo>
                  <a:lnTo>
                    <a:pt x="916" y="573"/>
                  </a:lnTo>
                  <a:lnTo>
                    <a:pt x="916" y="571"/>
                  </a:lnTo>
                  <a:lnTo>
                    <a:pt x="916" y="571"/>
                  </a:lnTo>
                  <a:lnTo>
                    <a:pt x="916" y="568"/>
                  </a:lnTo>
                  <a:lnTo>
                    <a:pt x="913" y="563"/>
                  </a:lnTo>
                  <a:lnTo>
                    <a:pt x="913" y="559"/>
                  </a:lnTo>
                  <a:lnTo>
                    <a:pt x="913" y="559"/>
                  </a:lnTo>
                  <a:lnTo>
                    <a:pt x="913" y="556"/>
                  </a:lnTo>
                  <a:lnTo>
                    <a:pt x="913" y="556"/>
                  </a:lnTo>
                  <a:lnTo>
                    <a:pt x="913" y="556"/>
                  </a:lnTo>
                  <a:lnTo>
                    <a:pt x="913" y="556"/>
                  </a:lnTo>
                  <a:lnTo>
                    <a:pt x="913" y="559"/>
                  </a:lnTo>
                  <a:lnTo>
                    <a:pt x="913" y="559"/>
                  </a:lnTo>
                  <a:lnTo>
                    <a:pt x="913" y="561"/>
                  </a:lnTo>
                  <a:lnTo>
                    <a:pt x="913" y="561"/>
                  </a:lnTo>
                  <a:lnTo>
                    <a:pt x="913" y="561"/>
                  </a:lnTo>
                  <a:lnTo>
                    <a:pt x="911" y="561"/>
                  </a:lnTo>
                  <a:lnTo>
                    <a:pt x="911" y="561"/>
                  </a:lnTo>
                  <a:lnTo>
                    <a:pt x="911" y="561"/>
                  </a:lnTo>
                  <a:lnTo>
                    <a:pt x="911" y="559"/>
                  </a:lnTo>
                  <a:lnTo>
                    <a:pt x="913" y="556"/>
                  </a:lnTo>
                  <a:lnTo>
                    <a:pt x="913" y="554"/>
                  </a:lnTo>
                  <a:lnTo>
                    <a:pt x="911" y="554"/>
                  </a:lnTo>
                  <a:lnTo>
                    <a:pt x="913" y="554"/>
                  </a:lnTo>
                  <a:lnTo>
                    <a:pt x="913" y="554"/>
                  </a:lnTo>
                  <a:lnTo>
                    <a:pt x="913" y="554"/>
                  </a:lnTo>
                  <a:lnTo>
                    <a:pt x="913" y="552"/>
                  </a:lnTo>
                  <a:lnTo>
                    <a:pt x="913" y="552"/>
                  </a:lnTo>
                  <a:lnTo>
                    <a:pt x="916" y="552"/>
                  </a:lnTo>
                  <a:lnTo>
                    <a:pt x="916" y="549"/>
                  </a:lnTo>
                  <a:lnTo>
                    <a:pt x="916" y="545"/>
                  </a:lnTo>
                  <a:lnTo>
                    <a:pt x="918" y="545"/>
                  </a:lnTo>
                  <a:lnTo>
                    <a:pt x="918" y="545"/>
                  </a:lnTo>
                  <a:lnTo>
                    <a:pt x="918" y="547"/>
                  </a:lnTo>
                  <a:lnTo>
                    <a:pt x="918" y="542"/>
                  </a:lnTo>
                  <a:lnTo>
                    <a:pt x="916" y="526"/>
                  </a:lnTo>
                  <a:lnTo>
                    <a:pt x="916" y="519"/>
                  </a:lnTo>
                  <a:lnTo>
                    <a:pt x="918" y="511"/>
                  </a:lnTo>
                  <a:lnTo>
                    <a:pt x="918" y="502"/>
                  </a:lnTo>
                  <a:lnTo>
                    <a:pt x="918" y="500"/>
                  </a:lnTo>
                  <a:lnTo>
                    <a:pt x="918" y="502"/>
                  </a:lnTo>
                  <a:lnTo>
                    <a:pt x="916" y="504"/>
                  </a:lnTo>
                  <a:lnTo>
                    <a:pt x="916" y="507"/>
                  </a:lnTo>
                  <a:lnTo>
                    <a:pt x="916" y="507"/>
                  </a:lnTo>
                  <a:lnTo>
                    <a:pt x="916" y="502"/>
                  </a:lnTo>
                  <a:lnTo>
                    <a:pt x="916" y="500"/>
                  </a:lnTo>
                  <a:lnTo>
                    <a:pt x="916" y="500"/>
                  </a:lnTo>
                  <a:lnTo>
                    <a:pt x="916" y="500"/>
                  </a:lnTo>
                  <a:lnTo>
                    <a:pt x="913" y="500"/>
                  </a:lnTo>
                  <a:lnTo>
                    <a:pt x="913" y="500"/>
                  </a:lnTo>
                  <a:lnTo>
                    <a:pt x="916" y="500"/>
                  </a:lnTo>
                  <a:lnTo>
                    <a:pt x="918" y="500"/>
                  </a:lnTo>
                  <a:lnTo>
                    <a:pt x="918" y="500"/>
                  </a:lnTo>
                  <a:lnTo>
                    <a:pt x="918" y="488"/>
                  </a:lnTo>
                  <a:lnTo>
                    <a:pt x="918" y="485"/>
                  </a:lnTo>
                  <a:lnTo>
                    <a:pt x="918" y="485"/>
                  </a:lnTo>
                  <a:lnTo>
                    <a:pt x="920" y="462"/>
                  </a:lnTo>
                  <a:lnTo>
                    <a:pt x="925" y="445"/>
                  </a:lnTo>
                  <a:lnTo>
                    <a:pt x="928" y="429"/>
                  </a:lnTo>
                  <a:lnTo>
                    <a:pt x="935" y="419"/>
                  </a:lnTo>
                  <a:lnTo>
                    <a:pt x="937" y="412"/>
                  </a:lnTo>
                  <a:lnTo>
                    <a:pt x="939" y="407"/>
                  </a:lnTo>
                  <a:lnTo>
                    <a:pt x="939" y="405"/>
                  </a:lnTo>
                  <a:lnTo>
                    <a:pt x="942" y="403"/>
                  </a:lnTo>
                  <a:lnTo>
                    <a:pt x="942" y="403"/>
                  </a:lnTo>
                  <a:lnTo>
                    <a:pt x="942" y="400"/>
                  </a:lnTo>
                  <a:lnTo>
                    <a:pt x="942" y="398"/>
                  </a:lnTo>
                  <a:lnTo>
                    <a:pt x="942" y="398"/>
                  </a:lnTo>
                  <a:lnTo>
                    <a:pt x="942" y="396"/>
                  </a:lnTo>
                  <a:lnTo>
                    <a:pt x="942" y="388"/>
                  </a:lnTo>
                  <a:lnTo>
                    <a:pt x="942" y="388"/>
                  </a:lnTo>
                  <a:lnTo>
                    <a:pt x="939" y="388"/>
                  </a:lnTo>
                  <a:lnTo>
                    <a:pt x="937" y="388"/>
                  </a:lnTo>
                  <a:lnTo>
                    <a:pt x="937" y="388"/>
                  </a:lnTo>
                  <a:lnTo>
                    <a:pt x="937" y="391"/>
                  </a:lnTo>
                  <a:lnTo>
                    <a:pt x="935" y="391"/>
                  </a:lnTo>
                  <a:lnTo>
                    <a:pt x="935" y="391"/>
                  </a:lnTo>
                  <a:lnTo>
                    <a:pt x="935" y="391"/>
                  </a:lnTo>
                  <a:lnTo>
                    <a:pt x="932" y="391"/>
                  </a:lnTo>
                  <a:lnTo>
                    <a:pt x="932" y="391"/>
                  </a:lnTo>
                  <a:lnTo>
                    <a:pt x="932" y="393"/>
                  </a:lnTo>
                  <a:lnTo>
                    <a:pt x="932" y="393"/>
                  </a:lnTo>
                  <a:lnTo>
                    <a:pt x="932" y="396"/>
                  </a:lnTo>
                  <a:lnTo>
                    <a:pt x="932" y="396"/>
                  </a:lnTo>
                  <a:lnTo>
                    <a:pt x="932" y="396"/>
                  </a:lnTo>
                  <a:lnTo>
                    <a:pt x="932" y="396"/>
                  </a:lnTo>
                  <a:lnTo>
                    <a:pt x="932" y="393"/>
                  </a:lnTo>
                  <a:lnTo>
                    <a:pt x="930" y="393"/>
                  </a:lnTo>
                  <a:lnTo>
                    <a:pt x="930" y="393"/>
                  </a:lnTo>
                  <a:lnTo>
                    <a:pt x="930" y="393"/>
                  </a:lnTo>
                  <a:lnTo>
                    <a:pt x="930" y="396"/>
                  </a:lnTo>
                  <a:lnTo>
                    <a:pt x="930" y="396"/>
                  </a:lnTo>
                  <a:lnTo>
                    <a:pt x="930" y="396"/>
                  </a:lnTo>
                  <a:lnTo>
                    <a:pt x="930" y="393"/>
                  </a:lnTo>
                  <a:lnTo>
                    <a:pt x="928" y="393"/>
                  </a:lnTo>
                  <a:lnTo>
                    <a:pt x="928" y="393"/>
                  </a:lnTo>
                  <a:lnTo>
                    <a:pt x="928" y="393"/>
                  </a:lnTo>
                  <a:lnTo>
                    <a:pt x="928" y="393"/>
                  </a:lnTo>
                  <a:lnTo>
                    <a:pt x="925" y="393"/>
                  </a:lnTo>
                  <a:lnTo>
                    <a:pt x="925" y="391"/>
                  </a:lnTo>
                  <a:lnTo>
                    <a:pt x="923" y="391"/>
                  </a:lnTo>
                  <a:lnTo>
                    <a:pt x="920" y="388"/>
                  </a:lnTo>
                  <a:lnTo>
                    <a:pt x="920" y="388"/>
                  </a:lnTo>
                  <a:lnTo>
                    <a:pt x="920" y="388"/>
                  </a:lnTo>
                  <a:lnTo>
                    <a:pt x="920" y="386"/>
                  </a:lnTo>
                  <a:lnTo>
                    <a:pt x="920" y="386"/>
                  </a:lnTo>
                  <a:lnTo>
                    <a:pt x="918" y="386"/>
                  </a:lnTo>
                  <a:lnTo>
                    <a:pt x="918" y="386"/>
                  </a:lnTo>
                  <a:lnTo>
                    <a:pt x="913" y="386"/>
                  </a:lnTo>
                  <a:lnTo>
                    <a:pt x="913" y="386"/>
                  </a:lnTo>
                  <a:lnTo>
                    <a:pt x="913" y="384"/>
                  </a:lnTo>
                  <a:lnTo>
                    <a:pt x="911" y="384"/>
                  </a:lnTo>
                  <a:lnTo>
                    <a:pt x="909" y="384"/>
                  </a:lnTo>
                  <a:lnTo>
                    <a:pt x="906" y="384"/>
                  </a:lnTo>
                  <a:lnTo>
                    <a:pt x="904" y="384"/>
                  </a:lnTo>
                  <a:lnTo>
                    <a:pt x="902" y="384"/>
                  </a:lnTo>
                  <a:lnTo>
                    <a:pt x="902" y="386"/>
                  </a:lnTo>
                  <a:lnTo>
                    <a:pt x="899" y="386"/>
                  </a:lnTo>
                  <a:lnTo>
                    <a:pt x="899" y="386"/>
                  </a:lnTo>
                  <a:lnTo>
                    <a:pt x="899" y="384"/>
                  </a:lnTo>
                  <a:lnTo>
                    <a:pt x="899" y="384"/>
                  </a:lnTo>
                  <a:lnTo>
                    <a:pt x="897" y="384"/>
                  </a:lnTo>
                  <a:lnTo>
                    <a:pt x="894" y="384"/>
                  </a:lnTo>
                  <a:lnTo>
                    <a:pt x="892" y="384"/>
                  </a:lnTo>
                  <a:lnTo>
                    <a:pt x="890" y="381"/>
                  </a:lnTo>
                  <a:lnTo>
                    <a:pt x="890" y="381"/>
                  </a:lnTo>
                  <a:lnTo>
                    <a:pt x="887" y="381"/>
                  </a:lnTo>
                  <a:lnTo>
                    <a:pt x="887" y="379"/>
                  </a:lnTo>
                  <a:lnTo>
                    <a:pt x="885" y="379"/>
                  </a:lnTo>
                  <a:lnTo>
                    <a:pt x="885" y="379"/>
                  </a:lnTo>
                  <a:lnTo>
                    <a:pt x="885" y="379"/>
                  </a:lnTo>
                  <a:lnTo>
                    <a:pt x="885" y="379"/>
                  </a:lnTo>
                  <a:lnTo>
                    <a:pt x="885" y="379"/>
                  </a:lnTo>
                  <a:lnTo>
                    <a:pt x="883" y="377"/>
                  </a:lnTo>
                  <a:lnTo>
                    <a:pt x="883" y="377"/>
                  </a:lnTo>
                  <a:lnTo>
                    <a:pt x="880" y="377"/>
                  </a:lnTo>
                  <a:lnTo>
                    <a:pt x="880" y="377"/>
                  </a:lnTo>
                  <a:lnTo>
                    <a:pt x="878" y="377"/>
                  </a:lnTo>
                  <a:lnTo>
                    <a:pt x="878" y="377"/>
                  </a:lnTo>
                  <a:lnTo>
                    <a:pt x="875" y="374"/>
                  </a:lnTo>
                  <a:lnTo>
                    <a:pt x="873" y="377"/>
                  </a:lnTo>
                  <a:lnTo>
                    <a:pt x="873" y="377"/>
                  </a:lnTo>
                  <a:lnTo>
                    <a:pt x="873" y="377"/>
                  </a:lnTo>
                  <a:lnTo>
                    <a:pt x="871" y="374"/>
                  </a:lnTo>
                  <a:lnTo>
                    <a:pt x="871" y="374"/>
                  </a:lnTo>
                  <a:lnTo>
                    <a:pt x="871" y="374"/>
                  </a:lnTo>
                  <a:lnTo>
                    <a:pt x="871" y="374"/>
                  </a:lnTo>
                  <a:lnTo>
                    <a:pt x="871" y="374"/>
                  </a:lnTo>
                  <a:lnTo>
                    <a:pt x="871" y="374"/>
                  </a:lnTo>
                  <a:lnTo>
                    <a:pt x="871" y="372"/>
                  </a:lnTo>
                  <a:lnTo>
                    <a:pt x="868" y="372"/>
                  </a:lnTo>
                  <a:lnTo>
                    <a:pt x="868" y="372"/>
                  </a:lnTo>
                  <a:lnTo>
                    <a:pt x="868" y="372"/>
                  </a:lnTo>
                  <a:lnTo>
                    <a:pt x="868" y="372"/>
                  </a:lnTo>
                  <a:lnTo>
                    <a:pt x="866" y="370"/>
                  </a:lnTo>
                  <a:lnTo>
                    <a:pt x="866" y="370"/>
                  </a:lnTo>
                  <a:lnTo>
                    <a:pt x="866" y="370"/>
                  </a:lnTo>
                  <a:lnTo>
                    <a:pt x="866" y="370"/>
                  </a:lnTo>
                  <a:lnTo>
                    <a:pt x="866" y="370"/>
                  </a:lnTo>
                  <a:lnTo>
                    <a:pt x="866" y="370"/>
                  </a:lnTo>
                  <a:lnTo>
                    <a:pt x="864" y="370"/>
                  </a:lnTo>
                  <a:lnTo>
                    <a:pt x="864" y="370"/>
                  </a:lnTo>
                  <a:lnTo>
                    <a:pt x="864" y="370"/>
                  </a:lnTo>
                  <a:lnTo>
                    <a:pt x="864" y="370"/>
                  </a:lnTo>
                  <a:lnTo>
                    <a:pt x="864" y="370"/>
                  </a:lnTo>
                  <a:lnTo>
                    <a:pt x="861" y="370"/>
                  </a:lnTo>
                  <a:lnTo>
                    <a:pt x="859" y="370"/>
                  </a:lnTo>
                  <a:lnTo>
                    <a:pt x="859" y="370"/>
                  </a:lnTo>
                  <a:lnTo>
                    <a:pt x="859" y="370"/>
                  </a:lnTo>
                  <a:lnTo>
                    <a:pt x="859" y="367"/>
                  </a:lnTo>
                  <a:lnTo>
                    <a:pt x="857" y="367"/>
                  </a:lnTo>
                  <a:lnTo>
                    <a:pt x="857" y="370"/>
                  </a:lnTo>
                  <a:lnTo>
                    <a:pt x="857" y="370"/>
                  </a:lnTo>
                  <a:lnTo>
                    <a:pt x="857" y="370"/>
                  </a:lnTo>
                  <a:lnTo>
                    <a:pt x="857" y="367"/>
                  </a:lnTo>
                  <a:lnTo>
                    <a:pt x="857" y="367"/>
                  </a:lnTo>
                  <a:lnTo>
                    <a:pt x="854" y="367"/>
                  </a:lnTo>
                  <a:lnTo>
                    <a:pt x="854" y="367"/>
                  </a:lnTo>
                  <a:lnTo>
                    <a:pt x="852" y="367"/>
                  </a:lnTo>
                  <a:lnTo>
                    <a:pt x="852" y="367"/>
                  </a:lnTo>
                  <a:lnTo>
                    <a:pt x="852" y="367"/>
                  </a:lnTo>
                  <a:lnTo>
                    <a:pt x="852" y="365"/>
                  </a:lnTo>
                  <a:lnTo>
                    <a:pt x="852" y="365"/>
                  </a:lnTo>
                  <a:lnTo>
                    <a:pt x="852" y="365"/>
                  </a:lnTo>
                  <a:lnTo>
                    <a:pt x="852" y="365"/>
                  </a:lnTo>
                  <a:lnTo>
                    <a:pt x="852" y="362"/>
                  </a:lnTo>
                  <a:lnTo>
                    <a:pt x="852" y="362"/>
                  </a:lnTo>
                  <a:lnTo>
                    <a:pt x="849" y="362"/>
                  </a:lnTo>
                  <a:lnTo>
                    <a:pt x="849" y="360"/>
                  </a:lnTo>
                  <a:lnTo>
                    <a:pt x="849" y="360"/>
                  </a:lnTo>
                  <a:lnTo>
                    <a:pt x="849" y="358"/>
                  </a:lnTo>
                  <a:lnTo>
                    <a:pt x="849" y="358"/>
                  </a:lnTo>
                  <a:lnTo>
                    <a:pt x="847" y="351"/>
                  </a:lnTo>
                  <a:lnTo>
                    <a:pt x="847" y="348"/>
                  </a:lnTo>
                  <a:lnTo>
                    <a:pt x="845" y="346"/>
                  </a:lnTo>
                  <a:lnTo>
                    <a:pt x="845" y="346"/>
                  </a:lnTo>
                  <a:lnTo>
                    <a:pt x="845" y="346"/>
                  </a:lnTo>
                  <a:lnTo>
                    <a:pt x="842" y="343"/>
                  </a:lnTo>
                  <a:lnTo>
                    <a:pt x="842" y="343"/>
                  </a:lnTo>
                  <a:lnTo>
                    <a:pt x="842" y="341"/>
                  </a:lnTo>
                  <a:lnTo>
                    <a:pt x="840" y="341"/>
                  </a:lnTo>
                  <a:lnTo>
                    <a:pt x="840" y="339"/>
                  </a:lnTo>
                  <a:lnTo>
                    <a:pt x="840" y="339"/>
                  </a:lnTo>
                  <a:lnTo>
                    <a:pt x="840" y="339"/>
                  </a:lnTo>
                  <a:lnTo>
                    <a:pt x="838" y="339"/>
                  </a:lnTo>
                  <a:lnTo>
                    <a:pt x="838" y="336"/>
                  </a:lnTo>
                  <a:lnTo>
                    <a:pt x="838" y="336"/>
                  </a:lnTo>
                  <a:lnTo>
                    <a:pt x="838" y="336"/>
                  </a:lnTo>
                  <a:lnTo>
                    <a:pt x="838" y="336"/>
                  </a:lnTo>
                  <a:lnTo>
                    <a:pt x="838" y="336"/>
                  </a:lnTo>
                  <a:lnTo>
                    <a:pt x="838" y="336"/>
                  </a:lnTo>
                  <a:lnTo>
                    <a:pt x="835" y="334"/>
                  </a:lnTo>
                  <a:lnTo>
                    <a:pt x="838" y="334"/>
                  </a:lnTo>
                  <a:lnTo>
                    <a:pt x="838" y="334"/>
                  </a:lnTo>
                  <a:lnTo>
                    <a:pt x="838" y="332"/>
                  </a:lnTo>
                  <a:lnTo>
                    <a:pt x="835" y="332"/>
                  </a:lnTo>
                  <a:lnTo>
                    <a:pt x="835" y="332"/>
                  </a:lnTo>
                  <a:lnTo>
                    <a:pt x="835" y="332"/>
                  </a:lnTo>
                  <a:lnTo>
                    <a:pt x="835" y="332"/>
                  </a:lnTo>
                  <a:lnTo>
                    <a:pt x="838" y="329"/>
                  </a:lnTo>
                  <a:lnTo>
                    <a:pt x="838" y="327"/>
                  </a:lnTo>
                  <a:lnTo>
                    <a:pt x="838" y="327"/>
                  </a:lnTo>
                  <a:lnTo>
                    <a:pt x="838" y="325"/>
                  </a:lnTo>
                  <a:lnTo>
                    <a:pt x="835" y="325"/>
                  </a:lnTo>
                  <a:lnTo>
                    <a:pt x="835" y="325"/>
                  </a:lnTo>
                  <a:lnTo>
                    <a:pt x="835" y="325"/>
                  </a:lnTo>
                  <a:lnTo>
                    <a:pt x="835" y="325"/>
                  </a:lnTo>
                  <a:lnTo>
                    <a:pt x="835" y="322"/>
                  </a:lnTo>
                  <a:lnTo>
                    <a:pt x="835" y="322"/>
                  </a:lnTo>
                  <a:lnTo>
                    <a:pt x="835" y="322"/>
                  </a:lnTo>
                  <a:lnTo>
                    <a:pt x="835" y="322"/>
                  </a:lnTo>
                  <a:lnTo>
                    <a:pt x="833" y="322"/>
                  </a:lnTo>
                  <a:lnTo>
                    <a:pt x="833" y="322"/>
                  </a:lnTo>
                  <a:lnTo>
                    <a:pt x="833" y="320"/>
                  </a:lnTo>
                  <a:lnTo>
                    <a:pt x="835" y="320"/>
                  </a:lnTo>
                  <a:lnTo>
                    <a:pt x="835" y="320"/>
                  </a:lnTo>
                  <a:lnTo>
                    <a:pt x="835" y="320"/>
                  </a:lnTo>
                  <a:lnTo>
                    <a:pt x="835" y="317"/>
                  </a:lnTo>
                  <a:lnTo>
                    <a:pt x="835" y="317"/>
                  </a:lnTo>
                  <a:lnTo>
                    <a:pt x="835" y="315"/>
                  </a:lnTo>
                  <a:lnTo>
                    <a:pt x="835" y="315"/>
                  </a:lnTo>
                  <a:lnTo>
                    <a:pt x="835" y="315"/>
                  </a:lnTo>
                  <a:lnTo>
                    <a:pt x="835" y="313"/>
                  </a:lnTo>
                  <a:lnTo>
                    <a:pt x="835" y="313"/>
                  </a:lnTo>
                  <a:lnTo>
                    <a:pt x="835" y="313"/>
                  </a:lnTo>
                  <a:lnTo>
                    <a:pt x="833" y="313"/>
                  </a:lnTo>
                  <a:lnTo>
                    <a:pt x="833" y="313"/>
                  </a:lnTo>
                  <a:lnTo>
                    <a:pt x="833" y="313"/>
                  </a:lnTo>
                  <a:lnTo>
                    <a:pt x="833" y="310"/>
                  </a:lnTo>
                  <a:lnTo>
                    <a:pt x="833" y="308"/>
                  </a:lnTo>
                  <a:lnTo>
                    <a:pt x="833" y="308"/>
                  </a:lnTo>
                  <a:lnTo>
                    <a:pt x="833" y="308"/>
                  </a:lnTo>
                  <a:lnTo>
                    <a:pt x="831" y="308"/>
                  </a:lnTo>
                  <a:lnTo>
                    <a:pt x="831" y="306"/>
                  </a:lnTo>
                  <a:lnTo>
                    <a:pt x="831" y="306"/>
                  </a:lnTo>
                  <a:lnTo>
                    <a:pt x="831" y="306"/>
                  </a:lnTo>
                  <a:lnTo>
                    <a:pt x="828" y="306"/>
                  </a:lnTo>
                  <a:lnTo>
                    <a:pt x="828" y="306"/>
                  </a:lnTo>
                  <a:lnTo>
                    <a:pt x="828" y="306"/>
                  </a:lnTo>
                  <a:lnTo>
                    <a:pt x="828" y="306"/>
                  </a:lnTo>
                  <a:lnTo>
                    <a:pt x="828" y="306"/>
                  </a:lnTo>
                  <a:lnTo>
                    <a:pt x="826" y="306"/>
                  </a:lnTo>
                  <a:lnTo>
                    <a:pt x="826" y="306"/>
                  </a:lnTo>
                  <a:lnTo>
                    <a:pt x="826" y="306"/>
                  </a:lnTo>
                  <a:lnTo>
                    <a:pt x="823" y="303"/>
                  </a:lnTo>
                  <a:lnTo>
                    <a:pt x="823" y="303"/>
                  </a:lnTo>
                  <a:lnTo>
                    <a:pt x="823" y="303"/>
                  </a:lnTo>
                  <a:lnTo>
                    <a:pt x="823" y="303"/>
                  </a:lnTo>
                  <a:lnTo>
                    <a:pt x="823" y="303"/>
                  </a:lnTo>
                  <a:lnTo>
                    <a:pt x="823" y="301"/>
                  </a:lnTo>
                  <a:lnTo>
                    <a:pt x="823" y="301"/>
                  </a:lnTo>
                  <a:lnTo>
                    <a:pt x="823" y="301"/>
                  </a:lnTo>
                  <a:lnTo>
                    <a:pt x="821" y="301"/>
                  </a:lnTo>
                  <a:lnTo>
                    <a:pt x="821" y="301"/>
                  </a:lnTo>
                  <a:lnTo>
                    <a:pt x="821" y="301"/>
                  </a:lnTo>
                  <a:lnTo>
                    <a:pt x="821" y="299"/>
                  </a:lnTo>
                  <a:lnTo>
                    <a:pt x="821" y="299"/>
                  </a:lnTo>
                  <a:lnTo>
                    <a:pt x="821" y="299"/>
                  </a:lnTo>
                  <a:lnTo>
                    <a:pt x="819" y="299"/>
                  </a:lnTo>
                  <a:lnTo>
                    <a:pt x="819" y="299"/>
                  </a:lnTo>
                  <a:lnTo>
                    <a:pt x="819" y="299"/>
                  </a:lnTo>
                  <a:lnTo>
                    <a:pt x="819" y="296"/>
                  </a:lnTo>
                  <a:lnTo>
                    <a:pt x="816" y="296"/>
                  </a:lnTo>
                  <a:lnTo>
                    <a:pt x="816" y="296"/>
                  </a:lnTo>
                  <a:lnTo>
                    <a:pt x="816" y="296"/>
                  </a:lnTo>
                  <a:lnTo>
                    <a:pt x="816" y="296"/>
                  </a:lnTo>
                  <a:lnTo>
                    <a:pt x="816" y="294"/>
                  </a:lnTo>
                  <a:lnTo>
                    <a:pt x="816" y="294"/>
                  </a:lnTo>
                  <a:lnTo>
                    <a:pt x="816" y="294"/>
                  </a:lnTo>
                  <a:lnTo>
                    <a:pt x="816" y="294"/>
                  </a:lnTo>
                  <a:lnTo>
                    <a:pt x="816" y="294"/>
                  </a:lnTo>
                  <a:lnTo>
                    <a:pt x="816" y="291"/>
                  </a:lnTo>
                  <a:lnTo>
                    <a:pt x="816" y="291"/>
                  </a:lnTo>
                  <a:lnTo>
                    <a:pt x="816" y="291"/>
                  </a:lnTo>
                  <a:lnTo>
                    <a:pt x="814" y="291"/>
                  </a:lnTo>
                  <a:lnTo>
                    <a:pt x="814" y="289"/>
                  </a:lnTo>
                  <a:lnTo>
                    <a:pt x="814" y="289"/>
                  </a:lnTo>
                  <a:lnTo>
                    <a:pt x="814" y="289"/>
                  </a:lnTo>
                  <a:lnTo>
                    <a:pt x="814" y="289"/>
                  </a:lnTo>
                  <a:lnTo>
                    <a:pt x="814" y="289"/>
                  </a:lnTo>
                  <a:lnTo>
                    <a:pt x="812" y="287"/>
                  </a:lnTo>
                  <a:lnTo>
                    <a:pt x="812" y="287"/>
                  </a:lnTo>
                  <a:lnTo>
                    <a:pt x="812" y="287"/>
                  </a:lnTo>
                  <a:lnTo>
                    <a:pt x="812" y="287"/>
                  </a:lnTo>
                  <a:lnTo>
                    <a:pt x="812" y="284"/>
                  </a:lnTo>
                  <a:lnTo>
                    <a:pt x="812" y="284"/>
                  </a:lnTo>
                  <a:lnTo>
                    <a:pt x="812" y="284"/>
                  </a:lnTo>
                  <a:lnTo>
                    <a:pt x="812" y="284"/>
                  </a:lnTo>
                  <a:lnTo>
                    <a:pt x="812" y="284"/>
                  </a:lnTo>
                  <a:lnTo>
                    <a:pt x="809" y="284"/>
                  </a:lnTo>
                  <a:lnTo>
                    <a:pt x="809" y="282"/>
                  </a:lnTo>
                  <a:lnTo>
                    <a:pt x="809" y="282"/>
                  </a:lnTo>
                  <a:lnTo>
                    <a:pt x="809" y="282"/>
                  </a:lnTo>
                  <a:lnTo>
                    <a:pt x="809" y="280"/>
                  </a:lnTo>
                  <a:lnTo>
                    <a:pt x="807" y="280"/>
                  </a:lnTo>
                  <a:lnTo>
                    <a:pt x="804" y="277"/>
                  </a:lnTo>
                  <a:lnTo>
                    <a:pt x="802" y="277"/>
                  </a:lnTo>
                  <a:lnTo>
                    <a:pt x="802" y="277"/>
                  </a:lnTo>
                  <a:lnTo>
                    <a:pt x="802" y="277"/>
                  </a:lnTo>
                  <a:lnTo>
                    <a:pt x="802" y="275"/>
                  </a:lnTo>
                  <a:lnTo>
                    <a:pt x="802" y="275"/>
                  </a:lnTo>
                  <a:lnTo>
                    <a:pt x="802" y="275"/>
                  </a:lnTo>
                  <a:lnTo>
                    <a:pt x="800" y="275"/>
                  </a:lnTo>
                  <a:lnTo>
                    <a:pt x="800" y="275"/>
                  </a:lnTo>
                  <a:lnTo>
                    <a:pt x="800" y="273"/>
                  </a:lnTo>
                  <a:lnTo>
                    <a:pt x="797" y="273"/>
                  </a:lnTo>
                  <a:lnTo>
                    <a:pt x="800" y="273"/>
                  </a:lnTo>
                  <a:lnTo>
                    <a:pt x="800" y="270"/>
                  </a:lnTo>
                  <a:lnTo>
                    <a:pt x="797" y="270"/>
                  </a:lnTo>
                  <a:lnTo>
                    <a:pt x="797" y="268"/>
                  </a:lnTo>
                  <a:lnTo>
                    <a:pt x="797" y="265"/>
                  </a:lnTo>
                  <a:lnTo>
                    <a:pt x="797" y="263"/>
                  </a:lnTo>
                  <a:lnTo>
                    <a:pt x="795" y="263"/>
                  </a:lnTo>
                  <a:lnTo>
                    <a:pt x="795" y="263"/>
                  </a:lnTo>
                  <a:lnTo>
                    <a:pt x="795" y="263"/>
                  </a:lnTo>
                  <a:lnTo>
                    <a:pt x="795" y="263"/>
                  </a:lnTo>
                  <a:lnTo>
                    <a:pt x="795" y="263"/>
                  </a:lnTo>
                  <a:lnTo>
                    <a:pt x="797" y="261"/>
                  </a:lnTo>
                  <a:lnTo>
                    <a:pt x="795" y="261"/>
                  </a:lnTo>
                  <a:lnTo>
                    <a:pt x="795" y="261"/>
                  </a:lnTo>
                  <a:lnTo>
                    <a:pt x="793" y="258"/>
                  </a:lnTo>
                  <a:lnTo>
                    <a:pt x="793" y="258"/>
                  </a:lnTo>
                  <a:lnTo>
                    <a:pt x="793" y="258"/>
                  </a:lnTo>
                  <a:lnTo>
                    <a:pt x="793" y="256"/>
                  </a:lnTo>
                  <a:lnTo>
                    <a:pt x="793" y="256"/>
                  </a:lnTo>
                  <a:lnTo>
                    <a:pt x="793" y="256"/>
                  </a:lnTo>
                  <a:lnTo>
                    <a:pt x="790" y="256"/>
                  </a:lnTo>
                  <a:lnTo>
                    <a:pt x="790" y="254"/>
                  </a:lnTo>
                  <a:lnTo>
                    <a:pt x="790" y="254"/>
                  </a:lnTo>
                  <a:lnTo>
                    <a:pt x="790" y="251"/>
                  </a:lnTo>
                  <a:lnTo>
                    <a:pt x="788" y="246"/>
                  </a:lnTo>
                  <a:lnTo>
                    <a:pt x="788" y="246"/>
                  </a:lnTo>
                  <a:lnTo>
                    <a:pt x="788" y="246"/>
                  </a:lnTo>
                  <a:lnTo>
                    <a:pt x="788" y="244"/>
                  </a:lnTo>
                  <a:lnTo>
                    <a:pt x="788" y="244"/>
                  </a:lnTo>
                  <a:lnTo>
                    <a:pt x="788" y="244"/>
                  </a:lnTo>
                  <a:lnTo>
                    <a:pt x="786" y="244"/>
                  </a:lnTo>
                  <a:lnTo>
                    <a:pt x="786" y="244"/>
                  </a:lnTo>
                  <a:lnTo>
                    <a:pt x="786" y="244"/>
                  </a:lnTo>
                  <a:lnTo>
                    <a:pt x="786" y="244"/>
                  </a:lnTo>
                  <a:lnTo>
                    <a:pt x="786" y="244"/>
                  </a:lnTo>
                  <a:lnTo>
                    <a:pt x="786" y="244"/>
                  </a:lnTo>
                  <a:lnTo>
                    <a:pt x="786" y="242"/>
                  </a:lnTo>
                  <a:lnTo>
                    <a:pt x="786" y="242"/>
                  </a:lnTo>
                  <a:lnTo>
                    <a:pt x="786" y="242"/>
                  </a:lnTo>
                  <a:lnTo>
                    <a:pt x="783" y="242"/>
                  </a:lnTo>
                  <a:lnTo>
                    <a:pt x="783" y="242"/>
                  </a:lnTo>
                  <a:lnTo>
                    <a:pt x="783" y="239"/>
                  </a:lnTo>
                  <a:lnTo>
                    <a:pt x="783" y="239"/>
                  </a:lnTo>
                  <a:lnTo>
                    <a:pt x="783" y="239"/>
                  </a:lnTo>
                  <a:lnTo>
                    <a:pt x="783" y="239"/>
                  </a:lnTo>
                  <a:lnTo>
                    <a:pt x="783" y="239"/>
                  </a:lnTo>
                  <a:lnTo>
                    <a:pt x="783" y="237"/>
                  </a:lnTo>
                  <a:lnTo>
                    <a:pt x="783" y="237"/>
                  </a:lnTo>
                  <a:lnTo>
                    <a:pt x="783" y="235"/>
                  </a:lnTo>
                  <a:lnTo>
                    <a:pt x="781" y="232"/>
                  </a:lnTo>
                  <a:lnTo>
                    <a:pt x="781" y="230"/>
                  </a:lnTo>
                  <a:lnTo>
                    <a:pt x="781" y="230"/>
                  </a:lnTo>
                  <a:lnTo>
                    <a:pt x="781" y="230"/>
                  </a:lnTo>
                  <a:lnTo>
                    <a:pt x="781" y="230"/>
                  </a:lnTo>
                  <a:lnTo>
                    <a:pt x="781" y="230"/>
                  </a:lnTo>
                  <a:lnTo>
                    <a:pt x="781" y="230"/>
                  </a:lnTo>
                  <a:lnTo>
                    <a:pt x="778" y="228"/>
                  </a:lnTo>
                  <a:lnTo>
                    <a:pt x="776" y="228"/>
                  </a:lnTo>
                  <a:lnTo>
                    <a:pt x="778" y="225"/>
                  </a:lnTo>
                  <a:lnTo>
                    <a:pt x="776" y="225"/>
                  </a:lnTo>
                  <a:lnTo>
                    <a:pt x="776" y="223"/>
                  </a:lnTo>
                  <a:lnTo>
                    <a:pt x="776" y="223"/>
                  </a:lnTo>
                  <a:lnTo>
                    <a:pt x="774" y="223"/>
                  </a:lnTo>
                  <a:lnTo>
                    <a:pt x="774" y="220"/>
                  </a:lnTo>
                  <a:lnTo>
                    <a:pt x="771" y="220"/>
                  </a:lnTo>
                  <a:lnTo>
                    <a:pt x="771" y="220"/>
                  </a:lnTo>
                  <a:lnTo>
                    <a:pt x="767" y="218"/>
                  </a:lnTo>
                  <a:lnTo>
                    <a:pt x="767" y="218"/>
                  </a:lnTo>
                  <a:lnTo>
                    <a:pt x="767" y="218"/>
                  </a:lnTo>
                  <a:lnTo>
                    <a:pt x="767" y="216"/>
                  </a:lnTo>
                  <a:lnTo>
                    <a:pt x="767" y="216"/>
                  </a:lnTo>
                  <a:lnTo>
                    <a:pt x="767" y="216"/>
                  </a:lnTo>
                  <a:lnTo>
                    <a:pt x="767" y="213"/>
                  </a:lnTo>
                  <a:lnTo>
                    <a:pt x="764" y="213"/>
                  </a:lnTo>
                  <a:lnTo>
                    <a:pt x="764" y="213"/>
                  </a:lnTo>
                  <a:lnTo>
                    <a:pt x="762" y="211"/>
                  </a:lnTo>
                  <a:lnTo>
                    <a:pt x="760" y="211"/>
                  </a:lnTo>
                  <a:lnTo>
                    <a:pt x="760" y="211"/>
                  </a:lnTo>
                  <a:lnTo>
                    <a:pt x="760" y="209"/>
                  </a:lnTo>
                  <a:lnTo>
                    <a:pt x="757" y="209"/>
                  </a:lnTo>
                  <a:lnTo>
                    <a:pt x="757" y="209"/>
                  </a:lnTo>
                  <a:lnTo>
                    <a:pt x="757" y="209"/>
                  </a:lnTo>
                  <a:lnTo>
                    <a:pt x="757" y="209"/>
                  </a:lnTo>
                  <a:lnTo>
                    <a:pt x="757" y="206"/>
                  </a:lnTo>
                  <a:lnTo>
                    <a:pt x="757" y="206"/>
                  </a:lnTo>
                  <a:lnTo>
                    <a:pt x="757" y="204"/>
                  </a:lnTo>
                  <a:lnTo>
                    <a:pt x="755" y="206"/>
                  </a:lnTo>
                  <a:lnTo>
                    <a:pt x="755" y="206"/>
                  </a:lnTo>
                  <a:lnTo>
                    <a:pt x="755" y="206"/>
                  </a:lnTo>
                  <a:lnTo>
                    <a:pt x="752" y="206"/>
                  </a:lnTo>
                  <a:lnTo>
                    <a:pt x="752" y="206"/>
                  </a:lnTo>
                  <a:lnTo>
                    <a:pt x="755" y="204"/>
                  </a:lnTo>
                  <a:lnTo>
                    <a:pt x="755" y="204"/>
                  </a:lnTo>
                  <a:lnTo>
                    <a:pt x="752" y="204"/>
                  </a:lnTo>
                  <a:lnTo>
                    <a:pt x="752" y="204"/>
                  </a:lnTo>
                  <a:lnTo>
                    <a:pt x="752" y="204"/>
                  </a:lnTo>
                  <a:lnTo>
                    <a:pt x="752" y="202"/>
                  </a:lnTo>
                  <a:lnTo>
                    <a:pt x="750" y="202"/>
                  </a:lnTo>
                  <a:lnTo>
                    <a:pt x="750" y="202"/>
                  </a:lnTo>
                  <a:lnTo>
                    <a:pt x="750" y="199"/>
                  </a:lnTo>
                  <a:lnTo>
                    <a:pt x="750" y="199"/>
                  </a:lnTo>
                  <a:lnTo>
                    <a:pt x="750" y="199"/>
                  </a:lnTo>
                  <a:lnTo>
                    <a:pt x="750" y="197"/>
                  </a:lnTo>
                  <a:lnTo>
                    <a:pt x="750" y="197"/>
                  </a:lnTo>
                  <a:lnTo>
                    <a:pt x="750" y="197"/>
                  </a:lnTo>
                  <a:lnTo>
                    <a:pt x="748" y="197"/>
                  </a:lnTo>
                  <a:lnTo>
                    <a:pt x="748" y="197"/>
                  </a:lnTo>
                  <a:lnTo>
                    <a:pt x="748" y="197"/>
                  </a:lnTo>
                  <a:lnTo>
                    <a:pt x="748" y="197"/>
                  </a:lnTo>
                  <a:lnTo>
                    <a:pt x="748" y="197"/>
                  </a:lnTo>
                  <a:lnTo>
                    <a:pt x="745" y="197"/>
                  </a:lnTo>
                  <a:lnTo>
                    <a:pt x="745" y="197"/>
                  </a:lnTo>
                  <a:lnTo>
                    <a:pt x="745" y="197"/>
                  </a:lnTo>
                  <a:lnTo>
                    <a:pt x="745" y="197"/>
                  </a:lnTo>
                  <a:lnTo>
                    <a:pt x="743" y="197"/>
                  </a:lnTo>
                  <a:lnTo>
                    <a:pt x="743" y="197"/>
                  </a:lnTo>
                  <a:lnTo>
                    <a:pt x="743" y="197"/>
                  </a:lnTo>
                  <a:lnTo>
                    <a:pt x="743" y="197"/>
                  </a:lnTo>
                  <a:lnTo>
                    <a:pt x="743" y="194"/>
                  </a:lnTo>
                  <a:lnTo>
                    <a:pt x="743" y="194"/>
                  </a:lnTo>
                  <a:lnTo>
                    <a:pt x="743" y="194"/>
                  </a:lnTo>
                  <a:lnTo>
                    <a:pt x="743" y="194"/>
                  </a:lnTo>
                  <a:lnTo>
                    <a:pt x="743" y="197"/>
                  </a:lnTo>
                  <a:lnTo>
                    <a:pt x="743" y="197"/>
                  </a:lnTo>
                  <a:lnTo>
                    <a:pt x="741" y="197"/>
                  </a:lnTo>
                  <a:lnTo>
                    <a:pt x="738" y="197"/>
                  </a:lnTo>
                  <a:lnTo>
                    <a:pt x="731" y="197"/>
                  </a:lnTo>
                  <a:lnTo>
                    <a:pt x="731" y="194"/>
                  </a:lnTo>
                  <a:lnTo>
                    <a:pt x="731" y="194"/>
                  </a:lnTo>
                  <a:lnTo>
                    <a:pt x="731" y="194"/>
                  </a:lnTo>
                  <a:lnTo>
                    <a:pt x="731" y="194"/>
                  </a:lnTo>
                  <a:lnTo>
                    <a:pt x="729" y="194"/>
                  </a:lnTo>
                  <a:lnTo>
                    <a:pt x="729" y="194"/>
                  </a:lnTo>
                  <a:lnTo>
                    <a:pt x="729" y="194"/>
                  </a:lnTo>
                  <a:lnTo>
                    <a:pt x="729" y="194"/>
                  </a:lnTo>
                  <a:lnTo>
                    <a:pt x="726" y="194"/>
                  </a:lnTo>
                  <a:lnTo>
                    <a:pt x="726" y="194"/>
                  </a:lnTo>
                  <a:lnTo>
                    <a:pt x="726" y="197"/>
                  </a:lnTo>
                  <a:lnTo>
                    <a:pt x="726" y="197"/>
                  </a:lnTo>
                  <a:lnTo>
                    <a:pt x="726" y="194"/>
                  </a:lnTo>
                  <a:lnTo>
                    <a:pt x="724" y="194"/>
                  </a:lnTo>
                  <a:lnTo>
                    <a:pt x="724" y="194"/>
                  </a:lnTo>
                  <a:lnTo>
                    <a:pt x="724" y="194"/>
                  </a:lnTo>
                  <a:lnTo>
                    <a:pt x="722" y="194"/>
                  </a:lnTo>
                  <a:lnTo>
                    <a:pt x="719" y="194"/>
                  </a:lnTo>
                  <a:lnTo>
                    <a:pt x="717" y="194"/>
                  </a:lnTo>
                  <a:lnTo>
                    <a:pt x="717" y="194"/>
                  </a:lnTo>
                  <a:lnTo>
                    <a:pt x="715" y="192"/>
                  </a:lnTo>
                  <a:lnTo>
                    <a:pt x="712" y="192"/>
                  </a:lnTo>
                  <a:lnTo>
                    <a:pt x="712" y="192"/>
                  </a:lnTo>
                  <a:lnTo>
                    <a:pt x="712" y="192"/>
                  </a:lnTo>
                  <a:lnTo>
                    <a:pt x="710" y="192"/>
                  </a:lnTo>
                  <a:lnTo>
                    <a:pt x="710" y="192"/>
                  </a:lnTo>
                  <a:lnTo>
                    <a:pt x="710" y="190"/>
                  </a:lnTo>
                  <a:lnTo>
                    <a:pt x="710" y="190"/>
                  </a:lnTo>
                  <a:lnTo>
                    <a:pt x="707" y="190"/>
                  </a:lnTo>
                  <a:lnTo>
                    <a:pt x="707" y="192"/>
                  </a:lnTo>
                  <a:lnTo>
                    <a:pt x="707" y="192"/>
                  </a:lnTo>
                  <a:lnTo>
                    <a:pt x="707" y="192"/>
                  </a:lnTo>
                  <a:lnTo>
                    <a:pt x="707" y="192"/>
                  </a:lnTo>
                  <a:lnTo>
                    <a:pt x="707" y="192"/>
                  </a:lnTo>
                  <a:lnTo>
                    <a:pt x="707" y="194"/>
                  </a:lnTo>
                  <a:lnTo>
                    <a:pt x="707" y="194"/>
                  </a:lnTo>
                  <a:lnTo>
                    <a:pt x="705" y="197"/>
                  </a:lnTo>
                  <a:lnTo>
                    <a:pt x="705" y="197"/>
                  </a:lnTo>
                  <a:lnTo>
                    <a:pt x="700" y="197"/>
                  </a:lnTo>
                  <a:lnTo>
                    <a:pt x="700" y="197"/>
                  </a:lnTo>
                  <a:lnTo>
                    <a:pt x="700" y="197"/>
                  </a:lnTo>
                  <a:lnTo>
                    <a:pt x="700" y="197"/>
                  </a:lnTo>
                  <a:lnTo>
                    <a:pt x="698" y="197"/>
                  </a:lnTo>
                  <a:lnTo>
                    <a:pt x="698" y="197"/>
                  </a:lnTo>
                  <a:lnTo>
                    <a:pt x="698" y="197"/>
                  </a:lnTo>
                  <a:lnTo>
                    <a:pt x="698" y="197"/>
                  </a:lnTo>
                  <a:lnTo>
                    <a:pt x="698" y="197"/>
                  </a:lnTo>
                  <a:lnTo>
                    <a:pt x="698" y="197"/>
                  </a:lnTo>
                  <a:lnTo>
                    <a:pt x="698" y="197"/>
                  </a:lnTo>
                  <a:lnTo>
                    <a:pt x="696" y="197"/>
                  </a:lnTo>
                  <a:lnTo>
                    <a:pt x="696" y="197"/>
                  </a:lnTo>
                  <a:lnTo>
                    <a:pt x="693" y="197"/>
                  </a:lnTo>
                  <a:lnTo>
                    <a:pt x="693" y="197"/>
                  </a:lnTo>
                  <a:lnTo>
                    <a:pt x="693" y="199"/>
                  </a:lnTo>
                  <a:lnTo>
                    <a:pt x="693" y="199"/>
                  </a:lnTo>
                  <a:lnTo>
                    <a:pt x="693" y="199"/>
                  </a:lnTo>
                  <a:lnTo>
                    <a:pt x="693" y="199"/>
                  </a:lnTo>
                  <a:lnTo>
                    <a:pt x="691" y="202"/>
                  </a:lnTo>
                  <a:lnTo>
                    <a:pt x="691" y="202"/>
                  </a:lnTo>
                  <a:lnTo>
                    <a:pt x="691" y="202"/>
                  </a:lnTo>
                  <a:lnTo>
                    <a:pt x="691" y="204"/>
                  </a:lnTo>
                  <a:lnTo>
                    <a:pt x="691" y="204"/>
                  </a:lnTo>
                  <a:lnTo>
                    <a:pt x="689" y="204"/>
                  </a:lnTo>
                  <a:lnTo>
                    <a:pt x="689" y="204"/>
                  </a:lnTo>
                  <a:lnTo>
                    <a:pt x="689" y="206"/>
                  </a:lnTo>
                  <a:lnTo>
                    <a:pt x="689" y="206"/>
                  </a:lnTo>
                  <a:lnTo>
                    <a:pt x="689" y="206"/>
                  </a:lnTo>
                  <a:lnTo>
                    <a:pt x="689" y="206"/>
                  </a:lnTo>
                  <a:lnTo>
                    <a:pt x="689" y="206"/>
                  </a:lnTo>
                  <a:lnTo>
                    <a:pt x="689" y="206"/>
                  </a:lnTo>
                  <a:lnTo>
                    <a:pt x="689" y="209"/>
                  </a:lnTo>
                  <a:lnTo>
                    <a:pt x="686" y="211"/>
                  </a:lnTo>
                  <a:lnTo>
                    <a:pt x="686" y="211"/>
                  </a:lnTo>
                  <a:lnTo>
                    <a:pt x="686" y="213"/>
                  </a:lnTo>
                  <a:lnTo>
                    <a:pt x="686" y="213"/>
                  </a:lnTo>
                  <a:lnTo>
                    <a:pt x="686" y="213"/>
                  </a:lnTo>
                  <a:lnTo>
                    <a:pt x="686" y="213"/>
                  </a:lnTo>
                  <a:lnTo>
                    <a:pt x="686" y="216"/>
                  </a:lnTo>
                  <a:lnTo>
                    <a:pt x="686" y="216"/>
                  </a:lnTo>
                  <a:lnTo>
                    <a:pt x="686" y="216"/>
                  </a:lnTo>
                  <a:lnTo>
                    <a:pt x="686" y="216"/>
                  </a:lnTo>
                  <a:lnTo>
                    <a:pt x="686" y="216"/>
                  </a:lnTo>
                  <a:lnTo>
                    <a:pt x="686" y="216"/>
                  </a:lnTo>
                  <a:lnTo>
                    <a:pt x="684" y="216"/>
                  </a:lnTo>
                  <a:lnTo>
                    <a:pt x="684" y="216"/>
                  </a:lnTo>
                  <a:lnTo>
                    <a:pt x="684" y="218"/>
                  </a:lnTo>
                  <a:lnTo>
                    <a:pt x="684" y="218"/>
                  </a:lnTo>
                  <a:lnTo>
                    <a:pt x="684" y="218"/>
                  </a:lnTo>
                  <a:lnTo>
                    <a:pt x="684" y="218"/>
                  </a:lnTo>
                  <a:lnTo>
                    <a:pt x="684" y="218"/>
                  </a:lnTo>
                  <a:lnTo>
                    <a:pt x="684" y="220"/>
                  </a:lnTo>
                  <a:lnTo>
                    <a:pt x="684" y="223"/>
                  </a:lnTo>
                  <a:lnTo>
                    <a:pt x="684" y="223"/>
                  </a:lnTo>
                  <a:lnTo>
                    <a:pt x="684" y="223"/>
                  </a:lnTo>
                  <a:lnTo>
                    <a:pt x="684" y="223"/>
                  </a:lnTo>
                  <a:lnTo>
                    <a:pt x="684" y="223"/>
                  </a:lnTo>
                  <a:lnTo>
                    <a:pt x="684" y="223"/>
                  </a:lnTo>
                  <a:lnTo>
                    <a:pt x="681" y="225"/>
                  </a:lnTo>
                  <a:lnTo>
                    <a:pt x="681" y="225"/>
                  </a:lnTo>
                  <a:lnTo>
                    <a:pt x="679" y="225"/>
                  </a:lnTo>
                  <a:lnTo>
                    <a:pt x="679" y="225"/>
                  </a:lnTo>
                  <a:lnTo>
                    <a:pt x="677" y="228"/>
                  </a:lnTo>
                  <a:lnTo>
                    <a:pt x="677" y="230"/>
                  </a:lnTo>
                  <a:lnTo>
                    <a:pt x="677" y="230"/>
                  </a:lnTo>
                  <a:lnTo>
                    <a:pt x="674" y="230"/>
                  </a:lnTo>
                  <a:lnTo>
                    <a:pt x="674" y="230"/>
                  </a:lnTo>
                  <a:lnTo>
                    <a:pt x="674" y="230"/>
                  </a:lnTo>
                  <a:lnTo>
                    <a:pt x="674" y="232"/>
                  </a:lnTo>
                  <a:lnTo>
                    <a:pt x="674" y="232"/>
                  </a:lnTo>
                  <a:lnTo>
                    <a:pt x="674" y="232"/>
                  </a:lnTo>
                  <a:lnTo>
                    <a:pt x="672" y="235"/>
                  </a:lnTo>
                  <a:lnTo>
                    <a:pt x="672" y="235"/>
                  </a:lnTo>
                  <a:lnTo>
                    <a:pt x="672" y="235"/>
                  </a:lnTo>
                  <a:lnTo>
                    <a:pt x="670" y="235"/>
                  </a:lnTo>
                  <a:lnTo>
                    <a:pt x="667" y="235"/>
                  </a:lnTo>
                  <a:lnTo>
                    <a:pt x="665" y="235"/>
                  </a:lnTo>
                  <a:lnTo>
                    <a:pt x="665" y="235"/>
                  </a:lnTo>
                  <a:lnTo>
                    <a:pt x="665" y="232"/>
                  </a:lnTo>
                  <a:lnTo>
                    <a:pt x="665" y="232"/>
                  </a:lnTo>
                  <a:lnTo>
                    <a:pt x="663" y="232"/>
                  </a:lnTo>
                  <a:lnTo>
                    <a:pt x="663" y="232"/>
                  </a:lnTo>
                  <a:lnTo>
                    <a:pt x="663" y="232"/>
                  </a:lnTo>
                  <a:lnTo>
                    <a:pt x="663" y="232"/>
                  </a:lnTo>
                  <a:lnTo>
                    <a:pt x="663" y="232"/>
                  </a:lnTo>
                  <a:lnTo>
                    <a:pt x="663" y="232"/>
                  </a:lnTo>
                  <a:lnTo>
                    <a:pt x="660" y="232"/>
                  </a:lnTo>
                  <a:lnTo>
                    <a:pt x="660" y="232"/>
                  </a:lnTo>
                  <a:lnTo>
                    <a:pt x="660" y="232"/>
                  </a:lnTo>
                  <a:lnTo>
                    <a:pt x="658" y="232"/>
                  </a:lnTo>
                  <a:lnTo>
                    <a:pt x="658" y="230"/>
                  </a:lnTo>
                  <a:lnTo>
                    <a:pt x="655" y="228"/>
                  </a:lnTo>
                  <a:lnTo>
                    <a:pt x="655" y="228"/>
                  </a:lnTo>
                  <a:lnTo>
                    <a:pt x="655" y="228"/>
                  </a:lnTo>
                  <a:lnTo>
                    <a:pt x="653" y="228"/>
                  </a:lnTo>
                  <a:lnTo>
                    <a:pt x="653" y="228"/>
                  </a:lnTo>
                  <a:lnTo>
                    <a:pt x="653" y="225"/>
                  </a:lnTo>
                  <a:lnTo>
                    <a:pt x="653" y="225"/>
                  </a:lnTo>
                  <a:lnTo>
                    <a:pt x="648" y="225"/>
                  </a:lnTo>
                  <a:lnTo>
                    <a:pt x="646" y="225"/>
                  </a:lnTo>
                  <a:lnTo>
                    <a:pt x="646" y="223"/>
                  </a:lnTo>
                  <a:lnTo>
                    <a:pt x="644" y="223"/>
                  </a:lnTo>
                  <a:lnTo>
                    <a:pt x="644" y="223"/>
                  </a:lnTo>
                  <a:lnTo>
                    <a:pt x="644" y="223"/>
                  </a:lnTo>
                  <a:lnTo>
                    <a:pt x="644" y="220"/>
                  </a:lnTo>
                  <a:lnTo>
                    <a:pt x="644" y="220"/>
                  </a:lnTo>
                  <a:lnTo>
                    <a:pt x="644" y="220"/>
                  </a:lnTo>
                  <a:lnTo>
                    <a:pt x="644" y="220"/>
                  </a:lnTo>
                  <a:lnTo>
                    <a:pt x="641" y="220"/>
                  </a:lnTo>
                  <a:lnTo>
                    <a:pt x="636" y="218"/>
                  </a:lnTo>
                  <a:lnTo>
                    <a:pt x="634" y="218"/>
                  </a:lnTo>
                  <a:lnTo>
                    <a:pt x="632" y="216"/>
                  </a:lnTo>
                  <a:lnTo>
                    <a:pt x="629" y="213"/>
                  </a:lnTo>
                  <a:lnTo>
                    <a:pt x="627" y="213"/>
                  </a:lnTo>
                  <a:lnTo>
                    <a:pt x="627" y="213"/>
                  </a:lnTo>
                  <a:lnTo>
                    <a:pt x="625" y="211"/>
                  </a:lnTo>
                  <a:lnTo>
                    <a:pt x="625" y="209"/>
                  </a:lnTo>
                  <a:lnTo>
                    <a:pt x="625" y="209"/>
                  </a:lnTo>
                  <a:lnTo>
                    <a:pt x="625" y="209"/>
                  </a:lnTo>
                  <a:lnTo>
                    <a:pt x="622" y="206"/>
                  </a:lnTo>
                  <a:lnTo>
                    <a:pt x="622" y="206"/>
                  </a:lnTo>
                  <a:lnTo>
                    <a:pt x="622" y="206"/>
                  </a:lnTo>
                  <a:lnTo>
                    <a:pt x="620" y="206"/>
                  </a:lnTo>
                  <a:lnTo>
                    <a:pt x="620" y="206"/>
                  </a:lnTo>
                  <a:lnTo>
                    <a:pt x="620" y="206"/>
                  </a:lnTo>
                  <a:lnTo>
                    <a:pt x="615" y="204"/>
                  </a:lnTo>
                  <a:lnTo>
                    <a:pt x="615" y="204"/>
                  </a:lnTo>
                  <a:lnTo>
                    <a:pt x="615" y="204"/>
                  </a:lnTo>
                  <a:lnTo>
                    <a:pt x="615" y="202"/>
                  </a:lnTo>
                  <a:lnTo>
                    <a:pt x="615" y="202"/>
                  </a:lnTo>
                  <a:lnTo>
                    <a:pt x="615" y="202"/>
                  </a:lnTo>
                  <a:lnTo>
                    <a:pt x="613" y="202"/>
                  </a:lnTo>
                  <a:lnTo>
                    <a:pt x="613" y="199"/>
                  </a:lnTo>
                  <a:lnTo>
                    <a:pt x="610" y="199"/>
                  </a:lnTo>
                  <a:lnTo>
                    <a:pt x="610" y="199"/>
                  </a:lnTo>
                  <a:lnTo>
                    <a:pt x="610" y="197"/>
                  </a:lnTo>
                  <a:lnTo>
                    <a:pt x="610" y="197"/>
                  </a:lnTo>
                  <a:lnTo>
                    <a:pt x="610" y="197"/>
                  </a:lnTo>
                  <a:lnTo>
                    <a:pt x="610" y="194"/>
                  </a:lnTo>
                  <a:lnTo>
                    <a:pt x="610" y="192"/>
                  </a:lnTo>
                  <a:lnTo>
                    <a:pt x="610" y="192"/>
                  </a:lnTo>
                  <a:lnTo>
                    <a:pt x="608" y="192"/>
                  </a:lnTo>
                  <a:lnTo>
                    <a:pt x="608" y="190"/>
                  </a:lnTo>
                  <a:lnTo>
                    <a:pt x="608" y="190"/>
                  </a:lnTo>
                  <a:lnTo>
                    <a:pt x="608" y="187"/>
                  </a:lnTo>
                  <a:lnTo>
                    <a:pt x="606" y="187"/>
                  </a:lnTo>
                  <a:lnTo>
                    <a:pt x="606" y="185"/>
                  </a:lnTo>
                  <a:lnTo>
                    <a:pt x="606" y="185"/>
                  </a:lnTo>
                  <a:lnTo>
                    <a:pt x="606" y="185"/>
                  </a:lnTo>
                  <a:lnTo>
                    <a:pt x="606" y="185"/>
                  </a:lnTo>
                  <a:lnTo>
                    <a:pt x="606" y="185"/>
                  </a:lnTo>
                  <a:lnTo>
                    <a:pt x="606" y="183"/>
                  </a:lnTo>
                  <a:lnTo>
                    <a:pt x="606" y="183"/>
                  </a:lnTo>
                  <a:lnTo>
                    <a:pt x="606" y="180"/>
                  </a:lnTo>
                  <a:lnTo>
                    <a:pt x="606" y="178"/>
                  </a:lnTo>
                  <a:lnTo>
                    <a:pt x="606" y="178"/>
                  </a:lnTo>
                  <a:lnTo>
                    <a:pt x="606" y="176"/>
                  </a:lnTo>
                  <a:lnTo>
                    <a:pt x="606" y="176"/>
                  </a:lnTo>
                  <a:lnTo>
                    <a:pt x="606" y="173"/>
                  </a:lnTo>
                  <a:lnTo>
                    <a:pt x="606" y="173"/>
                  </a:lnTo>
                  <a:lnTo>
                    <a:pt x="606" y="171"/>
                  </a:lnTo>
                  <a:lnTo>
                    <a:pt x="603" y="168"/>
                  </a:lnTo>
                  <a:lnTo>
                    <a:pt x="603" y="168"/>
                  </a:lnTo>
                  <a:lnTo>
                    <a:pt x="603" y="168"/>
                  </a:lnTo>
                  <a:lnTo>
                    <a:pt x="603" y="168"/>
                  </a:lnTo>
                  <a:lnTo>
                    <a:pt x="603" y="168"/>
                  </a:lnTo>
                  <a:lnTo>
                    <a:pt x="601" y="166"/>
                  </a:lnTo>
                  <a:lnTo>
                    <a:pt x="601" y="164"/>
                  </a:lnTo>
                  <a:lnTo>
                    <a:pt x="601" y="164"/>
                  </a:lnTo>
                  <a:lnTo>
                    <a:pt x="601" y="164"/>
                  </a:lnTo>
                  <a:lnTo>
                    <a:pt x="601" y="164"/>
                  </a:lnTo>
                  <a:lnTo>
                    <a:pt x="601" y="164"/>
                  </a:lnTo>
                  <a:lnTo>
                    <a:pt x="601" y="161"/>
                  </a:lnTo>
                  <a:lnTo>
                    <a:pt x="601" y="161"/>
                  </a:lnTo>
                  <a:lnTo>
                    <a:pt x="599" y="161"/>
                  </a:lnTo>
                  <a:lnTo>
                    <a:pt x="599" y="161"/>
                  </a:lnTo>
                  <a:lnTo>
                    <a:pt x="599" y="161"/>
                  </a:lnTo>
                  <a:lnTo>
                    <a:pt x="599" y="161"/>
                  </a:lnTo>
                  <a:lnTo>
                    <a:pt x="599" y="161"/>
                  </a:lnTo>
                  <a:lnTo>
                    <a:pt x="599" y="159"/>
                  </a:lnTo>
                  <a:lnTo>
                    <a:pt x="599" y="159"/>
                  </a:lnTo>
                  <a:lnTo>
                    <a:pt x="599" y="159"/>
                  </a:lnTo>
                  <a:lnTo>
                    <a:pt x="599" y="157"/>
                  </a:lnTo>
                  <a:lnTo>
                    <a:pt x="599" y="157"/>
                  </a:lnTo>
                  <a:lnTo>
                    <a:pt x="599" y="157"/>
                  </a:lnTo>
                  <a:lnTo>
                    <a:pt x="599" y="157"/>
                  </a:lnTo>
                  <a:lnTo>
                    <a:pt x="599" y="157"/>
                  </a:lnTo>
                  <a:lnTo>
                    <a:pt x="599" y="157"/>
                  </a:lnTo>
                  <a:lnTo>
                    <a:pt x="599" y="154"/>
                  </a:lnTo>
                  <a:lnTo>
                    <a:pt x="599" y="154"/>
                  </a:lnTo>
                  <a:lnTo>
                    <a:pt x="599" y="154"/>
                  </a:lnTo>
                  <a:lnTo>
                    <a:pt x="596" y="152"/>
                  </a:lnTo>
                  <a:lnTo>
                    <a:pt x="596" y="152"/>
                  </a:lnTo>
                  <a:lnTo>
                    <a:pt x="596" y="150"/>
                  </a:lnTo>
                  <a:lnTo>
                    <a:pt x="596" y="150"/>
                  </a:lnTo>
                  <a:lnTo>
                    <a:pt x="594" y="150"/>
                  </a:lnTo>
                  <a:lnTo>
                    <a:pt x="594" y="150"/>
                  </a:lnTo>
                  <a:lnTo>
                    <a:pt x="594" y="150"/>
                  </a:lnTo>
                  <a:lnTo>
                    <a:pt x="594" y="150"/>
                  </a:lnTo>
                  <a:lnTo>
                    <a:pt x="594" y="150"/>
                  </a:lnTo>
                  <a:lnTo>
                    <a:pt x="594" y="147"/>
                  </a:lnTo>
                  <a:lnTo>
                    <a:pt x="592" y="147"/>
                  </a:lnTo>
                  <a:lnTo>
                    <a:pt x="592" y="147"/>
                  </a:lnTo>
                  <a:lnTo>
                    <a:pt x="592" y="145"/>
                  </a:lnTo>
                  <a:lnTo>
                    <a:pt x="589" y="145"/>
                  </a:lnTo>
                  <a:lnTo>
                    <a:pt x="589" y="145"/>
                  </a:lnTo>
                  <a:lnTo>
                    <a:pt x="587" y="142"/>
                  </a:lnTo>
                  <a:lnTo>
                    <a:pt x="587" y="142"/>
                  </a:lnTo>
                  <a:lnTo>
                    <a:pt x="587" y="142"/>
                  </a:lnTo>
                  <a:lnTo>
                    <a:pt x="587" y="142"/>
                  </a:lnTo>
                  <a:lnTo>
                    <a:pt x="587" y="142"/>
                  </a:lnTo>
                  <a:lnTo>
                    <a:pt x="587" y="142"/>
                  </a:lnTo>
                  <a:lnTo>
                    <a:pt x="587" y="142"/>
                  </a:lnTo>
                  <a:lnTo>
                    <a:pt x="584" y="142"/>
                  </a:lnTo>
                  <a:lnTo>
                    <a:pt x="584" y="142"/>
                  </a:lnTo>
                  <a:lnTo>
                    <a:pt x="584" y="140"/>
                  </a:lnTo>
                  <a:lnTo>
                    <a:pt x="584" y="140"/>
                  </a:lnTo>
                  <a:lnTo>
                    <a:pt x="584" y="140"/>
                  </a:lnTo>
                  <a:lnTo>
                    <a:pt x="584" y="140"/>
                  </a:lnTo>
                  <a:lnTo>
                    <a:pt x="584" y="140"/>
                  </a:lnTo>
                  <a:lnTo>
                    <a:pt x="582" y="140"/>
                  </a:lnTo>
                  <a:lnTo>
                    <a:pt x="582" y="140"/>
                  </a:lnTo>
                  <a:lnTo>
                    <a:pt x="582" y="140"/>
                  </a:lnTo>
                  <a:lnTo>
                    <a:pt x="582" y="140"/>
                  </a:lnTo>
                  <a:lnTo>
                    <a:pt x="582" y="140"/>
                  </a:lnTo>
                  <a:lnTo>
                    <a:pt x="582" y="140"/>
                  </a:lnTo>
                  <a:lnTo>
                    <a:pt x="582" y="140"/>
                  </a:lnTo>
                  <a:lnTo>
                    <a:pt x="582" y="140"/>
                  </a:lnTo>
                  <a:lnTo>
                    <a:pt x="580" y="138"/>
                  </a:lnTo>
                  <a:lnTo>
                    <a:pt x="577" y="138"/>
                  </a:lnTo>
                  <a:lnTo>
                    <a:pt x="577" y="138"/>
                  </a:lnTo>
                  <a:lnTo>
                    <a:pt x="575" y="135"/>
                  </a:lnTo>
                  <a:lnTo>
                    <a:pt x="573" y="133"/>
                  </a:lnTo>
                  <a:lnTo>
                    <a:pt x="570" y="131"/>
                  </a:lnTo>
                  <a:lnTo>
                    <a:pt x="570" y="131"/>
                  </a:lnTo>
                  <a:lnTo>
                    <a:pt x="570" y="128"/>
                  </a:lnTo>
                  <a:lnTo>
                    <a:pt x="568" y="126"/>
                  </a:lnTo>
                  <a:lnTo>
                    <a:pt x="568" y="126"/>
                  </a:lnTo>
                  <a:lnTo>
                    <a:pt x="568" y="126"/>
                  </a:lnTo>
                  <a:lnTo>
                    <a:pt x="568" y="126"/>
                  </a:lnTo>
                  <a:lnTo>
                    <a:pt x="565" y="123"/>
                  </a:lnTo>
                  <a:lnTo>
                    <a:pt x="565" y="123"/>
                  </a:lnTo>
                  <a:lnTo>
                    <a:pt x="565" y="123"/>
                  </a:lnTo>
                  <a:lnTo>
                    <a:pt x="563" y="123"/>
                  </a:lnTo>
                  <a:lnTo>
                    <a:pt x="561" y="121"/>
                  </a:lnTo>
                  <a:lnTo>
                    <a:pt x="561" y="119"/>
                  </a:lnTo>
                  <a:lnTo>
                    <a:pt x="561" y="119"/>
                  </a:lnTo>
                  <a:lnTo>
                    <a:pt x="556" y="114"/>
                  </a:lnTo>
                  <a:lnTo>
                    <a:pt x="556" y="114"/>
                  </a:lnTo>
                  <a:lnTo>
                    <a:pt x="556" y="114"/>
                  </a:lnTo>
                  <a:lnTo>
                    <a:pt x="556" y="114"/>
                  </a:lnTo>
                  <a:lnTo>
                    <a:pt x="556" y="114"/>
                  </a:lnTo>
                  <a:lnTo>
                    <a:pt x="554" y="112"/>
                  </a:lnTo>
                  <a:lnTo>
                    <a:pt x="554" y="112"/>
                  </a:lnTo>
                  <a:lnTo>
                    <a:pt x="554" y="112"/>
                  </a:lnTo>
                  <a:lnTo>
                    <a:pt x="554" y="112"/>
                  </a:lnTo>
                  <a:lnTo>
                    <a:pt x="554" y="109"/>
                  </a:lnTo>
                  <a:lnTo>
                    <a:pt x="551" y="109"/>
                  </a:lnTo>
                  <a:lnTo>
                    <a:pt x="551" y="109"/>
                  </a:lnTo>
                  <a:lnTo>
                    <a:pt x="549" y="109"/>
                  </a:lnTo>
                  <a:lnTo>
                    <a:pt x="549" y="107"/>
                  </a:lnTo>
                  <a:lnTo>
                    <a:pt x="547" y="107"/>
                  </a:lnTo>
                  <a:lnTo>
                    <a:pt x="544" y="107"/>
                  </a:lnTo>
                  <a:lnTo>
                    <a:pt x="544" y="105"/>
                  </a:lnTo>
                  <a:lnTo>
                    <a:pt x="544" y="105"/>
                  </a:lnTo>
                  <a:lnTo>
                    <a:pt x="542" y="105"/>
                  </a:lnTo>
                  <a:lnTo>
                    <a:pt x="542" y="105"/>
                  </a:lnTo>
                  <a:lnTo>
                    <a:pt x="542" y="105"/>
                  </a:lnTo>
                  <a:lnTo>
                    <a:pt x="542" y="102"/>
                  </a:lnTo>
                  <a:lnTo>
                    <a:pt x="542" y="102"/>
                  </a:lnTo>
                  <a:lnTo>
                    <a:pt x="542" y="102"/>
                  </a:lnTo>
                  <a:lnTo>
                    <a:pt x="539" y="100"/>
                  </a:lnTo>
                  <a:lnTo>
                    <a:pt x="539" y="100"/>
                  </a:lnTo>
                  <a:lnTo>
                    <a:pt x="539" y="95"/>
                  </a:lnTo>
                  <a:lnTo>
                    <a:pt x="537" y="93"/>
                  </a:lnTo>
                  <a:lnTo>
                    <a:pt x="537" y="93"/>
                  </a:lnTo>
                  <a:lnTo>
                    <a:pt x="535" y="90"/>
                  </a:lnTo>
                  <a:lnTo>
                    <a:pt x="535" y="90"/>
                  </a:lnTo>
                  <a:lnTo>
                    <a:pt x="532" y="90"/>
                  </a:lnTo>
                  <a:lnTo>
                    <a:pt x="530" y="88"/>
                  </a:lnTo>
                  <a:lnTo>
                    <a:pt x="530" y="88"/>
                  </a:lnTo>
                  <a:lnTo>
                    <a:pt x="530" y="88"/>
                  </a:lnTo>
                  <a:lnTo>
                    <a:pt x="530" y="88"/>
                  </a:lnTo>
                  <a:lnTo>
                    <a:pt x="528" y="88"/>
                  </a:lnTo>
                  <a:lnTo>
                    <a:pt x="528" y="88"/>
                  </a:lnTo>
                  <a:lnTo>
                    <a:pt x="525" y="88"/>
                  </a:lnTo>
                  <a:lnTo>
                    <a:pt x="525" y="88"/>
                  </a:lnTo>
                  <a:lnTo>
                    <a:pt x="523" y="88"/>
                  </a:lnTo>
                  <a:lnTo>
                    <a:pt x="523" y="88"/>
                  </a:lnTo>
                  <a:lnTo>
                    <a:pt x="521" y="88"/>
                  </a:lnTo>
                  <a:lnTo>
                    <a:pt x="521" y="88"/>
                  </a:lnTo>
                  <a:lnTo>
                    <a:pt x="518" y="88"/>
                  </a:lnTo>
                  <a:lnTo>
                    <a:pt x="518" y="88"/>
                  </a:lnTo>
                  <a:lnTo>
                    <a:pt x="518" y="88"/>
                  </a:lnTo>
                  <a:lnTo>
                    <a:pt x="516" y="88"/>
                  </a:lnTo>
                  <a:lnTo>
                    <a:pt x="516" y="88"/>
                  </a:lnTo>
                  <a:lnTo>
                    <a:pt x="513" y="88"/>
                  </a:lnTo>
                  <a:lnTo>
                    <a:pt x="513" y="88"/>
                  </a:lnTo>
                  <a:lnTo>
                    <a:pt x="511" y="88"/>
                  </a:lnTo>
                  <a:lnTo>
                    <a:pt x="511" y="88"/>
                  </a:lnTo>
                  <a:lnTo>
                    <a:pt x="509" y="88"/>
                  </a:lnTo>
                  <a:lnTo>
                    <a:pt x="509" y="88"/>
                  </a:lnTo>
                  <a:lnTo>
                    <a:pt x="506" y="88"/>
                  </a:lnTo>
                  <a:lnTo>
                    <a:pt x="506" y="86"/>
                  </a:lnTo>
                  <a:lnTo>
                    <a:pt x="504" y="86"/>
                  </a:lnTo>
                  <a:lnTo>
                    <a:pt x="504" y="86"/>
                  </a:lnTo>
                  <a:lnTo>
                    <a:pt x="502" y="86"/>
                  </a:lnTo>
                  <a:lnTo>
                    <a:pt x="502" y="86"/>
                  </a:lnTo>
                  <a:lnTo>
                    <a:pt x="499" y="86"/>
                  </a:lnTo>
                  <a:lnTo>
                    <a:pt x="499" y="86"/>
                  </a:lnTo>
                  <a:lnTo>
                    <a:pt x="499" y="86"/>
                  </a:lnTo>
                  <a:lnTo>
                    <a:pt x="497" y="86"/>
                  </a:lnTo>
                  <a:lnTo>
                    <a:pt x="497" y="86"/>
                  </a:lnTo>
                  <a:lnTo>
                    <a:pt x="494" y="86"/>
                  </a:lnTo>
                  <a:lnTo>
                    <a:pt x="494" y="86"/>
                  </a:lnTo>
                  <a:lnTo>
                    <a:pt x="492" y="86"/>
                  </a:lnTo>
                  <a:lnTo>
                    <a:pt x="492" y="86"/>
                  </a:lnTo>
                  <a:lnTo>
                    <a:pt x="490" y="86"/>
                  </a:lnTo>
                  <a:lnTo>
                    <a:pt x="490" y="86"/>
                  </a:lnTo>
                  <a:lnTo>
                    <a:pt x="487" y="86"/>
                  </a:lnTo>
                  <a:lnTo>
                    <a:pt x="487" y="86"/>
                  </a:lnTo>
                  <a:lnTo>
                    <a:pt x="485" y="86"/>
                  </a:lnTo>
                  <a:lnTo>
                    <a:pt x="485" y="86"/>
                  </a:lnTo>
                  <a:lnTo>
                    <a:pt x="483" y="86"/>
                  </a:lnTo>
                  <a:lnTo>
                    <a:pt x="483" y="86"/>
                  </a:lnTo>
                  <a:lnTo>
                    <a:pt x="480" y="86"/>
                  </a:lnTo>
                  <a:lnTo>
                    <a:pt x="480" y="86"/>
                  </a:lnTo>
                  <a:lnTo>
                    <a:pt x="480" y="86"/>
                  </a:lnTo>
                  <a:lnTo>
                    <a:pt x="478" y="86"/>
                  </a:lnTo>
                  <a:lnTo>
                    <a:pt x="478" y="86"/>
                  </a:lnTo>
                  <a:lnTo>
                    <a:pt x="476" y="86"/>
                  </a:lnTo>
                  <a:lnTo>
                    <a:pt x="476" y="86"/>
                  </a:lnTo>
                  <a:lnTo>
                    <a:pt x="473" y="86"/>
                  </a:lnTo>
                  <a:lnTo>
                    <a:pt x="473" y="83"/>
                  </a:lnTo>
                  <a:lnTo>
                    <a:pt x="471" y="83"/>
                  </a:lnTo>
                  <a:lnTo>
                    <a:pt x="471" y="83"/>
                  </a:lnTo>
                  <a:lnTo>
                    <a:pt x="468" y="83"/>
                  </a:lnTo>
                  <a:lnTo>
                    <a:pt x="468" y="83"/>
                  </a:lnTo>
                  <a:lnTo>
                    <a:pt x="466" y="83"/>
                  </a:lnTo>
                  <a:lnTo>
                    <a:pt x="466" y="83"/>
                  </a:lnTo>
                  <a:lnTo>
                    <a:pt x="464" y="83"/>
                  </a:lnTo>
                  <a:lnTo>
                    <a:pt x="464" y="83"/>
                  </a:lnTo>
                  <a:lnTo>
                    <a:pt x="461" y="83"/>
                  </a:lnTo>
                  <a:lnTo>
                    <a:pt x="461" y="83"/>
                  </a:lnTo>
                  <a:lnTo>
                    <a:pt x="461" y="83"/>
                  </a:lnTo>
                  <a:lnTo>
                    <a:pt x="459" y="83"/>
                  </a:lnTo>
                  <a:lnTo>
                    <a:pt x="459" y="83"/>
                  </a:lnTo>
                  <a:lnTo>
                    <a:pt x="457" y="83"/>
                  </a:lnTo>
                  <a:lnTo>
                    <a:pt x="457" y="83"/>
                  </a:lnTo>
                  <a:lnTo>
                    <a:pt x="457" y="83"/>
                  </a:lnTo>
                  <a:lnTo>
                    <a:pt x="457" y="83"/>
                  </a:lnTo>
                  <a:lnTo>
                    <a:pt x="457" y="86"/>
                  </a:lnTo>
                  <a:lnTo>
                    <a:pt x="457" y="86"/>
                  </a:lnTo>
                  <a:lnTo>
                    <a:pt x="457" y="86"/>
                  </a:lnTo>
                  <a:lnTo>
                    <a:pt x="457" y="86"/>
                  </a:lnTo>
                  <a:lnTo>
                    <a:pt x="457" y="86"/>
                  </a:lnTo>
                  <a:lnTo>
                    <a:pt x="457" y="86"/>
                  </a:lnTo>
                  <a:lnTo>
                    <a:pt x="457" y="86"/>
                  </a:lnTo>
                  <a:lnTo>
                    <a:pt x="457" y="88"/>
                  </a:lnTo>
                  <a:lnTo>
                    <a:pt x="457" y="88"/>
                  </a:lnTo>
                  <a:lnTo>
                    <a:pt x="457" y="88"/>
                  </a:lnTo>
                  <a:lnTo>
                    <a:pt x="457" y="88"/>
                  </a:lnTo>
                  <a:lnTo>
                    <a:pt x="457" y="88"/>
                  </a:lnTo>
                  <a:lnTo>
                    <a:pt x="457" y="88"/>
                  </a:lnTo>
                  <a:lnTo>
                    <a:pt x="457" y="90"/>
                  </a:lnTo>
                  <a:lnTo>
                    <a:pt x="457" y="90"/>
                  </a:lnTo>
                  <a:lnTo>
                    <a:pt x="457" y="90"/>
                  </a:lnTo>
                  <a:lnTo>
                    <a:pt x="457" y="90"/>
                  </a:lnTo>
                  <a:lnTo>
                    <a:pt x="457" y="90"/>
                  </a:lnTo>
                  <a:lnTo>
                    <a:pt x="457" y="90"/>
                  </a:lnTo>
                  <a:lnTo>
                    <a:pt x="457" y="90"/>
                  </a:lnTo>
                  <a:lnTo>
                    <a:pt x="457" y="93"/>
                  </a:lnTo>
                  <a:lnTo>
                    <a:pt x="457" y="93"/>
                  </a:lnTo>
                  <a:lnTo>
                    <a:pt x="457" y="93"/>
                  </a:lnTo>
                  <a:lnTo>
                    <a:pt x="457" y="93"/>
                  </a:lnTo>
                  <a:lnTo>
                    <a:pt x="457" y="93"/>
                  </a:lnTo>
                  <a:lnTo>
                    <a:pt x="457" y="95"/>
                  </a:lnTo>
                  <a:lnTo>
                    <a:pt x="457" y="95"/>
                  </a:lnTo>
                  <a:lnTo>
                    <a:pt x="457" y="95"/>
                  </a:lnTo>
                  <a:lnTo>
                    <a:pt x="457" y="95"/>
                  </a:lnTo>
                  <a:lnTo>
                    <a:pt x="457" y="95"/>
                  </a:lnTo>
                  <a:lnTo>
                    <a:pt x="457" y="95"/>
                  </a:lnTo>
                  <a:lnTo>
                    <a:pt x="457" y="97"/>
                  </a:lnTo>
                  <a:lnTo>
                    <a:pt x="457" y="97"/>
                  </a:lnTo>
                  <a:lnTo>
                    <a:pt x="457" y="97"/>
                  </a:lnTo>
                  <a:lnTo>
                    <a:pt x="457" y="97"/>
                  </a:lnTo>
                  <a:lnTo>
                    <a:pt x="457" y="97"/>
                  </a:lnTo>
                  <a:lnTo>
                    <a:pt x="457" y="97"/>
                  </a:lnTo>
                  <a:lnTo>
                    <a:pt x="457" y="97"/>
                  </a:lnTo>
                  <a:lnTo>
                    <a:pt x="457" y="100"/>
                  </a:lnTo>
                  <a:lnTo>
                    <a:pt x="457" y="100"/>
                  </a:lnTo>
                  <a:lnTo>
                    <a:pt x="457" y="100"/>
                  </a:lnTo>
                  <a:lnTo>
                    <a:pt x="457" y="100"/>
                  </a:lnTo>
                  <a:lnTo>
                    <a:pt x="457" y="100"/>
                  </a:lnTo>
                  <a:lnTo>
                    <a:pt x="457" y="100"/>
                  </a:lnTo>
                  <a:lnTo>
                    <a:pt x="457" y="102"/>
                  </a:lnTo>
                  <a:lnTo>
                    <a:pt x="457" y="102"/>
                  </a:lnTo>
                  <a:lnTo>
                    <a:pt x="457" y="102"/>
                  </a:lnTo>
                  <a:lnTo>
                    <a:pt x="457" y="102"/>
                  </a:lnTo>
                  <a:lnTo>
                    <a:pt x="457" y="102"/>
                  </a:lnTo>
                  <a:lnTo>
                    <a:pt x="457" y="102"/>
                  </a:lnTo>
                  <a:lnTo>
                    <a:pt x="454" y="105"/>
                  </a:lnTo>
                  <a:lnTo>
                    <a:pt x="454" y="105"/>
                  </a:lnTo>
                  <a:lnTo>
                    <a:pt x="454" y="105"/>
                  </a:lnTo>
                  <a:lnTo>
                    <a:pt x="454" y="105"/>
                  </a:lnTo>
                  <a:lnTo>
                    <a:pt x="454" y="105"/>
                  </a:lnTo>
                  <a:lnTo>
                    <a:pt x="454" y="105"/>
                  </a:lnTo>
                  <a:lnTo>
                    <a:pt x="454" y="105"/>
                  </a:lnTo>
                  <a:lnTo>
                    <a:pt x="454" y="107"/>
                  </a:lnTo>
                  <a:lnTo>
                    <a:pt x="454" y="107"/>
                  </a:lnTo>
                  <a:lnTo>
                    <a:pt x="452" y="105"/>
                  </a:lnTo>
                  <a:lnTo>
                    <a:pt x="450" y="105"/>
                  </a:lnTo>
                  <a:lnTo>
                    <a:pt x="447" y="105"/>
                  </a:lnTo>
                  <a:lnTo>
                    <a:pt x="447" y="105"/>
                  </a:lnTo>
                  <a:lnTo>
                    <a:pt x="445" y="105"/>
                  </a:lnTo>
                  <a:lnTo>
                    <a:pt x="442" y="105"/>
                  </a:lnTo>
                  <a:lnTo>
                    <a:pt x="440" y="105"/>
                  </a:lnTo>
                  <a:lnTo>
                    <a:pt x="438" y="105"/>
                  </a:lnTo>
                  <a:lnTo>
                    <a:pt x="438" y="105"/>
                  </a:lnTo>
                  <a:lnTo>
                    <a:pt x="435" y="105"/>
                  </a:lnTo>
                  <a:lnTo>
                    <a:pt x="433" y="105"/>
                  </a:lnTo>
                  <a:lnTo>
                    <a:pt x="431" y="105"/>
                  </a:lnTo>
                  <a:lnTo>
                    <a:pt x="428" y="105"/>
                  </a:lnTo>
                  <a:lnTo>
                    <a:pt x="428" y="105"/>
                  </a:lnTo>
                  <a:lnTo>
                    <a:pt x="426" y="105"/>
                  </a:lnTo>
                  <a:lnTo>
                    <a:pt x="424" y="105"/>
                  </a:lnTo>
                  <a:lnTo>
                    <a:pt x="424" y="105"/>
                  </a:lnTo>
                  <a:lnTo>
                    <a:pt x="421" y="102"/>
                  </a:lnTo>
                  <a:lnTo>
                    <a:pt x="421" y="102"/>
                  </a:lnTo>
                  <a:lnTo>
                    <a:pt x="419" y="102"/>
                  </a:lnTo>
                  <a:lnTo>
                    <a:pt x="419" y="102"/>
                  </a:lnTo>
                  <a:lnTo>
                    <a:pt x="416" y="102"/>
                  </a:lnTo>
                  <a:lnTo>
                    <a:pt x="414" y="102"/>
                  </a:lnTo>
                  <a:lnTo>
                    <a:pt x="412" y="102"/>
                  </a:lnTo>
                  <a:lnTo>
                    <a:pt x="412" y="102"/>
                  </a:lnTo>
                  <a:lnTo>
                    <a:pt x="409" y="102"/>
                  </a:lnTo>
                  <a:lnTo>
                    <a:pt x="407" y="102"/>
                  </a:lnTo>
                  <a:lnTo>
                    <a:pt x="405" y="102"/>
                  </a:lnTo>
                  <a:lnTo>
                    <a:pt x="405" y="102"/>
                  </a:lnTo>
                  <a:lnTo>
                    <a:pt x="402" y="102"/>
                  </a:lnTo>
                  <a:lnTo>
                    <a:pt x="400" y="102"/>
                  </a:lnTo>
                  <a:lnTo>
                    <a:pt x="397" y="102"/>
                  </a:lnTo>
                  <a:lnTo>
                    <a:pt x="395" y="102"/>
                  </a:lnTo>
                  <a:lnTo>
                    <a:pt x="395" y="102"/>
                  </a:lnTo>
                  <a:lnTo>
                    <a:pt x="393" y="100"/>
                  </a:lnTo>
                  <a:lnTo>
                    <a:pt x="390" y="100"/>
                  </a:lnTo>
                  <a:lnTo>
                    <a:pt x="388" y="100"/>
                  </a:lnTo>
                  <a:lnTo>
                    <a:pt x="388" y="100"/>
                  </a:lnTo>
                  <a:lnTo>
                    <a:pt x="386" y="100"/>
                  </a:lnTo>
                  <a:lnTo>
                    <a:pt x="383" y="100"/>
                  </a:lnTo>
                  <a:lnTo>
                    <a:pt x="381" y="100"/>
                  </a:lnTo>
                  <a:lnTo>
                    <a:pt x="379" y="100"/>
                  </a:lnTo>
                  <a:lnTo>
                    <a:pt x="379" y="100"/>
                  </a:lnTo>
                  <a:lnTo>
                    <a:pt x="376" y="100"/>
                  </a:lnTo>
                  <a:lnTo>
                    <a:pt x="374" y="100"/>
                  </a:lnTo>
                  <a:lnTo>
                    <a:pt x="371" y="100"/>
                  </a:lnTo>
                  <a:lnTo>
                    <a:pt x="369" y="100"/>
                  </a:lnTo>
                  <a:lnTo>
                    <a:pt x="367" y="97"/>
                  </a:lnTo>
                  <a:lnTo>
                    <a:pt x="364" y="97"/>
                  </a:lnTo>
                  <a:lnTo>
                    <a:pt x="362" y="97"/>
                  </a:lnTo>
                  <a:lnTo>
                    <a:pt x="362" y="97"/>
                  </a:lnTo>
                  <a:lnTo>
                    <a:pt x="360" y="97"/>
                  </a:lnTo>
                  <a:lnTo>
                    <a:pt x="357" y="97"/>
                  </a:lnTo>
                  <a:lnTo>
                    <a:pt x="355" y="97"/>
                  </a:lnTo>
                  <a:lnTo>
                    <a:pt x="355" y="97"/>
                  </a:lnTo>
                  <a:lnTo>
                    <a:pt x="353" y="97"/>
                  </a:lnTo>
                  <a:lnTo>
                    <a:pt x="350" y="97"/>
                  </a:lnTo>
                  <a:lnTo>
                    <a:pt x="348" y="97"/>
                  </a:lnTo>
                  <a:lnTo>
                    <a:pt x="345" y="97"/>
                  </a:lnTo>
                  <a:lnTo>
                    <a:pt x="345" y="97"/>
                  </a:lnTo>
                  <a:lnTo>
                    <a:pt x="343" y="95"/>
                  </a:lnTo>
                  <a:lnTo>
                    <a:pt x="341" y="95"/>
                  </a:lnTo>
                  <a:lnTo>
                    <a:pt x="338" y="95"/>
                  </a:lnTo>
                  <a:lnTo>
                    <a:pt x="336" y="95"/>
                  </a:lnTo>
                  <a:lnTo>
                    <a:pt x="334" y="95"/>
                  </a:lnTo>
                  <a:lnTo>
                    <a:pt x="331" y="95"/>
                  </a:lnTo>
                  <a:lnTo>
                    <a:pt x="331" y="95"/>
                  </a:lnTo>
                  <a:lnTo>
                    <a:pt x="329" y="93"/>
                  </a:lnTo>
                  <a:lnTo>
                    <a:pt x="326" y="93"/>
                  </a:lnTo>
                  <a:lnTo>
                    <a:pt x="324" y="90"/>
                  </a:lnTo>
                  <a:lnTo>
                    <a:pt x="322" y="90"/>
                  </a:lnTo>
                  <a:lnTo>
                    <a:pt x="319" y="88"/>
                  </a:lnTo>
                  <a:lnTo>
                    <a:pt x="317" y="88"/>
                  </a:lnTo>
                  <a:lnTo>
                    <a:pt x="317" y="88"/>
                  </a:lnTo>
                  <a:lnTo>
                    <a:pt x="315" y="86"/>
                  </a:lnTo>
                  <a:lnTo>
                    <a:pt x="296" y="79"/>
                  </a:lnTo>
                  <a:lnTo>
                    <a:pt x="279" y="69"/>
                  </a:lnTo>
                  <a:lnTo>
                    <a:pt x="263" y="62"/>
                  </a:lnTo>
                  <a:lnTo>
                    <a:pt x="246" y="53"/>
                  </a:lnTo>
                  <a:lnTo>
                    <a:pt x="229" y="43"/>
                  </a:lnTo>
                  <a:lnTo>
                    <a:pt x="213" y="36"/>
                  </a:lnTo>
                  <a:lnTo>
                    <a:pt x="196" y="27"/>
                  </a:lnTo>
                  <a:lnTo>
                    <a:pt x="180" y="19"/>
                  </a:lnTo>
                  <a:lnTo>
                    <a:pt x="177" y="17"/>
                  </a:lnTo>
                  <a:lnTo>
                    <a:pt x="177" y="17"/>
                  </a:lnTo>
                  <a:lnTo>
                    <a:pt x="177" y="17"/>
                  </a:lnTo>
                  <a:lnTo>
                    <a:pt x="180" y="17"/>
                  </a:lnTo>
                  <a:lnTo>
                    <a:pt x="180" y="15"/>
                  </a:lnTo>
                  <a:lnTo>
                    <a:pt x="180" y="15"/>
                  </a:lnTo>
                  <a:lnTo>
                    <a:pt x="180" y="12"/>
                  </a:lnTo>
                  <a:lnTo>
                    <a:pt x="180" y="12"/>
                  </a:lnTo>
                  <a:lnTo>
                    <a:pt x="180" y="12"/>
                  </a:lnTo>
                  <a:lnTo>
                    <a:pt x="182" y="10"/>
                  </a:lnTo>
                  <a:lnTo>
                    <a:pt x="182" y="10"/>
                  </a:lnTo>
                  <a:lnTo>
                    <a:pt x="182" y="10"/>
                  </a:lnTo>
                  <a:lnTo>
                    <a:pt x="182" y="8"/>
                  </a:lnTo>
                  <a:lnTo>
                    <a:pt x="185" y="8"/>
                  </a:lnTo>
                  <a:lnTo>
                    <a:pt x="185" y="8"/>
                  </a:lnTo>
                  <a:lnTo>
                    <a:pt x="182" y="8"/>
                  </a:lnTo>
                  <a:lnTo>
                    <a:pt x="180" y="8"/>
                  </a:lnTo>
                  <a:lnTo>
                    <a:pt x="175" y="8"/>
                  </a:lnTo>
                  <a:lnTo>
                    <a:pt x="173" y="8"/>
                  </a:lnTo>
                  <a:lnTo>
                    <a:pt x="170" y="8"/>
                  </a:lnTo>
                  <a:lnTo>
                    <a:pt x="166" y="8"/>
                  </a:lnTo>
                  <a:lnTo>
                    <a:pt x="163" y="5"/>
                  </a:lnTo>
                  <a:lnTo>
                    <a:pt x="161" y="5"/>
                  </a:lnTo>
                  <a:lnTo>
                    <a:pt x="156" y="5"/>
                  </a:lnTo>
                  <a:lnTo>
                    <a:pt x="154" y="5"/>
                  </a:lnTo>
                  <a:lnTo>
                    <a:pt x="151" y="5"/>
                  </a:lnTo>
                  <a:lnTo>
                    <a:pt x="147" y="5"/>
                  </a:lnTo>
                  <a:lnTo>
                    <a:pt x="144" y="5"/>
                  </a:lnTo>
                  <a:lnTo>
                    <a:pt x="142" y="5"/>
                  </a:lnTo>
                  <a:lnTo>
                    <a:pt x="137" y="5"/>
                  </a:lnTo>
                  <a:lnTo>
                    <a:pt x="135" y="5"/>
                  </a:lnTo>
                  <a:lnTo>
                    <a:pt x="132" y="5"/>
                  </a:lnTo>
                  <a:lnTo>
                    <a:pt x="128" y="5"/>
                  </a:lnTo>
                  <a:lnTo>
                    <a:pt x="125" y="5"/>
                  </a:lnTo>
                  <a:lnTo>
                    <a:pt x="123" y="5"/>
                  </a:lnTo>
                  <a:lnTo>
                    <a:pt x="118" y="3"/>
                  </a:lnTo>
                  <a:lnTo>
                    <a:pt x="116" y="3"/>
                  </a:lnTo>
                  <a:lnTo>
                    <a:pt x="114" y="3"/>
                  </a:lnTo>
                  <a:lnTo>
                    <a:pt x="109" y="3"/>
                  </a:lnTo>
                  <a:lnTo>
                    <a:pt x="106" y="3"/>
                  </a:lnTo>
                  <a:lnTo>
                    <a:pt x="104" y="3"/>
                  </a:lnTo>
                  <a:lnTo>
                    <a:pt x="99" y="3"/>
                  </a:lnTo>
                  <a:lnTo>
                    <a:pt x="95" y="3"/>
                  </a:lnTo>
                  <a:lnTo>
                    <a:pt x="90" y="3"/>
                  </a:lnTo>
                  <a:lnTo>
                    <a:pt x="87" y="3"/>
                  </a:lnTo>
                  <a:lnTo>
                    <a:pt x="85" y="3"/>
                  </a:lnTo>
                  <a:lnTo>
                    <a:pt x="80" y="0"/>
                  </a:lnTo>
                  <a:lnTo>
                    <a:pt x="80" y="3"/>
                  </a:lnTo>
                  <a:lnTo>
                    <a:pt x="80" y="3"/>
                  </a:lnTo>
                  <a:lnTo>
                    <a:pt x="80" y="3"/>
                  </a:lnTo>
                  <a:lnTo>
                    <a:pt x="80" y="5"/>
                  </a:lnTo>
                  <a:lnTo>
                    <a:pt x="80" y="5"/>
                  </a:lnTo>
                  <a:lnTo>
                    <a:pt x="80" y="8"/>
                  </a:lnTo>
                  <a:lnTo>
                    <a:pt x="80" y="8"/>
                  </a:lnTo>
                  <a:lnTo>
                    <a:pt x="83" y="10"/>
                  </a:lnTo>
                  <a:lnTo>
                    <a:pt x="83" y="15"/>
                  </a:lnTo>
                  <a:lnTo>
                    <a:pt x="83" y="15"/>
                  </a:lnTo>
                  <a:lnTo>
                    <a:pt x="85" y="17"/>
                  </a:lnTo>
                  <a:lnTo>
                    <a:pt x="85" y="17"/>
                  </a:lnTo>
                  <a:lnTo>
                    <a:pt x="87" y="17"/>
                  </a:lnTo>
                  <a:lnTo>
                    <a:pt x="87" y="19"/>
                  </a:lnTo>
                  <a:lnTo>
                    <a:pt x="87" y="22"/>
                  </a:lnTo>
                  <a:lnTo>
                    <a:pt x="87" y="24"/>
                  </a:lnTo>
                  <a:lnTo>
                    <a:pt x="87" y="27"/>
                  </a:lnTo>
                  <a:lnTo>
                    <a:pt x="87" y="29"/>
                  </a:lnTo>
                  <a:lnTo>
                    <a:pt x="87" y="29"/>
                  </a:lnTo>
                  <a:lnTo>
                    <a:pt x="87" y="31"/>
                  </a:lnTo>
                  <a:lnTo>
                    <a:pt x="90" y="31"/>
                  </a:lnTo>
                  <a:lnTo>
                    <a:pt x="92" y="31"/>
                  </a:lnTo>
                  <a:lnTo>
                    <a:pt x="92" y="31"/>
                  </a:lnTo>
                  <a:lnTo>
                    <a:pt x="92" y="34"/>
                  </a:lnTo>
                  <a:lnTo>
                    <a:pt x="92" y="36"/>
                  </a:lnTo>
                  <a:lnTo>
                    <a:pt x="92" y="36"/>
                  </a:lnTo>
                  <a:lnTo>
                    <a:pt x="92" y="36"/>
                  </a:lnTo>
                  <a:lnTo>
                    <a:pt x="95" y="36"/>
                  </a:lnTo>
                  <a:lnTo>
                    <a:pt x="95" y="38"/>
                  </a:lnTo>
                  <a:lnTo>
                    <a:pt x="95" y="38"/>
                  </a:lnTo>
                  <a:lnTo>
                    <a:pt x="97" y="38"/>
                  </a:lnTo>
                  <a:lnTo>
                    <a:pt x="97" y="38"/>
                  </a:lnTo>
                  <a:lnTo>
                    <a:pt x="97" y="41"/>
                  </a:lnTo>
                  <a:lnTo>
                    <a:pt x="97" y="41"/>
                  </a:lnTo>
                  <a:lnTo>
                    <a:pt x="97" y="43"/>
                  </a:lnTo>
                  <a:lnTo>
                    <a:pt x="97" y="43"/>
                  </a:lnTo>
                  <a:lnTo>
                    <a:pt x="95" y="45"/>
                  </a:lnTo>
                  <a:lnTo>
                    <a:pt x="95" y="45"/>
                  </a:lnTo>
                  <a:lnTo>
                    <a:pt x="95" y="45"/>
                  </a:lnTo>
                  <a:lnTo>
                    <a:pt x="92" y="43"/>
                  </a:lnTo>
                  <a:lnTo>
                    <a:pt x="90" y="43"/>
                  </a:lnTo>
                  <a:lnTo>
                    <a:pt x="90" y="43"/>
                  </a:lnTo>
                  <a:lnTo>
                    <a:pt x="92" y="45"/>
                  </a:lnTo>
                  <a:lnTo>
                    <a:pt x="92" y="45"/>
                  </a:lnTo>
                  <a:lnTo>
                    <a:pt x="95" y="45"/>
                  </a:lnTo>
                  <a:lnTo>
                    <a:pt x="95" y="45"/>
                  </a:lnTo>
                  <a:lnTo>
                    <a:pt x="95" y="48"/>
                  </a:lnTo>
                  <a:lnTo>
                    <a:pt x="95" y="48"/>
                  </a:lnTo>
                  <a:lnTo>
                    <a:pt x="95" y="50"/>
                  </a:lnTo>
                  <a:lnTo>
                    <a:pt x="95" y="50"/>
                  </a:lnTo>
                  <a:lnTo>
                    <a:pt x="92" y="50"/>
                  </a:lnTo>
                  <a:lnTo>
                    <a:pt x="95" y="53"/>
                  </a:lnTo>
                  <a:lnTo>
                    <a:pt x="92" y="53"/>
                  </a:lnTo>
                  <a:lnTo>
                    <a:pt x="92" y="53"/>
                  </a:lnTo>
                  <a:lnTo>
                    <a:pt x="92" y="53"/>
                  </a:lnTo>
                  <a:lnTo>
                    <a:pt x="92" y="53"/>
                  </a:lnTo>
                  <a:lnTo>
                    <a:pt x="92" y="53"/>
                  </a:lnTo>
                  <a:lnTo>
                    <a:pt x="92" y="55"/>
                  </a:lnTo>
                  <a:lnTo>
                    <a:pt x="95" y="55"/>
                  </a:lnTo>
                  <a:lnTo>
                    <a:pt x="95" y="57"/>
                  </a:lnTo>
                  <a:lnTo>
                    <a:pt x="95" y="57"/>
                  </a:lnTo>
                  <a:lnTo>
                    <a:pt x="95" y="57"/>
                  </a:lnTo>
                  <a:lnTo>
                    <a:pt x="95" y="57"/>
                  </a:lnTo>
                  <a:lnTo>
                    <a:pt x="95" y="57"/>
                  </a:lnTo>
                  <a:lnTo>
                    <a:pt x="97" y="57"/>
                  </a:lnTo>
                  <a:lnTo>
                    <a:pt x="97" y="60"/>
                  </a:lnTo>
                  <a:lnTo>
                    <a:pt x="97" y="60"/>
                  </a:lnTo>
                  <a:lnTo>
                    <a:pt x="97" y="60"/>
                  </a:lnTo>
                  <a:lnTo>
                    <a:pt x="99" y="62"/>
                  </a:lnTo>
                  <a:lnTo>
                    <a:pt x="99" y="62"/>
                  </a:lnTo>
                  <a:lnTo>
                    <a:pt x="99" y="62"/>
                  </a:lnTo>
                  <a:lnTo>
                    <a:pt x="99" y="67"/>
                  </a:lnTo>
                  <a:lnTo>
                    <a:pt x="104" y="71"/>
                  </a:lnTo>
                  <a:lnTo>
                    <a:pt x="104" y="76"/>
                  </a:lnTo>
                  <a:lnTo>
                    <a:pt x="104" y="79"/>
                  </a:lnTo>
                  <a:lnTo>
                    <a:pt x="104" y="81"/>
                  </a:lnTo>
                  <a:lnTo>
                    <a:pt x="102" y="83"/>
                  </a:lnTo>
                  <a:lnTo>
                    <a:pt x="102" y="86"/>
                  </a:lnTo>
                  <a:lnTo>
                    <a:pt x="104" y="86"/>
                  </a:lnTo>
                  <a:lnTo>
                    <a:pt x="106" y="86"/>
                  </a:lnTo>
                  <a:lnTo>
                    <a:pt x="106" y="86"/>
                  </a:lnTo>
                  <a:lnTo>
                    <a:pt x="106" y="88"/>
                  </a:lnTo>
                  <a:lnTo>
                    <a:pt x="106" y="88"/>
                  </a:lnTo>
                  <a:lnTo>
                    <a:pt x="109" y="90"/>
                  </a:lnTo>
                  <a:lnTo>
                    <a:pt x="109" y="90"/>
                  </a:lnTo>
                  <a:lnTo>
                    <a:pt x="109" y="90"/>
                  </a:lnTo>
                  <a:lnTo>
                    <a:pt x="111" y="93"/>
                  </a:lnTo>
                  <a:lnTo>
                    <a:pt x="114" y="95"/>
                  </a:lnTo>
                  <a:lnTo>
                    <a:pt x="114" y="95"/>
                  </a:lnTo>
                  <a:lnTo>
                    <a:pt x="114" y="95"/>
                  </a:lnTo>
                  <a:lnTo>
                    <a:pt x="114" y="97"/>
                  </a:lnTo>
                  <a:lnTo>
                    <a:pt x="114" y="105"/>
                  </a:lnTo>
                  <a:lnTo>
                    <a:pt x="111" y="112"/>
                  </a:lnTo>
                  <a:lnTo>
                    <a:pt x="111" y="114"/>
                  </a:lnTo>
                  <a:lnTo>
                    <a:pt x="111" y="116"/>
                  </a:lnTo>
                  <a:lnTo>
                    <a:pt x="114" y="116"/>
                  </a:lnTo>
                  <a:lnTo>
                    <a:pt x="114" y="116"/>
                  </a:lnTo>
                  <a:lnTo>
                    <a:pt x="114" y="116"/>
                  </a:lnTo>
                  <a:lnTo>
                    <a:pt x="114" y="114"/>
                  </a:lnTo>
                  <a:lnTo>
                    <a:pt x="114" y="114"/>
                  </a:lnTo>
                  <a:lnTo>
                    <a:pt x="114" y="114"/>
                  </a:lnTo>
                  <a:lnTo>
                    <a:pt x="114" y="114"/>
                  </a:lnTo>
                  <a:lnTo>
                    <a:pt x="114" y="114"/>
                  </a:lnTo>
                  <a:lnTo>
                    <a:pt x="114" y="114"/>
                  </a:lnTo>
                  <a:lnTo>
                    <a:pt x="114" y="114"/>
                  </a:lnTo>
                  <a:lnTo>
                    <a:pt x="114" y="114"/>
                  </a:lnTo>
                  <a:lnTo>
                    <a:pt x="114" y="114"/>
                  </a:lnTo>
                  <a:lnTo>
                    <a:pt x="116" y="114"/>
                  </a:lnTo>
                  <a:lnTo>
                    <a:pt x="116" y="112"/>
                  </a:lnTo>
                  <a:lnTo>
                    <a:pt x="114" y="112"/>
                  </a:lnTo>
                  <a:lnTo>
                    <a:pt x="114" y="112"/>
                  </a:lnTo>
                  <a:lnTo>
                    <a:pt x="114" y="112"/>
                  </a:lnTo>
                  <a:lnTo>
                    <a:pt x="116" y="112"/>
                  </a:lnTo>
                  <a:lnTo>
                    <a:pt x="116" y="112"/>
                  </a:lnTo>
                  <a:lnTo>
                    <a:pt x="116" y="112"/>
                  </a:lnTo>
                  <a:lnTo>
                    <a:pt x="116" y="114"/>
                  </a:lnTo>
                  <a:lnTo>
                    <a:pt x="116" y="114"/>
                  </a:lnTo>
                  <a:lnTo>
                    <a:pt x="116" y="114"/>
                  </a:lnTo>
                  <a:lnTo>
                    <a:pt x="114" y="116"/>
                  </a:lnTo>
                  <a:lnTo>
                    <a:pt x="116" y="116"/>
                  </a:lnTo>
                  <a:lnTo>
                    <a:pt x="118" y="116"/>
                  </a:lnTo>
                  <a:lnTo>
                    <a:pt x="118" y="119"/>
                  </a:lnTo>
                  <a:lnTo>
                    <a:pt x="121" y="119"/>
                  </a:lnTo>
                  <a:lnTo>
                    <a:pt x="121" y="121"/>
                  </a:lnTo>
                  <a:lnTo>
                    <a:pt x="121" y="123"/>
                  </a:lnTo>
                  <a:lnTo>
                    <a:pt x="121" y="123"/>
                  </a:lnTo>
                  <a:lnTo>
                    <a:pt x="121" y="126"/>
                  </a:lnTo>
                  <a:lnTo>
                    <a:pt x="121" y="128"/>
                  </a:lnTo>
                  <a:lnTo>
                    <a:pt x="121" y="128"/>
                  </a:lnTo>
                  <a:lnTo>
                    <a:pt x="121" y="131"/>
                  </a:lnTo>
                  <a:lnTo>
                    <a:pt x="121" y="131"/>
                  </a:lnTo>
                  <a:lnTo>
                    <a:pt x="121" y="131"/>
                  </a:lnTo>
                  <a:lnTo>
                    <a:pt x="121" y="133"/>
                  </a:lnTo>
                  <a:lnTo>
                    <a:pt x="118" y="135"/>
                  </a:lnTo>
                  <a:lnTo>
                    <a:pt x="118" y="138"/>
                  </a:lnTo>
                  <a:lnTo>
                    <a:pt x="118" y="138"/>
                  </a:lnTo>
                  <a:lnTo>
                    <a:pt x="121" y="140"/>
                  </a:lnTo>
                  <a:lnTo>
                    <a:pt x="121" y="140"/>
                  </a:lnTo>
                  <a:lnTo>
                    <a:pt x="121" y="140"/>
                  </a:lnTo>
                  <a:lnTo>
                    <a:pt x="121" y="140"/>
                  </a:lnTo>
                  <a:lnTo>
                    <a:pt x="123" y="142"/>
                  </a:lnTo>
                  <a:lnTo>
                    <a:pt x="123" y="145"/>
                  </a:lnTo>
                  <a:lnTo>
                    <a:pt x="123" y="145"/>
                  </a:lnTo>
                  <a:lnTo>
                    <a:pt x="123" y="145"/>
                  </a:lnTo>
                  <a:lnTo>
                    <a:pt x="123" y="147"/>
                  </a:lnTo>
                  <a:lnTo>
                    <a:pt x="121" y="150"/>
                  </a:lnTo>
                  <a:lnTo>
                    <a:pt x="121" y="150"/>
                  </a:lnTo>
                  <a:lnTo>
                    <a:pt x="125" y="152"/>
                  </a:lnTo>
                  <a:lnTo>
                    <a:pt x="125" y="154"/>
                  </a:lnTo>
                  <a:lnTo>
                    <a:pt x="125" y="154"/>
                  </a:lnTo>
                  <a:lnTo>
                    <a:pt x="128" y="157"/>
                  </a:lnTo>
                  <a:lnTo>
                    <a:pt x="128" y="157"/>
                  </a:lnTo>
                  <a:lnTo>
                    <a:pt x="128" y="157"/>
                  </a:lnTo>
                  <a:lnTo>
                    <a:pt x="130" y="159"/>
                  </a:lnTo>
                  <a:lnTo>
                    <a:pt x="130" y="157"/>
                  </a:lnTo>
                  <a:lnTo>
                    <a:pt x="130" y="157"/>
                  </a:lnTo>
                  <a:lnTo>
                    <a:pt x="132" y="159"/>
                  </a:lnTo>
                  <a:lnTo>
                    <a:pt x="135" y="161"/>
                  </a:lnTo>
                  <a:lnTo>
                    <a:pt x="137" y="164"/>
                  </a:lnTo>
                  <a:lnTo>
                    <a:pt x="140" y="166"/>
                  </a:lnTo>
                  <a:lnTo>
                    <a:pt x="142" y="168"/>
                  </a:lnTo>
                  <a:lnTo>
                    <a:pt x="144" y="171"/>
                  </a:lnTo>
                  <a:lnTo>
                    <a:pt x="151" y="173"/>
                  </a:lnTo>
                  <a:lnTo>
                    <a:pt x="151" y="176"/>
                  </a:lnTo>
                  <a:lnTo>
                    <a:pt x="154" y="178"/>
                  </a:lnTo>
                  <a:lnTo>
                    <a:pt x="156" y="180"/>
                  </a:lnTo>
                  <a:lnTo>
                    <a:pt x="156" y="180"/>
                  </a:lnTo>
                  <a:lnTo>
                    <a:pt x="158" y="183"/>
                  </a:lnTo>
                  <a:lnTo>
                    <a:pt x="158" y="183"/>
                  </a:lnTo>
                  <a:lnTo>
                    <a:pt x="158" y="183"/>
                  </a:lnTo>
                  <a:lnTo>
                    <a:pt x="158" y="185"/>
                  </a:lnTo>
                  <a:lnTo>
                    <a:pt x="158" y="185"/>
                  </a:lnTo>
                  <a:lnTo>
                    <a:pt x="158" y="185"/>
                  </a:lnTo>
                  <a:lnTo>
                    <a:pt x="161" y="187"/>
                  </a:lnTo>
                  <a:lnTo>
                    <a:pt x="161" y="187"/>
                  </a:lnTo>
                  <a:lnTo>
                    <a:pt x="161" y="187"/>
                  </a:lnTo>
                  <a:lnTo>
                    <a:pt x="163" y="187"/>
                  </a:lnTo>
                  <a:lnTo>
                    <a:pt x="163" y="190"/>
                  </a:lnTo>
                  <a:lnTo>
                    <a:pt x="163" y="190"/>
                  </a:lnTo>
                  <a:lnTo>
                    <a:pt x="163" y="190"/>
                  </a:lnTo>
                  <a:lnTo>
                    <a:pt x="163" y="192"/>
                  </a:lnTo>
                  <a:lnTo>
                    <a:pt x="163" y="192"/>
                  </a:lnTo>
                  <a:lnTo>
                    <a:pt x="163" y="194"/>
                  </a:lnTo>
                  <a:lnTo>
                    <a:pt x="166" y="197"/>
                  </a:lnTo>
                  <a:lnTo>
                    <a:pt x="166" y="194"/>
                  </a:lnTo>
                  <a:lnTo>
                    <a:pt x="166" y="194"/>
                  </a:lnTo>
                  <a:lnTo>
                    <a:pt x="166" y="197"/>
                  </a:lnTo>
                  <a:lnTo>
                    <a:pt x="166" y="197"/>
                  </a:lnTo>
                  <a:lnTo>
                    <a:pt x="166" y="197"/>
                  </a:lnTo>
                  <a:lnTo>
                    <a:pt x="168" y="199"/>
                  </a:lnTo>
                  <a:lnTo>
                    <a:pt x="168" y="199"/>
                  </a:lnTo>
                  <a:lnTo>
                    <a:pt x="168" y="197"/>
                  </a:lnTo>
                  <a:lnTo>
                    <a:pt x="168" y="197"/>
                  </a:lnTo>
                  <a:lnTo>
                    <a:pt x="170" y="199"/>
                  </a:lnTo>
                  <a:lnTo>
                    <a:pt x="170" y="199"/>
                  </a:lnTo>
                  <a:lnTo>
                    <a:pt x="170" y="199"/>
                  </a:lnTo>
                  <a:lnTo>
                    <a:pt x="170" y="202"/>
                  </a:lnTo>
                  <a:lnTo>
                    <a:pt x="170" y="202"/>
                  </a:lnTo>
                  <a:lnTo>
                    <a:pt x="173" y="202"/>
                  </a:lnTo>
                  <a:lnTo>
                    <a:pt x="173" y="204"/>
                  </a:lnTo>
                  <a:lnTo>
                    <a:pt x="173" y="204"/>
                  </a:lnTo>
                  <a:lnTo>
                    <a:pt x="173" y="204"/>
                  </a:lnTo>
                  <a:lnTo>
                    <a:pt x="173" y="206"/>
                  </a:lnTo>
                  <a:lnTo>
                    <a:pt x="173" y="206"/>
                  </a:lnTo>
                  <a:lnTo>
                    <a:pt x="173" y="206"/>
                  </a:lnTo>
                  <a:lnTo>
                    <a:pt x="173" y="209"/>
                  </a:lnTo>
                  <a:lnTo>
                    <a:pt x="173" y="209"/>
                  </a:lnTo>
                  <a:lnTo>
                    <a:pt x="175" y="209"/>
                  </a:lnTo>
                  <a:lnTo>
                    <a:pt x="175" y="211"/>
                  </a:lnTo>
                  <a:lnTo>
                    <a:pt x="177" y="211"/>
                  </a:lnTo>
                  <a:lnTo>
                    <a:pt x="177" y="211"/>
                  </a:lnTo>
                  <a:lnTo>
                    <a:pt x="177" y="211"/>
                  </a:lnTo>
                  <a:lnTo>
                    <a:pt x="177" y="213"/>
                  </a:lnTo>
                  <a:lnTo>
                    <a:pt x="177" y="213"/>
                  </a:lnTo>
                  <a:lnTo>
                    <a:pt x="177" y="213"/>
                  </a:lnTo>
                  <a:lnTo>
                    <a:pt x="177" y="213"/>
                  </a:lnTo>
                  <a:lnTo>
                    <a:pt x="180" y="213"/>
                  </a:lnTo>
                  <a:lnTo>
                    <a:pt x="180" y="213"/>
                  </a:lnTo>
                  <a:lnTo>
                    <a:pt x="180" y="213"/>
                  </a:lnTo>
                  <a:lnTo>
                    <a:pt x="182" y="213"/>
                  </a:lnTo>
                  <a:lnTo>
                    <a:pt x="182" y="216"/>
                  </a:lnTo>
                  <a:lnTo>
                    <a:pt x="182" y="216"/>
                  </a:lnTo>
                  <a:lnTo>
                    <a:pt x="182" y="218"/>
                  </a:lnTo>
                  <a:lnTo>
                    <a:pt x="180" y="218"/>
                  </a:lnTo>
                  <a:lnTo>
                    <a:pt x="182" y="218"/>
                  </a:lnTo>
                  <a:lnTo>
                    <a:pt x="182" y="218"/>
                  </a:lnTo>
                  <a:lnTo>
                    <a:pt x="182" y="218"/>
                  </a:lnTo>
                  <a:lnTo>
                    <a:pt x="185" y="220"/>
                  </a:lnTo>
                  <a:lnTo>
                    <a:pt x="185" y="220"/>
                  </a:lnTo>
                  <a:lnTo>
                    <a:pt x="185" y="220"/>
                  </a:lnTo>
                  <a:lnTo>
                    <a:pt x="185" y="220"/>
                  </a:lnTo>
                  <a:lnTo>
                    <a:pt x="185" y="220"/>
                  </a:lnTo>
                  <a:lnTo>
                    <a:pt x="185" y="223"/>
                  </a:lnTo>
                  <a:lnTo>
                    <a:pt x="185" y="223"/>
                  </a:lnTo>
                  <a:lnTo>
                    <a:pt x="185" y="223"/>
                  </a:lnTo>
                  <a:lnTo>
                    <a:pt x="185" y="223"/>
                  </a:lnTo>
                  <a:lnTo>
                    <a:pt x="185" y="225"/>
                  </a:lnTo>
                  <a:lnTo>
                    <a:pt x="185" y="225"/>
                  </a:lnTo>
                  <a:lnTo>
                    <a:pt x="185" y="228"/>
                  </a:lnTo>
                  <a:lnTo>
                    <a:pt x="182" y="230"/>
                  </a:lnTo>
                  <a:lnTo>
                    <a:pt x="182" y="232"/>
                  </a:lnTo>
                  <a:lnTo>
                    <a:pt x="182" y="232"/>
                  </a:lnTo>
                  <a:lnTo>
                    <a:pt x="180" y="232"/>
                  </a:lnTo>
                  <a:lnTo>
                    <a:pt x="180" y="235"/>
                  </a:lnTo>
                  <a:lnTo>
                    <a:pt x="180" y="235"/>
                  </a:lnTo>
                  <a:lnTo>
                    <a:pt x="182" y="235"/>
                  </a:lnTo>
                  <a:lnTo>
                    <a:pt x="182" y="235"/>
                  </a:lnTo>
                  <a:lnTo>
                    <a:pt x="182" y="235"/>
                  </a:lnTo>
                  <a:lnTo>
                    <a:pt x="182" y="235"/>
                  </a:lnTo>
                  <a:lnTo>
                    <a:pt x="182" y="235"/>
                  </a:lnTo>
                  <a:lnTo>
                    <a:pt x="182" y="237"/>
                  </a:lnTo>
                  <a:lnTo>
                    <a:pt x="182" y="237"/>
                  </a:lnTo>
                  <a:lnTo>
                    <a:pt x="182" y="237"/>
                  </a:lnTo>
                  <a:lnTo>
                    <a:pt x="182" y="237"/>
                  </a:lnTo>
                  <a:lnTo>
                    <a:pt x="182" y="239"/>
                  </a:lnTo>
                  <a:lnTo>
                    <a:pt x="182" y="239"/>
                  </a:lnTo>
                  <a:lnTo>
                    <a:pt x="180" y="239"/>
                  </a:lnTo>
                  <a:lnTo>
                    <a:pt x="180" y="242"/>
                  </a:lnTo>
                  <a:lnTo>
                    <a:pt x="180" y="242"/>
                  </a:lnTo>
                  <a:lnTo>
                    <a:pt x="180" y="242"/>
                  </a:lnTo>
                  <a:lnTo>
                    <a:pt x="180" y="242"/>
                  </a:lnTo>
                  <a:lnTo>
                    <a:pt x="180" y="244"/>
                  </a:lnTo>
                  <a:lnTo>
                    <a:pt x="180" y="244"/>
                  </a:lnTo>
                  <a:lnTo>
                    <a:pt x="180" y="244"/>
                  </a:lnTo>
                  <a:lnTo>
                    <a:pt x="182" y="244"/>
                  </a:lnTo>
                  <a:lnTo>
                    <a:pt x="182" y="244"/>
                  </a:lnTo>
                  <a:lnTo>
                    <a:pt x="182" y="246"/>
                  </a:lnTo>
                  <a:lnTo>
                    <a:pt x="182" y="246"/>
                  </a:lnTo>
                  <a:lnTo>
                    <a:pt x="182" y="246"/>
                  </a:lnTo>
                  <a:lnTo>
                    <a:pt x="182" y="246"/>
                  </a:lnTo>
                  <a:lnTo>
                    <a:pt x="182" y="246"/>
                  </a:lnTo>
                  <a:lnTo>
                    <a:pt x="180" y="246"/>
                  </a:lnTo>
                  <a:lnTo>
                    <a:pt x="180" y="246"/>
                  </a:lnTo>
                  <a:lnTo>
                    <a:pt x="180" y="246"/>
                  </a:lnTo>
                  <a:lnTo>
                    <a:pt x="180" y="246"/>
                  </a:lnTo>
                  <a:lnTo>
                    <a:pt x="180" y="246"/>
                  </a:lnTo>
                  <a:lnTo>
                    <a:pt x="180" y="246"/>
                  </a:lnTo>
                  <a:lnTo>
                    <a:pt x="180" y="246"/>
                  </a:lnTo>
                  <a:lnTo>
                    <a:pt x="180" y="246"/>
                  </a:lnTo>
                  <a:lnTo>
                    <a:pt x="180" y="249"/>
                  </a:lnTo>
                  <a:lnTo>
                    <a:pt x="180" y="249"/>
                  </a:lnTo>
                  <a:lnTo>
                    <a:pt x="180" y="251"/>
                  </a:lnTo>
                  <a:lnTo>
                    <a:pt x="177" y="249"/>
                  </a:lnTo>
                  <a:lnTo>
                    <a:pt x="177" y="249"/>
                  </a:lnTo>
                  <a:lnTo>
                    <a:pt x="177" y="246"/>
                  </a:lnTo>
                  <a:lnTo>
                    <a:pt x="177" y="246"/>
                  </a:lnTo>
                  <a:lnTo>
                    <a:pt x="177" y="246"/>
                  </a:lnTo>
                  <a:lnTo>
                    <a:pt x="177" y="246"/>
                  </a:lnTo>
                  <a:lnTo>
                    <a:pt x="177" y="244"/>
                  </a:lnTo>
                  <a:lnTo>
                    <a:pt x="180" y="244"/>
                  </a:lnTo>
                  <a:lnTo>
                    <a:pt x="180" y="244"/>
                  </a:lnTo>
                  <a:lnTo>
                    <a:pt x="180" y="242"/>
                  </a:lnTo>
                  <a:lnTo>
                    <a:pt x="180" y="242"/>
                  </a:lnTo>
                  <a:lnTo>
                    <a:pt x="177" y="244"/>
                  </a:lnTo>
                  <a:lnTo>
                    <a:pt x="175" y="246"/>
                  </a:lnTo>
                  <a:lnTo>
                    <a:pt x="175" y="246"/>
                  </a:lnTo>
                  <a:lnTo>
                    <a:pt x="175" y="246"/>
                  </a:lnTo>
                  <a:lnTo>
                    <a:pt x="175" y="246"/>
                  </a:lnTo>
                  <a:lnTo>
                    <a:pt x="173" y="249"/>
                  </a:lnTo>
                  <a:lnTo>
                    <a:pt x="173" y="249"/>
                  </a:lnTo>
                  <a:lnTo>
                    <a:pt x="173" y="249"/>
                  </a:lnTo>
                  <a:lnTo>
                    <a:pt x="173" y="249"/>
                  </a:lnTo>
                  <a:lnTo>
                    <a:pt x="173" y="251"/>
                  </a:lnTo>
                  <a:lnTo>
                    <a:pt x="170" y="251"/>
                  </a:lnTo>
                  <a:lnTo>
                    <a:pt x="173" y="251"/>
                  </a:lnTo>
                  <a:lnTo>
                    <a:pt x="173" y="251"/>
                  </a:lnTo>
                  <a:lnTo>
                    <a:pt x="173" y="251"/>
                  </a:lnTo>
                  <a:lnTo>
                    <a:pt x="173" y="251"/>
                  </a:lnTo>
                  <a:lnTo>
                    <a:pt x="175" y="251"/>
                  </a:lnTo>
                  <a:lnTo>
                    <a:pt x="175" y="251"/>
                  </a:lnTo>
                  <a:lnTo>
                    <a:pt x="175" y="251"/>
                  </a:lnTo>
                  <a:lnTo>
                    <a:pt x="175" y="249"/>
                  </a:lnTo>
                  <a:lnTo>
                    <a:pt x="175" y="249"/>
                  </a:lnTo>
                  <a:lnTo>
                    <a:pt x="175" y="249"/>
                  </a:lnTo>
                  <a:lnTo>
                    <a:pt x="175" y="249"/>
                  </a:lnTo>
                  <a:lnTo>
                    <a:pt x="177" y="249"/>
                  </a:lnTo>
                  <a:lnTo>
                    <a:pt x="177" y="249"/>
                  </a:lnTo>
                  <a:lnTo>
                    <a:pt x="177" y="249"/>
                  </a:lnTo>
                  <a:lnTo>
                    <a:pt x="177" y="249"/>
                  </a:lnTo>
                  <a:lnTo>
                    <a:pt x="177" y="251"/>
                  </a:lnTo>
                  <a:lnTo>
                    <a:pt x="177" y="251"/>
                  </a:lnTo>
                  <a:lnTo>
                    <a:pt x="177" y="251"/>
                  </a:lnTo>
                  <a:lnTo>
                    <a:pt x="177" y="251"/>
                  </a:lnTo>
                  <a:lnTo>
                    <a:pt x="177" y="251"/>
                  </a:lnTo>
                  <a:lnTo>
                    <a:pt x="177" y="251"/>
                  </a:lnTo>
                  <a:lnTo>
                    <a:pt x="177" y="251"/>
                  </a:lnTo>
                  <a:lnTo>
                    <a:pt x="177" y="251"/>
                  </a:lnTo>
                  <a:lnTo>
                    <a:pt x="177" y="251"/>
                  </a:lnTo>
                  <a:lnTo>
                    <a:pt x="177" y="251"/>
                  </a:lnTo>
                  <a:lnTo>
                    <a:pt x="177" y="251"/>
                  </a:lnTo>
                  <a:lnTo>
                    <a:pt x="177" y="251"/>
                  </a:lnTo>
                  <a:lnTo>
                    <a:pt x="177" y="254"/>
                  </a:lnTo>
                  <a:lnTo>
                    <a:pt x="177" y="254"/>
                  </a:lnTo>
                  <a:lnTo>
                    <a:pt x="175" y="254"/>
                  </a:lnTo>
                  <a:lnTo>
                    <a:pt x="175" y="256"/>
                  </a:lnTo>
                  <a:lnTo>
                    <a:pt x="175" y="256"/>
                  </a:lnTo>
                  <a:lnTo>
                    <a:pt x="175" y="256"/>
                  </a:lnTo>
                  <a:lnTo>
                    <a:pt x="175" y="256"/>
                  </a:lnTo>
                  <a:lnTo>
                    <a:pt x="175" y="256"/>
                  </a:lnTo>
                  <a:lnTo>
                    <a:pt x="175" y="258"/>
                  </a:lnTo>
                  <a:lnTo>
                    <a:pt x="175" y="258"/>
                  </a:lnTo>
                  <a:lnTo>
                    <a:pt x="177" y="258"/>
                  </a:lnTo>
                  <a:lnTo>
                    <a:pt x="177" y="261"/>
                  </a:lnTo>
                  <a:lnTo>
                    <a:pt x="177" y="261"/>
                  </a:lnTo>
                  <a:lnTo>
                    <a:pt x="177" y="261"/>
                  </a:lnTo>
                  <a:lnTo>
                    <a:pt x="177" y="261"/>
                  </a:lnTo>
                  <a:lnTo>
                    <a:pt x="177" y="261"/>
                  </a:lnTo>
                  <a:lnTo>
                    <a:pt x="177" y="261"/>
                  </a:lnTo>
                  <a:lnTo>
                    <a:pt x="177" y="261"/>
                  </a:lnTo>
                  <a:lnTo>
                    <a:pt x="180" y="261"/>
                  </a:lnTo>
                  <a:lnTo>
                    <a:pt x="180" y="261"/>
                  </a:lnTo>
                  <a:lnTo>
                    <a:pt x="180" y="261"/>
                  </a:lnTo>
                  <a:lnTo>
                    <a:pt x="180" y="261"/>
                  </a:lnTo>
                  <a:lnTo>
                    <a:pt x="180" y="261"/>
                  </a:lnTo>
                  <a:lnTo>
                    <a:pt x="180" y="261"/>
                  </a:lnTo>
                  <a:lnTo>
                    <a:pt x="180" y="261"/>
                  </a:lnTo>
                  <a:lnTo>
                    <a:pt x="180" y="261"/>
                  </a:lnTo>
                  <a:lnTo>
                    <a:pt x="180" y="261"/>
                  </a:lnTo>
                  <a:lnTo>
                    <a:pt x="180" y="261"/>
                  </a:lnTo>
                  <a:lnTo>
                    <a:pt x="180" y="258"/>
                  </a:lnTo>
                  <a:lnTo>
                    <a:pt x="180" y="258"/>
                  </a:lnTo>
                  <a:lnTo>
                    <a:pt x="180" y="258"/>
                  </a:lnTo>
                  <a:lnTo>
                    <a:pt x="180" y="258"/>
                  </a:lnTo>
                  <a:lnTo>
                    <a:pt x="180" y="258"/>
                  </a:lnTo>
                  <a:lnTo>
                    <a:pt x="180" y="256"/>
                  </a:lnTo>
                  <a:lnTo>
                    <a:pt x="180" y="258"/>
                  </a:lnTo>
                  <a:lnTo>
                    <a:pt x="180" y="258"/>
                  </a:lnTo>
                  <a:lnTo>
                    <a:pt x="180" y="258"/>
                  </a:lnTo>
                  <a:lnTo>
                    <a:pt x="182" y="258"/>
                  </a:lnTo>
                  <a:lnTo>
                    <a:pt x="182" y="261"/>
                  </a:lnTo>
                  <a:lnTo>
                    <a:pt x="182" y="261"/>
                  </a:lnTo>
                  <a:lnTo>
                    <a:pt x="182" y="261"/>
                  </a:lnTo>
                  <a:lnTo>
                    <a:pt x="182" y="261"/>
                  </a:lnTo>
                  <a:lnTo>
                    <a:pt x="182" y="261"/>
                  </a:lnTo>
                  <a:lnTo>
                    <a:pt x="185" y="261"/>
                  </a:lnTo>
                  <a:lnTo>
                    <a:pt x="185" y="261"/>
                  </a:lnTo>
                  <a:lnTo>
                    <a:pt x="185" y="261"/>
                  </a:lnTo>
                  <a:lnTo>
                    <a:pt x="185" y="261"/>
                  </a:lnTo>
                  <a:lnTo>
                    <a:pt x="185" y="261"/>
                  </a:lnTo>
                  <a:lnTo>
                    <a:pt x="185" y="261"/>
                  </a:lnTo>
                  <a:lnTo>
                    <a:pt x="185" y="261"/>
                  </a:lnTo>
                  <a:lnTo>
                    <a:pt x="185" y="261"/>
                  </a:lnTo>
                  <a:lnTo>
                    <a:pt x="187" y="261"/>
                  </a:lnTo>
                  <a:lnTo>
                    <a:pt x="187" y="263"/>
                  </a:lnTo>
                  <a:lnTo>
                    <a:pt x="187" y="263"/>
                  </a:lnTo>
                  <a:lnTo>
                    <a:pt x="187" y="263"/>
                  </a:lnTo>
                  <a:lnTo>
                    <a:pt x="185" y="263"/>
                  </a:lnTo>
                  <a:lnTo>
                    <a:pt x="185" y="263"/>
                  </a:lnTo>
                  <a:lnTo>
                    <a:pt x="185" y="265"/>
                  </a:lnTo>
                  <a:lnTo>
                    <a:pt x="185" y="265"/>
                  </a:lnTo>
                  <a:lnTo>
                    <a:pt x="185" y="265"/>
                  </a:lnTo>
                  <a:lnTo>
                    <a:pt x="185" y="265"/>
                  </a:lnTo>
                  <a:lnTo>
                    <a:pt x="182" y="265"/>
                  </a:lnTo>
                  <a:lnTo>
                    <a:pt x="182" y="263"/>
                  </a:lnTo>
                  <a:lnTo>
                    <a:pt x="182" y="263"/>
                  </a:lnTo>
                  <a:lnTo>
                    <a:pt x="182" y="263"/>
                  </a:lnTo>
                  <a:lnTo>
                    <a:pt x="180" y="263"/>
                  </a:lnTo>
                  <a:lnTo>
                    <a:pt x="180" y="263"/>
                  </a:lnTo>
                  <a:lnTo>
                    <a:pt x="180" y="263"/>
                  </a:lnTo>
                  <a:lnTo>
                    <a:pt x="180" y="263"/>
                  </a:lnTo>
                  <a:lnTo>
                    <a:pt x="180" y="263"/>
                  </a:lnTo>
                  <a:lnTo>
                    <a:pt x="180" y="263"/>
                  </a:lnTo>
                  <a:lnTo>
                    <a:pt x="180" y="263"/>
                  </a:lnTo>
                  <a:lnTo>
                    <a:pt x="180" y="263"/>
                  </a:lnTo>
                  <a:lnTo>
                    <a:pt x="180" y="263"/>
                  </a:lnTo>
                  <a:lnTo>
                    <a:pt x="180" y="263"/>
                  </a:lnTo>
                  <a:lnTo>
                    <a:pt x="180" y="263"/>
                  </a:lnTo>
                  <a:lnTo>
                    <a:pt x="180" y="263"/>
                  </a:lnTo>
                  <a:lnTo>
                    <a:pt x="180" y="263"/>
                  </a:lnTo>
                  <a:lnTo>
                    <a:pt x="180" y="263"/>
                  </a:lnTo>
                  <a:lnTo>
                    <a:pt x="180" y="263"/>
                  </a:lnTo>
                  <a:lnTo>
                    <a:pt x="180" y="263"/>
                  </a:lnTo>
                  <a:lnTo>
                    <a:pt x="180" y="265"/>
                  </a:lnTo>
                  <a:lnTo>
                    <a:pt x="180" y="265"/>
                  </a:lnTo>
                  <a:lnTo>
                    <a:pt x="180" y="265"/>
                  </a:lnTo>
                  <a:lnTo>
                    <a:pt x="177" y="265"/>
                  </a:lnTo>
                  <a:lnTo>
                    <a:pt x="177" y="265"/>
                  </a:lnTo>
                  <a:lnTo>
                    <a:pt x="177" y="268"/>
                  </a:lnTo>
                  <a:lnTo>
                    <a:pt x="177" y="268"/>
                  </a:lnTo>
                  <a:lnTo>
                    <a:pt x="177" y="265"/>
                  </a:lnTo>
                  <a:lnTo>
                    <a:pt x="177" y="265"/>
                  </a:lnTo>
                  <a:lnTo>
                    <a:pt x="177" y="265"/>
                  </a:lnTo>
                  <a:lnTo>
                    <a:pt x="177" y="265"/>
                  </a:lnTo>
                  <a:lnTo>
                    <a:pt x="177" y="265"/>
                  </a:lnTo>
                  <a:lnTo>
                    <a:pt x="177" y="265"/>
                  </a:lnTo>
                  <a:lnTo>
                    <a:pt x="175" y="263"/>
                  </a:lnTo>
                  <a:lnTo>
                    <a:pt x="175" y="263"/>
                  </a:lnTo>
                  <a:lnTo>
                    <a:pt x="175" y="263"/>
                  </a:lnTo>
                  <a:lnTo>
                    <a:pt x="173" y="261"/>
                  </a:lnTo>
                  <a:lnTo>
                    <a:pt x="173" y="261"/>
                  </a:lnTo>
                  <a:lnTo>
                    <a:pt x="173" y="261"/>
                  </a:lnTo>
                  <a:lnTo>
                    <a:pt x="170" y="261"/>
                  </a:lnTo>
                  <a:lnTo>
                    <a:pt x="170" y="258"/>
                  </a:lnTo>
                  <a:lnTo>
                    <a:pt x="170" y="258"/>
                  </a:lnTo>
                  <a:lnTo>
                    <a:pt x="168" y="256"/>
                  </a:lnTo>
                  <a:lnTo>
                    <a:pt x="170" y="256"/>
                  </a:lnTo>
                  <a:lnTo>
                    <a:pt x="170" y="256"/>
                  </a:lnTo>
                  <a:lnTo>
                    <a:pt x="170" y="256"/>
                  </a:lnTo>
                  <a:lnTo>
                    <a:pt x="170" y="254"/>
                  </a:lnTo>
                  <a:lnTo>
                    <a:pt x="170" y="254"/>
                  </a:lnTo>
                  <a:lnTo>
                    <a:pt x="170" y="254"/>
                  </a:lnTo>
                  <a:lnTo>
                    <a:pt x="170" y="254"/>
                  </a:lnTo>
                  <a:lnTo>
                    <a:pt x="170" y="251"/>
                  </a:lnTo>
                  <a:lnTo>
                    <a:pt x="170" y="251"/>
                  </a:lnTo>
                  <a:lnTo>
                    <a:pt x="168" y="251"/>
                  </a:lnTo>
                  <a:lnTo>
                    <a:pt x="168" y="251"/>
                  </a:lnTo>
                  <a:lnTo>
                    <a:pt x="168" y="251"/>
                  </a:lnTo>
                  <a:lnTo>
                    <a:pt x="168" y="254"/>
                  </a:lnTo>
                  <a:lnTo>
                    <a:pt x="166" y="254"/>
                  </a:lnTo>
                  <a:lnTo>
                    <a:pt x="166" y="254"/>
                  </a:lnTo>
                  <a:lnTo>
                    <a:pt x="166" y="254"/>
                  </a:lnTo>
                  <a:lnTo>
                    <a:pt x="163" y="256"/>
                  </a:lnTo>
                  <a:lnTo>
                    <a:pt x="163" y="256"/>
                  </a:lnTo>
                  <a:lnTo>
                    <a:pt x="161" y="256"/>
                  </a:lnTo>
                  <a:lnTo>
                    <a:pt x="158" y="256"/>
                  </a:lnTo>
                  <a:lnTo>
                    <a:pt x="158" y="256"/>
                  </a:lnTo>
                  <a:lnTo>
                    <a:pt x="156" y="256"/>
                  </a:lnTo>
                  <a:lnTo>
                    <a:pt x="154" y="256"/>
                  </a:lnTo>
                  <a:lnTo>
                    <a:pt x="154" y="254"/>
                  </a:lnTo>
                  <a:lnTo>
                    <a:pt x="151" y="254"/>
                  </a:lnTo>
                  <a:lnTo>
                    <a:pt x="151" y="254"/>
                  </a:lnTo>
                  <a:lnTo>
                    <a:pt x="151" y="254"/>
                  </a:lnTo>
                  <a:lnTo>
                    <a:pt x="151" y="254"/>
                  </a:lnTo>
                  <a:lnTo>
                    <a:pt x="149" y="254"/>
                  </a:lnTo>
                  <a:lnTo>
                    <a:pt x="149" y="254"/>
                  </a:lnTo>
                  <a:lnTo>
                    <a:pt x="149" y="251"/>
                  </a:lnTo>
                  <a:lnTo>
                    <a:pt x="147" y="251"/>
                  </a:lnTo>
                  <a:lnTo>
                    <a:pt x="147" y="251"/>
                  </a:lnTo>
                  <a:lnTo>
                    <a:pt x="144" y="251"/>
                  </a:lnTo>
                  <a:lnTo>
                    <a:pt x="144" y="251"/>
                  </a:lnTo>
                  <a:lnTo>
                    <a:pt x="144" y="251"/>
                  </a:lnTo>
                  <a:lnTo>
                    <a:pt x="142" y="251"/>
                  </a:lnTo>
                  <a:lnTo>
                    <a:pt x="140" y="251"/>
                  </a:lnTo>
                  <a:lnTo>
                    <a:pt x="137" y="251"/>
                  </a:lnTo>
                  <a:lnTo>
                    <a:pt x="137" y="249"/>
                  </a:lnTo>
                  <a:lnTo>
                    <a:pt x="137" y="249"/>
                  </a:lnTo>
                  <a:lnTo>
                    <a:pt x="137" y="249"/>
                  </a:lnTo>
                  <a:lnTo>
                    <a:pt x="135" y="249"/>
                  </a:lnTo>
                  <a:lnTo>
                    <a:pt x="137" y="251"/>
                  </a:lnTo>
                  <a:lnTo>
                    <a:pt x="137" y="251"/>
                  </a:lnTo>
                  <a:lnTo>
                    <a:pt x="137" y="251"/>
                  </a:lnTo>
                  <a:lnTo>
                    <a:pt x="137" y="251"/>
                  </a:lnTo>
                  <a:lnTo>
                    <a:pt x="137" y="254"/>
                  </a:lnTo>
                  <a:lnTo>
                    <a:pt x="137" y="254"/>
                  </a:lnTo>
                  <a:lnTo>
                    <a:pt x="137" y="254"/>
                  </a:lnTo>
                  <a:lnTo>
                    <a:pt x="137" y="256"/>
                  </a:lnTo>
                  <a:lnTo>
                    <a:pt x="137" y="256"/>
                  </a:lnTo>
                  <a:lnTo>
                    <a:pt x="140" y="256"/>
                  </a:lnTo>
                  <a:lnTo>
                    <a:pt x="140" y="256"/>
                  </a:lnTo>
                  <a:lnTo>
                    <a:pt x="140" y="256"/>
                  </a:lnTo>
                  <a:lnTo>
                    <a:pt x="140" y="256"/>
                  </a:lnTo>
                  <a:lnTo>
                    <a:pt x="140" y="258"/>
                  </a:lnTo>
                  <a:lnTo>
                    <a:pt x="142" y="258"/>
                  </a:lnTo>
                  <a:lnTo>
                    <a:pt x="142" y="258"/>
                  </a:lnTo>
                  <a:lnTo>
                    <a:pt x="142" y="258"/>
                  </a:lnTo>
                  <a:lnTo>
                    <a:pt x="142" y="258"/>
                  </a:lnTo>
                  <a:lnTo>
                    <a:pt x="142" y="258"/>
                  </a:lnTo>
                  <a:lnTo>
                    <a:pt x="144" y="258"/>
                  </a:lnTo>
                  <a:lnTo>
                    <a:pt x="144" y="258"/>
                  </a:lnTo>
                  <a:lnTo>
                    <a:pt x="144" y="258"/>
                  </a:lnTo>
                  <a:lnTo>
                    <a:pt x="144" y="258"/>
                  </a:lnTo>
                  <a:lnTo>
                    <a:pt x="144" y="261"/>
                  </a:lnTo>
                  <a:lnTo>
                    <a:pt x="144" y="261"/>
                  </a:lnTo>
                  <a:lnTo>
                    <a:pt x="144" y="261"/>
                  </a:lnTo>
                  <a:lnTo>
                    <a:pt x="144" y="261"/>
                  </a:lnTo>
                  <a:lnTo>
                    <a:pt x="142" y="261"/>
                  </a:lnTo>
                  <a:lnTo>
                    <a:pt x="144" y="261"/>
                  </a:lnTo>
                  <a:lnTo>
                    <a:pt x="144" y="261"/>
                  </a:lnTo>
                  <a:lnTo>
                    <a:pt x="144" y="261"/>
                  </a:lnTo>
                  <a:lnTo>
                    <a:pt x="144" y="261"/>
                  </a:lnTo>
                  <a:lnTo>
                    <a:pt x="144" y="261"/>
                  </a:lnTo>
                  <a:lnTo>
                    <a:pt x="147" y="261"/>
                  </a:lnTo>
                  <a:lnTo>
                    <a:pt x="147" y="263"/>
                  </a:lnTo>
                  <a:lnTo>
                    <a:pt x="147" y="265"/>
                  </a:lnTo>
                  <a:lnTo>
                    <a:pt x="147" y="265"/>
                  </a:lnTo>
                  <a:lnTo>
                    <a:pt x="147" y="265"/>
                  </a:lnTo>
                  <a:lnTo>
                    <a:pt x="149" y="265"/>
                  </a:lnTo>
                  <a:lnTo>
                    <a:pt x="149" y="268"/>
                  </a:lnTo>
                  <a:lnTo>
                    <a:pt x="149" y="268"/>
                  </a:lnTo>
                  <a:lnTo>
                    <a:pt x="151" y="268"/>
                  </a:lnTo>
                  <a:lnTo>
                    <a:pt x="154" y="270"/>
                  </a:lnTo>
                  <a:lnTo>
                    <a:pt x="154" y="270"/>
                  </a:lnTo>
                  <a:lnTo>
                    <a:pt x="154" y="273"/>
                  </a:lnTo>
                  <a:lnTo>
                    <a:pt x="156" y="273"/>
                  </a:lnTo>
                  <a:lnTo>
                    <a:pt x="156" y="273"/>
                  </a:lnTo>
                  <a:lnTo>
                    <a:pt x="156" y="273"/>
                  </a:lnTo>
                  <a:lnTo>
                    <a:pt x="158" y="275"/>
                  </a:lnTo>
                  <a:lnTo>
                    <a:pt x="158" y="277"/>
                  </a:lnTo>
                  <a:lnTo>
                    <a:pt x="158" y="280"/>
                  </a:lnTo>
                  <a:lnTo>
                    <a:pt x="158" y="280"/>
                  </a:lnTo>
                  <a:lnTo>
                    <a:pt x="158" y="282"/>
                  </a:lnTo>
                  <a:lnTo>
                    <a:pt x="158" y="284"/>
                  </a:lnTo>
                  <a:lnTo>
                    <a:pt x="158" y="284"/>
                  </a:lnTo>
                  <a:lnTo>
                    <a:pt x="158" y="284"/>
                  </a:lnTo>
                  <a:lnTo>
                    <a:pt x="161" y="284"/>
                  </a:lnTo>
                  <a:lnTo>
                    <a:pt x="161" y="284"/>
                  </a:lnTo>
                  <a:lnTo>
                    <a:pt x="161" y="287"/>
                  </a:lnTo>
                  <a:lnTo>
                    <a:pt x="158" y="287"/>
                  </a:lnTo>
                  <a:lnTo>
                    <a:pt x="161" y="287"/>
                  </a:lnTo>
                  <a:lnTo>
                    <a:pt x="161" y="287"/>
                  </a:lnTo>
                  <a:lnTo>
                    <a:pt x="163" y="287"/>
                  </a:lnTo>
                  <a:lnTo>
                    <a:pt x="166" y="289"/>
                  </a:lnTo>
                  <a:lnTo>
                    <a:pt x="166" y="289"/>
                  </a:lnTo>
                  <a:lnTo>
                    <a:pt x="166" y="289"/>
                  </a:lnTo>
                  <a:lnTo>
                    <a:pt x="166" y="289"/>
                  </a:lnTo>
                  <a:lnTo>
                    <a:pt x="168" y="289"/>
                  </a:lnTo>
                  <a:lnTo>
                    <a:pt x="170" y="289"/>
                  </a:lnTo>
                  <a:lnTo>
                    <a:pt x="170" y="289"/>
                  </a:lnTo>
                  <a:lnTo>
                    <a:pt x="173" y="291"/>
                  </a:lnTo>
                  <a:lnTo>
                    <a:pt x="173" y="291"/>
                  </a:lnTo>
                  <a:lnTo>
                    <a:pt x="175" y="294"/>
                  </a:lnTo>
                  <a:lnTo>
                    <a:pt x="175" y="294"/>
                  </a:lnTo>
                  <a:lnTo>
                    <a:pt x="175" y="296"/>
                  </a:lnTo>
                  <a:lnTo>
                    <a:pt x="177" y="299"/>
                  </a:lnTo>
                  <a:lnTo>
                    <a:pt x="177" y="299"/>
                  </a:lnTo>
                  <a:lnTo>
                    <a:pt x="177" y="299"/>
                  </a:lnTo>
                  <a:lnTo>
                    <a:pt x="180" y="299"/>
                  </a:lnTo>
                  <a:lnTo>
                    <a:pt x="180" y="299"/>
                  </a:lnTo>
                  <a:lnTo>
                    <a:pt x="180" y="299"/>
                  </a:lnTo>
                  <a:lnTo>
                    <a:pt x="182" y="299"/>
                  </a:lnTo>
                  <a:lnTo>
                    <a:pt x="182" y="299"/>
                  </a:lnTo>
                  <a:lnTo>
                    <a:pt x="185" y="301"/>
                  </a:lnTo>
                  <a:lnTo>
                    <a:pt x="187" y="301"/>
                  </a:lnTo>
                  <a:lnTo>
                    <a:pt x="187" y="303"/>
                  </a:lnTo>
                  <a:lnTo>
                    <a:pt x="189" y="306"/>
                  </a:lnTo>
                  <a:lnTo>
                    <a:pt x="189" y="308"/>
                  </a:lnTo>
                  <a:lnTo>
                    <a:pt x="189" y="308"/>
                  </a:lnTo>
                  <a:lnTo>
                    <a:pt x="189" y="310"/>
                  </a:lnTo>
                  <a:lnTo>
                    <a:pt x="192" y="310"/>
                  </a:lnTo>
                  <a:lnTo>
                    <a:pt x="192" y="313"/>
                  </a:lnTo>
                  <a:lnTo>
                    <a:pt x="194" y="315"/>
                  </a:lnTo>
                  <a:lnTo>
                    <a:pt x="196" y="315"/>
                  </a:lnTo>
                  <a:lnTo>
                    <a:pt x="196" y="315"/>
                  </a:lnTo>
                  <a:lnTo>
                    <a:pt x="196" y="315"/>
                  </a:lnTo>
                  <a:lnTo>
                    <a:pt x="196" y="313"/>
                  </a:lnTo>
                  <a:lnTo>
                    <a:pt x="199" y="313"/>
                  </a:lnTo>
                  <a:lnTo>
                    <a:pt x="199" y="313"/>
                  </a:lnTo>
                  <a:lnTo>
                    <a:pt x="199" y="310"/>
                  </a:lnTo>
                  <a:lnTo>
                    <a:pt x="201" y="310"/>
                  </a:lnTo>
                  <a:lnTo>
                    <a:pt x="201" y="310"/>
                  </a:lnTo>
                  <a:lnTo>
                    <a:pt x="203" y="310"/>
                  </a:lnTo>
                  <a:lnTo>
                    <a:pt x="203" y="310"/>
                  </a:lnTo>
                  <a:lnTo>
                    <a:pt x="206" y="313"/>
                  </a:lnTo>
                  <a:lnTo>
                    <a:pt x="206" y="313"/>
                  </a:lnTo>
                  <a:lnTo>
                    <a:pt x="208" y="315"/>
                  </a:lnTo>
                  <a:lnTo>
                    <a:pt x="208" y="315"/>
                  </a:lnTo>
                  <a:lnTo>
                    <a:pt x="211" y="313"/>
                  </a:lnTo>
                  <a:lnTo>
                    <a:pt x="211" y="313"/>
                  </a:lnTo>
                  <a:lnTo>
                    <a:pt x="211" y="313"/>
                  </a:lnTo>
                  <a:lnTo>
                    <a:pt x="211" y="313"/>
                  </a:lnTo>
                  <a:lnTo>
                    <a:pt x="211" y="313"/>
                  </a:lnTo>
                  <a:lnTo>
                    <a:pt x="211" y="310"/>
                  </a:lnTo>
                  <a:lnTo>
                    <a:pt x="211" y="310"/>
                  </a:lnTo>
                  <a:lnTo>
                    <a:pt x="211" y="310"/>
                  </a:lnTo>
                  <a:lnTo>
                    <a:pt x="211" y="310"/>
                  </a:lnTo>
                  <a:lnTo>
                    <a:pt x="213" y="310"/>
                  </a:lnTo>
                  <a:lnTo>
                    <a:pt x="213" y="308"/>
                  </a:lnTo>
                  <a:lnTo>
                    <a:pt x="213" y="306"/>
                  </a:lnTo>
                  <a:lnTo>
                    <a:pt x="215" y="303"/>
                  </a:lnTo>
                  <a:lnTo>
                    <a:pt x="215" y="303"/>
                  </a:lnTo>
                  <a:lnTo>
                    <a:pt x="215" y="303"/>
                  </a:lnTo>
                  <a:lnTo>
                    <a:pt x="218" y="306"/>
                  </a:lnTo>
                  <a:lnTo>
                    <a:pt x="218" y="306"/>
                  </a:lnTo>
                  <a:lnTo>
                    <a:pt x="218" y="308"/>
                  </a:lnTo>
                  <a:lnTo>
                    <a:pt x="215" y="308"/>
                  </a:lnTo>
                  <a:lnTo>
                    <a:pt x="215" y="310"/>
                  </a:lnTo>
                  <a:lnTo>
                    <a:pt x="215" y="310"/>
                  </a:lnTo>
                  <a:lnTo>
                    <a:pt x="215" y="310"/>
                  </a:lnTo>
                  <a:lnTo>
                    <a:pt x="215" y="310"/>
                  </a:lnTo>
                  <a:lnTo>
                    <a:pt x="213" y="313"/>
                  </a:lnTo>
                  <a:lnTo>
                    <a:pt x="213" y="313"/>
                  </a:lnTo>
                  <a:lnTo>
                    <a:pt x="213" y="313"/>
                  </a:lnTo>
                  <a:lnTo>
                    <a:pt x="213" y="313"/>
                  </a:lnTo>
                  <a:lnTo>
                    <a:pt x="211" y="313"/>
                  </a:lnTo>
                  <a:lnTo>
                    <a:pt x="211" y="313"/>
                  </a:lnTo>
                  <a:lnTo>
                    <a:pt x="211" y="313"/>
                  </a:lnTo>
                  <a:lnTo>
                    <a:pt x="211" y="313"/>
                  </a:lnTo>
                  <a:lnTo>
                    <a:pt x="211" y="315"/>
                  </a:lnTo>
                  <a:lnTo>
                    <a:pt x="211" y="315"/>
                  </a:lnTo>
                  <a:lnTo>
                    <a:pt x="213" y="315"/>
                  </a:lnTo>
                  <a:lnTo>
                    <a:pt x="213" y="315"/>
                  </a:lnTo>
                  <a:lnTo>
                    <a:pt x="213" y="315"/>
                  </a:lnTo>
                  <a:lnTo>
                    <a:pt x="213" y="315"/>
                  </a:lnTo>
                  <a:lnTo>
                    <a:pt x="213" y="315"/>
                  </a:lnTo>
                  <a:lnTo>
                    <a:pt x="213" y="315"/>
                  </a:lnTo>
                  <a:lnTo>
                    <a:pt x="213" y="313"/>
                  </a:lnTo>
                  <a:lnTo>
                    <a:pt x="215" y="313"/>
                  </a:lnTo>
                  <a:lnTo>
                    <a:pt x="215" y="313"/>
                  </a:lnTo>
                  <a:lnTo>
                    <a:pt x="215" y="313"/>
                  </a:lnTo>
                  <a:lnTo>
                    <a:pt x="215" y="313"/>
                  </a:lnTo>
                  <a:lnTo>
                    <a:pt x="215" y="313"/>
                  </a:lnTo>
                  <a:lnTo>
                    <a:pt x="215" y="313"/>
                  </a:lnTo>
                  <a:lnTo>
                    <a:pt x="215" y="313"/>
                  </a:lnTo>
                  <a:lnTo>
                    <a:pt x="215" y="315"/>
                  </a:lnTo>
                  <a:lnTo>
                    <a:pt x="215" y="315"/>
                  </a:lnTo>
                  <a:lnTo>
                    <a:pt x="215" y="315"/>
                  </a:lnTo>
                  <a:lnTo>
                    <a:pt x="215" y="315"/>
                  </a:lnTo>
                  <a:lnTo>
                    <a:pt x="215" y="317"/>
                  </a:lnTo>
                  <a:lnTo>
                    <a:pt x="218" y="317"/>
                  </a:lnTo>
                  <a:lnTo>
                    <a:pt x="218" y="317"/>
                  </a:lnTo>
                  <a:lnTo>
                    <a:pt x="218" y="320"/>
                  </a:lnTo>
                  <a:lnTo>
                    <a:pt x="218" y="320"/>
                  </a:lnTo>
                  <a:lnTo>
                    <a:pt x="218" y="320"/>
                  </a:lnTo>
                  <a:lnTo>
                    <a:pt x="218" y="322"/>
                  </a:lnTo>
                  <a:lnTo>
                    <a:pt x="218" y="322"/>
                  </a:lnTo>
                  <a:lnTo>
                    <a:pt x="218" y="322"/>
                  </a:lnTo>
                  <a:lnTo>
                    <a:pt x="218" y="322"/>
                  </a:lnTo>
                  <a:lnTo>
                    <a:pt x="218" y="325"/>
                  </a:lnTo>
                  <a:lnTo>
                    <a:pt x="220" y="325"/>
                  </a:lnTo>
                  <a:lnTo>
                    <a:pt x="220" y="327"/>
                  </a:lnTo>
                  <a:lnTo>
                    <a:pt x="220" y="327"/>
                  </a:lnTo>
                  <a:lnTo>
                    <a:pt x="222" y="327"/>
                  </a:lnTo>
                  <a:lnTo>
                    <a:pt x="222" y="327"/>
                  </a:lnTo>
                  <a:lnTo>
                    <a:pt x="222" y="327"/>
                  </a:lnTo>
                  <a:lnTo>
                    <a:pt x="222" y="327"/>
                  </a:lnTo>
                  <a:lnTo>
                    <a:pt x="222" y="327"/>
                  </a:lnTo>
                  <a:lnTo>
                    <a:pt x="222" y="327"/>
                  </a:lnTo>
                  <a:lnTo>
                    <a:pt x="222" y="327"/>
                  </a:lnTo>
                  <a:lnTo>
                    <a:pt x="225" y="329"/>
                  </a:lnTo>
                  <a:lnTo>
                    <a:pt x="227" y="332"/>
                  </a:lnTo>
                  <a:lnTo>
                    <a:pt x="227" y="332"/>
                  </a:lnTo>
                  <a:lnTo>
                    <a:pt x="229" y="334"/>
                  </a:lnTo>
                  <a:lnTo>
                    <a:pt x="229" y="334"/>
                  </a:lnTo>
                  <a:lnTo>
                    <a:pt x="229" y="336"/>
                  </a:lnTo>
                  <a:lnTo>
                    <a:pt x="232" y="336"/>
                  </a:lnTo>
                  <a:lnTo>
                    <a:pt x="232" y="339"/>
                  </a:lnTo>
                  <a:lnTo>
                    <a:pt x="234" y="339"/>
                  </a:lnTo>
                  <a:lnTo>
                    <a:pt x="237" y="339"/>
                  </a:lnTo>
                  <a:lnTo>
                    <a:pt x="237" y="339"/>
                  </a:lnTo>
                  <a:lnTo>
                    <a:pt x="237" y="339"/>
                  </a:lnTo>
                  <a:lnTo>
                    <a:pt x="237" y="341"/>
                  </a:lnTo>
                  <a:lnTo>
                    <a:pt x="237" y="341"/>
                  </a:lnTo>
                  <a:lnTo>
                    <a:pt x="239" y="341"/>
                  </a:lnTo>
                  <a:lnTo>
                    <a:pt x="239" y="341"/>
                  </a:lnTo>
                  <a:lnTo>
                    <a:pt x="239" y="341"/>
                  </a:lnTo>
                  <a:lnTo>
                    <a:pt x="239" y="341"/>
                  </a:lnTo>
                  <a:lnTo>
                    <a:pt x="239" y="341"/>
                  </a:lnTo>
                  <a:lnTo>
                    <a:pt x="241" y="343"/>
                  </a:lnTo>
                  <a:lnTo>
                    <a:pt x="241" y="343"/>
                  </a:lnTo>
                  <a:lnTo>
                    <a:pt x="241" y="343"/>
                  </a:lnTo>
                  <a:lnTo>
                    <a:pt x="244" y="343"/>
                  </a:lnTo>
                  <a:lnTo>
                    <a:pt x="244" y="343"/>
                  </a:lnTo>
                  <a:lnTo>
                    <a:pt x="244" y="343"/>
                  </a:lnTo>
                  <a:lnTo>
                    <a:pt x="246" y="343"/>
                  </a:lnTo>
                  <a:lnTo>
                    <a:pt x="246" y="346"/>
                  </a:lnTo>
                  <a:lnTo>
                    <a:pt x="248" y="348"/>
                  </a:lnTo>
                  <a:lnTo>
                    <a:pt x="248" y="351"/>
                  </a:lnTo>
                  <a:lnTo>
                    <a:pt x="248" y="353"/>
                  </a:lnTo>
                  <a:lnTo>
                    <a:pt x="248" y="353"/>
                  </a:lnTo>
                  <a:lnTo>
                    <a:pt x="248" y="355"/>
                  </a:lnTo>
                  <a:lnTo>
                    <a:pt x="251" y="355"/>
                  </a:lnTo>
                  <a:lnTo>
                    <a:pt x="251" y="355"/>
                  </a:lnTo>
                  <a:lnTo>
                    <a:pt x="253" y="358"/>
                  </a:lnTo>
                  <a:lnTo>
                    <a:pt x="253" y="358"/>
                  </a:lnTo>
                  <a:lnTo>
                    <a:pt x="253" y="360"/>
                  </a:lnTo>
                  <a:lnTo>
                    <a:pt x="255" y="362"/>
                  </a:lnTo>
                  <a:lnTo>
                    <a:pt x="255" y="365"/>
                  </a:lnTo>
                  <a:lnTo>
                    <a:pt x="255" y="367"/>
                  </a:lnTo>
                  <a:lnTo>
                    <a:pt x="255" y="370"/>
                  </a:lnTo>
                  <a:lnTo>
                    <a:pt x="255" y="372"/>
                  </a:lnTo>
                  <a:lnTo>
                    <a:pt x="255" y="379"/>
                  </a:lnTo>
                  <a:lnTo>
                    <a:pt x="255" y="381"/>
                  </a:lnTo>
                  <a:lnTo>
                    <a:pt x="255" y="384"/>
                  </a:lnTo>
                  <a:lnTo>
                    <a:pt x="255" y="384"/>
                  </a:lnTo>
                  <a:lnTo>
                    <a:pt x="255" y="384"/>
                  </a:lnTo>
                  <a:lnTo>
                    <a:pt x="255" y="381"/>
                  </a:lnTo>
                  <a:lnTo>
                    <a:pt x="255" y="379"/>
                  </a:lnTo>
                  <a:lnTo>
                    <a:pt x="258" y="374"/>
                  </a:lnTo>
                  <a:lnTo>
                    <a:pt x="258" y="372"/>
                  </a:lnTo>
                  <a:lnTo>
                    <a:pt x="258" y="372"/>
                  </a:lnTo>
                  <a:lnTo>
                    <a:pt x="258" y="372"/>
                  </a:lnTo>
                  <a:lnTo>
                    <a:pt x="258" y="374"/>
                  </a:lnTo>
                  <a:lnTo>
                    <a:pt x="258" y="377"/>
                  </a:lnTo>
                  <a:lnTo>
                    <a:pt x="258" y="379"/>
                  </a:lnTo>
                  <a:lnTo>
                    <a:pt x="258" y="379"/>
                  </a:lnTo>
                  <a:lnTo>
                    <a:pt x="258" y="381"/>
                  </a:lnTo>
                  <a:lnTo>
                    <a:pt x="258" y="384"/>
                  </a:lnTo>
                  <a:lnTo>
                    <a:pt x="258" y="384"/>
                  </a:lnTo>
                  <a:lnTo>
                    <a:pt x="255" y="384"/>
                  </a:lnTo>
                  <a:lnTo>
                    <a:pt x="255" y="384"/>
                  </a:lnTo>
                  <a:lnTo>
                    <a:pt x="255" y="386"/>
                  </a:lnTo>
                  <a:lnTo>
                    <a:pt x="255" y="384"/>
                  </a:lnTo>
                  <a:lnTo>
                    <a:pt x="258" y="384"/>
                  </a:lnTo>
                  <a:lnTo>
                    <a:pt x="258" y="386"/>
                  </a:lnTo>
                  <a:lnTo>
                    <a:pt x="258" y="386"/>
                  </a:lnTo>
                  <a:lnTo>
                    <a:pt x="255" y="386"/>
                  </a:lnTo>
                  <a:lnTo>
                    <a:pt x="255" y="386"/>
                  </a:lnTo>
                  <a:lnTo>
                    <a:pt x="255" y="386"/>
                  </a:lnTo>
                  <a:lnTo>
                    <a:pt x="255" y="386"/>
                  </a:lnTo>
                  <a:lnTo>
                    <a:pt x="255" y="388"/>
                  </a:lnTo>
                  <a:lnTo>
                    <a:pt x="255" y="388"/>
                  </a:lnTo>
                  <a:lnTo>
                    <a:pt x="255" y="388"/>
                  </a:lnTo>
                  <a:lnTo>
                    <a:pt x="255" y="391"/>
                  </a:lnTo>
                  <a:lnTo>
                    <a:pt x="255" y="391"/>
                  </a:lnTo>
                  <a:lnTo>
                    <a:pt x="255" y="391"/>
                  </a:lnTo>
                  <a:lnTo>
                    <a:pt x="255" y="393"/>
                  </a:lnTo>
                  <a:lnTo>
                    <a:pt x="255" y="396"/>
                  </a:lnTo>
                  <a:lnTo>
                    <a:pt x="255" y="396"/>
                  </a:lnTo>
                  <a:lnTo>
                    <a:pt x="253" y="398"/>
                  </a:lnTo>
                  <a:lnTo>
                    <a:pt x="253" y="398"/>
                  </a:lnTo>
                  <a:lnTo>
                    <a:pt x="253" y="400"/>
                  </a:lnTo>
                  <a:lnTo>
                    <a:pt x="251" y="400"/>
                  </a:lnTo>
                  <a:lnTo>
                    <a:pt x="251" y="403"/>
                  </a:lnTo>
                  <a:lnTo>
                    <a:pt x="251" y="403"/>
                  </a:lnTo>
                  <a:lnTo>
                    <a:pt x="251" y="403"/>
                  </a:lnTo>
                  <a:lnTo>
                    <a:pt x="251" y="405"/>
                  </a:lnTo>
                  <a:lnTo>
                    <a:pt x="251" y="405"/>
                  </a:lnTo>
                  <a:lnTo>
                    <a:pt x="251" y="405"/>
                  </a:lnTo>
                  <a:lnTo>
                    <a:pt x="251" y="405"/>
                  </a:lnTo>
                  <a:lnTo>
                    <a:pt x="251" y="405"/>
                  </a:lnTo>
                  <a:lnTo>
                    <a:pt x="251" y="405"/>
                  </a:lnTo>
                  <a:lnTo>
                    <a:pt x="251" y="407"/>
                  </a:lnTo>
                  <a:lnTo>
                    <a:pt x="251" y="407"/>
                  </a:lnTo>
                  <a:lnTo>
                    <a:pt x="251" y="410"/>
                  </a:lnTo>
                  <a:lnTo>
                    <a:pt x="251" y="410"/>
                  </a:lnTo>
                  <a:lnTo>
                    <a:pt x="251" y="410"/>
                  </a:lnTo>
                  <a:lnTo>
                    <a:pt x="251" y="410"/>
                  </a:lnTo>
                  <a:lnTo>
                    <a:pt x="248" y="410"/>
                  </a:lnTo>
                  <a:lnTo>
                    <a:pt x="248" y="410"/>
                  </a:lnTo>
                  <a:lnTo>
                    <a:pt x="248" y="412"/>
                  </a:lnTo>
                  <a:lnTo>
                    <a:pt x="248" y="412"/>
                  </a:lnTo>
                  <a:lnTo>
                    <a:pt x="248" y="412"/>
                  </a:lnTo>
                  <a:lnTo>
                    <a:pt x="248" y="412"/>
                  </a:lnTo>
                  <a:lnTo>
                    <a:pt x="248" y="414"/>
                  </a:lnTo>
                  <a:lnTo>
                    <a:pt x="248" y="414"/>
                  </a:lnTo>
                  <a:lnTo>
                    <a:pt x="251" y="414"/>
                  </a:lnTo>
                  <a:lnTo>
                    <a:pt x="251" y="414"/>
                  </a:lnTo>
                  <a:lnTo>
                    <a:pt x="251" y="412"/>
                  </a:lnTo>
                  <a:lnTo>
                    <a:pt x="251" y="412"/>
                  </a:lnTo>
                  <a:lnTo>
                    <a:pt x="251" y="412"/>
                  </a:lnTo>
                  <a:lnTo>
                    <a:pt x="251" y="410"/>
                  </a:lnTo>
                  <a:lnTo>
                    <a:pt x="251" y="410"/>
                  </a:lnTo>
                  <a:lnTo>
                    <a:pt x="251" y="410"/>
                  </a:lnTo>
                  <a:lnTo>
                    <a:pt x="251" y="407"/>
                  </a:lnTo>
                  <a:lnTo>
                    <a:pt x="253" y="407"/>
                  </a:lnTo>
                  <a:lnTo>
                    <a:pt x="253" y="410"/>
                  </a:lnTo>
                  <a:lnTo>
                    <a:pt x="253" y="410"/>
                  </a:lnTo>
                  <a:lnTo>
                    <a:pt x="253" y="410"/>
                  </a:lnTo>
                  <a:lnTo>
                    <a:pt x="253" y="410"/>
                  </a:lnTo>
                  <a:lnTo>
                    <a:pt x="253" y="410"/>
                  </a:lnTo>
                  <a:lnTo>
                    <a:pt x="253" y="412"/>
                  </a:lnTo>
                  <a:lnTo>
                    <a:pt x="253" y="412"/>
                  </a:lnTo>
                  <a:lnTo>
                    <a:pt x="251" y="412"/>
                  </a:lnTo>
                  <a:lnTo>
                    <a:pt x="251" y="412"/>
                  </a:lnTo>
                  <a:lnTo>
                    <a:pt x="253" y="412"/>
                  </a:lnTo>
                  <a:lnTo>
                    <a:pt x="253" y="412"/>
                  </a:lnTo>
                  <a:lnTo>
                    <a:pt x="253" y="414"/>
                  </a:lnTo>
                  <a:lnTo>
                    <a:pt x="253" y="414"/>
                  </a:lnTo>
                  <a:lnTo>
                    <a:pt x="251" y="414"/>
                  </a:lnTo>
                  <a:lnTo>
                    <a:pt x="251" y="414"/>
                  </a:lnTo>
                  <a:lnTo>
                    <a:pt x="251" y="417"/>
                  </a:lnTo>
                  <a:lnTo>
                    <a:pt x="251" y="417"/>
                  </a:lnTo>
                  <a:lnTo>
                    <a:pt x="251" y="417"/>
                  </a:lnTo>
                  <a:lnTo>
                    <a:pt x="251" y="417"/>
                  </a:lnTo>
                  <a:lnTo>
                    <a:pt x="251" y="417"/>
                  </a:lnTo>
                  <a:lnTo>
                    <a:pt x="251" y="419"/>
                  </a:lnTo>
                  <a:lnTo>
                    <a:pt x="251" y="419"/>
                  </a:lnTo>
                  <a:lnTo>
                    <a:pt x="251" y="419"/>
                  </a:lnTo>
                  <a:lnTo>
                    <a:pt x="253" y="422"/>
                  </a:lnTo>
                  <a:lnTo>
                    <a:pt x="253" y="422"/>
                  </a:lnTo>
                  <a:lnTo>
                    <a:pt x="253" y="422"/>
                  </a:lnTo>
                  <a:lnTo>
                    <a:pt x="253" y="422"/>
                  </a:lnTo>
                  <a:lnTo>
                    <a:pt x="253" y="419"/>
                  </a:lnTo>
                  <a:lnTo>
                    <a:pt x="253" y="419"/>
                  </a:lnTo>
                  <a:lnTo>
                    <a:pt x="253" y="417"/>
                  </a:lnTo>
                  <a:lnTo>
                    <a:pt x="255" y="417"/>
                  </a:lnTo>
                  <a:lnTo>
                    <a:pt x="255" y="417"/>
                  </a:lnTo>
                  <a:lnTo>
                    <a:pt x="255" y="419"/>
                  </a:lnTo>
                  <a:lnTo>
                    <a:pt x="255" y="419"/>
                  </a:lnTo>
                  <a:lnTo>
                    <a:pt x="253" y="419"/>
                  </a:lnTo>
                  <a:lnTo>
                    <a:pt x="255" y="422"/>
                  </a:lnTo>
                  <a:lnTo>
                    <a:pt x="255" y="422"/>
                  </a:lnTo>
                  <a:lnTo>
                    <a:pt x="255" y="422"/>
                  </a:lnTo>
                  <a:lnTo>
                    <a:pt x="255" y="422"/>
                  </a:lnTo>
                  <a:lnTo>
                    <a:pt x="255" y="422"/>
                  </a:lnTo>
                  <a:lnTo>
                    <a:pt x="258" y="422"/>
                  </a:lnTo>
                  <a:lnTo>
                    <a:pt x="258" y="422"/>
                  </a:lnTo>
                  <a:lnTo>
                    <a:pt x="258" y="422"/>
                  </a:lnTo>
                  <a:lnTo>
                    <a:pt x="255" y="422"/>
                  </a:lnTo>
                  <a:lnTo>
                    <a:pt x="255" y="422"/>
                  </a:lnTo>
                  <a:lnTo>
                    <a:pt x="258" y="422"/>
                  </a:lnTo>
                  <a:lnTo>
                    <a:pt x="258" y="422"/>
                  </a:lnTo>
                  <a:lnTo>
                    <a:pt x="255" y="419"/>
                  </a:lnTo>
                  <a:lnTo>
                    <a:pt x="255" y="419"/>
                  </a:lnTo>
                  <a:lnTo>
                    <a:pt x="255" y="417"/>
                  </a:lnTo>
                  <a:lnTo>
                    <a:pt x="255" y="414"/>
                  </a:lnTo>
                  <a:lnTo>
                    <a:pt x="255" y="417"/>
                  </a:lnTo>
                  <a:lnTo>
                    <a:pt x="258" y="417"/>
                  </a:lnTo>
                  <a:lnTo>
                    <a:pt x="258" y="419"/>
                  </a:lnTo>
                  <a:lnTo>
                    <a:pt x="258" y="419"/>
                  </a:lnTo>
                  <a:lnTo>
                    <a:pt x="258" y="419"/>
                  </a:lnTo>
                  <a:lnTo>
                    <a:pt x="258" y="422"/>
                  </a:lnTo>
                  <a:lnTo>
                    <a:pt x="258" y="422"/>
                  </a:lnTo>
                  <a:lnTo>
                    <a:pt x="260" y="422"/>
                  </a:lnTo>
                  <a:lnTo>
                    <a:pt x="260" y="424"/>
                  </a:lnTo>
                  <a:lnTo>
                    <a:pt x="260" y="424"/>
                  </a:lnTo>
                  <a:lnTo>
                    <a:pt x="258" y="422"/>
                  </a:lnTo>
                  <a:lnTo>
                    <a:pt x="258" y="422"/>
                  </a:lnTo>
                  <a:lnTo>
                    <a:pt x="258" y="424"/>
                  </a:lnTo>
                  <a:lnTo>
                    <a:pt x="260" y="424"/>
                  </a:lnTo>
                  <a:lnTo>
                    <a:pt x="260" y="426"/>
                  </a:lnTo>
                  <a:lnTo>
                    <a:pt x="260" y="426"/>
                  </a:lnTo>
                  <a:lnTo>
                    <a:pt x="263" y="426"/>
                  </a:lnTo>
                  <a:lnTo>
                    <a:pt x="263" y="429"/>
                  </a:lnTo>
                  <a:lnTo>
                    <a:pt x="263" y="431"/>
                  </a:lnTo>
                  <a:lnTo>
                    <a:pt x="263" y="433"/>
                  </a:lnTo>
                  <a:lnTo>
                    <a:pt x="263" y="433"/>
                  </a:lnTo>
                  <a:lnTo>
                    <a:pt x="263" y="433"/>
                  </a:lnTo>
                  <a:lnTo>
                    <a:pt x="263" y="436"/>
                  </a:lnTo>
                  <a:lnTo>
                    <a:pt x="263" y="436"/>
                  </a:lnTo>
                  <a:lnTo>
                    <a:pt x="265" y="433"/>
                  </a:lnTo>
                  <a:lnTo>
                    <a:pt x="265" y="436"/>
                  </a:lnTo>
                  <a:lnTo>
                    <a:pt x="265" y="436"/>
                  </a:lnTo>
                  <a:lnTo>
                    <a:pt x="265" y="433"/>
                  </a:lnTo>
                  <a:lnTo>
                    <a:pt x="263" y="433"/>
                  </a:lnTo>
                  <a:lnTo>
                    <a:pt x="265" y="433"/>
                  </a:lnTo>
                  <a:lnTo>
                    <a:pt x="265" y="433"/>
                  </a:lnTo>
                  <a:lnTo>
                    <a:pt x="265" y="433"/>
                  </a:lnTo>
                  <a:lnTo>
                    <a:pt x="267" y="433"/>
                  </a:lnTo>
                  <a:lnTo>
                    <a:pt x="267" y="433"/>
                  </a:lnTo>
                  <a:lnTo>
                    <a:pt x="267" y="433"/>
                  </a:lnTo>
                  <a:lnTo>
                    <a:pt x="270" y="433"/>
                  </a:lnTo>
                  <a:lnTo>
                    <a:pt x="270" y="433"/>
                  </a:lnTo>
                  <a:lnTo>
                    <a:pt x="270" y="431"/>
                  </a:lnTo>
                  <a:lnTo>
                    <a:pt x="270" y="431"/>
                  </a:lnTo>
                  <a:lnTo>
                    <a:pt x="270" y="431"/>
                  </a:lnTo>
                  <a:lnTo>
                    <a:pt x="272" y="433"/>
                  </a:lnTo>
                  <a:lnTo>
                    <a:pt x="272" y="433"/>
                  </a:lnTo>
                  <a:lnTo>
                    <a:pt x="272" y="433"/>
                  </a:lnTo>
                  <a:lnTo>
                    <a:pt x="270" y="433"/>
                  </a:lnTo>
                  <a:lnTo>
                    <a:pt x="270" y="433"/>
                  </a:lnTo>
                  <a:lnTo>
                    <a:pt x="272" y="436"/>
                  </a:lnTo>
                  <a:lnTo>
                    <a:pt x="272" y="438"/>
                  </a:lnTo>
                  <a:lnTo>
                    <a:pt x="272" y="440"/>
                  </a:lnTo>
                  <a:lnTo>
                    <a:pt x="274" y="440"/>
                  </a:lnTo>
                  <a:lnTo>
                    <a:pt x="274" y="440"/>
                  </a:lnTo>
                  <a:lnTo>
                    <a:pt x="277" y="440"/>
                  </a:lnTo>
                  <a:lnTo>
                    <a:pt x="277" y="443"/>
                  </a:lnTo>
                  <a:lnTo>
                    <a:pt x="277" y="445"/>
                  </a:lnTo>
                  <a:lnTo>
                    <a:pt x="279" y="445"/>
                  </a:lnTo>
                  <a:lnTo>
                    <a:pt x="279" y="445"/>
                  </a:lnTo>
                  <a:lnTo>
                    <a:pt x="282" y="445"/>
                  </a:lnTo>
                  <a:lnTo>
                    <a:pt x="282" y="448"/>
                  </a:lnTo>
                  <a:lnTo>
                    <a:pt x="284" y="448"/>
                  </a:lnTo>
                  <a:lnTo>
                    <a:pt x="279" y="445"/>
                  </a:lnTo>
                  <a:lnTo>
                    <a:pt x="279" y="445"/>
                  </a:lnTo>
                  <a:lnTo>
                    <a:pt x="279" y="445"/>
                  </a:lnTo>
                  <a:lnTo>
                    <a:pt x="286" y="450"/>
                  </a:lnTo>
                  <a:lnTo>
                    <a:pt x="289" y="452"/>
                  </a:lnTo>
                  <a:lnTo>
                    <a:pt x="291" y="455"/>
                  </a:lnTo>
                  <a:lnTo>
                    <a:pt x="293" y="455"/>
                  </a:lnTo>
                  <a:lnTo>
                    <a:pt x="293" y="457"/>
                  </a:lnTo>
                  <a:lnTo>
                    <a:pt x="296" y="457"/>
                  </a:lnTo>
                  <a:lnTo>
                    <a:pt x="296" y="459"/>
                  </a:lnTo>
                  <a:lnTo>
                    <a:pt x="298" y="459"/>
                  </a:lnTo>
                  <a:lnTo>
                    <a:pt x="298" y="462"/>
                  </a:lnTo>
                  <a:lnTo>
                    <a:pt x="298" y="462"/>
                  </a:lnTo>
                  <a:lnTo>
                    <a:pt x="300" y="464"/>
                  </a:lnTo>
                  <a:lnTo>
                    <a:pt x="300" y="464"/>
                  </a:lnTo>
                  <a:lnTo>
                    <a:pt x="303" y="466"/>
                  </a:lnTo>
                  <a:lnTo>
                    <a:pt x="303" y="466"/>
                  </a:lnTo>
                  <a:lnTo>
                    <a:pt x="303" y="466"/>
                  </a:lnTo>
                  <a:lnTo>
                    <a:pt x="303" y="466"/>
                  </a:lnTo>
                  <a:lnTo>
                    <a:pt x="305" y="469"/>
                  </a:lnTo>
                  <a:lnTo>
                    <a:pt x="305" y="469"/>
                  </a:lnTo>
                  <a:lnTo>
                    <a:pt x="308" y="474"/>
                  </a:lnTo>
                  <a:lnTo>
                    <a:pt x="312" y="481"/>
                  </a:lnTo>
                  <a:lnTo>
                    <a:pt x="317" y="483"/>
                  </a:lnTo>
                  <a:lnTo>
                    <a:pt x="319" y="483"/>
                  </a:lnTo>
                  <a:lnTo>
                    <a:pt x="324" y="488"/>
                  </a:lnTo>
                  <a:lnTo>
                    <a:pt x="326" y="488"/>
                  </a:lnTo>
                  <a:lnTo>
                    <a:pt x="329" y="490"/>
                  </a:lnTo>
                  <a:lnTo>
                    <a:pt x="329" y="493"/>
                  </a:lnTo>
                  <a:lnTo>
                    <a:pt x="329" y="495"/>
                  </a:lnTo>
                  <a:lnTo>
                    <a:pt x="331" y="497"/>
                  </a:lnTo>
                  <a:lnTo>
                    <a:pt x="331" y="497"/>
                  </a:lnTo>
                  <a:lnTo>
                    <a:pt x="331" y="500"/>
                  </a:lnTo>
                  <a:lnTo>
                    <a:pt x="331" y="500"/>
                  </a:lnTo>
                  <a:lnTo>
                    <a:pt x="334" y="502"/>
                  </a:lnTo>
                  <a:lnTo>
                    <a:pt x="334" y="502"/>
                  </a:lnTo>
                  <a:lnTo>
                    <a:pt x="334" y="502"/>
                  </a:lnTo>
                  <a:lnTo>
                    <a:pt x="334" y="504"/>
                  </a:lnTo>
                  <a:lnTo>
                    <a:pt x="334" y="507"/>
                  </a:lnTo>
                  <a:lnTo>
                    <a:pt x="336" y="516"/>
                  </a:lnTo>
                  <a:lnTo>
                    <a:pt x="336" y="516"/>
                  </a:lnTo>
                  <a:lnTo>
                    <a:pt x="336" y="519"/>
                  </a:lnTo>
                  <a:lnTo>
                    <a:pt x="336" y="519"/>
                  </a:lnTo>
                  <a:lnTo>
                    <a:pt x="336" y="521"/>
                  </a:lnTo>
                  <a:lnTo>
                    <a:pt x="336" y="521"/>
                  </a:lnTo>
                  <a:lnTo>
                    <a:pt x="336" y="521"/>
                  </a:lnTo>
                  <a:lnTo>
                    <a:pt x="338" y="523"/>
                  </a:lnTo>
                  <a:lnTo>
                    <a:pt x="338" y="523"/>
                  </a:lnTo>
                  <a:lnTo>
                    <a:pt x="338" y="526"/>
                  </a:lnTo>
                  <a:lnTo>
                    <a:pt x="341" y="526"/>
                  </a:lnTo>
                  <a:lnTo>
                    <a:pt x="341" y="526"/>
                  </a:lnTo>
                  <a:lnTo>
                    <a:pt x="341" y="526"/>
                  </a:lnTo>
                  <a:lnTo>
                    <a:pt x="343" y="526"/>
                  </a:lnTo>
                  <a:lnTo>
                    <a:pt x="345" y="526"/>
                  </a:lnTo>
                  <a:lnTo>
                    <a:pt x="343" y="526"/>
                  </a:lnTo>
                  <a:lnTo>
                    <a:pt x="343" y="526"/>
                  </a:lnTo>
                  <a:lnTo>
                    <a:pt x="345" y="526"/>
                  </a:lnTo>
                  <a:lnTo>
                    <a:pt x="345" y="526"/>
                  </a:lnTo>
                  <a:lnTo>
                    <a:pt x="345" y="526"/>
                  </a:lnTo>
                  <a:lnTo>
                    <a:pt x="348" y="526"/>
                  </a:lnTo>
                  <a:lnTo>
                    <a:pt x="348" y="526"/>
                  </a:lnTo>
                  <a:lnTo>
                    <a:pt x="348" y="523"/>
                  </a:lnTo>
                  <a:lnTo>
                    <a:pt x="348" y="523"/>
                  </a:lnTo>
                  <a:lnTo>
                    <a:pt x="350" y="521"/>
                  </a:lnTo>
                  <a:lnTo>
                    <a:pt x="353" y="521"/>
                  </a:lnTo>
                  <a:lnTo>
                    <a:pt x="353" y="521"/>
                  </a:lnTo>
                  <a:lnTo>
                    <a:pt x="353" y="521"/>
                  </a:lnTo>
                  <a:lnTo>
                    <a:pt x="353" y="519"/>
                  </a:lnTo>
                  <a:lnTo>
                    <a:pt x="355" y="519"/>
                  </a:lnTo>
                  <a:lnTo>
                    <a:pt x="355" y="519"/>
                  </a:lnTo>
                  <a:lnTo>
                    <a:pt x="357" y="519"/>
                  </a:lnTo>
                  <a:lnTo>
                    <a:pt x="360" y="516"/>
                  </a:lnTo>
                  <a:lnTo>
                    <a:pt x="360" y="516"/>
                  </a:lnTo>
                  <a:lnTo>
                    <a:pt x="360" y="516"/>
                  </a:lnTo>
                  <a:lnTo>
                    <a:pt x="362" y="516"/>
                  </a:lnTo>
                  <a:lnTo>
                    <a:pt x="362" y="516"/>
                  </a:lnTo>
                  <a:lnTo>
                    <a:pt x="364" y="516"/>
                  </a:lnTo>
                  <a:lnTo>
                    <a:pt x="364" y="514"/>
                  </a:lnTo>
                  <a:lnTo>
                    <a:pt x="364" y="514"/>
                  </a:lnTo>
                  <a:lnTo>
                    <a:pt x="364" y="514"/>
                  </a:lnTo>
                  <a:lnTo>
                    <a:pt x="367" y="511"/>
                  </a:lnTo>
                  <a:lnTo>
                    <a:pt x="367" y="511"/>
                  </a:lnTo>
                  <a:lnTo>
                    <a:pt x="367" y="511"/>
                  </a:lnTo>
                  <a:lnTo>
                    <a:pt x="367" y="511"/>
                  </a:lnTo>
                  <a:lnTo>
                    <a:pt x="367" y="509"/>
                  </a:lnTo>
                  <a:lnTo>
                    <a:pt x="367" y="509"/>
                  </a:lnTo>
                  <a:lnTo>
                    <a:pt x="367" y="509"/>
                  </a:lnTo>
                  <a:lnTo>
                    <a:pt x="367" y="507"/>
                  </a:lnTo>
                  <a:lnTo>
                    <a:pt x="367" y="507"/>
                  </a:lnTo>
                  <a:lnTo>
                    <a:pt x="369" y="507"/>
                  </a:lnTo>
                  <a:lnTo>
                    <a:pt x="369" y="507"/>
                  </a:lnTo>
                  <a:lnTo>
                    <a:pt x="369" y="504"/>
                  </a:lnTo>
                  <a:lnTo>
                    <a:pt x="369" y="504"/>
                  </a:lnTo>
                  <a:lnTo>
                    <a:pt x="369" y="504"/>
                  </a:lnTo>
                  <a:lnTo>
                    <a:pt x="369" y="502"/>
                  </a:lnTo>
                  <a:lnTo>
                    <a:pt x="369" y="502"/>
                  </a:lnTo>
                  <a:lnTo>
                    <a:pt x="369" y="502"/>
                  </a:lnTo>
                  <a:lnTo>
                    <a:pt x="369" y="502"/>
                  </a:lnTo>
                  <a:lnTo>
                    <a:pt x="369" y="502"/>
                  </a:lnTo>
                  <a:lnTo>
                    <a:pt x="369" y="500"/>
                  </a:lnTo>
                  <a:lnTo>
                    <a:pt x="369" y="500"/>
                  </a:lnTo>
                  <a:lnTo>
                    <a:pt x="369" y="500"/>
                  </a:lnTo>
                  <a:lnTo>
                    <a:pt x="369" y="497"/>
                  </a:lnTo>
                  <a:lnTo>
                    <a:pt x="367" y="497"/>
                  </a:lnTo>
                  <a:lnTo>
                    <a:pt x="367" y="495"/>
                  </a:lnTo>
                  <a:lnTo>
                    <a:pt x="367" y="495"/>
                  </a:lnTo>
                  <a:lnTo>
                    <a:pt x="367" y="495"/>
                  </a:lnTo>
                  <a:lnTo>
                    <a:pt x="367" y="493"/>
                  </a:lnTo>
                  <a:lnTo>
                    <a:pt x="367" y="493"/>
                  </a:lnTo>
                  <a:lnTo>
                    <a:pt x="367" y="493"/>
                  </a:lnTo>
                  <a:lnTo>
                    <a:pt x="364" y="493"/>
                  </a:lnTo>
                  <a:lnTo>
                    <a:pt x="364" y="493"/>
                  </a:lnTo>
                  <a:lnTo>
                    <a:pt x="364" y="493"/>
                  </a:lnTo>
                  <a:lnTo>
                    <a:pt x="364" y="493"/>
                  </a:lnTo>
                  <a:lnTo>
                    <a:pt x="362" y="490"/>
                  </a:lnTo>
                  <a:lnTo>
                    <a:pt x="362" y="490"/>
                  </a:lnTo>
                  <a:lnTo>
                    <a:pt x="362" y="490"/>
                  </a:lnTo>
                  <a:lnTo>
                    <a:pt x="362" y="490"/>
                  </a:lnTo>
                  <a:lnTo>
                    <a:pt x="360" y="490"/>
                  </a:lnTo>
                  <a:lnTo>
                    <a:pt x="360" y="490"/>
                  </a:lnTo>
                  <a:lnTo>
                    <a:pt x="360" y="490"/>
                  </a:lnTo>
                  <a:lnTo>
                    <a:pt x="360" y="488"/>
                  </a:lnTo>
                  <a:lnTo>
                    <a:pt x="357" y="488"/>
                  </a:lnTo>
                  <a:lnTo>
                    <a:pt x="357" y="488"/>
                  </a:lnTo>
                  <a:lnTo>
                    <a:pt x="357" y="485"/>
                  </a:lnTo>
                  <a:lnTo>
                    <a:pt x="357" y="483"/>
                  </a:lnTo>
                  <a:lnTo>
                    <a:pt x="357" y="483"/>
                  </a:lnTo>
                  <a:lnTo>
                    <a:pt x="357" y="481"/>
                  </a:lnTo>
                  <a:lnTo>
                    <a:pt x="357" y="481"/>
                  </a:lnTo>
                  <a:lnTo>
                    <a:pt x="357" y="481"/>
                  </a:lnTo>
                  <a:lnTo>
                    <a:pt x="357" y="478"/>
                  </a:lnTo>
                  <a:lnTo>
                    <a:pt x="355" y="478"/>
                  </a:lnTo>
                  <a:lnTo>
                    <a:pt x="355" y="476"/>
                  </a:lnTo>
                  <a:lnTo>
                    <a:pt x="355" y="476"/>
                  </a:lnTo>
                  <a:lnTo>
                    <a:pt x="353" y="476"/>
                  </a:lnTo>
                  <a:lnTo>
                    <a:pt x="353" y="476"/>
                  </a:lnTo>
                  <a:lnTo>
                    <a:pt x="353" y="476"/>
                  </a:lnTo>
                  <a:lnTo>
                    <a:pt x="353" y="474"/>
                  </a:lnTo>
                  <a:lnTo>
                    <a:pt x="353" y="474"/>
                  </a:lnTo>
                  <a:lnTo>
                    <a:pt x="353" y="474"/>
                  </a:lnTo>
                  <a:lnTo>
                    <a:pt x="353" y="474"/>
                  </a:lnTo>
                  <a:lnTo>
                    <a:pt x="353" y="474"/>
                  </a:lnTo>
                  <a:lnTo>
                    <a:pt x="353" y="471"/>
                  </a:lnTo>
                  <a:lnTo>
                    <a:pt x="353" y="471"/>
                  </a:lnTo>
                  <a:lnTo>
                    <a:pt x="353" y="471"/>
                  </a:lnTo>
                  <a:lnTo>
                    <a:pt x="353" y="471"/>
                  </a:lnTo>
                  <a:lnTo>
                    <a:pt x="353" y="471"/>
                  </a:lnTo>
                  <a:lnTo>
                    <a:pt x="353" y="471"/>
                  </a:lnTo>
                  <a:lnTo>
                    <a:pt x="353" y="469"/>
                  </a:lnTo>
                  <a:lnTo>
                    <a:pt x="353" y="469"/>
                  </a:lnTo>
                  <a:lnTo>
                    <a:pt x="353" y="469"/>
                  </a:lnTo>
                  <a:lnTo>
                    <a:pt x="355" y="469"/>
                  </a:lnTo>
                  <a:lnTo>
                    <a:pt x="353" y="469"/>
                  </a:lnTo>
                  <a:lnTo>
                    <a:pt x="353" y="469"/>
                  </a:lnTo>
                  <a:lnTo>
                    <a:pt x="353" y="466"/>
                  </a:lnTo>
                  <a:lnTo>
                    <a:pt x="353" y="466"/>
                  </a:lnTo>
                  <a:lnTo>
                    <a:pt x="353" y="466"/>
                  </a:lnTo>
                  <a:lnTo>
                    <a:pt x="353" y="466"/>
                  </a:lnTo>
                  <a:lnTo>
                    <a:pt x="353" y="466"/>
                  </a:lnTo>
                  <a:lnTo>
                    <a:pt x="350" y="466"/>
                  </a:lnTo>
                  <a:lnTo>
                    <a:pt x="348" y="469"/>
                  </a:lnTo>
                  <a:lnTo>
                    <a:pt x="348" y="466"/>
                  </a:lnTo>
                  <a:lnTo>
                    <a:pt x="345" y="466"/>
                  </a:lnTo>
                  <a:lnTo>
                    <a:pt x="345" y="466"/>
                  </a:lnTo>
                  <a:lnTo>
                    <a:pt x="345" y="466"/>
                  </a:lnTo>
                  <a:lnTo>
                    <a:pt x="345" y="464"/>
                  </a:lnTo>
                  <a:lnTo>
                    <a:pt x="345" y="464"/>
                  </a:lnTo>
                  <a:lnTo>
                    <a:pt x="345" y="462"/>
                  </a:lnTo>
                  <a:lnTo>
                    <a:pt x="345" y="462"/>
                  </a:lnTo>
                  <a:lnTo>
                    <a:pt x="345" y="462"/>
                  </a:lnTo>
                  <a:lnTo>
                    <a:pt x="345" y="459"/>
                  </a:lnTo>
                  <a:lnTo>
                    <a:pt x="343" y="459"/>
                  </a:lnTo>
                  <a:lnTo>
                    <a:pt x="343" y="459"/>
                  </a:lnTo>
                  <a:lnTo>
                    <a:pt x="343" y="459"/>
                  </a:lnTo>
                  <a:lnTo>
                    <a:pt x="343" y="459"/>
                  </a:lnTo>
                  <a:lnTo>
                    <a:pt x="343" y="459"/>
                  </a:lnTo>
                  <a:lnTo>
                    <a:pt x="343" y="457"/>
                  </a:lnTo>
                  <a:lnTo>
                    <a:pt x="341" y="457"/>
                  </a:lnTo>
                  <a:lnTo>
                    <a:pt x="341" y="457"/>
                  </a:lnTo>
                  <a:lnTo>
                    <a:pt x="341" y="457"/>
                  </a:lnTo>
                  <a:lnTo>
                    <a:pt x="341" y="457"/>
                  </a:lnTo>
                  <a:lnTo>
                    <a:pt x="341" y="457"/>
                  </a:lnTo>
                  <a:lnTo>
                    <a:pt x="338" y="457"/>
                  </a:lnTo>
                  <a:lnTo>
                    <a:pt x="338" y="457"/>
                  </a:lnTo>
                  <a:lnTo>
                    <a:pt x="338" y="455"/>
                  </a:lnTo>
                  <a:lnTo>
                    <a:pt x="338" y="455"/>
                  </a:lnTo>
                  <a:lnTo>
                    <a:pt x="338" y="455"/>
                  </a:lnTo>
                  <a:lnTo>
                    <a:pt x="338" y="455"/>
                  </a:lnTo>
                  <a:lnTo>
                    <a:pt x="336" y="452"/>
                  </a:lnTo>
                  <a:lnTo>
                    <a:pt x="336" y="452"/>
                  </a:lnTo>
                  <a:lnTo>
                    <a:pt x="336" y="452"/>
                  </a:lnTo>
                  <a:lnTo>
                    <a:pt x="336" y="452"/>
                  </a:lnTo>
                  <a:lnTo>
                    <a:pt x="336" y="452"/>
                  </a:lnTo>
                  <a:lnTo>
                    <a:pt x="336" y="452"/>
                  </a:lnTo>
                  <a:lnTo>
                    <a:pt x="336" y="452"/>
                  </a:lnTo>
                  <a:lnTo>
                    <a:pt x="336" y="450"/>
                  </a:lnTo>
                  <a:lnTo>
                    <a:pt x="336" y="450"/>
                  </a:lnTo>
                  <a:lnTo>
                    <a:pt x="334" y="450"/>
                  </a:lnTo>
                  <a:lnTo>
                    <a:pt x="334" y="450"/>
                  </a:lnTo>
                  <a:lnTo>
                    <a:pt x="334" y="450"/>
                  </a:lnTo>
                  <a:lnTo>
                    <a:pt x="331" y="450"/>
                  </a:lnTo>
                  <a:lnTo>
                    <a:pt x="331" y="450"/>
                  </a:lnTo>
                  <a:lnTo>
                    <a:pt x="331" y="450"/>
                  </a:lnTo>
                  <a:lnTo>
                    <a:pt x="331" y="450"/>
                  </a:lnTo>
                  <a:lnTo>
                    <a:pt x="331" y="450"/>
                  </a:lnTo>
                  <a:lnTo>
                    <a:pt x="331" y="452"/>
                  </a:lnTo>
                  <a:lnTo>
                    <a:pt x="331" y="452"/>
                  </a:lnTo>
                  <a:lnTo>
                    <a:pt x="331" y="452"/>
                  </a:lnTo>
                  <a:lnTo>
                    <a:pt x="331" y="452"/>
                  </a:lnTo>
                  <a:lnTo>
                    <a:pt x="331" y="452"/>
                  </a:lnTo>
                  <a:lnTo>
                    <a:pt x="331" y="452"/>
                  </a:lnTo>
                  <a:lnTo>
                    <a:pt x="331" y="452"/>
                  </a:lnTo>
                  <a:lnTo>
                    <a:pt x="331" y="452"/>
                  </a:lnTo>
                  <a:lnTo>
                    <a:pt x="331" y="452"/>
                  </a:lnTo>
                  <a:lnTo>
                    <a:pt x="329" y="455"/>
                  </a:lnTo>
                  <a:lnTo>
                    <a:pt x="331" y="455"/>
                  </a:lnTo>
                  <a:lnTo>
                    <a:pt x="331" y="455"/>
                  </a:lnTo>
                  <a:lnTo>
                    <a:pt x="331" y="455"/>
                  </a:lnTo>
                  <a:lnTo>
                    <a:pt x="331" y="455"/>
                  </a:lnTo>
                  <a:lnTo>
                    <a:pt x="331" y="455"/>
                  </a:lnTo>
                  <a:lnTo>
                    <a:pt x="331" y="455"/>
                  </a:lnTo>
                  <a:lnTo>
                    <a:pt x="331" y="455"/>
                  </a:lnTo>
                  <a:lnTo>
                    <a:pt x="331" y="455"/>
                  </a:lnTo>
                  <a:lnTo>
                    <a:pt x="331" y="455"/>
                  </a:lnTo>
                  <a:lnTo>
                    <a:pt x="331" y="457"/>
                  </a:lnTo>
                  <a:lnTo>
                    <a:pt x="331" y="457"/>
                  </a:lnTo>
                  <a:lnTo>
                    <a:pt x="331" y="457"/>
                  </a:lnTo>
                  <a:lnTo>
                    <a:pt x="331" y="459"/>
                  </a:lnTo>
                  <a:lnTo>
                    <a:pt x="331" y="459"/>
                  </a:lnTo>
                  <a:lnTo>
                    <a:pt x="329" y="459"/>
                  </a:lnTo>
                  <a:lnTo>
                    <a:pt x="329" y="459"/>
                  </a:lnTo>
                  <a:lnTo>
                    <a:pt x="329" y="462"/>
                  </a:lnTo>
                  <a:lnTo>
                    <a:pt x="329" y="462"/>
                  </a:lnTo>
                  <a:lnTo>
                    <a:pt x="329" y="462"/>
                  </a:lnTo>
                  <a:lnTo>
                    <a:pt x="329" y="462"/>
                  </a:lnTo>
                  <a:lnTo>
                    <a:pt x="329" y="462"/>
                  </a:lnTo>
                  <a:lnTo>
                    <a:pt x="326" y="462"/>
                  </a:lnTo>
                  <a:lnTo>
                    <a:pt x="326" y="462"/>
                  </a:lnTo>
                  <a:lnTo>
                    <a:pt x="326" y="462"/>
                  </a:lnTo>
                  <a:lnTo>
                    <a:pt x="326" y="462"/>
                  </a:lnTo>
                  <a:lnTo>
                    <a:pt x="326" y="459"/>
                  </a:lnTo>
                  <a:lnTo>
                    <a:pt x="324" y="459"/>
                  </a:lnTo>
                  <a:lnTo>
                    <a:pt x="326" y="459"/>
                  </a:lnTo>
                  <a:lnTo>
                    <a:pt x="324" y="459"/>
                  </a:lnTo>
                  <a:lnTo>
                    <a:pt x="324" y="459"/>
                  </a:lnTo>
                  <a:lnTo>
                    <a:pt x="326" y="459"/>
                  </a:lnTo>
                  <a:lnTo>
                    <a:pt x="326" y="459"/>
                  </a:lnTo>
                  <a:lnTo>
                    <a:pt x="329" y="459"/>
                  </a:lnTo>
                  <a:lnTo>
                    <a:pt x="329" y="459"/>
                  </a:lnTo>
                  <a:lnTo>
                    <a:pt x="329" y="459"/>
                  </a:lnTo>
                  <a:lnTo>
                    <a:pt x="331" y="459"/>
                  </a:lnTo>
                  <a:lnTo>
                    <a:pt x="331" y="459"/>
                  </a:lnTo>
                  <a:lnTo>
                    <a:pt x="329" y="459"/>
                  </a:lnTo>
                  <a:lnTo>
                    <a:pt x="329" y="459"/>
                  </a:lnTo>
                  <a:lnTo>
                    <a:pt x="326" y="459"/>
                  </a:lnTo>
                  <a:lnTo>
                    <a:pt x="324" y="457"/>
                  </a:lnTo>
                  <a:lnTo>
                    <a:pt x="322" y="457"/>
                  </a:lnTo>
                  <a:lnTo>
                    <a:pt x="322" y="457"/>
                  </a:lnTo>
                  <a:lnTo>
                    <a:pt x="319" y="457"/>
                  </a:lnTo>
                  <a:lnTo>
                    <a:pt x="319" y="455"/>
                  </a:lnTo>
                  <a:lnTo>
                    <a:pt x="319" y="455"/>
                  </a:lnTo>
                  <a:lnTo>
                    <a:pt x="319" y="455"/>
                  </a:lnTo>
                  <a:lnTo>
                    <a:pt x="319" y="455"/>
                  </a:lnTo>
                  <a:lnTo>
                    <a:pt x="317" y="455"/>
                  </a:lnTo>
                  <a:lnTo>
                    <a:pt x="317" y="452"/>
                  </a:lnTo>
                  <a:lnTo>
                    <a:pt x="317" y="452"/>
                  </a:lnTo>
                  <a:lnTo>
                    <a:pt x="317" y="452"/>
                  </a:lnTo>
                  <a:lnTo>
                    <a:pt x="317" y="450"/>
                  </a:lnTo>
                  <a:lnTo>
                    <a:pt x="317" y="450"/>
                  </a:lnTo>
                  <a:lnTo>
                    <a:pt x="315" y="450"/>
                  </a:lnTo>
                  <a:lnTo>
                    <a:pt x="315" y="450"/>
                  </a:lnTo>
                  <a:lnTo>
                    <a:pt x="315" y="448"/>
                  </a:lnTo>
                  <a:lnTo>
                    <a:pt x="315" y="448"/>
                  </a:lnTo>
                  <a:lnTo>
                    <a:pt x="315" y="448"/>
                  </a:lnTo>
                  <a:lnTo>
                    <a:pt x="315" y="445"/>
                  </a:lnTo>
                  <a:lnTo>
                    <a:pt x="315" y="445"/>
                  </a:lnTo>
                  <a:lnTo>
                    <a:pt x="315" y="445"/>
                  </a:lnTo>
                  <a:lnTo>
                    <a:pt x="315" y="445"/>
                  </a:lnTo>
                  <a:lnTo>
                    <a:pt x="315" y="445"/>
                  </a:lnTo>
                  <a:lnTo>
                    <a:pt x="315" y="443"/>
                  </a:lnTo>
                  <a:lnTo>
                    <a:pt x="315" y="443"/>
                  </a:lnTo>
                  <a:lnTo>
                    <a:pt x="315" y="443"/>
                  </a:lnTo>
                  <a:lnTo>
                    <a:pt x="315" y="443"/>
                  </a:lnTo>
                  <a:lnTo>
                    <a:pt x="312" y="440"/>
                  </a:lnTo>
                  <a:lnTo>
                    <a:pt x="312" y="440"/>
                  </a:lnTo>
                  <a:lnTo>
                    <a:pt x="312" y="440"/>
                  </a:lnTo>
                  <a:lnTo>
                    <a:pt x="312" y="438"/>
                  </a:lnTo>
                  <a:lnTo>
                    <a:pt x="312" y="438"/>
                  </a:lnTo>
                  <a:lnTo>
                    <a:pt x="312" y="438"/>
                  </a:lnTo>
                  <a:lnTo>
                    <a:pt x="312" y="436"/>
                  </a:lnTo>
                  <a:lnTo>
                    <a:pt x="312" y="436"/>
                  </a:lnTo>
                  <a:lnTo>
                    <a:pt x="312" y="436"/>
                  </a:lnTo>
                  <a:lnTo>
                    <a:pt x="312" y="433"/>
                  </a:lnTo>
                  <a:lnTo>
                    <a:pt x="315" y="433"/>
                  </a:lnTo>
                  <a:lnTo>
                    <a:pt x="315" y="433"/>
                  </a:lnTo>
                  <a:lnTo>
                    <a:pt x="315" y="431"/>
                  </a:lnTo>
                  <a:lnTo>
                    <a:pt x="315" y="431"/>
                  </a:lnTo>
                  <a:lnTo>
                    <a:pt x="315" y="431"/>
                  </a:lnTo>
                  <a:lnTo>
                    <a:pt x="317" y="431"/>
                  </a:lnTo>
                  <a:lnTo>
                    <a:pt x="317" y="429"/>
                  </a:lnTo>
                  <a:lnTo>
                    <a:pt x="317" y="429"/>
                  </a:lnTo>
                  <a:lnTo>
                    <a:pt x="317" y="429"/>
                  </a:lnTo>
                  <a:lnTo>
                    <a:pt x="317" y="426"/>
                  </a:lnTo>
                  <a:lnTo>
                    <a:pt x="317" y="426"/>
                  </a:lnTo>
                  <a:lnTo>
                    <a:pt x="317" y="426"/>
                  </a:lnTo>
                  <a:lnTo>
                    <a:pt x="317" y="426"/>
                  </a:lnTo>
                  <a:lnTo>
                    <a:pt x="317" y="426"/>
                  </a:lnTo>
                  <a:lnTo>
                    <a:pt x="317" y="426"/>
                  </a:lnTo>
                  <a:lnTo>
                    <a:pt x="317" y="426"/>
                  </a:lnTo>
                  <a:lnTo>
                    <a:pt x="317" y="426"/>
                  </a:lnTo>
                  <a:lnTo>
                    <a:pt x="317" y="424"/>
                  </a:lnTo>
                  <a:lnTo>
                    <a:pt x="317" y="424"/>
                  </a:lnTo>
                  <a:lnTo>
                    <a:pt x="317" y="424"/>
                  </a:lnTo>
                  <a:lnTo>
                    <a:pt x="317" y="424"/>
                  </a:lnTo>
                  <a:lnTo>
                    <a:pt x="317" y="424"/>
                  </a:lnTo>
                  <a:lnTo>
                    <a:pt x="317" y="424"/>
                  </a:lnTo>
                  <a:lnTo>
                    <a:pt x="317" y="424"/>
                  </a:lnTo>
                  <a:lnTo>
                    <a:pt x="317" y="422"/>
                  </a:lnTo>
                  <a:lnTo>
                    <a:pt x="317" y="422"/>
                  </a:lnTo>
                  <a:lnTo>
                    <a:pt x="317" y="422"/>
                  </a:lnTo>
                  <a:lnTo>
                    <a:pt x="317" y="422"/>
                  </a:lnTo>
                  <a:lnTo>
                    <a:pt x="317" y="422"/>
                  </a:lnTo>
                  <a:lnTo>
                    <a:pt x="317" y="422"/>
                  </a:lnTo>
                  <a:lnTo>
                    <a:pt x="317" y="422"/>
                  </a:lnTo>
                  <a:lnTo>
                    <a:pt x="317" y="422"/>
                  </a:lnTo>
                  <a:lnTo>
                    <a:pt x="317" y="419"/>
                  </a:lnTo>
                  <a:lnTo>
                    <a:pt x="317" y="419"/>
                  </a:lnTo>
                  <a:lnTo>
                    <a:pt x="317" y="419"/>
                  </a:lnTo>
                  <a:lnTo>
                    <a:pt x="317" y="419"/>
                  </a:lnTo>
                  <a:lnTo>
                    <a:pt x="317" y="419"/>
                  </a:lnTo>
                  <a:lnTo>
                    <a:pt x="317" y="419"/>
                  </a:lnTo>
                  <a:lnTo>
                    <a:pt x="317" y="419"/>
                  </a:lnTo>
                  <a:lnTo>
                    <a:pt x="317" y="419"/>
                  </a:lnTo>
                  <a:lnTo>
                    <a:pt x="317" y="419"/>
                  </a:lnTo>
                  <a:lnTo>
                    <a:pt x="315" y="419"/>
                  </a:lnTo>
                  <a:lnTo>
                    <a:pt x="315" y="419"/>
                  </a:lnTo>
                  <a:lnTo>
                    <a:pt x="315" y="419"/>
                  </a:lnTo>
                  <a:lnTo>
                    <a:pt x="315" y="417"/>
                  </a:lnTo>
                  <a:lnTo>
                    <a:pt x="315" y="417"/>
                  </a:lnTo>
                  <a:lnTo>
                    <a:pt x="315" y="417"/>
                  </a:lnTo>
                  <a:lnTo>
                    <a:pt x="315" y="417"/>
                  </a:lnTo>
                  <a:lnTo>
                    <a:pt x="315" y="414"/>
                  </a:lnTo>
                  <a:lnTo>
                    <a:pt x="315" y="414"/>
                  </a:lnTo>
                  <a:lnTo>
                    <a:pt x="315" y="414"/>
                  </a:lnTo>
                  <a:lnTo>
                    <a:pt x="315" y="414"/>
                  </a:lnTo>
                  <a:lnTo>
                    <a:pt x="315" y="414"/>
                  </a:lnTo>
                  <a:lnTo>
                    <a:pt x="312" y="414"/>
                  </a:lnTo>
                  <a:lnTo>
                    <a:pt x="312" y="414"/>
                  </a:lnTo>
                  <a:lnTo>
                    <a:pt x="312" y="412"/>
                  </a:lnTo>
                  <a:lnTo>
                    <a:pt x="312" y="412"/>
                  </a:lnTo>
                  <a:lnTo>
                    <a:pt x="312" y="414"/>
                  </a:lnTo>
                  <a:lnTo>
                    <a:pt x="312" y="414"/>
                  </a:lnTo>
                  <a:lnTo>
                    <a:pt x="312" y="412"/>
                  </a:lnTo>
                  <a:lnTo>
                    <a:pt x="312" y="412"/>
                  </a:lnTo>
                  <a:lnTo>
                    <a:pt x="312" y="412"/>
                  </a:lnTo>
                  <a:lnTo>
                    <a:pt x="312" y="412"/>
                  </a:lnTo>
                  <a:lnTo>
                    <a:pt x="312" y="412"/>
                  </a:lnTo>
                  <a:lnTo>
                    <a:pt x="310" y="412"/>
                  </a:lnTo>
                  <a:lnTo>
                    <a:pt x="310" y="412"/>
                  </a:lnTo>
                  <a:lnTo>
                    <a:pt x="310" y="410"/>
                  </a:lnTo>
                  <a:lnTo>
                    <a:pt x="310" y="410"/>
                  </a:lnTo>
                  <a:lnTo>
                    <a:pt x="310" y="410"/>
                  </a:lnTo>
                  <a:lnTo>
                    <a:pt x="310" y="410"/>
                  </a:lnTo>
                  <a:lnTo>
                    <a:pt x="310" y="410"/>
                  </a:lnTo>
                  <a:lnTo>
                    <a:pt x="310" y="410"/>
                  </a:lnTo>
                  <a:lnTo>
                    <a:pt x="310" y="407"/>
                  </a:lnTo>
                  <a:lnTo>
                    <a:pt x="310" y="407"/>
                  </a:lnTo>
                  <a:lnTo>
                    <a:pt x="310" y="407"/>
                  </a:lnTo>
                  <a:lnTo>
                    <a:pt x="308" y="407"/>
                  </a:lnTo>
                  <a:lnTo>
                    <a:pt x="308" y="407"/>
                  </a:lnTo>
                  <a:lnTo>
                    <a:pt x="308" y="407"/>
                  </a:lnTo>
                  <a:lnTo>
                    <a:pt x="308" y="405"/>
                  </a:lnTo>
                  <a:lnTo>
                    <a:pt x="308" y="405"/>
                  </a:lnTo>
                  <a:lnTo>
                    <a:pt x="308" y="405"/>
                  </a:lnTo>
                  <a:lnTo>
                    <a:pt x="308" y="405"/>
                  </a:lnTo>
                  <a:lnTo>
                    <a:pt x="308" y="403"/>
                  </a:lnTo>
                  <a:lnTo>
                    <a:pt x="308" y="403"/>
                  </a:lnTo>
                  <a:lnTo>
                    <a:pt x="308" y="403"/>
                  </a:lnTo>
                  <a:lnTo>
                    <a:pt x="308" y="403"/>
                  </a:lnTo>
                  <a:lnTo>
                    <a:pt x="308" y="400"/>
                  </a:lnTo>
                  <a:lnTo>
                    <a:pt x="308" y="400"/>
                  </a:lnTo>
                  <a:lnTo>
                    <a:pt x="308" y="400"/>
                  </a:lnTo>
                  <a:lnTo>
                    <a:pt x="308" y="400"/>
                  </a:lnTo>
                  <a:lnTo>
                    <a:pt x="308" y="400"/>
                  </a:lnTo>
                  <a:lnTo>
                    <a:pt x="308" y="400"/>
                  </a:lnTo>
                  <a:lnTo>
                    <a:pt x="308" y="400"/>
                  </a:lnTo>
                  <a:lnTo>
                    <a:pt x="308" y="400"/>
                  </a:lnTo>
                  <a:lnTo>
                    <a:pt x="308" y="400"/>
                  </a:lnTo>
                  <a:lnTo>
                    <a:pt x="308" y="400"/>
                  </a:lnTo>
                  <a:lnTo>
                    <a:pt x="308" y="398"/>
                  </a:lnTo>
                  <a:lnTo>
                    <a:pt x="308" y="398"/>
                  </a:lnTo>
                  <a:lnTo>
                    <a:pt x="308" y="398"/>
                  </a:lnTo>
                  <a:lnTo>
                    <a:pt x="308" y="398"/>
                  </a:lnTo>
                  <a:lnTo>
                    <a:pt x="308" y="398"/>
                  </a:lnTo>
                  <a:lnTo>
                    <a:pt x="305" y="398"/>
                  </a:lnTo>
                  <a:lnTo>
                    <a:pt x="305" y="398"/>
                  </a:lnTo>
                  <a:lnTo>
                    <a:pt x="305" y="396"/>
                  </a:lnTo>
                  <a:lnTo>
                    <a:pt x="305" y="396"/>
                  </a:lnTo>
                  <a:lnTo>
                    <a:pt x="305" y="393"/>
                  </a:lnTo>
                  <a:lnTo>
                    <a:pt x="305" y="393"/>
                  </a:lnTo>
                  <a:lnTo>
                    <a:pt x="305" y="393"/>
                  </a:lnTo>
                  <a:lnTo>
                    <a:pt x="305" y="391"/>
                  </a:lnTo>
                  <a:lnTo>
                    <a:pt x="305" y="391"/>
                  </a:lnTo>
                  <a:lnTo>
                    <a:pt x="305" y="391"/>
                  </a:lnTo>
                  <a:lnTo>
                    <a:pt x="305" y="391"/>
                  </a:lnTo>
                  <a:lnTo>
                    <a:pt x="305" y="391"/>
                  </a:lnTo>
                  <a:lnTo>
                    <a:pt x="305" y="391"/>
                  </a:lnTo>
                  <a:lnTo>
                    <a:pt x="305" y="388"/>
                  </a:lnTo>
                  <a:lnTo>
                    <a:pt x="305" y="388"/>
                  </a:lnTo>
                  <a:lnTo>
                    <a:pt x="305" y="388"/>
                  </a:lnTo>
                  <a:lnTo>
                    <a:pt x="305" y="388"/>
                  </a:lnTo>
                  <a:lnTo>
                    <a:pt x="305" y="388"/>
                  </a:lnTo>
                  <a:lnTo>
                    <a:pt x="305" y="388"/>
                  </a:lnTo>
                  <a:lnTo>
                    <a:pt x="303" y="388"/>
                  </a:lnTo>
                  <a:lnTo>
                    <a:pt x="303" y="388"/>
                  </a:lnTo>
                  <a:lnTo>
                    <a:pt x="303" y="388"/>
                  </a:lnTo>
                  <a:lnTo>
                    <a:pt x="303" y="388"/>
                  </a:lnTo>
                  <a:lnTo>
                    <a:pt x="303" y="388"/>
                  </a:lnTo>
                  <a:lnTo>
                    <a:pt x="303" y="388"/>
                  </a:lnTo>
                  <a:lnTo>
                    <a:pt x="303" y="388"/>
                  </a:lnTo>
                  <a:lnTo>
                    <a:pt x="303" y="388"/>
                  </a:lnTo>
                  <a:lnTo>
                    <a:pt x="303" y="386"/>
                  </a:lnTo>
                  <a:lnTo>
                    <a:pt x="303" y="386"/>
                  </a:lnTo>
                  <a:lnTo>
                    <a:pt x="303" y="386"/>
                  </a:lnTo>
                  <a:lnTo>
                    <a:pt x="300" y="386"/>
                  </a:lnTo>
                  <a:lnTo>
                    <a:pt x="300" y="386"/>
                  </a:lnTo>
                  <a:lnTo>
                    <a:pt x="300" y="386"/>
                  </a:lnTo>
                  <a:lnTo>
                    <a:pt x="300" y="386"/>
                  </a:lnTo>
                  <a:lnTo>
                    <a:pt x="300" y="386"/>
                  </a:lnTo>
                  <a:lnTo>
                    <a:pt x="300" y="386"/>
                  </a:lnTo>
                  <a:lnTo>
                    <a:pt x="300" y="386"/>
                  </a:lnTo>
                  <a:lnTo>
                    <a:pt x="298" y="386"/>
                  </a:lnTo>
                  <a:lnTo>
                    <a:pt x="298" y="384"/>
                  </a:lnTo>
                  <a:lnTo>
                    <a:pt x="298" y="384"/>
                  </a:lnTo>
                  <a:lnTo>
                    <a:pt x="298" y="384"/>
                  </a:lnTo>
                  <a:lnTo>
                    <a:pt x="298" y="384"/>
                  </a:lnTo>
                  <a:lnTo>
                    <a:pt x="298" y="384"/>
                  </a:lnTo>
                  <a:lnTo>
                    <a:pt x="298" y="381"/>
                  </a:lnTo>
                  <a:lnTo>
                    <a:pt x="298" y="381"/>
                  </a:lnTo>
                  <a:lnTo>
                    <a:pt x="298" y="381"/>
                  </a:lnTo>
                  <a:lnTo>
                    <a:pt x="298" y="379"/>
                  </a:lnTo>
                  <a:lnTo>
                    <a:pt x="298" y="379"/>
                  </a:lnTo>
                  <a:lnTo>
                    <a:pt x="296" y="379"/>
                  </a:lnTo>
                  <a:lnTo>
                    <a:pt x="296" y="379"/>
                  </a:lnTo>
                  <a:lnTo>
                    <a:pt x="296" y="377"/>
                  </a:lnTo>
                  <a:lnTo>
                    <a:pt x="296" y="377"/>
                  </a:lnTo>
                  <a:lnTo>
                    <a:pt x="296" y="377"/>
                  </a:lnTo>
                  <a:lnTo>
                    <a:pt x="296" y="377"/>
                  </a:lnTo>
                  <a:lnTo>
                    <a:pt x="296" y="377"/>
                  </a:lnTo>
                  <a:lnTo>
                    <a:pt x="296" y="377"/>
                  </a:lnTo>
                  <a:lnTo>
                    <a:pt x="296" y="374"/>
                  </a:lnTo>
                  <a:lnTo>
                    <a:pt x="296" y="374"/>
                  </a:lnTo>
                  <a:lnTo>
                    <a:pt x="293" y="374"/>
                  </a:lnTo>
                  <a:lnTo>
                    <a:pt x="293" y="374"/>
                  </a:lnTo>
                  <a:lnTo>
                    <a:pt x="293" y="374"/>
                  </a:lnTo>
                  <a:lnTo>
                    <a:pt x="293" y="374"/>
                  </a:lnTo>
                  <a:lnTo>
                    <a:pt x="293" y="372"/>
                  </a:lnTo>
                  <a:lnTo>
                    <a:pt x="293" y="372"/>
                  </a:lnTo>
                  <a:lnTo>
                    <a:pt x="293" y="372"/>
                  </a:lnTo>
                  <a:lnTo>
                    <a:pt x="293" y="372"/>
                  </a:lnTo>
                  <a:lnTo>
                    <a:pt x="293" y="372"/>
                  </a:lnTo>
                  <a:lnTo>
                    <a:pt x="293" y="372"/>
                  </a:lnTo>
                  <a:lnTo>
                    <a:pt x="293" y="372"/>
                  </a:lnTo>
                  <a:lnTo>
                    <a:pt x="293" y="372"/>
                  </a:lnTo>
                  <a:lnTo>
                    <a:pt x="293" y="372"/>
                  </a:lnTo>
                  <a:lnTo>
                    <a:pt x="293" y="372"/>
                  </a:lnTo>
                  <a:lnTo>
                    <a:pt x="293" y="372"/>
                  </a:lnTo>
                  <a:lnTo>
                    <a:pt x="293" y="370"/>
                  </a:lnTo>
                  <a:lnTo>
                    <a:pt x="293" y="370"/>
                  </a:lnTo>
                  <a:lnTo>
                    <a:pt x="293" y="370"/>
                  </a:lnTo>
                  <a:lnTo>
                    <a:pt x="293" y="370"/>
                  </a:lnTo>
                  <a:lnTo>
                    <a:pt x="291" y="370"/>
                  </a:lnTo>
                  <a:lnTo>
                    <a:pt x="291" y="370"/>
                  </a:lnTo>
                  <a:lnTo>
                    <a:pt x="291" y="367"/>
                  </a:lnTo>
                  <a:lnTo>
                    <a:pt x="293" y="367"/>
                  </a:lnTo>
                  <a:lnTo>
                    <a:pt x="293" y="367"/>
                  </a:lnTo>
                  <a:lnTo>
                    <a:pt x="291" y="367"/>
                  </a:lnTo>
                  <a:lnTo>
                    <a:pt x="291" y="365"/>
                  </a:lnTo>
                  <a:lnTo>
                    <a:pt x="291" y="365"/>
                  </a:lnTo>
                  <a:lnTo>
                    <a:pt x="291" y="365"/>
                  </a:lnTo>
                  <a:lnTo>
                    <a:pt x="291" y="362"/>
                  </a:lnTo>
                  <a:lnTo>
                    <a:pt x="293" y="362"/>
                  </a:lnTo>
                  <a:lnTo>
                    <a:pt x="293" y="362"/>
                  </a:lnTo>
                  <a:lnTo>
                    <a:pt x="293" y="360"/>
                  </a:lnTo>
                  <a:lnTo>
                    <a:pt x="293" y="360"/>
                  </a:lnTo>
                  <a:lnTo>
                    <a:pt x="293" y="360"/>
                  </a:lnTo>
                  <a:lnTo>
                    <a:pt x="293" y="360"/>
                  </a:lnTo>
                  <a:lnTo>
                    <a:pt x="293" y="358"/>
                  </a:lnTo>
                  <a:lnTo>
                    <a:pt x="293" y="358"/>
                  </a:lnTo>
                  <a:lnTo>
                    <a:pt x="293" y="358"/>
                  </a:lnTo>
                  <a:lnTo>
                    <a:pt x="293" y="358"/>
                  </a:lnTo>
                  <a:lnTo>
                    <a:pt x="293" y="355"/>
                  </a:lnTo>
                  <a:lnTo>
                    <a:pt x="293" y="355"/>
                  </a:lnTo>
                  <a:lnTo>
                    <a:pt x="293" y="355"/>
                  </a:lnTo>
                  <a:lnTo>
                    <a:pt x="293" y="353"/>
                  </a:lnTo>
                  <a:lnTo>
                    <a:pt x="293" y="353"/>
                  </a:lnTo>
                  <a:lnTo>
                    <a:pt x="291" y="353"/>
                  </a:lnTo>
                  <a:lnTo>
                    <a:pt x="291" y="351"/>
                  </a:lnTo>
                  <a:lnTo>
                    <a:pt x="291" y="351"/>
                  </a:lnTo>
                  <a:lnTo>
                    <a:pt x="291" y="351"/>
                  </a:lnTo>
                  <a:lnTo>
                    <a:pt x="291" y="351"/>
                  </a:lnTo>
                  <a:lnTo>
                    <a:pt x="291" y="348"/>
                  </a:lnTo>
                  <a:lnTo>
                    <a:pt x="291" y="348"/>
                  </a:lnTo>
                  <a:lnTo>
                    <a:pt x="291" y="348"/>
                  </a:lnTo>
                  <a:lnTo>
                    <a:pt x="291" y="346"/>
                  </a:lnTo>
                  <a:lnTo>
                    <a:pt x="291" y="346"/>
                  </a:lnTo>
                  <a:lnTo>
                    <a:pt x="291" y="346"/>
                  </a:lnTo>
                  <a:lnTo>
                    <a:pt x="291" y="343"/>
                  </a:lnTo>
                  <a:lnTo>
                    <a:pt x="291" y="343"/>
                  </a:lnTo>
                  <a:lnTo>
                    <a:pt x="291" y="343"/>
                  </a:lnTo>
                  <a:lnTo>
                    <a:pt x="291" y="343"/>
                  </a:lnTo>
                  <a:lnTo>
                    <a:pt x="291" y="343"/>
                  </a:lnTo>
                  <a:lnTo>
                    <a:pt x="291" y="343"/>
                  </a:lnTo>
                  <a:lnTo>
                    <a:pt x="291" y="341"/>
                  </a:lnTo>
                  <a:lnTo>
                    <a:pt x="291" y="341"/>
                  </a:lnTo>
                  <a:lnTo>
                    <a:pt x="289" y="341"/>
                  </a:lnTo>
                  <a:lnTo>
                    <a:pt x="289" y="341"/>
                  </a:lnTo>
                  <a:lnTo>
                    <a:pt x="289" y="339"/>
                  </a:lnTo>
                  <a:lnTo>
                    <a:pt x="289" y="339"/>
                  </a:lnTo>
                  <a:lnTo>
                    <a:pt x="291" y="336"/>
                  </a:lnTo>
                  <a:lnTo>
                    <a:pt x="291" y="336"/>
                  </a:lnTo>
                  <a:lnTo>
                    <a:pt x="291" y="336"/>
                  </a:lnTo>
                  <a:lnTo>
                    <a:pt x="291" y="336"/>
                  </a:lnTo>
                  <a:lnTo>
                    <a:pt x="291" y="334"/>
                  </a:lnTo>
                  <a:lnTo>
                    <a:pt x="291" y="334"/>
                  </a:lnTo>
                  <a:lnTo>
                    <a:pt x="291" y="334"/>
                  </a:lnTo>
                  <a:lnTo>
                    <a:pt x="289" y="334"/>
                  </a:lnTo>
                  <a:lnTo>
                    <a:pt x="289" y="334"/>
                  </a:lnTo>
                  <a:lnTo>
                    <a:pt x="289" y="334"/>
                  </a:lnTo>
                  <a:lnTo>
                    <a:pt x="289" y="334"/>
                  </a:lnTo>
                  <a:lnTo>
                    <a:pt x="286" y="334"/>
                  </a:lnTo>
                  <a:lnTo>
                    <a:pt x="286" y="334"/>
                  </a:lnTo>
                  <a:lnTo>
                    <a:pt x="286" y="332"/>
                  </a:lnTo>
                  <a:lnTo>
                    <a:pt x="286" y="332"/>
                  </a:lnTo>
                  <a:lnTo>
                    <a:pt x="286" y="329"/>
                  </a:lnTo>
                  <a:lnTo>
                    <a:pt x="286" y="329"/>
                  </a:lnTo>
                  <a:lnTo>
                    <a:pt x="286" y="327"/>
                  </a:lnTo>
                  <a:lnTo>
                    <a:pt x="286" y="327"/>
                  </a:lnTo>
                  <a:lnTo>
                    <a:pt x="286" y="325"/>
                  </a:lnTo>
                  <a:lnTo>
                    <a:pt x="286" y="325"/>
                  </a:lnTo>
                  <a:lnTo>
                    <a:pt x="286" y="325"/>
                  </a:lnTo>
                  <a:lnTo>
                    <a:pt x="284" y="325"/>
                  </a:lnTo>
                  <a:lnTo>
                    <a:pt x="284" y="325"/>
                  </a:lnTo>
                  <a:lnTo>
                    <a:pt x="284" y="325"/>
                  </a:lnTo>
                  <a:lnTo>
                    <a:pt x="284" y="322"/>
                  </a:lnTo>
                  <a:lnTo>
                    <a:pt x="282" y="322"/>
                  </a:lnTo>
                  <a:lnTo>
                    <a:pt x="282" y="322"/>
                  </a:lnTo>
                  <a:lnTo>
                    <a:pt x="282" y="322"/>
                  </a:lnTo>
                  <a:lnTo>
                    <a:pt x="282" y="322"/>
                  </a:lnTo>
                  <a:lnTo>
                    <a:pt x="282" y="322"/>
                  </a:lnTo>
                  <a:lnTo>
                    <a:pt x="282" y="322"/>
                  </a:lnTo>
                  <a:lnTo>
                    <a:pt x="279" y="320"/>
                  </a:lnTo>
                  <a:lnTo>
                    <a:pt x="279" y="317"/>
                  </a:lnTo>
                  <a:lnTo>
                    <a:pt x="279" y="317"/>
                  </a:lnTo>
                  <a:lnTo>
                    <a:pt x="277" y="317"/>
                  </a:lnTo>
                  <a:lnTo>
                    <a:pt x="277" y="315"/>
                  </a:lnTo>
                  <a:lnTo>
                    <a:pt x="277" y="315"/>
                  </a:lnTo>
                  <a:lnTo>
                    <a:pt x="277" y="315"/>
                  </a:lnTo>
                  <a:lnTo>
                    <a:pt x="274" y="315"/>
                  </a:lnTo>
                  <a:lnTo>
                    <a:pt x="274" y="315"/>
                  </a:lnTo>
                  <a:lnTo>
                    <a:pt x="274" y="315"/>
                  </a:lnTo>
                  <a:lnTo>
                    <a:pt x="274" y="315"/>
                  </a:lnTo>
                  <a:lnTo>
                    <a:pt x="274" y="315"/>
                  </a:lnTo>
                  <a:lnTo>
                    <a:pt x="274" y="317"/>
                  </a:lnTo>
                  <a:lnTo>
                    <a:pt x="274" y="317"/>
                  </a:lnTo>
                  <a:lnTo>
                    <a:pt x="274" y="317"/>
                  </a:lnTo>
                  <a:lnTo>
                    <a:pt x="274" y="317"/>
                  </a:lnTo>
                  <a:lnTo>
                    <a:pt x="274" y="317"/>
                  </a:lnTo>
                  <a:lnTo>
                    <a:pt x="274" y="317"/>
                  </a:lnTo>
                  <a:lnTo>
                    <a:pt x="274" y="320"/>
                  </a:lnTo>
                  <a:lnTo>
                    <a:pt x="274" y="320"/>
                  </a:lnTo>
                  <a:lnTo>
                    <a:pt x="274" y="320"/>
                  </a:lnTo>
                  <a:lnTo>
                    <a:pt x="274" y="322"/>
                  </a:lnTo>
                  <a:lnTo>
                    <a:pt x="274" y="322"/>
                  </a:lnTo>
                  <a:lnTo>
                    <a:pt x="274" y="322"/>
                  </a:lnTo>
                  <a:lnTo>
                    <a:pt x="274" y="322"/>
                  </a:lnTo>
                  <a:lnTo>
                    <a:pt x="274" y="325"/>
                  </a:lnTo>
                  <a:lnTo>
                    <a:pt x="274" y="325"/>
                  </a:lnTo>
                  <a:lnTo>
                    <a:pt x="277" y="325"/>
                  </a:lnTo>
                  <a:lnTo>
                    <a:pt x="277" y="327"/>
                  </a:lnTo>
                  <a:lnTo>
                    <a:pt x="277" y="327"/>
                  </a:lnTo>
                  <a:lnTo>
                    <a:pt x="277" y="327"/>
                  </a:lnTo>
                  <a:lnTo>
                    <a:pt x="279" y="329"/>
                  </a:lnTo>
                  <a:lnTo>
                    <a:pt x="279" y="329"/>
                  </a:lnTo>
                  <a:lnTo>
                    <a:pt x="279" y="329"/>
                  </a:lnTo>
                  <a:lnTo>
                    <a:pt x="282" y="332"/>
                  </a:lnTo>
                  <a:lnTo>
                    <a:pt x="279" y="332"/>
                  </a:lnTo>
                  <a:lnTo>
                    <a:pt x="277" y="332"/>
                  </a:lnTo>
                  <a:lnTo>
                    <a:pt x="277" y="332"/>
                  </a:lnTo>
                  <a:lnTo>
                    <a:pt x="274" y="332"/>
                  </a:lnTo>
                  <a:lnTo>
                    <a:pt x="274" y="329"/>
                  </a:lnTo>
                  <a:lnTo>
                    <a:pt x="274" y="327"/>
                  </a:lnTo>
                  <a:lnTo>
                    <a:pt x="274" y="327"/>
                  </a:lnTo>
                  <a:lnTo>
                    <a:pt x="272" y="327"/>
                  </a:lnTo>
                  <a:lnTo>
                    <a:pt x="272" y="327"/>
                  </a:lnTo>
                  <a:lnTo>
                    <a:pt x="272" y="327"/>
                  </a:lnTo>
                  <a:lnTo>
                    <a:pt x="272" y="325"/>
                  </a:lnTo>
                  <a:lnTo>
                    <a:pt x="272" y="325"/>
                  </a:lnTo>
                  <a:lnTo>
                    <a:pt x="272" y="325"/>
                  </a:lnTo>
                  <a:lnTo>
                    <a:pt x="272" y="322"/>
                  </a:lnTo>
                  <a:lnTo>
                    <a:pt x="270" y="322"/>
                  </a:lnTo>
                  <a:lnTo>
                    <a:pt x="272" y="320"/>
                  </a:lnTo>
                  <a:lnTo>
                    <a:pt x="272" y="322"/>
                  </a:lnTo>
                  <a:lnTo>
                    <a:pt x="272" y="320"/>
                  </a:lnTo>
                  <a:lnTo>
                    <a:pt x="272" y="320"/>
                  </a:lnTo>
                  <a:lnTo>
                    <a:pt x="272" y="320"/>
                  </a:lnTo>
                  <a:lnTo>
                    <a:pt x="272" y="320"/>
                  </a:lnTo>
                  <a:lnTo>
                    <a:pt x="272" y="320"/>
                  </a:lnTo>
                  <a:lnTo>
                    <a:pt x="272" y="317"/>
                  </a:lnTo>
                  <a:lnTo>
                    <a:pt x="272" y="315"/>
                  </a:lnTo>
                  <a:lnTo>
                    <a:pt x="272" y="315"/>
                  </a:lnTo>
                  <a:lnTo>
                    <a:pt x="270" y="315"/>
                  </a:lnTo>
                  <a:lnTo>
                    <a:pt x="270" y="315"/>
                  </a:lnTo>
                  <a:lnTo>
                    <a:pt x="270" y="313"/>
                  </a:lnTo>
                  <a:lnTo>
                    <a:pt x="270" y="313"/>
                  </a:lnTo>
                  <a:lnTo>
                    <a:pt x="270" y="313"/>
                  </a:lnTo>
                  <a:lnTo>
                    <a:pt x="267" y="310"/>
                  </a:lnTo>
                  <a:lnTo>
                    <a:pt x="267" y="310"/>
                  </a:lnTo>
                  <a:lnTo>
                    <a:pt x="267" y="310"/>
                  </a:lnTo>
                  <a:lnTo>
                    <a:pt x="267" y="308"/>
                  </a:lnTo>
                  <a:lnTo>
                    <a:pt x="267" y="308"/>
                  </a:lnTo>
                  <a:lnTo>
                    <a:pt x="267" y="306"/>
                  </a:lnTo>
                  <a:lnTo>
                    <a:pt x="270" y="306"/>
                  </a:lnTo>
                  <a:lnTo>
                    <a:pt x="270" y="306"/>
                  </a:lnTo>
                  <a:lnTo>
                    <a:pt x="270" y="306"/>
                  </a:lnTo>
                  <a:lnTo>
                    <a:pt x="272" y="306"/>
                  </a:lnTo>
                  <a:lnTo>
                    <a:pt x="270" y="306"/>
                  </a:lnTo>
                  <a:lnTo>
                    <a:pt x="270" y="303"/>
                  </a:lnTo>
                  <a:lnTo>
                    <a:pt x="270" y="303"/>
                  </a:lnTo>
                  <a:lnTo>
                    <a:pt x="270" y="303"/>
                  </a:lnTo>
                  <a:lnTo>
                    <a:pt x="270" y="303"/>
                  </a:lnTo>
                  <a:lnTo>
                    <a:pt x="267" y="303"/>
                  </a:lnTo>
                  <a:lnTo>
                    <a:pt x="267" y="301"/>
                  </a:lnTo>
                  <a:lnTo>
                    <a:pt x="265" y="301"/>
                  </a:lnTo>
                  <a:lnTo>
                    <a:pt x="265" y="301"/>
                  </a:lnTo>
                  <a:lnTo>
                    <a:pt x="265" y="301"/>
                  </a:lnTo>
                  <a:lnTo>
                    <a:pt x="263" y="301"/>
                  </a:lnTo>
                  <a:lnTo>
                    <a:pt x="263" y="299"/>
                  </a:lnTo>
                  <a:lnTo>
                    <a:pt x="263" y="299"/>
                  </a:lnTo>
                  <a:lnTo>
                    <a:pt x="263" y="299"/>
                  </a:lnTo>
                  <a:lnTo>
                    <a:pt x="260" y="299"/>
                  </a:lnTo>
                  <a:lnTo>
                    <a:pt x="260" y="299"/>
                  </a:lnTo>
                  <a:lnTo>
                    <a:pt x="260" y="299"/>
                  </a:lnTo>
                  <a:lnTo>
                    <a:pt x="260" y="296"/>
                  </a:lnTo>
                  <a:lnTo>
                    <a:pt x="260" y="296"/>
                  </a:lnTo>
                  <a:lnTo>
                    <a:pt x="260" y="296"/>
                  </a:lnTo>
                  <a:lnTo>
                    <a:pt x="260" y="296"/>
                  </a:lnTo>
                  <a:lnTo>
                    <a:pt x="260" y="294"/>
                  </a:lnTo>
                  <a:lnTo>
                    <a:pt x="260" y="294"/>
                  </a:lnTo>
                  <a:lnTo>
                    <a:pt x="260" y="294"/>
                  </a:lnTo>
                  <a:lnTo>
                    <a:pt x="260" y="291"/>
                  </a:lnTo>
                  <a:lnTo>
                    <a:pt x="260" y="291"/>
                  </a:lnTo>
                  <a:lnTo>
                    <a:pt x="258" y="291"/>
                  </a:lnTo>
                  <a:lnTo>
                    <a:pt x="258" y="291"/>
                  </a:lnTo>
                  <a:lnTo>
                    <a:pt x="258" y="289"/>
                  </a:lnTo>
                  <a:lnTo>
                    <a:pt x="258" y="289"/>
                  </a:lnTo>
                  <a:lnTo>
                    <a:pt x="258" y="289"/>
                  </a:lnTo>
                  <a:lnTo>
                    <a:pt x="258" y="287"/>
                  </a:lnTo>
                  <a:lnTo>
                    <a:pt x="255" y="287"/>
                  </a:lnTo>
                  <a:lnTo>
                    <a:pt x="258" y="287"/>
                  </a:lnTo>
                  <a:lnTo>
                    <a:pt x="255" y="287"/>
                  </a:lnTo>
                  <a:lnTo>
                    <a:pt x="255" y="284"/>
                  </a:lnTo>
                  <a:lnTo>
                    <a:pt x="255" y="284"/>
                  </a:lnTo>
                  <a:lnTo>
                    <a:pt x="255" y="282"/>
                  </a:lnTo>
                  <a:lnTo>
                    <a:pt x="255" y="280"/>
                  </a:lnTo>
                  <a:lnTo>
                    <a:pt x="255" y="280"/>
                  </a:lnTo>
                  <a:lnTo>
                    <a:pt x="255" y="280"/>
                  </a:lnTo>
                  <a:lnTo>
                    <a:pt x="255" y="277"/>
                  </a:lnTo>
                  <a:lnTo>
                    <a:pt x="253" y="277"/>
                  </a:lnTo>
                  <a:lnTo>
                    <a:pt x="253" y="277"/>
                  </a:lnTo>
                  <a:lnTo>
                    <a:pt x="251" y="275"/>
                  </a:lnTo>
                  <a:lnTo>
                    <a:pt x="251" y="275"/>
                  </a:lnTo>
                  <a:lnTo>
                    <a:pt x="251" y="275"/>
                  </a:lnTo>
                  <a:lnTo>
                    <a:pt x="251" y="275"/>
                  </a:lnTo>
                  <a:lnTo>
                    <a:pt x="248" y="275"/>
                  </a:lnTo>
                  <a:lnTo>
                    <a:pt x="248" y="275"/>
                  </a:lnTo>
                  <a:lnTo>
                    <a:pt x="248" y="273"/>
                  </a:lnTo>
                  <a:lnTo>
                    <a:pt x="246" y="273"/>
                  </a:lnTo>
                  <a:lnTo>
                    <a:pt x="246" y="273"/>
                  </a:lnTo>
                  <a:lnTo>
                    <a:pt x="244" y="273"/>
                  </a:lnTo>
                  <a:lnTo>
                    <a:pt x="244" y="273"/>
                  </a:lnTo>
                  <a:lnTo>
                    <a:pt x="244" y="270"/>
                  </a:lnTo>
                  <a:lnTo>
                    <a:pt x="244" y="270"/>
                  </a:lnTo>
                  <a:lnTo>
                    <a:pt x="244" y="270"/>
                  </a:lnTo>
                  <a:lnTo>
                    <a:pt x="244" y="270"/>
                  </a:lnTo>
                  <a:lnTo>
                    <a:pt x="244" y="270"/>
                  </a:lnTo>
                  <a:lnTo>
                    <a:pt x="244" y="270"/>
                  </a:lnTo>
                  <a:lnTo>
                    <a:pt x="241" y="270"/>
                  </a:lnTo>
                  <a:lnTo>
                    <a:pt x="241" y="270"/>
                  </a:lnTo>
                  <a:lnTo>
                    <a:pt x="241" y="268"/>
                  </a:lnTo>
                  <a:lnTo>
                    <a:pt x="241" y="268"/>
                  </a:lnTo>
                  <a:lnTo>
                    <a:pt x="241" y="268"/>
                  </a:lnTo>
                  <a:lnTo>
                    <a:pt x="241" y="268"/>
                  </a:lnTo>
                  <a:lnTo>
                    <a:pt x="241" y="265"/>
                  </a:lnTo>
                  <a:lnTo>
                    <a:pt x="241" y="265"/>
                  </a:lnTo>
                  <a:lnTo>
                    <a:pt x="241" y="265"/>
                  </a:lnTo>
                  <a:lnTo>
                    <a:pt x="241" y="265"/>
                  </a:lnTo>
                  <a:lnTo>
                    <a:pt x="241" y="263"/>
                  </a:lnTo>
                  <a:lnTo>
                    <a:pt x="241" y="263"/>
                  </a:lnTo>
                  <a:lnTo>
                    <a:pt x="241" y="263"/>
                  </a:lnTo>
                  <a:lnTo>
                    <a:pt x="241" y="263"/>
                  </a:lnTo>
                  <a:lnTo>
                    <a:pt x="239" y="263"/>
                  </a:lnTo>
                  <a:lnTo>
                    <a:pt x="239" y="263"/>
                  </a:lnTo>
                  <a:lnTo>
                    <a:pt x="239" y="263"/>
                  </a:lnTo>
                  <a:lnTo>
                    <a:pt x="239" y="263"/>
                  </a:lnTo>
                  <a:lnTo>
                    <a:pt x="239" y="261"/>
                  </a:lnTo>
                  <a:lnTo>
                    <a:pt x="239" y="261"/>
                  </a:lnTo>
                  <a:lnTo>
                    <a:pt x="239" y="261"/>
                  </a:lnTo>
                  <a:lnTo>
                    <a:pt x="239" y="261"/>
                  </a:lnTo>
                  <a:lnTo>
                    <a:pt x="239" y="258"/>
                  </a:lnTo>
                  <a:lnTo>
                    <a:pt x="239" y="258"/>
                  </a:lnTo>
                  <a:lnTo>
                    <a:pt x="239" y="258"/>
                  </a:lnTo>
                  <a:lnTo>
                    <a:pt x="239" y="258"/>
                  </a:lnTo>
                  <a:lnTo>
                    <a:pt x="239" y="256"/>
                  </a:lnTo>
                  <a:lnTo>
                    <a:pt x="239" y="256"/>
                  </a:lnTo>
                  <a:lnTo>
                    <a:pt x="239" y="256"/>
                  </a:lnTo>
                  <a:lnTo>
                    <a:pt x="239" y="254"/>
                  </a:lnTo>
                  <a:lnTo>
                    <a:pt x="239" y="254"/>
                  </a:lnTo>
                  <a:lnTo>
                    <a:pt x="239" y="254"/>
                  </a:lnTo>
                  <a:lnTo>
                    <a:pt x="239" y="254"/>
                  </a:lnTo>
                  <a:lnTo>
                    <a:pt x="239" y="251"/>
                  </a:lnTo>
                  <a:lnTo>
                    <a:pt x="239" y="251"/>
                  </a:lnTo>
                  <a:lnTo>
                    <a:pt x="239" y="251"/>
                  </a:lnTo>
                  <a:lnTo>
                    <a:pt x="239" y="251"/>
                  </a:lnTo>
                  <a:lnTo>
                    <a:pt x="239" y="251"/>
                  </a:lnTo>
                  <a:lnTo>
                    <a:pt x="239" y="249"/>
                  </a:lnTo>
                  <a:lnTo>
                    <a:pt x="239" y="249"/>
                  </a:lnTo>
                  <a:lnTo>
                    <a:pt x="239" y="249"/>
                  </a:lnTo>
                  <a:lnTo>
                    <a:pt x="239" y="246"/>
                  </a:lnTo>
                  <a:lnTo>
                    <a:pt x="239" y="246"/>
                  </a:lnTo>
                  <a:lnTo>
                    <a:pt x="239" y="246"/>
                  </a:lnTo>
                  <a:lnTo>
                    <a:pt x="239" y="244"/>
                  </a:lnTo>
                  <a:lnTo>
                    <a:pt x="239" y="244"/>
                  </a:lnTo>
                  <a:lnTo>
                    <a:pt x="239" y="244"/>
                  </a:lnTo>
                  <a:lnTo>
                    <a:pt x="239" y="244"/>
                  </a:lnTo>
                  <a:lnTo>
                    <a:pt x="239" y="244"/>
                  </a:lnTo>
                  <a:lnTo>
                    <a:pt x="239" y="244"/>
                  </a:lnTo>
                  <a:lnTo>
                    <a:pt x="237" y="242"/>
                  </a:lnTo>
                  <a:lnTo>
                    <a:pt x="237" y="242"/>
                  </a:lnTo>
                  <a:lnTo>
                    <a:pt x="237" y="242"/>
                  </a:lnTo>
                  <a:lnTo>
                    <a:pt x="237" y="239"/>
                  </a:lnTo>
                  <a:lnTo>
                    <a:pt x="237" y="239"/>
                  </a:lnTo>
                  <a:lnTo>
                    <a:pt x="237" y="239"/>
                  </a:lnTo>
                  <a:lnTo>
                    <a:pt x="237" y="237"/>
                  </a:lnTo>
                  <a:lnTo>
                    <a:pt x="237" y="237"/>
                  </a:lnTo>
                  <a:lnTo>
                    <a:pt x="237" y="235"/>
                  </a:lnTo>
                  <a:lnTo>
                    <a:pt x="239" y="235"/>
                  </a:lnTo>
                  <a:lnTo>
                    <a:pt x="237" y="235"/>
                  </a:lnTo>
                  <a:lnTo>
                    <a:pt x="237" y="232"/>
                  </a:lnTo>
                  <a:lnTo>
                    <a:pt x="239" y="232"/>
                  </a:lnTo>
                  <a:lnTo>
                    <a:pt x="239" y="232"/>
                  </a:lnTo>
                  <a:lnTo>
                    <a:pt x="239" y="232"/>
                  </a:lnTo>
                  <a:lnTo>
                    <a:pt x="239" y="232"/>
                  </a:lnTo>
                  <a:lnTo>
                    <a:pt x="239" y="232"/>
                  </a:lnTo>
                  <a:lnTo>
                    <a:pt x="237" y="232"/>
                  </a:lnTo>
                  <a:lnTo>
                    <a:pt x="237" y="232"/>
                  </a:lnTo>
                  <a:lnTo>
                    <a:pt x="237" y="232"/>
                  </a:lnTo>
                  <a:lnTo>
                    <a:pt x="237" y="232"/>
                  </a:lnTo>
                  <a:lnTo>
                    <a:pt x="237" y="232"/>
                  </a:lnTo>
                  <a:lnTo>
                    <a:pt x="237" y="230"/>
                  </a:lnTo>
                  <a:lnTo>
                    <a:pt x="237" y="230"/>
                  </a:lnTo>
                  <a:lnTo>
                    <a:pt x="237" y="230"/>
                  </a:lnTo>
                  <a:lnTo>
                    <a:pt x="237" y="230"/>
                  </a:lnTo>
                  <a:lnTo>
                    <a:pt x="234" y="230"/>
                  </a:lnTo>
                  <a:lnTo>
                    <a:pt x="232" y="230"/>
                  </a:lnTo>
                  <a:lnTo>
                    <a:pt x="232" y="230"/>
                  </a:lnTo>
                  <a:lnTo>
                    <a:pt x="229" y="230"/>
                  </a:lnTo>
                  <a:lnTo>
                    <a:pt x="229" y="230"/>
                  </a:lnTo>
                  <a:lnTo>
                    <a:pt x="229" y="228"/>
                  </a:lnTo>
                  <a:lnTo>
                    <a:pt x="227" y="228"/>
                  </a:lnTo>
                  <a:lnTo>
                    <a:pt x="227" y="228"/>
                  </a:lnTo>
                  <a:lnTo>
                    <a:pt x="227" y="228"/>
                  </a:lnTo>
                  <a:lnTo>
                    <a:pt x="227" y="225"/>
                  </a:lnTo>
                  <a:lnTo>
                    <a:pt x="227" y="225"/>
                  </a:lnTo>
                  <a:lnTo>
                    <a:pt x="227" y="223"/>
                  </a:lnTo>
                  <a:lnTo>
                    <a:pt x="227" y="223"/>
                  </a:lnTo>
                  <a:lnTo>
                    <a:pt x="227" y="223"/>
                  </a:lnTo>
                  <a:lnTo>
                    <a:pt x="227" y="220"/>
                  </a:lnTo>
                  <a:lnTo>
                    <a:pt x="227" y="220"/>
                  </a:lnTo>
                  <a:lnTo>
                    <a:pt x="225" y="218"/>
                  </a:lnTo>
                  <a:lnTo>
                    <a:pt x="225" y="218"/>
                  </a:lnTo>
                  <a:lnTo>
                    <a:pt x="225" y="216"/>
                  </a:lnTo>
                  <a:lnTo>
                    <a:pt x="225" y="216"/>
                  </a:lnTo>
                  <a:lnTo>
                    <a:pt x="225" y="216"/>
                  </a:lnTo>
                  <a:lnTo>
                    <a:pt x="225" y="213"/>
                  </a:lnTo>
                  <a:lnTo>
                    <a:pt x="225" y="213"/>
                  </a:lnTo>
                  <a:lnTo>
                    <a:pt x="225" y="213"/>
                  </a:lnTo>
                  <a:lnTo>
                    <a:pt x="225" y="213"/>
                  </a:lnTo>
                  <a:lnTo>
                    <a:pt x="225" y="211"/>
                  </a:lnTo>
                  <a:lnTo>
                    <a:pt x="225" y="211"/>
                  </a:lnTo>
                  <a:lnTo>
                    <a:pt x="225" y="211"/>
                  </a:lnTo>
                  <a:lnTo>
                    <a:pt x="225" y="211"/>
                  </a:lnTo>
                  <a:lnTo>
                    <a:pt x="222" y="209"/>
                  </a:lnTo>
                  <a:lnTo>
                    <a:pt x="222" y="209"/>
                  </a:lnTo>
                  <a:lnTo>
                    <a:pt x="222" y="209"/>
                  </a:lnTo>
                  <a:lnTo>
                    <a:pt x="220" y="211"/>
                  </a:lnTo>
                  <a:lnTo>
                    <a:pt x="220" y="211"/>
                  </a:lnTo>
                  <a:lnTo>
                    <a:pt x="220" y="211"/>
                  </a:lnTo>
                  <a:lnTo>
                    <a:pt x="220" y="211"/>
                  </a:lnTo>
                  <a:lnTo>
                    <a:pt x="220" y="211"/>
                  </a:lnTo>
                  <a:lnTo>
                    <a:pt x="218" y="211"/>
                  </a:lnTo>
                  <a:lnTo>
                    <a:pt x="218" y="211"/>
                  </a:lnTo>
                  <a:lnTo>
                    <a:pt x="218" y="209"/>
                  </a:lnTo>
                  <a:lnTo>
                    <a:pt x="218" y="209"/>
                  </a:lnTo>
                  <a:lnTo>
                    <a:pt x="218" y="209"/>
                  </a:lnTo>
                  <a:lnTo>
                    <a:pt x="218" y="209"/>
                  </a:lnTo>
                  <a:lnTo>
                    <a:pt x="218" y="206"/>
                  </a:lnTo>
                  <a:lnTo>
                    <a:pt x="218" y="206"/>
                  </a:lnTo>
                  <a:lnTo>
                    <a:pt x="218" y="206"/>
                  </a:lnTo>
                  <a:lnTo>
                    <a:pt x="218" y="206"/>
                  </a:lnTo>
                  <a:lnTo>
                    <a:pt x="218" y="206"/>
                  </a:lnTo>
                  <a:lnTo>
                    <a:pt x="218" y="206"/>
                  </a:lnTo>
                  <a:lnTo>
                    <a:pt x="218" y="206"/>
                  </a:lnTo>
                  <a:lnTo>
                    <a:pt x="218" y="206"/>
                  </a:lnTo>
                  <a:lnTo>
                    <a:pt x="218" y="204"/>
                  </a:lnTo>
                  <a:lnTo>
                    <a:pt x="218" y="204"/>
                  </a:lnTo>
                  <a:lnTo>
                    <a:pt x="218" y="204"/>
                  </a:lnTo>
                  <a:lnTo>
                    <a:pt x="218" y="204"/>
                  </a:lnTo>
                  <a:lnTo>
                    <a:pt x="218" y="204"/>
                  </a:lnTo>
                  <a:lnTo>
                    <a:pt x="218" y="204"/>
                  </a:lnTo>
                  <a:lnTo>
                    <a:pt x="218" y="204"/>
                  </a:lnTo>
                  <a:lnTo>
                    <a:pt x="215" y="204"/>
                  </a:lnTo>
                  <a:lnTo>
                    <a:pt x="215" y="204"/>
                  </a:lnTo>
                  <a:lnTo>
                    <a:pt x="215" y="204"/>
                  </a:lnTo>
                  <a:lnTo>
                    <a:pt x="215" y="202"/>
                  </a:lnTo>
                  <a:lnTo>
                    <a:pt x="215" y="204"/>
                  </a:lnTo>
                  <a:lnTo>
                    <a:pt x="215" y="204"/>
                  </a:lnTo>
                  <a:lnTo>
                    <a:pt x="215" y="204"/>
                  </a:lnTo>
                  <a:lnTo>
                    <a:pt x="213" y="204"/>
                  </a:lnTo>
                  <a:lnTo>
                    <a:pt x="213" y="204"/>
                  </a:lnTo>
                  <a:lnTo>
                    <a:pt x="213" y="204"/>
                  </a:lnTo>
                  <a:lnTo>
                    <a:pt x="213" y="204"/>
                  </a:lnTo>
                  <a:lnTo>
                    <a:pt x="213" y="204"/>
                  </a:lnTo>
                  <a:lnTo>
                    <a:pt x="213" y="204"/>
                  </a:lnTo>
                  <a:lnTo>
                    <a:pt x="213" y="204"/>
                  </a:lnTo>
                  <a:lnTo>
                    <a:pt x="213" y="206"/>
                  </a:lnTo>
                  <a:lnTo>
                    <a:pt x="213" y="206"/>
                  </a:lnTo>
                  <a:lnTo>
                    <a:pt x="213" y="206"/>
                  </a:lnTo>
                  <a:lnTo>
                    <a:pt x="213" y="206"/>
                  </a:lnTo>
                  <a:lnTo>
                    <a:pt x="211" y="206"/>
                  </a:lnTo>
                  <a:lnTo>
                    <a:pt x="211" y="204"/>
                  </a:lnTo>
                  <a:lnTo>
                    <a:pt x="211" y="204"/>
                  </a:lnTo>
                  <a:lnTo>
                    <a:pt x="211" y="204"/>
                  </a:lnTo>
                  <a:lnTo>
                    <a:pt x="211" y="204"/>
                  </a:lnTo>
                  <a:lnTo>
                    <a:pt x="211" y="202"/>
                  </a:lnTo>
                  <a:lnTo>
                    <a:pt x="211" y="202"/>
                  </a:lnTo>
                  <a:lnTo>
                    <a:pt x="211" y="202"/>
                  </a:lnTo>
                  <a:lnTo>
                    <a:pt x="211" y="202"/>
                  </a:lnTo>
                  <a:lnTo>
                    <a:pt x="211" y="199"/>
                  </a:lnTo>
                  <a:lnTo>
                    <a:pt x="211" y="199"/>
                  </a:lnTo>
                  <a:lnTo>
                    <a:pt x="211" y="199"/>
                  </a:lnTo>
                  <a:lnTo>
                    <a:pt x="211" y="199"/>
                  </a:lnTo>
                  <a:lnTo>
                    <a:pt x="211" y="199"/>
                  </a:lnTo>
                  <a:lnTo>
                    <a:pt x="211" y="197"/>
                  </a:lnTo>
                  <a:lnTo>
                    <a:pt x="211" y="197"/>
                  </a:lnTo>
                  <a:lnTo>
                    <a:pt x="211" y="197"/>
                  </a:lnTo>
                  <a:lnTo>
                    <a:pt x="211" y="197"/>
                  </a:lnTo>
                  <a:lnTo>
                    <a:pt x="211" y="194"/>
                  </a:lnTo>
                  <a:lnTo>
                    <a:pt x="211" y="194"/>
                  </a:lnTo>
                  <a:lnTo>
                    <a:pt x="211" y="194"/>
                  </a:lnTo>
                  <a:lnTo>
                    <a:pt x="211" y="192"/>
                  </a:lnTo>
                  <a:lnTo>
                    <a:pt x="208" y="192"/>
                  </a:lnTo>
                  <a:lnTo>
                    <a:pt x="208" y="192"/>
                  </a:lnTo>
                  <a:lnTo>
                    <a:pt x="208" y="192"/>
                  </a:lnTo>
                  <a:lnTo>
                    <a:pt x="208" y="192"/>
                  </a:lnTo>
                  <a:lnTo>
                    <a:pt x="208" y="192"/>
                  </a:lnTo>
                  <a:lnTo>
                    <a:pt x="208" y="192"/>
                  </a:lnTo>
                  <a:lnTo>
                    <a:pt x="208" y="190"/>
                  </a:lnTo>
                  <a:lnTo>
                    <a:pt x="208" y="190"/>
                  </a:lnTo>
                  <a:lnTo>
                    <a:pt x="208" y="190"/>
                  </a:lnTo>
                  <a:lnTo>
                    <a:pt x="208" y="190"/>
                  </a:lnTo>
                  <a:lnTo>
                    <a:pt x="208" y="190"/>
                  </a:lnTo>
                  <a:lnTo>
                    <a:pt x="208" y="190"/>
                  </a:lnTo>
                  <a:lnTo>
                    <a:pt x="208" y="187"/>
                  </a:lnTo>
                  <a:lnTo>
                    <a:pt x="208" y="187"/>
                  </a:lnTo>
                  <a:lnTo>
                    <a:pt x="208" y="187"/>
                  </a:lnTo>
                  <a:lnTo>
                    <a:pt x="208" y="187"/>
                  </a:lnTo>
                  <a:lnTo>
                    <a:pt x="208" y="187"/>
                  </a:lnTo>
                  <a:lnTo>
                    <a:pt x="208" y="187"/>
                  </a:lnTo>
                  <a:lnTo>
                    <a:pt x="208" y="185"/>
                  </a:lnTo>
                  <a:lnTo>
                    <a:pt x="208" y="185"/>
                  </a:lnTo>
                  <a:lnTo>
                    <a:pt x="206" y="183"/>
                  </a:lnTo>
                  <a:lnTo>
                    <a:pt x="203" y="178"/>
                  </a:lnTo>
                  <a:lnTo>
                    <a:pt x="203" y="178"/>
                  </a:lnTo>
                  <a:lnTo>
                    <a:pt x="203" y="178"/>
                  </a:lnTo>
                  <a:lnTo>
                    <a:pt x="201" y="178"/>
                  </a:lnTo>
                  <a:lnTo>
                    <a:pt x="201" y="178"/>
                  </a:lnTo>
                  <a:lnTo>
                    <a:pt x="201" y="178"/>
                  </a:lnTo>
                  <a:lnTo>
                    <a:pt x="201" y="176"/>
                  </a:lnTo>
                  <a:lnTo>
                    <a:pt x="201" y="176"/>
                  </a:lnTo>
                  <a:lnTo>
                    <a:pt x="201" y="176"/>
                  </a:lnTo>
                  <a:lnTo>
                    <a:pt x="201" y="176"/>
                  </a:lnTo>
                  <a:lnTo>
                    <a:pt x="199" y="176"/>
                  </a:lnTo>
                  <a:lnTo>
                    <a:pt x="199" y="173"/>
                  </a:lnTo>
                  <a:lnTo>
                    <a:pt x="199" y="173"/>
                  </a:lnTo>
                  <a:lnTo>
                    <a:pt x="199" y="173"/>
                  </a:lnTo>
                  <a:lnTo>
                    <a:pt x="196" y="173"/>
                  </a:lnTo>
                  <a:lnTo>
                    <a:pt x="196" y="171"/>
                  </a:lnTo>
                  <a:lnTo>
                    <a:pt x="196" y="171"/>
                  </a:lnTo>
                  <a:lnTo>
                    <a:pt x="196" y="171"/>
                  </a:lnTo>
                  <a:lnTo>
                    <a:pt x="196" y="171"/>
                  </a:lnTo>
                  <a:lnTo>
                    <a:pt x="196" y="171"/>
                  </a:lnTo>
                  <a:lnTo>
                    <a:pt x="196" y="168"/>
                  </a:lnTo>
                  <a:lnTo>
                    <a:pt x="196" y="168"/>
                  </a:lnTo>
                  <a:lnTo>
                    <a:pt x="194" y="168"/>
                  </a:lnTo>
                  <a:lnTo>
                    <a:pt x="194" y="168"/>
                  </a:lnTo>
                  <a:lnTo>
                    <a:pt x="194" y="168"/>
                  </a:lnTo>
                  <a:lnTo>
                    <a:pt x="194" y="168"/>
                  </a:lnTo>
                  <a:lnTo>
                    <a:pt x="194" y="168"/>
                  </a:lnTo>
                  <a:lnTo>
                    <a:pt x="194" y="168"/>
                  </a:lnTo>
                  <a:lnTo>
                    <a:pt x="194" y="168"/>
                  </a:lnTo>
                  <a:lnTo>
                    <a:pt x="194" y="168"/>
                  </a:lnTo>
                  <a:lnTo>
                    <a:pt x="192" y="166"/>
                  </a:lnTo>
                  <a:lnTo>
                    <a:pt x="192" y="166"/>
                  </a:lnTo>
                  <a:lnTo>
                    <a:pt x="192" y="166"/>
                  </a:lnTo>
                  <a:lnTo>
                    <a:pt x="192" y="166"/>
                  </a:lnTo>
                  <a:lnTo>
                    <a:pt x="192" y="166"/>
                  </a:lnTo>
                  <a:lnTo>
                    <a:pt x="192" y="164"/>
                  </a:lnTo>
                  <a:lnTo>
                    <a:pt x="192" y="164"/>
                  </a:lnTo>
                  <a:lnTo>
                    <a:pt x="192" y="164"/>
                  </a:lnTo>
                  <a:lnTo>
                    <a:pt x="189" y="164"/>
                  </a:lnTo>
                  <a:lnTo>
                    <a:pt x="189" y="164"/>
                  </a:lnTo>
                  <a:lnTo>
                    <a:pt x="189" y="164"/>
                  </a:lnTo>
                  <a:lnTo>
                    <a:pt x="189" y="164"/>
                  </a:lnTo>
                  <a:lnTo>
                    <a:pt x="189" y="164"/>
                  </a:lnTo>
                  <a:lnTo>
                    <a:pt x="189" y="164"/>
                  </a:lnTo>
                  <a:lnTo>
                    <a:pt x="189" y="161"/>
                  </a:lnTo>
                  <a:lnTo>
                    <a:pt x="189" y="161"/>
                  </a:lnTo>
                  <a:lnTo>
                    <a:pt x="189" y="161"/>
                  </a:lnTo>
                  <a:lnTo>
                    <a:pt x="189" y="161"/>
                  </a:lnTo>
                  <a:lnTo>
                    <a:pt x="189" y="161"/>
                  </a:lnTo>
                  <a:lnTo>
                    <a:pt x="189" y="161"/>
                  </a:lnTo>
                  <a:lnTo>
                    <a:pt x="187" y="161"/>
                  </a:lnTo>
                  <a:lnTo>
                    <a:pt x="187" y="161"/>
                  </a:lnTo>
                  <a:lnTo>
                    <a:pt x="187" y="161"/>
                  </a:lnTo>
                  <a:lnTo>
                    <a:pt x="187" y="161"/>
                  </a:lnTo>
                  <a:lnTo>
                    <a:pt x="187" y="161"/>
                  </a:lnTo>
                  <a:lnTo>
                    <a:pt x="187" y="161"/>
                  </a:lnTo>
                  <a:lnTo>
                    <a:pt x="187" y="161"/>
                  </a:lnTo>
                  <a:lnTo>
                    <a:pt x="187" y="161"/>
                  </a:lnTo>
                  <a:lnTo>
                    <a:pt x="187" y="159"/>
                  </a:lnTo>
                  <a:lnTo>
                    <a:pt x="187" y="159"/>
                  </a:lnTo>
                  <a:lnTo>
                    <a:pt x="187" y="159"/>
                  </a:lnTo>
                  <a:lnTo>
                    <a:pt x="187" y="159"/>
                  </a:lnTo>
                  <a:lnTo>
                    <a:pt x="187" y="159"/>
                  </a:lnTo>
                  <a:lnTo>
                    <a:pt x="187" y="159"/>
                  </a:lnTo>
                  <a:lnTo>
                    <a:pt x="185" y="159"/>
                  </a:lnTo>
                  <a:lnTo>
                    <a:pt x="185" y="159"/>
                  </a:lnTo>
                  <a:lnTo>
                    <a:pt x="185" y="157"/>
                  </a:lnTo>
                  <a:lnTo>
                    <a:pt x="185" y="157"/>
                  </a:lnTo>
                  <a:lnTo>
                    <a:pt x="185" y="159"/>
                  </a:lnTo>
                  <a:lnTo>
                    <a:pt x="185" y="157"/>
                  </a:lnTo>
                  <a:lnTo>
                    <a:pt x="185" y="157"/>
                  </a:lnTo>
                  <a:lnTo>
                    <a:pt x="185" y="157"/>
                  </a:lnTo>
                  <a:lnTo>
                    <a:pt x="185" y="157"/>
                  </a:lnTo>
                  <a:lnTo>
                    <a:pt x="185" y="157"/>
                  </a:lnTo>
                  <a:lnTo>
                    <a:pt x="185" y="157"/>
                  </a:lnTo>
                  <a:lnTo>
                    <a:pt x="185" y="157"/>
                  </a:lnTo>
                  <a:lnTo>
                    <a:pt x="182" y="157"/>
                  </a:lnTo>
                  <a:lnTo>
                    <a:pt x="182" y="157"/>
                  </a:lnTo>
                  <a:lnTo>
                    <a:pt x="182" y="157"/>
                  </a:lnTo>
                  <a:lnTo>
                    <a:pt x="182" y="157"/>
                  </a:lnTo>
                  <a:lnTo>
                    <a:pt x="182" y="159"/>
                  </a:lnTo>
                  <a:lnTo>
                    <a:pt x="182" y="159"/>
                  </a:lnTo>
                  <a:lnTo>
                    <a:pt x="182" y="159"/>
                  </a:lnTo>
                  <a:lnTo>
                    <a:pt x="182" y="159"/>
                  </a:lnTo>
                  <a:lnTo>
                    <a:pt x="182" y="159"/>
                  </a:lnTo>
                  <a:lnTo>
                    <a:pt x="182" y="159"/>
                  </a:lnTo>
                  <a:lnTo>
                    <a:pt x="182" y="159"/>
                  </a:lnTo>
                  <a:lnTo>
                    <a:pt x="180" y="159"/>
                  </a:lnTo>
                  <a:lnTo>
                    <a:pt x="180" y="157"/>
                  </a:lnTo>
                  <a:lnTo>
                    <a:pt x="180" y="157"/>
                  </a:lnTo>
                  <a:lnTo>
                    <a:pt x="180" y="157"/>
                  </a:lnTo>
                  <a:lnTo>
                    <a:pt x="180" y="157"/>
                  </a:lnTo>
                  <a:lnTo>
                    <a:pt x="180" y="157"/>
                  </a:lnTo>
                  <a:lnTo>
                    <a:pt x="180" y="157"/>
                  </a:lnTo>
                  <a:lnTo>
                    <a:pt x="177" y="157"/>
                  </a:lnTo>
                  <a:lnTo>
                    <a:pt x="177" y="154"/>
                  </a:lnTo>
                  <a:lnTo>
                    <a:pt x="177" y="154"/>
                  </a:lnTo>
                  <a:lnTo>
                    <a:pt x="177" y="154"/>
                  </a:lnTo>
                  <a:lnTo>
                    <a:pt x="177" y="154"/>
                  </a:lnTo>
                  <a:lnTo>
                    <a:pt x="177" y="154"/>
                  </a:lnTo>
                  <a:lnTo>
                    <a:pt x="177" y="154"/>
                  </a:lnTo>
                  <a:lnTo>
                    <a:pt x="180" y="154"/>
                  </a:lnTo>
                  <a:lnTo>
                    <a:pt x="177" y="154"/>
                  </a:lnTo>
                  <a:lnTo>
                    <a:pt x="177" y="152"/>
                  </a:lnTo>
                  <a:lnTo>
                    <a:pt x="177" y="152"/>
                  </a:lnTo>
                  <a:lnTo>
                    <a:pt x="177" y="150"/>
                  </a:lnTo>
                  <a:lnTo>
                    <a:pt x="177" y="150"/>
                  </a:lnTo>
                  <a:lnTo>
                    <a:pt x="177" y="150"/>
                  </a:lnTo>
                  <a:lnTo>
                    <a:pt x="175" y="150"/>
                  </a:lnTo>
                  <a:lnTo>
                    <a:pt x="175" y="147"/>
                  </a:lnTo>
                  <a:lnTo>
                    <a:pt x="173" y="145"/>
                  </a:lnTo>
                  <a:lnTo>
                    <a:pt x="173" y="145"/>
                  </a:lnTo>
                  <a:lnTo>
                    <a:pt x="173" y="142"/>
                  </a:lnTo>
                  <a:lnTo>
                    <a:pt x="173" y="142"/>
                  </a:lnTo>
                  <a:lnTo>
                    <a:pt x="173" y="140"/>
                  </a:lnTo>
                  <a:lnTo>
                    <a:pt x="173" y="140"/>
                  </a:lnTo>
                  <a:lnTo>
                    <a:pt x="170" y="138"/>
                  </a:lnTo>
                  <a:lnTo>
                    <a:pt x="170" y="138"/>
                  </a:lnTo>
                  <a:lnTo>
                    <a:pt x="170" y="138"/>
                  </a:lnTo>
                  <a:lnTo>
                    <a:pt x="170" y="135"/>
                  </a:lnTo>
                  <a:lnTo>
                    <a:pt x="170" y="135"/>
                  </a:lnTo>
                  <a:lnTo>
                    <a:pt x="170" y="135"/>
                  </a:lnTo>
                  <a:lnTo>
                    <a:pt x="170" y="135"/>
                  </a:lnTo>
                  <a:lnTo>
                    <a:pt x="170" y="133"/>
                  </a:lnTo>
                  <a:lnTo>
                    <a:pt x="170" y="133"/>
                  </a:lnTo>
                  <a:lnTo>
                    <a:pt x="170" y="133"/>
                  </a:lnTo>
                  <a:lnTo>
                    <a:pt x="170" y="131"/>
                  </a:lnTo>
                  <a:lnTo>
                    <a:pt x="170" y="131"/>
                  </a:lnTo>
                  <a:lnTo>
                    <a:pt x="170" y="131"/>
                  </a:lnTo>
                  <a:lnTo>
                    <a:pt x="170" y="128"/>
                  </a:lnTo>
                  <a:lnTo>
                    <a:pt x="170" y="128"/>
                  </a:lnTo>
                  <a:lnTo>
                    <a:pt x="170" y="128"/>
                  </a:lnTo>
                  <a:lnTo>
                    <a:pt x="173" y="126"/>
                  </a:lnTo>
                  <a:lnTo>
                    <a:pt x="173" y="126"/>
                  </a:lnTo>
                  <a:lnTo>
                    <a:pt x="173" y="123"/>
                  </a:lnTo>
                  <a:lnTo>
                    <a:pt x="173" y="123"/>
                  </a:lnTo>
                  <a:lnTo>
                    <a:pt x="173" y="121"/>
                  </a:lnTo>
                  <a:lnTo>
                    <a:pt x="173" y="121"/>
                  </a:lnTo>
                  <a:lnTo>
                    <a:pt x="173" y="119"/>
                  </a:lnTo>
                  <a:lnTo>
                    <a:pt x="173" y="119"/>
                  </a:lnTo>
                  <a:lnTo>
                    <a:pt x="173" y="119"/>
                  </a:lnTo>
                  <a:lnTo>
                    <a:pt x="173" y="116"/>
                  </a:lnTo>
                  <a:lnTo>
                    <a:pt x="173" y="116"/>
                  </a:lnTo>
                  <a:lnTo>
                    <a:pt x="173" y="116"/>
                  </a:lnTo>
                  <a:lnTo>
                    <a:pt x="173" y="116"/>
                  </a:lnTo>
                  <a:lnTo>
                    <a:pt x="173" y="114"/>
                  </a:lnTo>
                  <a:lnTo>
                    <a:pt x="170" y="114"/>
                  </a:lnTo>
                  <a:lnTo>
                    <a:pt x="170" y="112"/>
                  </a:lnTo>
                  <a:lnTo>
                    <a:pt x="170" y="109"/>
                  </a:lnTo>
                  <a:lnTo>
                    <a:pt x="170" y="109"/>
                  </a:lnTo>
                  <a:lnTo>
                    <a:pt x="170" y="107"/>
                  </a:lnTo>
                  <a:lnTo>
                    <a:pt x="173" y="107"/>
                  </a:lnTo>
                  <a:lnTo>
                    <a:pt x="173" y="107"/>
                  </a:lnTo>
                  <a:lnTo>
                    <a:pt x="173" y="105"/>
                  </a:lnTo>
                  <a:lnTo>
                    <a:pt x="173" y="105"/>
                  </a:lnTo>
                  <a:lnTo>
                    <a:pt x="173" y="102"/>
                  </a:lnTo>
                  <a:lnTo>
                    <a:pt x="173" y="102"/>
                  </a:lnTo>
                  <a:lnTo>
                    <a:pt x="173" y="100"/>
                  </a:lnTo>
                  <a:lnTo>
                    <a:pt x="173" y="100"/>
                  </a:lnTo>
                  <a:lnTo>
                    <a:pt x="173" y="100"/>
                  </a:lnTo>
                  <a:lnTo>
                    <a:pt x="173" y="100"/>
                  </a:lnTo>
                  <a:lnTo>
                    <a:pt x="173" y="97"/>
                  </a:lnTo>
                  <a:lnTo>
                    <a:pt x="173" y="97"/>
                  </a:lnTo>
                  <a:lnTo>
                    <a:pt x="173" y="97"/>
                  </a:lnTo>
                  <a:lnTo>
                    <a:pt x="173" y="95"/>
                  </a:lnTo>
                  <a:lnTo>
                    <a:pt x="170" y="95"/>
                  </a:lnTo>
                  <a:lnTo>
                    <a:pt x="168" y="93"/>
                  </a:lnTo>
                  <a:lnTo>
                    <a:pt x="168" y="93"/>
                  </a:lnTo>
                  <a:lnTo>
                    <a:pt x="168" y="93"/>
                  </a:lnTo>
                  <a:lnTo>
                    <a:pt x="168" y="90"/>
                  </a:lnTo>
                  <a:lnTo>
                    <a:pt x="168" y="90"/>
                  </a:lnTo>
                  <a:lnTo>
                    <a:pt x="168" y="90"/>
                  </a:lnTo>
                  <a:lnTo>
                    <a:pt x="168" y="88"/>
                  </a:lnTo>
                  <a:lnTo>
                    <a:pt x="168" y="88"/>
                  </a:lnTo>
                  <a:lnTo>
                    <a:pt x="166" y="86"/>
                  </a:lnTo>
                  <a:lnTo>
                    <a:pt x="166" y="83"/>
                  </a:lnTo>
                  <a:lnTo>
                    <a:pt x="166" y="83"/>
                  </a:lnTo>
                  <a:lnTo>
                    <a:pt x="168" y="79"/>
                  </a:lnTo>
                  <a:lnTo>
                    <a:pt x="168" y="76"/>
                  </a:lnTo>
                  <a:lnTo>
                    <a:pt x="170" y="74"/>
                  </a:lnTo>
                  <a:lnTo>
                    <a:pt x="170" y="67"/>
                  </a:lnTo>
                  <a:lnTo>
                    <a:pt x="170" y="64"/>
                  </a:lnTo>
                  <a:lnTo>
                    <a:pt x="173" y="62"/>
                  </a:lnTo>
                  <a:lnTo>
                    <a:pt x="173" y="62"/>
                  </a:lnTo>
                  <a:lnTo>
                    <a:pt x="175" y="60"/>
                  </a:lnTo>
                  <a:lnTo>
                    <a:pt x="175" y="60"/>
                  </a:lnTo>
                  <a:lnTo>
                    <a:pt x="173" y="57"/>
                  </a:lnTo>
                  <a:lnTo>
                    <a:pt x="173" y="57"/>
                  </a:lnTo>
                  <a:lnTo>
                    <a:pt x="173" y="53"/>
                  </a:lnTo>
                  <a:lnTo>
                    <a:pt x="173" y="53"/>
                  </a:lnTo>
                  <a:lnTo>
                    <a:pt x="173" y="53"/>
                  </a:lnTo>
                  <a:lnTo>
                    <a:pt x="173" y="50"/>
                  </a:lnTo>
                  <a:lnTo>
                    <a:pt x="173" y="50"/>
                  </a:lnTo>
                  <a:lnTo>
                    <a:pt x="170" y="50"/>
                  </a:lnTo>
                  <a:lnTo>
                    <a:pt x="170" y="48"/>
                  </a:lnTo>
                  <a:lnTo>
                    <a:pt x="170" y="48"/>
                  </a:lnTo>
                  <a:lnTo>
                    <a:pt x="170" y="48"/>
                  </a:lnTo>
                  <a:lnTo>
                    <a:pt x="168" y="48"/>
                  </a:lnTo>
                  <a:lnTo>
                    <a:pt x="168" y="45"/>
                  </a:lnTo>
                  <a:lnTo>
                    <a:pt x="168" y="45"/>
                  </a:lnTo>
                  <a:lnTo>
                    <a:pt x="166" y="45"/>
                  </a:lnTo>
                  <a:lnTo>
                    <a:pt x="166" y="45"/>
                  </a:lnTo>
                  <a:lnTo>
                    <a:pt x="166" y="45"/>
                  </a:lnTo>
                  <a:lnTo>
                    <a:pt x="166" y="43"/>
                  </a:lnTo>
                  <a:lnTo>
                    <a:pt x="166" y="43"/>
                  </a:lnTo>
                  <a:lnTo>
                    <a:pt x="166" y="43"/>
                  </a:lnTo>
                  <a:lnTo>
                    <a:pt x="166" y="43"/>
                  </a:lnTo>
                  <a:lnTo>
                    <a:pt x="166" y="43"/>
                  </a:lnTo>
                  <a:lnTo>
                    <a:pt x="166" y="43"/>
                  </a:lnTo>
                  <a:lnTo>
                    <a:pt x="166" y="43"/>
                  </a:lnTo>
                  <a:lnTo>
                    <a:pt x="166" y="45"/>
                  </a:lnTo>
                  <a:lnTo>
                    <a:pt x="166" y="45"/>
                  </a:lnTo>
                  <a:lnTo>
                    <a:pt x="168" y="45"/>
                  </a:lnTo>
                  <a:lnTo>
                    <a:pt x="168" y="45"/>
                  </a:lnTo>
                  <a:lnTo>
                    <a:pt x="168" y="45"/>
                  </a:lnTo>
                  <a:lnTo>
                    <a:pt x="168" y="45"/>
                  </a:lnTo>
                  <a:lnTo>
                    <a:pt x="170" y="45"/>
                  </a:lnTo>
                  <a:lnTo>
                    <a:pt x="170" y="45"/>
                  </a:lnTo>
                  <a:lnTo>
                    <a:pt x="173" y="48"/>
                  </a:lnTo>
                  <a:lnTo>
                    <a:pt x="173" y="48"/>
                  </a:lnTo>
                  <a:lnTo>
                    <a:pt x="173" y="50"/>
                  </a:lnTo>
                  <a:lnTo>
                    <a:pt x="175" y="50"/>
                  </a:lnTo>
                  <a:lnTo>
                    <a:pt x="175" y="53"/>
                  </a:lnTo>
                  <a:lnTo>
                    <a:pt x="175" y="53"/>
                  </a:lnTo>
                  <a:lnTo>
                    <a:pt x="177" y="53"/>
                  </a:lnTo>
                  <a:lnTo>
                    <a:pt x="177" y="53"/>
                  </a:lnTo>
                  <a:lnTo>
                    <a:pt x="177" y="53"/>
                  </a:lnTo>
                  <a:lnTo>
                    <a:pt x="177" y="53"/>
                  </a:lnTo>
                  <a:lnTo>
                    <a:pt x="177" y="53"/>
                  </a:lnTo>
                  <a:lnTo>
                    <a:pt x="180" y="55"/>
                  </a:lnTo>
                  <a:lnTo>
                    <a:pt x="180" y="55"/>
                  </a:lnTo>
                  <a:lnTo>
                    <a:pt x="180" y="55"/>
                  </a:lnTo>
                  <a:lnTo>
                    <a:pt x="182" y="55"/>
                  </a:lnTo>
                  <a:lnTo>
                    <a:pt x="185" y="55"/>
                  </a:lnTo>
                  <a:lnTo>
                    <a:pt x="185" y="57"/>
                  </a:lnTo>
                  <a:lnTo>
                    <a:pt x="187" y="60"/>
                  </a:lnTo>
                  <a:lnTo>
                    <a:pt x="187" y="62"/>
                  </a:lnTo>
                  <a:lnTo>
                    <a:pt x="189" y="62"/>
                  </a:lnTo>
                  <a:lnTo>
                    <a:pt x="189" y="62"/>
                  </a:lnTo>
                  <a:lnTo>
                    <a:pt x="189" y="62"/>
                  </a:lnTo>
                  <a:lnTo>
                    <a:pt x="192" y="64"/>
                  </a:lnTo>
                  <a:lnTo>
                    <a:pt x="194" y="67"/>
                  </a:lnTo>
                  <a:lnTo>
                    <a:pt x="194" y="67"/>
                  </a:lnTo>
                  <a:lnTo>
                    <a:pt x="194" y="67"/>
                  </a:lnTo>
                  <a:lnTo>
                    <a:pt x="194" y="67"/>
                  </a:lnTo>
                  <a:lnTo>
                    <a:pt x="194" y="67"/>
                  </a:lnTo>
                  <a:lnTo>
                    <a:pt x="196" y="69"/>
                  </a:lnTo>
                  <a:lnTo>
                    <a:pt x="196" y="69"/>
                  </a:lnTo>
                  <a:lnTo>
                    <a:pt x="199" y="71"/>
                  </a:lnTo>
                  <a:lnTo>
                    <a:pt x="199" y="71"/>
                  </a:lnTo>
                  <a:lnTo>
                    <a:pt x="201" y="71"/>
                  </a:lnTo>
                  <a:lnTo>
                    <a:pt x="203" y="71"/>
                  </a:lnTo>
                  <a:lnTo>
                    <a:pt x="206" y="71"/>
                  </a:lnTo>
                  <a:lnTo>
                    <a:pt x="206" y="71"/>
                  </a:lnTo>
                  <a:lnTo>
                    <a:pt x="206" y="71"/>
                  </a:lnTo>
                  <a:lnTo>
                    <a:pt x="206" y="71"/>
                  </a:lnTo>
                  <a:lnTo>
                    <a:pt x="206" y="71"/>
                  </a:lnTo>
                  <a:lnTo>
                    <a:pt x="208" y="71"/>
                  </a:lnTo>
                  <a:lnTo>
                    <a:pt x="208" y="71"/>
                  </a:lnTo>
                  <a:lnTo>
                    <a:pt x="208" y="69"/>
                  </a:lnTo>
                  <a:lnTo>
                    <a:pt x="208" y="69"/>
                  </a:lnTo>
                  <a:lnTo>
                    <a:pt x="208" y="69"/>
                  </a:lnTo>
                  <a:lnTo>
                    <a:pt x="208" y="69"/>
                  </a:lnTo>
                  <a:lnTo>
                    <a:pt x="208" y="69"/>
                  </a:lnTo>
                  <a:lnTo>
                    <a:pt x="208" y="69"/>
                  </a:lnTo>
                  <a:lnTo>
                    <a:pt x="208" y="69"/>
                  </a:lnTo>
                  <a:lnTo>
                    <a:pt x="208" y="69"/>
                  </a:lnTo>
                  <a:lnTo>
                    <a:pt x="208" y="67"/>
                  </a:lnTo>
                  <a:lnTo>
                    <a:pt x="208" y="67"/>
                  </a:lnTo>
                  <a:lnTo>
                    <a:pt x="208" y="64"/>
                  </a:lnTo>
                  <a:lnTo>
                    <a:pt x="208" y="64"/>
                  </a:lnTo>
                  <a:lnTo>
                    <a:pt x="208" y="64"/>
                  </a:lnTo>
                  <a:lnTo>
                    <a:pt x="208" y="67"/>
                  </a:lnTo>
                  <a:lnTo>
                    <a:pt x="211" y="67"/>
                  </a:lnTo>
                  <a:lnTo>
                    <a:pt x="211" y="67"/>
                  </a:lnTo>
                  <a:lnTo>
                    <a:pt x="211" y="67"/>
                  </a:lnTo>
                  <a:lnTo>
                    <a:pt x="213" y="67"/>
                  </a:lnTo>
                  <a:lnTo>
                    <a:pt x="213" y="69"/>
                  </a:lnTo>
                  <a:lnTo>
                    <a:pt x="213" y="69"/>
                  </a:lnTo>
                  <a:lnTo>
                    <a:pt x="215" y="69"/>
                  </a:lnTo>
                  <a:lnTo>
                    <a:pt x="218" y="69"/>
                  </a:lnTo>
                  <a:lnTo>
                    <a:pt x="218" y="71"/>
                  </a:lnTo>
                  <a:lnTo>
                    <a:pt x="220" y="71"/>
                  </a:lnTo>
                  <a:lnTo>
                    <a:pt x="222" y="74"/>
                  </a:lnTo>
                  <a:lnTo>
                    <a:pt x="222" y="76"/>
                  </a:lnTo>
                  <a:lnTo>
                    <a:pt x="222" y="76"/>
                  </a:lnTo>
                  <a:lnTo>
                    <a:pt x="222" y="81"/>
                  </a:lnTo>
                  <a:lnTo>
                    <a:pt x="222" y="81"/>
                  </a:lnTo>
                  <a:lnTo>
                    <a:pt x="222" y="81"/>
                  </a:lnTo>
                  <a:lnTo>
                    <a:pt x="222" y="81"/>
                  </a:lnTo>
                  <a:lnTo>
                    <a:pt x="220" y="81"/>
                  </a:lnTo>
                  <a:lnTo>
                    <a:pt x="222" y="83"/>
                  </a:lnTo>
                  <a:lnTo>
                    <a:pt x="222" y="83"/>
                  </a:lnTo>
                  <a:lnTo>
                    <a:pt x="225" y="83"/>
                  </a:lnTo>
                  <a:lnTo>
                    <a:pt x="225" y="86"/>
                  </a:lnTo>
                  <a:lnTo>
                    <a:pt x="227" y="86"/>
                  </a:lnTo>
                  <a:lnTo>
                    <a:pt x="229" y="86"/>
                  </a:lnTo>
                  <a:lnTo>
                    <a:pt x="237" y="88"/>
                  </a:lnTo>
                  <a:lnTo>
                    <a:pt x="237" y="88"/>
                  </a:lnTo>
                  <a:lnTo>
                    <a:pt x="239" y="88"/>
                  </a:lnTo>
                  <a:lnTo>
                    <a:pt x="239" y="88"/>
                  </a:lnTo>
                  <a:lnTo>
                    <a:pt x="237" y="88"/>
                  </a:lnTo>
                  <a:lnTo>
                    <a:pt x="237" y="88"/>
                  </a:lnTo>
                  <a:lnTo>
                    <a:pt x="237" y="88"/>
                  </a:lnTo>
                  <a:lnTo>
                    <a:pt x="237" y="88"/>
                  </a:lnTo>
                  <a:lnTo>
                    <a:pt x="239" y="86"/>
                  </a:lnTo>
                  <a:lnTo>
                    <a:pt x="239" y="86"/>
                  </a:lnTo>
                  <a:lnTo>
                    <a:pt x="239" y="88"/>
                  </a:lnTo>
                  <a:lnTo>
                    <a:pt x="239" y="88"/>
                  </a:lnTo>
                  <a:lnTo>
                    <a:pt x="239" y="90"/>
                  </a:lnTo>
                  <a:lnTo>
                    <a:pt x="241" y="90"/>
                  </a:lnTo>
                  <a:lnTo>
                    <a:pt x="241" y="93"/>
                  </a:lnTo>
                  <a:lnTo>
                    <a:pt x="244" y="93"/>
                  </a:lnTo>
                  <a:lnTo>
                    <a:pt x="244" y="93"/>
                  </a:lnTo>
                  <a:lnTo>
                    <a:pt x="241" y="93"/>
                  </a:lnTo>
                  <a:lnTo>
                    <a:pt x="241" y="90"/>
                  </a:lnTo>
                  <a:lnTo>
                    <a:pt x="241" y="90"/>
                  </a:lnTo>
                  <a:lnTo>
                    <a:pt x="244" y="90"/>
                  </a:lnTo>
                  <a:lnTo>
                    <a:pt x="244" y="93"/>
                  </a:lnTo>
                  <a:lnTo>
                    <a:pt x="244" y="93"/>
                  </a:lnTo>
                  <a:lnTo>
                    <a:pt x="246" y="95"/>
                  </a:lnTo>
                  <a:lnTo>
                    <a:pt x="246" y="95"/>
                  </a:lnTo>
                  <a:lnTo>
                    <a:pt x="246" y="97"/>
                  </a:lnTo>
                  <a:lnTo>
                    <a:pt x="244" y="100"/>
                  </a:lnTo>
                  <a:lnTo>
                    <a:pt x="244" y="102"/>
                  </a:lnTo>
                  <a:lnTo>
                    <a:pt x="244" y="102"/>
                  </a:lnTo>
                  <a:lnTo>
                    <a:pt x="244" y="102"/>
                  </a:lnTo>
                  <a:lnTo>
                    <a:pt x="241" y="100"/>
                  </a:lnTo>
                  <a:lnTo>
                    <a:pt x="241" y="100"/>
                  </a:lnTo>
                  <a:lnTo>
                    <a:pt x="241" y="100"/>
                  </a:lnTo>
                  <a:lnTo>
                    <a:pt x="241" y="97"/>
                  </a:lnTo>
                  <a:lnTo>
                    <a:pt x="241" y="97"/>
                  </a:lnTo>
                  <a:lnTo>
                    <a:pt x="241" y="100"/>
                  </a:lnTo>
                  <a:lnTo>
                    <a:pt x="241" y="102"/>
                  </a:lnTo>
                  <a:lnTo>
                    <a:pt x="241" y="105"/>
                  </a:lnTo>
                  <a:lnTo>
                    <a:pt x="241" y="107"/>
                  </a:lnTo>
                  <a:lnTo>
                    <a:pt x="241" y="109"/>
                  </a:lnTo>
                  <a:lnTo>
                    <a:pt x="239" y="112"/>
                  </a:lnTo>
                  <a:lnTo>
                    <a:pt x="241" y="114"/>
                  </a:lnTo>
                  <a:lnTo>
                    <a:pt x="241" y="119"/>
                  </a:lnTo>
                  <a:lnTo>
                    <a:pt x="244" y="121"/>
                  </a:lnTo>
                  <a:lnTo>
                    <a:pt x="244" y="126"/>
                  </a:lnTo>
                  <a:lnTo>
                    <a:pt x="248" y="128"/>
                  </a:lnTo>
                  <a:lnTo>
                    <a:pt x="248" y="133"/>
                  </a:lnTo>
                  <a:lnTo>
                    <a:pt x="248" y="133"/>
                  </a:lnTo>
                  <a:lnTo>
                    <a:pt x="248" y="135"/>
                  </a:lnTo>
                  <a:lnTo>
                    <a:pt x="248" y="138"/>
                  </a:lnTo>
                  <a:lnTo>
                    <a:pt x="248" y="140"/>
                  </a:lnTo>
                  <a:lnTo>
                    <a:pt x="248" y="140"/>
                  </a:lnTo>
                  <a:lnTo>
                    <a:pt x="248" y="140"/>
                  </a:lnTo>
                  <a:lnTo>
                    <a:pt x="248" y="140"/>
                  </a:lnTo>
                  <a:lnTo>
                    <a:pt x="248" y="140"/>
                  </a:lnTo>
                  <a:lnTo>
                    <a:pt x="251" y="140"/>
                  </a:lnTo>
                  <a:lnTo>
                    <a:pt x="251" y="140"/>
                  </a:lnTo>
                  <a:lnTo>
                    <a:pt x="251" y="142"/>
                  </a:lnTo>
                  <a:lnTo>
                    <a:pt x="251" y="142"/>
                  </a:lnTo>
                  <a:lnTo>
                    <a:pt x="253" y="142"/>
                  </a:lnTo>
                  <a:lnTo>
                    <a:pt x="253" y="145"/>
                  </a:lnTo>
                  <a:lnTo>
                    <a:pt x="253" y="147"/>
                  </a:lnTo>
                  <a:lnTo>
                    <a:pt x="251" y="150"/>
                  </a:lnTo>
                  <a:lnTo>
                    <a:pt x="251" y="152"/>
                  </a:lnTo>
                  <a:lnTo>
                    <a:pt x="253" y="152"/>
                  </a:lnTo>
                  <a:lnTo>
                    <a:pt x="253" y="152"/>
                  </a:lnTo>
                  <a:lnTo>
                    <a:pt x="253" y="154"/>
                  </a:lnTo>
                  <a:lnTo>
                    <a:pt x="253" y="154"/>
                  </a:lnTo>
                  <a:lnTo>
                    <a:pt x="251" y="157"/>
                  </a:lnTo>
                  <a:lnTo>
                    <a:pt x="251" y="157"/>
                  </a:lnTo>
                  <a:lnTo>
                    <a:pt x="251" y="157"/>
                  </a:lnTo>
                  <a:lnTo>
                    <a:pt x="251" y="159"/>
                  </a:lnTo>
                  <a:lnTo>
                    <a:pt x="253" y="159"/>
                  </a:lnTo>
                  <a:lnTo>
                    <a:pt x="253" y="159"/>
                  </a:lnTo>
                  <a:lnTo>
                    <a:pt x="253" y="159"/>
                  </a:lnTo>
                  <a:lnTo>
                    <a:pt x="253" y="159"/>
                  </a:lnTo>
                  <a:lnTo>
                    <a:pt x="255" y="159"/>
                  </a:lnTo>
                  <a:lnTo>
                    <a:pt x="255" y="161"/>
                  </a:lnTo>
                  <a:lnTo>
                    <a:pt x="255" y="164"/>
                  </a:lnTo>
                  <a:lnTo>
                    <a:pt x="255" y="164"/>
                  </a:lnTo>
                  <a:lnTo>
                    <a:pt x="255" y="166"/>
                  </a:lnTo>
                  <a:lnTo>
                    <a:pt x="258" y="166"/>
                  </a:lnTo>
                  <a:lnTo>
                    <a:pt x="258" y="168"/>
                  </a:lnTo>
                  <a:lnTo>
                    <a:pt x="258" y="168"/>
                  </a:lnTo>
                  <a:lnTo>
                    <a:pt x="258" y="171"/>
                  </a:lnTo>
                  <a:lnTo>
                    <a:pt x="258" y="171"/>
                  </a:lnTo>
                  <a:lnTo>
                    <a:pt x="260" y="171"/>
                  </a:lnTo>
                  <a:lnTo>
                    <a:pt x="260" y="171"/>
                  </a:lnTo>
                  <a:lnTo>
                    <a:pt x="260" y="176"/>
                  </a:lnTo>
                  <a:lnTo>
                    <a:pt x="263" y="176"/>
                  </a:lnTo>
                  <a:lnTo>
                    <a:pt x="263" y="178"/>
                  </a:lnTo>
                  <a:lnTo>
                    <a:pt x="263" y="178"/>
                  </a:lnTo>
                  <a:lnTo>
                    <a:pt x="263" y="180"/>
                  </a:lnTo>
                  <a:lnTo>
                    <a:pt x="263" y="180"/>
                  </a:lnTo>
                  <a:lnTo>
                    <a:pt x="265" y="180"/>
                  </a:lnTo>
                  <a:lnTo>
                    <a:pt x="265" y="180"/>
                  </a:lnTo>
                  <a:lnTo>
                    <a:pt x="265" y="183"/>
                  </a:lnTo>
                  <a:lnTo>
                    <a:pt x="265" y="183"/>
                  </a:lnTo>
                  <a:lnTo>
                    <a:pt x="265" y="183"/>
                  </a:lnTo>
                  <a:lnTo>
                    <a:pt x="263" y="185"/>
                  </a:lnTo>
                  <a:lnTo>
                    <a:pt x="263" y="187"/>
                  </a:lnTo>
                  <a:lnTo>
                    <a:pt x="263" y="187"/>
                  </a:lnTo>
                  <a:lnTo>
                    <a:pt x="263" y="190"/>
                  </a:lnTo>
                  <a:lnTo>
                    <a:pt x="265" y="190"/>
                  </a:lnTo>
                  <a:lnTo>
                    <a:pt x="265" y="192"/>
                  </a:lnTo>
                  <a:lnTo>
                    <a:pt x="265" y="192"/>
                  </a:lnTo>
                  <a:lnTo>
                    <a:pt x="267" y="190"/>
                  </a:lnTo>
                  <a:lnTo>
                    <a:pt x="265" y="190"/>
                  </a:lnTo>
                  <a:lnTo>
                    <a:pt x="267" y="190"/>
                  </a:lnTo>
                  <a:lnTo>
                    <a:pt x="267" y="190"/>
                  </a:lnTo>
                  <a:lnTo>
                    <a:pt x="267" y="190"/>
                  </a:lnTo>
                  <a:lnTo>
                    <a:pt x="270" y="190"/>
                  </a:lnTo>
                  <a:lnTo>
                    <a:pt x="270" y="190"/>
                  </a:lnTo>
                  <a:lnTo>
                    <a:pt x="270" y="192"/>
                  </a:lnTo>
                  <a:lnTo>
                    <a:pt x="272" y="194"/>
                  </a:lnTo>
                  <a:lnTo>
                    <a:pt x="270" y="194"/>
                  </a:lnTo>
                  <a:lnTo>
                    <a:pt x="270" y="197"/>
                  </a:lnTo>
                  <a:lnTo>
                    <a:pt x="270" y="197"/>
                  </a:lnTo>
                  <a:lnTo>
                    <a:pt x="272" y="199"/>
                  </a:lnTo>
                  <a:lnTo>
                    <a:pt x="272" y="199"/>
                  </a:lnTo>
                  <a:lnTo>
                    <a:pt x="272" y="199"/>
                  </a:lnTo>
                  <a:lnTo>
                    <a:pt x="272" y="202"/>
                  </a:lnTo>
                  <a:lnTo>
                    <a:pt x="272" y="202"/>
                  </a:lnTo>
                  <a:lnTo>
                    <a:pt x="272" y="202"/>
                  </a:lnTo>
                  <a:lnTo>
                    <a:pt x="272" y="202"/>
                  </a:lnTo>
                  <a:lnTo>
                    <a:pt x="272" y="204"/>
                  </a:lnTo>
                  <a:lnTo>
                    <a:pt x="272" y="204"/>
                  </a:lnTo>
                  <a:lnTo>
                    <a:pt x="272" y="204"/>
                  </a:lnTo>
                  <a:lnTo>
                    <a:pt x="272" y="206"/>
                  </a:lnTo>
                  <a:lnTo>
                    <a:pt x="272" y="206"/>
                  </a:lnTo>
                  <a:lnTo>
                    <a:pt x="272" y="209"/>
                  </a:lnTo>
                  <a:lnTo>
                    <a:pt x="272" y="209"/>
                  </a:lnTo>
                  <a:lnTo>
                    <a:pt x="272" y="209"/>
                  </a:lnTo>
                  <a:lnTo>
                    <a:pt x="272" y="209"/>
                  </a:lnTo>
                  <a:lnTo>
                    <a:pt x="272" y="209"/>
                  </a:lnTo>
                  <a:lnTo>
                    <a:pt x="272" y="209"/>
                  </a:lnTo>
                  <a:lnTo>
                    <a:pt x="274" y="209"/>
                  </a:lnTo>
                  <a:lnTo>
                    <a:pt x="274" y="209"/>
                  </a:lnTo>
                  <a:lnTo>
                    <a:pt x="274" y="209"/>
                  </a:lnTo>
                  <a:lnTo>
                    <a:pt x="274" y="211"/>
                  </a:lnTo>
                  <a:lnTo>
                    <a:pt x="274" y="211"/>
                  </a:lnTo>
                  <a:lnTo>
                    <a:pt x="277" y="211"/>
                  </a:lnTo>
                  <a:lnTo>
                    <a:pt x="277" y="213"/>
                  </a:lnTo>
                  <a:lnTo>
                    <a:pt x="277" y="213"/>
                  </a:lnTo>
                  <a:lnTo>
                    <a:pt x="277" y="213"/>
                  </a:lnTo>
                  <a:lnTo>
                    <a:pt x="277" y="216"/>
                  </a:lnTo>
                  <a:lnTo>
                    <a:pt x="279" y="216"/>
                  </a:lnTo>
                  <a:lnTo>
                    <a:pt x="279" y="216"/>
                  </a:lnTo>
                  <a:lnTo>
                    <a:pt x="279" y="216"/>
                  </a:lnTo>
                  <a:lnTo>
                    <a:pt x="282" y="218"/>
                  </a:lnTo>
                  <a:lnTo>
                    <a:pt x="282" y="218"/>
                  </a:lnTo>
                  <a:lnTo>
                    <a:pt x="284" y="218"/>
                  </a:lnTo>
                  <a:lnTo>
                    <a:pt x="284" y="218"/>
                  </a:lnTo>
                  <a:lnTo>
                    <a:pt x="284" y="220"/>
                  </a:lnTo>
                  <a:lnTo>
                    <a:pt x="284" y="220"/>
                  </a:lnTo>
                  <a:lnTo>
                    <a:pt x="284" y="220"/>
                  </a:lnTo>
                  <a:lnTo>
                    <a:pt x="284" y="220"/>
                  </a:lnTo>
                  <a:lnTo>
                    <a:pt x="284" y="220"/>
                  </a:lnTo>
                  <a:lnTo>
                    <a:pt x="284" y="220"/>
                  </a:lnTo>
                  <a:lnTo>
                    <a:pt x="284" y="220"/>
                  </a:lnTo>
                  <a:lnTo>
                    <a:pt x="284" y="220"/>
                  </a:lnTo>
                  <a:lnTo>
                    <a:pt x="282" y="220"/>
                  </a:lnTo>
                  <a:lnTo>
                    <a:pt x="282" y="220"/>
                  </a:lnTo>
                  <a:lnTo>
                    <a:pt x="282" y="220"/>
                  </a:lnTo>
                  <a:lnTo>
                    <a:pt x="282" y="220"/>
                  </a:lnTo>
                  <a:lnTo>
                    <a:pt x="279" y="220"/>
                  </a:lnTo>
                  <a:lnTo>
                    <a:pt x="279" y="220"/>
                  </a:lnTo>
                  <a:lnTo>
                    <a:pt x="279" y="220"/>
                  </a:lnTo>
                  <a:lnTo>
                    <a:pt x="282" y="223"/>
                  </a:lnTo>
                  <a:lnTo>
                    <a:pt x="286" y="230"/>
                  </a:lnTo>
                  <a:lnTo>
                    <a:pt x="289" y="232"/>
                  </a:lnTo>
                  <a:lnTo>
                    <a:pt x="289" y="235"/>
                  </a:lnTo>
                  <a:lnTo>
                    <a:pt x="289" y="237"/>
                  </a:lnTo>
                  <a:lnTo>
                    <a:pt x="289" y="237"/>
                  </a:lnTo>
                  <a:lnTo>
                    <a:pt x="291" y="237"/>
                  </a:lnTo>
                  <a:lnTo>
                    <a:pt x="291" y="237"/>
                  </a:lnTo>
                  <a:lnTo>
                    <a:pt x="293" y="239"/>
                  </a:lnTo>
                  <a:lnTo>
                    <a:pt x="298" y="239"/>
                  </a:lnTo>
                  <a:lnTo>
                    <a:pt x="298" y="242"/>
                  </a:lnTo>
                  <a:lnTo>
                    <a:pt x="300" y="242"/>
                  </a:lnTo>
                  <a:lnTo>
                    <a:pt x="300" y="242"/>
                  </a:lnTo>
                  <a:lnTo>
                    <a:pt x="300" y="242"/>
                  </a:lnTo>
                  <a:lnTo>
                    <a:pt x="300" y="244"/>
                  </a:lnTo>
                  <a:lnTo>
                    <a:pt x="300" y="244"/>
                  </a:lnTo>
                  <a:lnTo>
                    <a:pt x="300" y="244"/>
                  </a:lnTo>
                  <a:lnTo>
                    <a:pt x="303" y="246"/>
                  </a:lnTo>
                  <a:lnTo>
                    <a:pt x="303" y="249"/>
                  </a:lnTo>
                  <a:lnTo>
                    <a:pt x="303" y="249"/>
                  </a:lnTo>
                  <a:lnTo>
                    <a:pt x="303" y="249"/>
                  </a:lnTo>
                  <a:lnTo>
                    <a:pt x="303" y="249"/>
                  </a:lnTo>
                  <a:lnTo>
                    <a:pt x="303" y="251"/>
                  </a:lnTo>
                  <a:lnTo>
                    <a:pt x="303" y="251"/>
                  </a:lnTo>
                  <a:lnTo>
                    <a:pt x="303" y="251"/>
                  </a:lnTo>
                  <a:lnTo>
                    <a:pt x="303" y="251"/>
                  </a:lnTo>
                  <a:lnTo>
                    <a:pt x="305" y="251"/>
                  </a:lnTo>
                  <a:lnTo>
                    <a:pt x="305" y="254"/>
                  </a:lnTo>
                  <a:lnTo>
                    <a:pt x="305" y="256"/>
                  </a:lnTo>
                  <a:lnTo>
                    <a:pt x="305" y="256"/>
                  </a:lnTo>
                  <a:lnTo>
                    <a:pt x="308" y="258"/>
                  </a:lnTo>
                  <a:lnTo>
                    <a:pt x="308" y="258"/>
                  </a:lnTo>
                  <a:lnTo>
                    <a:pt x="308" y="261"/>
                  </a:lnTo>
                  <a:lnTo>
                    <a:pt x="310" y="261"/>
                  </a:lnTo>
                  <a:lnTo>
                    <a:pt x="310" y="261"/>
                  </a:lnTo>
                  <a:lnTo>
                    <a:pt x="310" y="263"/>
                  </a:lnTo>
                  <a:lnTo>
                    <a:pt x="312" y="263"/>
                  </a:lnTo>
                  <a:lnTo>
                    <a:pt x="312" y="263"/>
                  </a:lnTo>
                  <a:lnTo>
                    <a:pt x="312" y="263"/>
                  </a:lnTo>
                  <a:lnTo>
                    <a:pt x="312" y="263"/>
                  </a:lnTo>
                  <a:lnTo>
                    <a:pt x="315" y="265"/>
                  </a:lnTo>
                  <a:lnTo>
                    <a:pt x="312" y="265"/>
                  </a:lnTo>
                  <a:lnTo>
                    <a:pt x="312" y="265"/>
                  </a:lnTo>
                  <a:lnTo>
                    <a:pt x="315" y="265"/>
                  </a:lnTo>
                  <a:lnTo>
                    <a:pt x="315" y="265"/>
                  </a:lnTo>
                  <a:lnTo>
                    <a:pt x="317" y="265"/>
                  </a:lnTo>
                  <a:lnTo>
                    <a:pt x="317" y="265"/>
                  </a:lnTo>
                  <a:lnTo>
                    <a:pt x="317" y="265"/>
                  </a:lnTo>
                  <a:lnTo>
                    <a:pt x="319" y="265"/>
                  </a:lnTo>
                  <a:lnTo>
                    <a:pt x="319" y="265"/>
                  </a:lnTo>
                  <a:lnTo>
                    <a:pt x="319" y="268"/>
                  </a:lnTo>
                  <a:lnTo>
                    <a:pt x="319" y="268"/>
                  </a:lnTo>
                  <a:lnTo>
                    <a:pt x="319" y="268"/>
                  </a:lnTo>
                  <a:lnTo>
                    <a:pt x="319" y="268"/>
                  </a:lnTo>
                  <a:lnTo>
                    <a:pt x="319" y="268"/>
                  </a:lnTo>
                  <a:lnTo>
                    <a:pt x="319" y="268"/>
                  </a:lnTo>
                  <a:lnTo>
                    <a:pt x="319" y="268"/>
                  </a:lnTo>
                  <a:lnTo>
                    <a:pt x="319" y="268"/>
                  </a:lnTo>
                  <a:lnTo>
                    <a:pt x="319" y="268"/>
                  </a:lnTo>
                  <a:lnTo>
                    <a:pt x="322" y="270"/>
                  </a:lnTo>
                  <a:lnTo>
                    <a:pt x="322" y="270"/>
                  </a:lnTo>
                  <a:lnTo>
                    <a:pt x="322" y="270"/>
                  </a:lnTo>
                  <a:lnTo>
                    <a:pt x="322" y="270"/>
                  </a:lnTo>
                  <a:lnTo>
                    <a:pt x="322" y="273"/>
                  </a:lnTo>
                  <a:lnTo>
                    <a:pt x="322" y="270"/>
                  </a:lnTo>
                  <a:lnTo>
                    <a:pt x="324" y="270"/>
                  </a:lnTo>
                  <a:lnTo>
                    <a:pt x="324" y="270"/>
                  </a:lnTo>
                  <a:lnTo>
                    <a:pt x="324" y="268"/>
                  </a:lnTo>
                  <a:lnTo>
                    <a:pt x="324" y="268"/>
                  </a:lnTo>
                  <a:lnTo>
                    <a:pt x="324" y="268"/>
                  </a:lnTo>
                  <a:lnTo>
                    <a:pt x="322" y="268"/>
                  </a:lnTo>
                  <a:lnTo>
                    <a:pt x="324" y="268"/>
                  </a:lnTo>
                  <a:lnTo>
                    <a:pt x="324" y="268"/>
                  </a:lnTo>
                  <a:lnTo>
                    <a:pt x="324" y="265"/>
                  </a:lnTo>
                  <a:lnTo>
                    <a:pt x="324" y="265"/>
                  </a:lnTo>
                  <a:lnTo>
                    <a:pt x="324" y="263"/>
                  </a:lnTo>
                  <a:lnTo>
                    <a:pt x="326" y="263"/>
                  </a:lnTo>
                  <a:lnTo>
                    <a:pt x="326" y="265"/>
                  </a:lnTo>
                  <a:lnTo>
                    <a:pt x="326" y="265"/>
                  </a:lnTo>
                  <a:lnTo>
                    <a:pt x="326" y="265"/>
                  </a:lnTo>
                  <a:lnTo>
                    <a:pt x="326" y="265"/>
                  </a:lnTo>
                  <a:lnTo>
                    <a:pt x="326" y="265"/>
                  </a:lnTo>
                  <a:lnTo>
                    <a:pt x="326" y="268"/>
                  </a:lnTo>
                  <a:lnTo>
                    <a:pt x="324" y="268"/>
                  </a:lnTo>
                  <a:lnTo>
                    <a:pt x="324" y="268"/>
                  </a:lnTo>
                  <a:lnTo>
                    <a:pt x="324" y="268"/>
                  </a:lnTo>
                  <a:lnTo>
                    <a:pt x="326" y="268"/>
                  </a:lnTo>
                  <a:lnTo>
                    <a:pt x="329" y="268"/>
                  </a:lnTo>
                  <a:lnTo>
                    <a:pt x="329" y="268"/>
                  </a:lnTo>
                  <a:lnTo>
                    <a:pt x="331" y="270"/>
                  </a:lnTo>
                  <a:lnTo>
                    <a:pt x="334" y="270"/>
                  </a:lnTo>
                  <a:lnTo>
                    <a:pt x="334" y="270"/>
                  </a:lnTo>
                  <a:lnTo>
                    <a:pt x="336" y="270"/>
                  </a:lnTo>
                  <a:lnTo>
                    <a:pt x="336" y="270"/>
                  </a:lnTo>
                  <a:lnTo>
                    <a:pt x="334" y="270"/>
                  </a:lnTo>
                  <a:lnTo>
                    <a:pt x="336" y="270"/>
                  </a:lnTo>
                  <a:lnTo>
                    <a:pt x="338" y="273"/>
                  </a:lnTo>
                  <a:lnTo>
                    <a:pt x="338" y="270"/>
                  </a:lnTo>
                  <a:lnTo>
                    <a:pt x="338" y="273"/>
                  </a:lnTo>
                  <a:lnTo>
                    <a:pt x="338" y="273"/>
                  </a:lnTo>
                  <a:lnTo>
                    <a:pt x="336" y="273"/>
                  </a:lnTo>
                  <a:lnTo>
                    <a:pt x="336" y="273"/>
                  </a:lnTo>
                  <a:lnTo>
                    <a:pt x="336" y="273"/>
                  </a:lnTo>
                  <a:lnTo>
                    <a:pt x="336" y="275"/>
                  </a:lnTo>
                  <a:lnTo>
                    <a:pt x="336" y="275"/>
                  </a:lnTo>
                  <a:lnTo>
                    <a:pt x="336" y="275"/>
                  </a:lnTo>
                  <a:lnTo>
                    <a:pt x="334" y="273"/>
                  </a:lnTo>
                  <a:lnTo>
                    <a:pt x="334" y="275"/>
                  </a:lnTo>
                  <a:lnTo>
                    <a:pt x="334" y="275"/>
                  </a:lnTo>
                  <a:lnTo>
                    <a:pt x="336" y="275"/>
                  </a:lnTo>
                  <a:lnTo>
                    <a:pt x="336" y="275"/>
                  </a:lnTo>
                  <a:lnTo>
                    <a:pt x="336" y="277"/>
                  </a:lnTo>
                  <a:lnTo>
                    <a:pt x="336" y="277"/>
                  </a:lnTo>
                  <a:lnTo>
                    <a:pt x="336" y="277"/>
                  </a:lnTo>
                  <a:lnTo>
                    <a:pt x="336" y="277"/>
                  </a:lnTo>
                  <a:lnTo>
                    <a:pt x="336" y="277"/>
                  </a:lnTo>
                  <a:lnTo>
                    <a:pt x="336" y="277"/>
                  </a:lnTo>
                  <a:lnTo>
                    <a:pt x="336" y="277"/>
                  </a:lnTo>
                  <a:lnTo>
                    <a:pt x="336" y="280"/>
                  </a:lnTo>
                  <a:lnTo>
                    <a:pt x="336" y="280"/>
                  </a:lnTo>
                  <a:lnTo>
                    <a:pt x="334" y="280"/>
                  </a:lnTo>
                  <a:lnTo>
                    <a:pt x="334" y="280"/>
                  </a:lnTo>
                  <a:lnTo>
                    <a:pt x="336" y="280"/>
                  </a:lnTo>
                  <a:lnTo>
                    <a:pt x="336" y="280"/>
                  </a:lnTo>
                  <a:lnTo>
                    <a:pt x="336" y="280"/>
                  </a:lnTo>
                  <a:lnTo>
                    <a:pt x="336" y="282"/>
                  </a:lnTo>
                  <a:lnTo>
                    <a:pt x="334" y="282"/>
                  </a:lnTo>
                  <a:lnTo>
                    <a:pt x="334" y="282"/>
                  </a:lnTo>
                  <a:lnTo>
                    <a:pt x="334" y="282"/>
                  </a:lnTo>
                  <a:lnTo>
                    <a:pt x="334" y="284"/>
                  </a:lnTo>
                  <a:lnTo>
                    <a:pt x="334" y="287"/>
                  </a:lnTo>
                  <a:lnTo>
                    <a:pt x="334" y="289"/>
                  </a:lnTo>
                  <a:lnTo>
                    <a:pt x="334" y="291"/>
                  </a:lnTo>
                  <a:lnTo>
                    <a:pt x="336" y="294"/>
                  </a:lnTo>
                  <a:lnTo>
                    <a:pt x="336" y="294"/>
                  </a:lnTo>
                  <a:lnTo>
                    <a:pt x="336" y="296"/>
                  </a:lnTo>
                  <a:lnTo>
                    <a:pt x="336" y="296"/>
                  </a:lnTo>
                  <a:lnTo>
                    <a:pt x="336" y="296"/>
                  </a:lnTo>
                  <a:lnTo>
                    <a:pt x="336" y="296"/>
                  </a:lnTo>
                  <a:lnTo>
                    <a:pt x="336" y="296"/>
                  </a:lnTo>
                  <a:lnTo>
                    <a:pt x="338" y="296"/>
                  </a:lnTo>
                  <a:lnTo>
                    <a:pt x="338" y="296"/>
                  </a:lnTo>
                  <a:lnTo>
                    <a:pt x="338" y="296"/>
                  </a:lnTo>
                  <a:lnTo>
                    <a:pt x="338" y="296"/>
                  </a:lnTo>
                  <a:lnTo>
                    <a:pt x="338" y="296"/>
                  </a:lnTo>
                  <a:lnTo>
                    <a:pt x="338" y="296"/>
                  </a:lnTo>
                  <a:lnTo>
                    <a:pt x="338" y="296"/>
                  </a:lnTo>
                  <a:lnTo>
                    <a:pt x="338" y="299"/>
                  </a:lnTo>
                  <a:lnTo>
                    <a:pt x="341" y="299"/>
                  </a:lnTo>
                  <a:lnTo>
                    <a:pt x="341" y="301"/>
                  </a:lnTo>
                  <a:lnTo>
                    <a:pt x="341" y="301"/>
                  </a:lnTo>
                  <a:lnTo>
                    <a:pt x="338" y="301"/>
                  </a:lnTo>
                  <a:lnTo>
                    <a:pt x="338" y="301"/>
                  </a:lnTo>
                  <a:lnTo>
                    <a:pt x="336" y="301"/>
                  </a:lnTo>
                  <a:lnTo>
                    <a:pt x="336" y="301"/>
                  </a:lnTo>
                  <a:lnTo>
                    <a:pt x="336" y="301"/>
                  </a:lnTo>
                  <a:lnTo>
                    <a:pt x="338" y="301"/>
                  </a:lnTo>
                  <a:lnTo>
                    <a:pt x="338" y="301"/>
                  </a:lnTo>
                  <a:lnTo>
                    <a:pt x="341" y="303"/>
                  </a:lnTo>
                  <a:lnTo>
                    <a:pt x="343" y="306"/>
                  </a:lnTo>
                  <a:lnTo>
                    <a:pt x="343" y="308"/>
                  </a:lnTo>
                  <a:lnTo>
                    <a:pt x="345" y="308"/>
                  </a:lnTo>
                  <a:lnTo>
                    <a:pt x="345" y="308"/>
                  </a:lnTo>
                  <a:lnTo>
                    <a:pt x="348" y="308"/>
                  </a:lnTo>
                  <a:lnTo>
                    <a:pt x="348" y="310"/>
                  </a:lnTo>
                  <a:lnTo>
                    <a:pt x="350" y="310"/>
                  </a:lnTo>
                  <a:lnTo>
                    <a:pt x="350" y="310"/>
                  </a:lnTo>
                  <a:lnTo>
                    <a:pt x="353" y="310"/>
                  </a:lnTo>
                  <a:lnTo>
                    <a:pt x="355" y="313"/>
                  </a:lnTo>
                  <a:lnTo>
                    <a:pt x="355" y="313"/>
                  </a:lnTo>
                  <a:lnTo>
                    <a:pt x="357" y="313"/>
                  </a:lnTo>
                  <a:lnTo>
                    <a:pt x="357" y="313"/>
                  </a:lnTo>
                  <a:lnTo>
                    <a:pt x="357" y="313"/>
                  </a:lnTo>
                  <a:lnTo>
                    <a:pt x="357" y="310"/>
                  </a:lnTo>
                  <a:lnTo>
                    <a:pt x="357" y="310"/>
                  </a:lnTo>
                  <a:lnTo>
                    <a:pt x="357" y="310"/>
                  </a:lnTo>
                  <a:lnTo>
                    <a:pt x="360" y="310"/>
                  </a:lnTo>
                  <a:lnTo>
                    <a:pt x="360" y="313"/>
                  </a:lnTo>
                  <a:lnTo>
                    <a:pt x="360" y="313"/>
                  </a:lnTo>
                  <a:lnTo>
                    <a:pt x="362" y="313"/>
                  </a:lnTo>
                  <a:lnTo>
                    <a:pt x="362" y="315"/>
                  </a:lnTo>
                  <a:lnTo>
                    <a:pt x="362" y="317"/>
                  </a:lnTo>
                  <a:lnTo>
                    <a:pt x="362" y="317"/>
                  </a:lnTo>
                  <a:lnTo>
                    <a:pt x="364" y="320"/>
                  </a:lnTo>
                  <a:lnTo>
                    <a:pt x="362" y="320"/>
                  </a:lnTo>
                  <a:lnTo>
                    <a:pt x="362" y="317"/>
                  </a:lnTo>
                  <a:lnTo>
                    <a:pt x="362" y="317"/>
                  </a:lnTo>
                  <a:lnTo>
                    <a:pt x="360" y="317"/>
                  </a:lnTo>
                  <a:lnTo>
                    <a:pt x="362" y="320"/>
                  </a:lnTo>
                  <a:lnTo>
                    <a:pt x="362" y="320"/>
                  </a:lnTo>
                  <a:lnTo>
                    <a:pt x="362" y="322"/>
                  </a:lnTo>
                  <a:lnTo>
                    <a:pt x="362" y="322"/>
                  </a:lnTo>
                  <a:lnTo>
                    <a:pt x="364" y="325"/>
                  </a:lnTo>
                  <a:lnTo>
                    <a:pt x="364" y="327"/>
                  </a:lnTo>
                  <a:lnTo>
                    <a:pt x="364" y="327"/>
                  </a:lnTo>
                  <a:lnTo>
                    <a:pt x="364" y="329"/>
                  </a:lnTo>
                  <a:lnTo>
                    <a:pt x="367" y="332"/>
                  </a:lnTo>
                  <a:lnTo>
                    <a:pt x="367" y="334"/>
                  </a:lnTo>
                  <a:lnTo>
                    <a:pt x="369" y="334"/>
                  </a:lnTo>
                  <a:lnTo>
                    <a:pt x="371" y="334"/>
                  </a:lnTo>
                  <a:lnTo>
                    <a:pt x="371" y="334"/>
                  </a:lnTo>
                  <a:lnTo>
                    <a:pt x="371" y="334"/>
                  </a:lnTo>
                  <a:lnTo>
                    <a:pt x="374" y="334"/>
                  </a:lnTo>
                  <a:lnTo>
                    <a:pt x="374" y="334"/>
                  </a:lnTo>
                  <a:lnTo>
                    <a:pt x="379" y="334"/>
                  </a:lnTo>
                  <a:lnTo>
                    <a:pt x="379" y="336"/>
                  </a:lnTo>
                  <a:lnTo>
                    <a:pt x="381" y="336"/>
                  </a:lnTo>
                  <a:lnTo>
                    <a:pt x="379" y="336"/>
                  </a:lnTo>
                  <a:lnTo>
                    <a:pt x="379" y="334"/>
                  </a:lnTo>
                  <a:lnTo>
                    <a:pt x="379" y="334"/>
                  </a:lnTo>
                  <a:lnTo>
                    <a:pt x="379" y="334"/>
                  </a:lnTo>
                  <a:lnTo>
                    <a:pt x="379" y="334"/>
                  </a:lnTo>
                  <a:lnTo>
                    <a:pt x="379" y="334"/>
                  </a:lnTo>
                  <a:lnTo>
                    <a:pt x="379" y="334"/>
                  </a:lnTo>
                  <a:lnTo>
                    <a:pt x="376" y="334"/>
                  </a:lnTo>
                  <a:lnTo>
                    <a:pt x="379" y="334"/>
                  </a:lnTo>
                  <a:lnTo>
                    <a:pt x="379" y="332"/>
                  </a:lnTo>
                  <a:lnTo>
                    <a:pt x="379" y="332"/>
                  </a:lnTo>
                  <a:lnTo>
                    <a:pt x="379" y="332"/>
                  </a:lnTo>
                  <a:lnTo>
                    <a:pt x="379" y="334"/>
                  </a:lnTo>
                  <a:lnTo>
                    <a:pt x="381" y="332"/>
                  </a:lnTo>
                  <a:lnTo>
                    <a:pt x="381" y="332"/>
                  </a:lnTo>
                  <a:lnTo>
                    <a:pt x="381" y="334"/>
                  </a:lnTo>
                  <a:lnTo>
                    <a:pt x="381" y="334"/>
                  </a:lnTo>
                  <a:lnTo>
                    <a:pt x="381" y="334"/>
                  </a:lnTo>
                  <a:lnTo>
                    <a:pt x="383" y="334"/>
                  </a:lnTo>
                  <a:lnTo>
                    <a:pt x="383" y="334"/>
                  </a:lnTo>
                  <a:lnTo>
                    <a:pt x="383" y="334"/>
                  </a:lnTo>
                  <a:lnTo>
                    <a:pt x="383" y="336"/>
                  </a:lnTo>
                  <a:lnTo>
                    <a:pt x="383" y="336"/>
                  </a:lnTo>
                  <a:lnTo>
                    <a:pt x="381" y="336"/>
                  </a:lnTo>
                  <a:lnTo>
                    <a:pt x="381" y="336"/>
                  </a:lnTo>
                  <a:lnTo>
                    <a:pt x="381" y="336"/>
                  </a:lnTo>
                  <a:lnTo>
                    <a:pt x="381" y="336"/>
                  </a:lnTo>
                  <a:lnTo>
                    <a:pt x="381" y="336"/>
                  </a:lnTo>
                  <a:lnTo>
                    <a:pt x="383" y="336"/>
                  </a:lnTo>
                  <a:lnTo>
                    <a:pt x="383" y="339"/>
                  </a:lnTo>
                  <a:lnTo>
                    <a:pt x="386" y="341"/>
                  </a:lnTo>
                  <a:lnTo>
                    <a:pt x="388" y="341"/>
                  </a:lnTo>
                  <a:lnTo>
                    <a:pt x="388" y="343"/>
                  </a:lnTo>
                  <a:lnTo>
                    <a:pt x="390" y="346"/>
                  </a:lnTo>
                  <a:lnTo>
                    <a:pt x="390" y="348"/>
                  </a:lnTo>
                  <a:lnTo>
                    <a:pt x="390" y="351"/>
                  </a:lnTo>
                  <a:lnTo>
                    <a:pt x="390" y="353"/>
                  </a:lnTo>
                  <a:lnTo>
                    <a:pt x="390" y="353"/>
                  </a:lnTo>
                  <a:lnTo>
                    <a:pt x="390" y="353"/>
                  </a:lnTo>
                  <a:lnTo>
                    <a:pt x="390" y="353"/>
                  </a:lnTo>
                  <a:lnTo>
                    <a:pt x="393" y="353"/>
                  </a:lnTo>
                  <a:lnTo>
                    <a:pt x="393" y="353"/>
                  </a:lnTo>
                  <a:lnTo>
                    <a:pt x="393" y="353"/>
                  </a:lnTo>
                  <a:lnTo>
                    <a:pt x="393" y="353"/>
                  </a:lnTo>
                  <a:lnTo>
                    <a:pt x="393" y="353"/>
                  </a:lnTo>
                  <a:lnTo>
                    <a:pt x="393" y="353"/>
                  </a:lnTo>
                  <a:lnTo>
                    <a:pt x="393" y="353"/>
                  </a:lnTo>
                  <a:lnTo>
                    <a:pt x="393" y="353"/>
                  </a:lnTo>
                  <a:lnTo>
                    <a:pt x="395" y="355"/>
                  </a:lnTo>
                  <a:lnTo>
                    <a:pt x="395" y="358"/>
                  </a:lnTo>
                  <a:lnTo>
                    <a:pt x="397" y="358"/>
                  </a:lnTo>
                  <a:lnTo>
                    <a:pt x="397" y="358"/>
                  </a:lnTo>
                  <a:lnTo>
                    <a:pt x="397" y="358"/>
                  </a:lnTo>
                  <a:lnTo>
                    <a:pt x="395" y="358"/>
                  </a:lnTo>
                  <a:lnTo>
                    <a:pt x="395" y="358"/>
                  </a:lnTo>
                  <a:lnTo>
                    <a:pt x="395" y="358"/>
                  </a:lnTo>
                  <a:lnTo>
                    <a:pt x="395" y="360"/>
                  </a:lnTo>
                  <a:lnTo>
                    <a:pt x="395" y="360"/>
                  </a:lnTo>
                  <a:lnTo>
                    <a:pt x="395" y="360"/>
                  </a:lnTo>
                  <a:lnTo>
                    <a:pt x="393" y="358"/>
                  </a:lnTo>
                  <a:lnTo>
                    <a:pt x="393" y="358"/>
                  </a:lnTo>
                  <a:lnTo>
                    <a:pt x="393" y="358"/>
                  </a:lnTo>
                  <a:lnTo>
                    <a:pt x="393" y="358"/>
                  </a:lnTo>
                  <a:lnTo>
                    <a:pt x="393" y="355"/>
                  </a:lnTo>
                  <a:lnTo>
                    <a:pt x="393" y="355"/>
                  </a:lnTo>
                  <a:lnTo>
                    <a:pt x="393" y="355"/>
                  </a:lnTo>
                  <a:lnTo>
                    <a:pt x="393" y="353"/>
                  </a:lnTo>
                  <a:lnTo>
                    <a:pt x="393" y="353"/>
                  </a:lnTo>
                  <a:lnTo>
                    <a:pt x="390" y="353"/>
                  </a:lnTo>
                  <a:lnTo>
                    <a:pt x="390" y="353"/>
                  </a:lnTo>
                  <a:lnTo>
                    <a:pt x="390" y="358"/>
                  </a:lnTo>
                  <a:lnTo>
                    <a:pt x="390" y="358"/>
                  </a:lnTo>
                  <a:lnTo>
                    <a:pt x="388" y="360"/>
                  </a:lnTo>
                  <a:lnTo>
                    <a:pt x="388" y="362"/>
                  </a:lnTo>
                  <a:lnTo>
                    <a:pt x="388" y="362"/>
                  </a:lnTo>
                  <a:lnTo>
                    <a:pt x="388" y="362"/>
                  </a:lnTo>
                  <a:lnTo>
                    <a:pt x="386" y="362"/>
                  </a:lnTo>
                  <a:lnTo>
                    <a:pt x="386" y="362"/>
                  </a:lnTo>
                  <a:lnTo>
                    <a:pt x="386" y="362"/>
                  </a:lnTo>
                  <a:lnTo>
                    <a:pt x="388" y="360"/>
                  </a:lnTo>
                  <a:lnTo>
                    <a:pt x="388" y="360"/>
                  </a:lnTo>
                  <a:lnTo>
                    <a:pt x="388" y="360"/>
                  </a:lnTo>
                  <a:lnTo>
                    <a:pt x="388" y="358"/>
                  </a:lnTo>
                  <a:lnTo>
                    <a:pt x="388" y="358"/>
                  </a:lnTo>
                  <a:lnTo>
                    <a:pt x="388" y="358"/>
                  </a:lnTo>
                  <a:lnTo>
                    <a:pt x="388" y="358"/>
                  </a:lnTo>
                  <a:lnTo>
                    <a:pt x="388" y="358"/>
                  </a:lnTo>
                  <a:lnTo>
                    <a:pt x="388" y="358"/>
                  </a:lnTo>
                  <a:lnTo>
                    <a:pt x="388" y="355"/>
                  </a:lnTo>
                  <a:lnTo>
                    <a:pt x="388" y="355"/>
                  </a:lnTo>
                  <a:lnTo>
                    <a:pt x="388" y="355"/>
                  </a:lnTo>
                  <a:lnTo>
                    <a:pt x="388" y="355"/>
                  </a:lnTo>
                  <a:lnTo>
                    <a:pt x="388" y="358"/>
                  </a:lnTo>
                  <a:lnTo>
                    <a:pt x="388" y="358"/>
                  </a:lnTo>
                  <a:lnTo>
                    <a:pt x="386" y="362"/>
                  </a:lnTo>
                  <a:lnTo>
                    <a:pt x="383" y="365"/>
                  </a:lnTo>
                  <a:lnTo>
                    <a:pt x="383" y="365"/>
                  </a:lnTo>
                  <a:lnTo>
                    <a:pt x="381" y="367"/>
                  </a:lnTo>
                  <a:lnTo>
                    <a:pt x="379" y="370"/>
                  </a:lnTo>
                  <a:lnTo>
                    <a:pt x="379" y="370"/>
                  </a:lnTo>
                  <a:lnTo>
                    <a:pt x="379" y="372"/>
                  </a:lnTo>
                  <a:lnTo>
                    <a:pt x="379" y="372"/>
                  </a:lnTo>
                  <a:lnTo>
                    <a:pt x="379" y="374"/>
                  </a:lnTo>
                  <a:lnTo>
                    <a:pt x="379" y="374"/>
                  </a:lnTo>
                  <a:lnTo>
                    <a:pt x="381" y="377"/>
                  </a:lnTo>
                  <a:lnTo>
                    <a:pt x="381" y="377"/>
                  </a:lnTo>
                  <a:lnTo>
                    <a:pt x="379" y="377"/>
                  </a:lnTo>
                  <a:lnTo>
                    <a:pt x="379" y="377"/>
                  </a:lnTo>
                  <a:lnTo>
                    <a:pt x="379" y="377"/>
                  </a:lnTo>
                  <a:lnTo>
                    <a:pt x="379" y="379"/>
                  </a:lnTo>
                  <a:lnTo>
                    <a:pt x="379" y="381"/>
                  </a:lnTo>
                  <a:lnTo>
                    <a:pt x="379" y="381"/>
                  </a:lnTo>
                  <a:lnTo>
                    <a:pt x="379" y="381"/>
                  </a:lnTo>
                  <a:lnTo>
                    <a:pt x="381" y="381"/>
                  </a:lnTo>
                  <a:lnTo>
                    <a:pt x="381" y="384"/>
                  </a:lnTo>
                  <a:lnTo>
                    <a:pt x="379" y="384"/>
                  </a:lnTo>
                  <a:lnTo>
                    <a:pt x="379" y="386"/>
                  </a:lnTo>
                  <a:lnTo>
                    <a:pt x="379" y="386"/>
                  </a:lnTo>
                  <a:lnTo>
                    <a:pt x="381" y="386"/>
                  </a:lnTo>
                  <a:lnTo>
                    <a:pt x="381" y="384"/>
                  </a:lnTo>
                  <a:lnTo>
                    <a:pt x="381" y="384"/>
                  </a:lnTo>
                  <a:lnTo>
                    <a:pt x="381" y="381"/>
                  </a:lnTo>
                  <a:lnTo>
                    <a:pt x="381" y="381"/>
                  </a:lnTo>
                  <a:lnTo>
                    <a:pt x="383" y="384"/>
                  </a:lnTo>
                  <a:lnTo>
                    <a:pt x="383" y="384"/>
                  </a:lnTo>
                  <a:lnTo>
                    <a:pt x="383" y="384"/>
                  </a:lnTo>
                  <a:lnTo>
                    <a:pt x="386" y="384"/>
                  </a:lnTo>
                  <a:lnTo>
                    <a:pt x="386" y="384"/>
                  </a:lnTo>
                  <a:lnTo>
                    <a:pt x="386" y="384"/>
                  </a:lnTo>
                  <a:lnTo>
                    <a:pt x="386" y="386"/>
                  </a:lnTo>
                  <a:lnTo>
                    <a:pt x="386" y="386"/>
                  </a:lnTo>
                  <a:lnTo>
                    <a:pt x="386" y="386"/>
                  </a:lnTo>
                  <a:lnTo>
                    <a:pt x="383" y="386"/>
                  </a:lnTo>
                  <a:lnTo>
                    <a:pt x="383" y="386"/>
                  </a:lnTo>
                  <a:lnTo>
                    <a:pt x="383" y="386"/>
                  </a:lnTo>
                  <a:lnTo>
                    <a:pt x="383" y="388"/>
                  </a:lnTo>
                  <a:lnTo>
                    <a:pt x="383" y="388"/>
                  </a:lnTo>
                  <a:lnTo>
                    <a:pt x="381" y="386"/>
                  </a:lnTo>
                  <a:lnTo>
                    <a:pt x="381" y="388"/>
                  </a:lnTo>
                  <a:lnTo>
                    <a:pt x="379" y="388"/>
                  </a:lnTo>
                  <a:lnTo>
                    <a:pt x="381" y="388"/>
                  </a:lnTo>
                  <a:lnTo>
                    <a:pt x="386" y="388"/>
                  </a:lnTo>
                  <a:lnTo>
                    <a:pt x="388" y="391"/>
                  </a:lnTo>
                  <a:lnTo>
                    <a:pt x="388" y="391"/>
                  </a:lnTo>
                  <a:lnTo>
                    <a:pt x="390" y="393"/>
                  </a:lnTo>
                  <a:lnTo>
                    <a:pt x="390" y="393"/>
                  </a:lnTo>
                  <a:lnTo>
                    <a:pt x="390" y="393"/>
                  </a:lnTo>
                  <a:lnTo>
                    <a:pt x="390" y="391"/>
                  </a:lnTo>
                  <a:lnTo>
                    <a:pt x="388" y="388"/>
                  </a:lnTo>
                  <a:lnTo>
                    <a:pt x="386" y="388"/>
                  </a:lnTo>
                  <a:lnTo>
                    <a:pt x="386" y="388"/>
                  </a:lnTo>
                  <a:lnTo>
                    <a:pt x="386" y="386"/>
                  </a:lnTo>
                  <a:lnTo>
                    <a:pt x="386" y="386"/>
                  </a:lnTo>
                  <a:lnTo>
                    <a:pt x="388" y="388"/>
                  </a:lnTo>
                  <a:lnTo>
                    <a:pt x="388" y="388"/>
                  </a:lnTo>
                  <a:lnTo>
                    <a:pt x="390" y="388"/>
                  </a:lnTo>
                  <a:lnTo>
                    <a:pt x="390" y="388"/>
                  </a:lnTo>
                  <a:lnTo>
                    <a:pt x="390" y="388"/>
                  </a:lnTo>
                  <a:lnTo>
                    <a:pt x="390" y="391"/>
                  </a:lnTo>
                  <a:lnTo>
                    <a:pt x="390" y="391"/>
                  </a:lnTo>
                  <a:lnTo>
                    <a:pt x="393" y="393"/>
                  </a:lnTo>
                  <a:lnTo>
                    <a:pt x="393" y="393"/>
                  </a:lnTo>
                  <a:lnTo>
                    <a:pt x="393" y="391"/>
                  </a:lnTo>
                  <a:lnTo>
                    <a:pt x="395" y="393"/>
                  </a:lnTo>
                  <a:lnTo>
                    <a:pt x="395" y="391"/>
                  </a:lnTo>
                  <a:lnTo>
                    <a:pt x="397" y="388"/>
                  </a:lnTo>
                  <a:lnTo>
                    <a:pt x="397" y="388"/>
                  </a:lnTo>
                  <a:lnTo>
                    <a:pt x="400" y="388"/>
                  </a:lnTo>
                  <a:lnTo>
                    <a:pt x="402" y="388"/>
                  </a:lnTo>
                  <a:lnTo>
                    <a:pt x="402" y="388"/>
                  </a:lnTo>
                  <a:lnTo>
                    <a:pt x="405" y="386"/>
                  </a:lnTo>
                  <a:lnTo>
                    <a:pt x="405" y="384"/>
                  </a:lnTo>
                  <a:lnTo>
                    <a:pt x="405" y="384"/>
                  </a:lnTo>
                  <a:lnTo>
                    <a:pt x="407" y="381"/>
                  </a:lnTo>
                  <a:lnTo>
                    <a:pt x="407" y="384"/>
                  </a:lnTo>
                  <a:lnTo>
                    <a:pt x="407" y="384"/>
                  </a:lnTo>
                  <a:lnTo>
                    <a:pt x="405" y="386"/>
                  </a:lnTo>
                  <a:lnTo>
                    <a:pt x="405" y="386"/>
                  </a:lnTo>
                  <a:lnTo>
                    <a:pt x="405" y="388"/>
                  </a:lnTo>
                  <a:lnTo>
                    <a:pt x="402" y="388"/>
                  </a:lnTo>
                  <a:lnTo>
                    <a:pt x="402" y="388"/>
                  </a:lnTo>
                  <a:lnTo>
                    <a:pt x="402" y="388"/>
                  </a:lnTo>
                  <a:lnTo>
                    <a:pt x="402" y="388"/>
                  </a:lnTo>
                  <a:lnTo>
                    <a:pt x="402" y="388"/>
                  </a:lnTo>
                  <a:lnTo>
                    <a:pt x="402" y="388"/>
                  </a:lnTo>
                  <a:lnTo>
                    <a:pt x="402" y="388"/>
                  </a:lnTo>
                  <a:lnTo>
                    <a:pt x="402" y="391"/>
                  </a:lnTo>
                  <a:lnTo>
                    <a:pt x="402" y="391"/>
                  </a:lnTo>
                  <a:lnTo>
                    <a:pt x="400" y="393"/>
                  </a:lnTo>
                  <a:lnTo>
                    <a:pt x="400" y="393"/>
                  </a:lnTo>
                  <a:lnTo>
                    <a:pt x="400" y="393"/>
                  </a:lnTo>
                  <a:lnTo>
                    <a:pt x="400" y="393"/>
                  </a:lnTo>
                  <a:lnTo>
                    <a:pt x="400" y="393"/>
                  </a:lnTo>
                  <a:lnTo>
                    <a:pt x="400" y="393"/>
                  </a:lnTo>
                  <a:lnTo>
                    <a:pt x="397" y="396"/>
                  </a:lnTo>
                  <a:lnTo>
                    <a:pt x="397" y="396"/>
                  </a:lnTo>
                  <a:lnTo>
                    <a:pt x="397" y="396"/>
                  </a:lnTo>
                  <a:lnTo>
                    <a:pt x="397" y="396"/>
                  </a:lnTo>
                  <a:lnTo>
                    <a:pt x="397" y="393"/>
                  </a:lnTo>
                  <a:lnTo>
                    <a:pt x="397" y="393"/>
                  </a:lnTo>
                  <a:lnTo>
                    <a:pt x="397" y="393"/>
                  </a:lnTo>
                  <a:lnTo>
                    <a:pt x="397" y="393"/>
                  </a:lnTo>
                  <a:lnTo>
                    <a:pt x="395" y="393"/>
                  </a:lnTo>
                  <a:lnTo>
                    <a:pt x="395" y="393"/>
                  </a:lnTo>
                  <a:lnTo>
                    <a:pt x="395" y="393"/>
                  </a:lnTo>
                  <a:lnTo>
                    <a:pt x="393" y="393"/>
                  </a:lnTo>
                  <a:lnTo>
                    <a:pt x="393" y="393"/>
                  </a:lnTo>
                  <a:lnTo>
                    <a:pt x="393" y="396"/>
                  </a:lnTo>
                  <a:lnTo>
                    <a:pt x="393" y="396"/>
                  </a:lnTo>
                  <a:lnTo>
                    <a:pt x="395" y="398"/>
                  </a:lnTo>
                  <a:lnTo>
                    <a:pt x="395" y="398"/>
                  </a:lnTo>
                  <a:lnTo>
                    <a:pt x="397" y="398"/>
                  </a:lnTo>
                  <a:lnTo>
                    <a:pt x="397" y="398"/>
                  </a:lnTo>
                  <a:lnTo>
                    <a:pt x="397" y="398"/>
                  </a:lnTo>
                  <a:lnTo>
                    <a:pt x="397" y="398"/>
                  </a:lnTo>
                  <a:lnTo>
                    <a:pt x="400" y="398"/>
                  </a:lnTo>
                  <a:lnTo>
                    <a:pt x="400" y="398"/>
                  </a:lnTo>
                  <a:lnTo>
                    <a:pt x="400" y="398"/>
                  </a:lnTo>
                  <a:lnTo>
                    <a:pt x="400" y="398"/>
                  </a:lnTo>
                  <a:lnTo>
                    <a:pt x="400" y="398"/>
                  </a:lnTo>
                  <a:lnTo>
                    <a:pt x="400" y="398"/>
                  </a:lnTo>
                  <a:lnTo>
                    <a:pt x="400" y="398"/>
                  </a:lnTo>
                  <a:lnTo>
                    <a:pt x="400" y="398"/>
                  </a:lnTo>
                  <a:lnTo>
                    <a:pt x="400" y="398"/>
                  </a:lnTo>
                  <a:lnTo>
                    <a:pt x="402" y="398"/>
                  </a:lnTo>
                  <a:lnTo>
                    <a:pt x="402" y="398"/>
                  </a:lnTo>
                  <a:lnTo>
                    <a:pt x="402" y="398"/>
                  </a:lnTo>
                  <a:lnTo>
                    <a:pt x="402" y="398"/>
                  </a:lnTo>
                  <a:lnTo>
                    <a:pt x="402" y="398"/>
                  </a:lnTo>
                  <a:lnTo>
                    <a:pt x="402" y="396"/>
                  </a:lnTo>
                  <a:lnTo>
                    <a:pt x="402" y="396"/>
                  </a:lnTo>
                  <a:lnTo>
                    <a:pt x="402" y="396"/>
                  </a:lnTo>
                  <a:lnTo>
                    <a:pt x="402" y="396"/>
                  </a:lnTo>
                  <a:lnTo>
                    <a:pt x="402" y="396"/>
                  </a:lnTo>
                  <a:lnTo>
                    <a:pt x="402" y="393"/>
                  </a:lnTo>
                  <a:lnTo>
                    <a:pt x="402" y="396"/>
                  </a:lnTo>
                  <a:lnTo>
                    <a:pt x="405" y="396"/>
                  </a:lnTo>
                  <a:lnTo>
                    <a:pt x="405" y="396"/>
                  </a:lnTo>
                  <a:lnTo>
                    <a:pt x="405" y="396"/>
                  </a:lnTo>
                  <a:lnTo>
                    <a:pt x="405" y="396"/>
                  </a:lnTo>
                  <a:lnTo>
                    <a:pt x="405" y="396"/>
                  </a:lnTo>
                  <a:lnTo>
                    <a:pt x="405" y="396"/>
                  </a:lnTo>
                  <a:lnTo>
                    <a:pt x="405" y="396"/>
                  </a:lnTo>
                  <a:lnTo>
                    <a:pt x="405" y="396"/>
                  </a:lnTo>
                  <a:lnTo>
                    <a:pt x="407" y="396"/>
                  </a:lnTo>
                  <a:lnTo>
                    <a:pt x="407" y="396"/>
                  </a:lnTo>
                  <a:lnTo>
                    <a:pt x="407" y="396"/>
                  </a:lnTo>
                  <a:lnTo>
                    <a:pt x="407" y="396"/>
                  </a:lnTo>
                  <a:lnTo>
                    <a:pt x="407" y="396"/>
                  </a:lnTo>
                  <a:lnTo>
                    <a:pt x="407" y="398"/>
                  </a:lnTo>
                  <a:lnTo>
                    <a:pt x="407" y="400"/>
                  </a:lnTo>
                  <a:lnTo>
                    <a:pt x="407" y="400"/>
                  </a:lnTo>
                  <a:lnTo>
                    <a:pt x="407" y="400"/>
                  </a:lnTo>
                  <a:lnTo>
                    <a:pt x="407" y="400"/>
                  </a:lnTo>
                  <a:lnTo>
                    <a:pt x="409" y="400"/>
                  </a:lnTo>
                  <a:lnTo>
                    <a:pt x="409" y="400"/>
                  </a:lnTo>
                  <a:lnTo>
                    <a:pt x="409" y="400"/>
                  </a:lnTo>
                  <a:lnTo>
                    <a:pt x="409" y="403"/>
                  </a:lnTo>
                  <a:lnTo>
                    <a:pt x="409" y="403"/>
                  </a:lnTo>
                  <a:lnTo>
                    <a:pt x="409" y="403"/>
                  </a:lnTo>
                  <a:lnTo>
                    <a:pt x="409" y="403"/>
                  </a:lnTo>
                  <a:lnTo>
                    <a:pt x="407" y="403"/>
                  </a:lnTo>
                  <a:lnTo>
                    <a:pt x="407" y="405"/>
                  </a:lnTo>
                  <a:lnTo>
                    <a:pt x="409" y="405"/>
                  </a:lnTo>
                  <a:lnTo>
                    <a:pt x="412" y="403"/>
                  </a:lnTo>
                  <a:lnTo>
                    <a:pt x="412" y="403"/>
                  </a:lnTo>
                  <a:lnTo>
                    <a:pt x="414" y="405"/>
                  </a:lnTo>
                  <a:lnTo>
                    <a:pt x="416" y="405"/>
                  </a:lnTo>
                  <a:lnTo>
                    <a:pt x="412" y="405"/>
                  </a:lnTo>
                  <a:lnTo>
                    <a:pt x="409" y="405"/>
                  </a:lnTo>
                  <a:lnTo>
                    <a:pt x="409" y="405"/>
                  </a:lnTo>
                  <a:lnTo>
                    <a:pt x="412" y="405"/>
                  </a:lnTo>
                  <a:lnTo>
                    <a:pt x="412" y="405"/>
                  </a:lnTo>
                  <a:lnTo>
                    <a:pt x="414" y="407"/>
                  </a:lnTo>
                  <a:lnTo>
                    <a:pt x="416" y="407"/>
                  </a:lnTo>
                  <a:lnTo>
                    <a:pt x="421" y="410"/>
                  </a:lnTo>
                  <a:lnTo>
                    <a:pt x="421" y="412"/>
                  </a:lnTo>
                  <a:lnTo>
                    <a:pt x="424" y="412"/>
                  </a:lnTo>
                  <a:lnTo>
                    <a:pt x="424" y="412"/>
                  </a:lnTo>
                  <a:lnTo>
                    <a:pt x="424" y="414"/>
                  </a:lnTo>
                  <a:lnTo>
                    <a:pt x="424" y="414"/>
                  </a:lnTo>
                  <a:lnTo>
                    <a:pt x="424" y="417"/>
                  </a:lnTo>
                  <a:lnTo>
                    <a:pt x="424" y="417"/>
                  </a:lnTo>
                  <a:lnTo>
                    <a:pt x="424" y="417"/>
                  </a:lnTo>
                  <a:lnTo>
                    <a:pt x="426" y="412"/>
                  </a:lnTo>
                  <a:lnTo>
                    <a:pt x="426" y="412"/>
                  </a:lnTo>
                  <a:lnTo>
                    <a:pt x="428" y="412"/>
                  </a:lnTo>
                  <a:lnTo>
                    <a:pt x="428" y="412"/>
                  </a:lnTo>
                  <a:lnTo>
                    <a:pt x="428" y="412"/>
                  </a:lnTo>
                  <a:lnTo>
                    <a:pt x="428" y="414"/>
                  </a:lnTo>
                  <a:lnTo>
                    <a:pt x="428" y="414"/>
                  </a:lnTo>
                  <a:lnTo>
                    <a:pt x="428" y="414"/>
                  </a:lnTo>
                  <a:lnTo>
                    <a:pt x="426" y="414"/>
                  </a:lnTo>
                  <a:lnTo>
                    <a:pt x="426" y="414"/>
                  </a:lnTo>
                  <a:lnTo>
                    <a:pt x="426" y="414"/>
                  </a:lnTo>
                  <a:lnTo>
                    <a:pt x="426" y="417"/>
                  </a:lnTo>
                  <a:lnTo>
                    <a:pt x="426" y="417"/>
                  </a:lnTo>
                  <a:lnTo>
                    <a:pt x="428" y="417"/>
                  </a:lnTo>
                  <a:lnTo>
                    <a:pt x="428" y="417"/>
                  </a:lnTo>
                  <a:lnTo>
                    <a:pt x="431" y="417"/>
                  </a:lnTo>
                  <a:lnTo>
                    <a:pt x="431" y="417"/>
                  </a:lnTo>
                  <a:lnTo>
                    <a:pt x="431" y="417"/>
                  </a:lnTo>
                  <a:lnTo>
                    <a:pt x="431" y="417"/>
                  </a:lnTo>
                  <a:lnTo>
                    <a:pt x="433" y="417"/>
                  </a:lnTo>
                  <a:lnTo>
                    <a:pt x="433" y="417"/>
                  </a:lnTo>
                  <a:lnTo>
                    <a:pt x="433" y="419"/>
                  </a:lnTo>
                  <a:lnTo>
                    <a:pt x="433" y="419"/>
                  </a:lnTo>
                  <a:lnTo>
                    <a:pt x="435" y="419"/>
                  </a:lnTo>
                  <a:lnTo>
                    <a:pt x="435" y="419"/>
                  </a:lnTo>
                  <a:lnTo>
                    <a:pt x="435" y="419"/>
                  </a:lnTo>
                  <a:lnTo>
                    <a:pt x="435" y="419"/>
                  </a:lnTo>
                  <a:lnTo>
                    <a:pt x="435" y="419"/>
                  </a:lnTo>
                  <a:lnTo>
                    <a:pt x="435" y="419"/>
                  </a:lnTo>
                  <a:lnTo>
                    <a:pt x="435" y="419"/>
                  </a:lnTo>
                  <a:lnTo>
                    <a:pt x="438" y="419"/>
                  </a:lnTo>
                  <a:lnTo>
                    <a:pt x="442" y="424"/>
                  </a:lnTo>
                  <a:lnTo>
                    <a:pt x="442" y="424"/>
                  </a:lnTo>
                  <a:lnTo>
                    <a:pt x="440" y="426"/>
                  </a:lnTo>
                  <a:lnTo>
                    <a:pt x="440" y="426"/>
                  </a:lnTo>
                  <a:lnTo>
                    <a:pt x="440" y="424"/>
                  </a:lnTo>
                  <a:lnTo>
                    <a:pt x="438" y="424"/>
                  </a:lnTo>
                  <a:lnTo>
                    <a:pt x="438" y="424"/>
                  </a:lnTo>
                  <a:lnTo>
                    <a:pt x="435" y="424"/>
                  </a:lnTo>
                  <a:lnTo>
                    <a:pt x="435" y="422"/>
                  </a:lnTo>
                  <a:lnTo>
                    <a:pt x="435" y="422"/>
                  </a:lnTo>
                  <a:lnTo>
                    <a:pt x="435" y="422"/>
                  </a:lnTo>
                  <a:lnTo>
                    <a:pt x="435" y="424"/>
                  </a:lnTo>
                  <a:lnTo>
                    <a:pt x="435" y="424"/>
                  </a:lnTo>
                  <a:lnTo>
                    <a:pt x="433" y="424"/>
                  </a:lnTo>
                  <a:lnTo>
                    <a:pt x="433" y="424"/>
                  </a:lnTo>
                  <a:lnTo>
                    <a:pt x="435" y="424"/>
                  </a:lnTo>
                  <a:lnTo>
                    <a:pt x="435" y="424"/>
                  </a:lnTo>
                  <a:lnTo>
                    <a:pt x="435" y="424"/>
                  </a:lnTo>
                  <a:lnTo>
                    <a:pt x="435" y="426"/>
                  </a:lnTo>
                  <a:lnTo>
                    <a:pt x="435" y="426"/>
                  </a:lnTo>
                  <a:lnTo>
                    <a:pt x="435" y="426"/>
                  </a:lnTo>
                  <a:lnTo>
                    <a:pt x="435" y="426"/>
                  </a:lnTo>
                  <a:lnTo>
                    <a:pt x="435" y="426"/>
                  </a:lnTo>
                  <a:lnTo>
                    <a:pt x="433" y="426"/>
                  </a:lnTo>
                  <a:lnTo>
                    <a:pt x="433" y="426"/>
                  </a:lnTo>
                  <a:lnTo>
                    <a:pt x="433" y="426"/>
                  </a:lnTo>
                  <a:lnTo>
                    <a:pt x="433" y="426"/>
                  </a:lnTo>
                  <a:lnTo>
                    <a:pt x="433" y="426"/>
                  </a:lnTo>
                  <a:lnTo>
                    <a:pt x="433" y="426"/>
                  </a:lnTo>
                  <a:lnTo>
                    <a:pt x="433" y="424"/>
                  </a:lnTo>
                  <a:lnTo>
                    <a:pt x="431" y="422"/>
                  </a:lnTo>
                  <a:lnTo>
                    <a:pt x="431" y="419"/>
                  </a:lnTo>
                  <a:lnTo>
                    <a:pt x="428" y="419"/>
                  </a:lnTo>
                  <a:lnTo>
                    <a:pt x="428" y="419"/>
                  </a:lnTo>
                  <a:lnTo>
                    <a:pt x="426" y="419"/>
                  </a:lnTo>
                  <a:lnTo>
                    <a:pt x="426" y="419"/>
                  </a:lnTo>
                  <a:lnTo>
                    <a:pt x="428" y="419"/>
                  </a:lnTo>
                  <a:lnTo>
                    <a:pt x="428" y="422"/>
                  </a:lnTo>
                  <a:lnTo>
                    <a:pt x="431" y="422"/>
                  </a:lnTo>
                  <a:lnTo>
                    <a:pt x="431" y="424"/>
                  </a:lnTo>
                  <a:lnTo>
                    <a:pt x="433" y="431"/>
                  </a:lnTo>
                  <a:lnTo>
                    <a:pt x="435" y="433"/>
                  </a:lnTo>
                  <a:lnTo>
                    <a:pt x="438" y="433"/>
                  </a:lnTo>
                  <a:lnTo>
                    <a:pt x="438" y="433"/>
                  </a:lnTo>
                  <a:lnTo>
                    <a:pt x="438" y="433"/>
                  </a:lnTo>
                  <a:lnTo>
                    <a:pt x="438" y="433"/>
                  </a:lnTo>
                  <a:lnTo>
                    <a:pt x="438" y="433"/>
                  </a:lnTo>
                  <a:lnTo>
                    <a:pt x="438" y="433"/>
                  </a:lnTo>
                  <a:lnTo>
                    <a:pt x="438" y="433"/>
                  </a:lnTo>
                  <a:lnTo>
                    <a:pt x="438" y="436"/>
                  </a:lnTo>
                  <a:lnTo>
                    <a:pt x="438" y="436"/>
                  </a:lnTo>
                  <a:lnTo>
                    <a:pt x="438" y="433"/>
                  </a:lnTo>
                  <a:lnTo>
                    <a:pt x="438" y="433"/>
                  </a:lnTo>
                  <a:lnTo>
                    <a:pt x="440" y="431"/>
                  </a:lnTo>
                  <a:lnTo>
                    <a:pt x="440" y="431"/>
                  </a:lnTo>
                  <a:lnTo>
                    <a:pt x="440" y="431"/>
                  </a:lnTo>
                  <a:lnTo>
                    <a:pt x="440" y="429"/>
                  </a:lnTo>
                  <a:lnTo>
                    <a:pt x="440" y="429"/>
                  </a:lnTo>
                  <a:lnTo>
                    <a:pt x="440" y="426"/>
                  </a:lnTo>
                  <a:lnTo>
                    <a:pt x="440" y="426"/>
                  </a:lnTo>
                  <a:lnTo>
                    <a:pt x="440" y="426"/>
                  </a:lnTo>
                  <a:lnTo>
                    <a:pt x="442" y="429"/>
                  </a:lnTo>
                  <a:lnTo>
                    <a:pt x="442" y="429"/>
                  </a:lnTo>
                  <a:lnTo>
                    <a:pt x="440" y="429"/>
                  </a:lnTo>
                  <a:lnTo>
                    <a:pt x="440" y="431"/>
                  </a:lnTo>
                  <a:lnTo>
                    <a:pt x="440" y="431"/>
                  </a:lnTo>
                  <a:lnTo>
                    <a:pt x="440" y="433"/>
                  </a:lnTo>
                  <a:lnTo>
                    <a:pt x="440" y="433"/>
                  </a:lnTo>
                  <a:lnTo>
                    <a:pt x="440" y="433"/>
                  </a:lnTo>
                  <a:lnTo>
                    <a:pt x="440" y="433"/>
                  </a:lnTo>
                  <a:lnTo>
                    <a:pt x="440" y="436"/>
                  </a:lnTo>
                  <a:lnTo>
                    <a:pt x="442" y="436"/>
                  </a:lnTo>
                  <a:lnTo>
                    <a:pt x="442" y="438"/>
                  </a:lnTo>
                  <a:lnTo>
                    <a:pt x="442" y="438"/>
                  </a:lnTo>
                  <a:lnTo>
                    <a:pt x="440" y="438"/>
                  </a:lnTo>
                  <a:lnTo>
                    <a:pt x="440" y="438"/>
                  </a:lnTo>
                  <a:lnTo>
                    <a:pt x="440" y="438"/>
                  </a:lnTo>
                  <a:lnTo>
                    <a:pt x="438" y="436"/>
                  </a:lnTo>
                  <a:lnTo>
                    <a:pt x="438" y="436"/>
                  </a:lnTo>
                  <a:lnTo>
                    <a:pt x="438" y="436"/>
                  </a:lnTo>
                  <a:lnTo>
                    <a:pt x="438" y="436"/>
                  </a:lnTo>
                  <a:lnTo>
                    <a:pt x="438" y="436"/>
                  </a:lnTo>
                  <a:lnTo>
                    <a:pt x="438" y="438"/>
                  </a:lnTo>
                  <a:lnTo>
                    <a:pt x="438" y="438"/>
                  </a:lnTo>
                  <a:lnTo>
                    <a:pt x="438" y="438"/>
                  </a:lnTo>
                  <a:lnTo>
                    <a:pt x="440" y="438"/>
                  </a:lnTo>
                  <a:lnTo>
                    <a:pt x="440" y="440"/>
                  </a:lnTo>
                  <a:lnTo>
                    <a:pt x="440" y="440"/>
                  </a:lnTo>
                  <a:lnTo>
                    <a:pt x="440" y="443"/>
                  </a:lnTo>
                  <a:lnTo>
                    <a:pt x="440" y="443"/>
                  </a:lnTo>
                  <a:lnTo>
                    <a:pt x="440" y="443"/>
                  </a:lnTo>
                  <a:lnTo>
                    <a:pt x="445" y="448"/>
                  </a:lnTo>
                  <a:lnTo>
                    <a:pt x="447" y="450"/>
                  </a:lnTo>
                  <a:lnTo>
                    <a:pt x="450" y="450"/>
                  </a:lnTo>
                  <a:lnTo>
                    <a:pt x="447" y="450"/>
                  </a:lnTo>
                  <a:lnTo>
                    <a:pt x="447" y="448"/>
                  </a:lnTo>
                  <a:lnTo>
                    <a:pt x="445" y="448"/>
                  </a:lnTo>
                  <a:lnTo>
                    <a:pt x="445" y="445"/>
                  </a:lnTo>
                  <a:lnTo>
                    <a:pt x="442" y="445"/>
                  </a:lnTo>
                  <a:lnTo>
                    <a:pt x="442" y="445"/>
                  </a:lnTo>
                  <a:lnTo>
                    <a:pt x="442" y="445"/>
                  </a:lnTo>
                  <a:lnTo>
                    <a:pt x="445" y="445"/>
                  </a:lnTo>
                  <a:lnTo>
                    <a:pt x="445" y="445"/>
                  </a:lnTo>
                  <a:lnTo>
                    <a:pt x="447" y="445"/>
                  </a:lnTo>
                  <a:lnTo>
                    <a:pt x="447" y="448"/>
                  </a:lnTo>
                  <a:lnTo>
                    <a:pt x="447" y="448"/>
                  </a:lnTo>
                  <a:lnTo>
                    <a:pt x="447" y="448"/>
                  </a:lnTo>
                  <a:lnTo>
                    <a:pt x="450" y="450"/>
                  </a:lnTo>
                  <a:lnTo>
                    <a:pt x="450" y="450"/>
                  </a:lnTo>
                  <a:lnTo>
                    <a:pt x="452" y="450"/>
                  </a:lnTo>
                  <a:lnTo>
                    <a:pt x="452" y="450"/>
                  </a:lnTo>
                  <a:lnTo>
                    <a:pt x="452" y="450"/>
                  </a:lnTo>
                  <a:lnTo>
                    <a:pt x="452" y="450"/>
                  </a:lnTo>
                  <a:lnTo>
                    <a:pt x="452" y="452"/>
                  </a:lnTo>
                  <a:lnTo>
                    <a:pt x="452" y="452"/>
                  </a:lnTo>
                  <a:lnTo>
                    <a:pt x="452" y="452"/>
                  </a:lnTo>
                  <a:lnTo>
                    <a:pt x="452" y="452"/>
                  </a:lnTo>
                  <a:lnTo>
                    <a:pt x="454" y="452"/>
                  </a:lnTo>
                  <a:lnTo>
                    <a:pt x="454" y="452"/>
                  </a:lnTo>
                  <a:lnTo>
                    <a:pt x="454" y="452"/>
                  </a:lnTo>
                  <a:lnTo>
                    <a:pt x="454" y="452"/>
                  </a:lnTo>
                  <a:lnTo>
                    <a:pt x="457" y="455"/>
                  </a:lnTo>
                  <a:lnTo>
                    <a:pt x="457" y="455"/>
                  </a:lnTo>
                  <a:lnTo>
                    <a:pt x="459" y="455"/>
                  </a:lnTo>
                  <a:lnTo>
                    <a:pt x="459" y="455"/>
                  </a:lnTo>
                  <a:lnTo>
                    <a:pt x="459" y="452"/>
                  </a:lnTo>
                  <a:lnTo>
                    <a:pt x="461" y="452"/>
                  </a:lnTo>
                  <a:lnTo>
                    <a:pt x="459" y="452"/>
                  </a:lnTo>
                  <a:lnTo>
                    <a:pt x="459" y="452"/>
                  </a:lnTo>
                  <a:lnTo>
                    <a:pt x="459" y="452"/>
                  </a:lnTo>
                  <a:lnTo>
                    <a:pt x="459" y="452"/>
                  </a:lnTo>
                  <a:lnTo>
                    <a:pt x="459" y="452"/>
                  </a:lnTo>
                  <a:lnTo>
                    <a:pt x="459" y="450"/>
                  </a:lnTo>
                  <a:lnTo>
                    <a:pt x="461" y="452"/>
                  </a:lnTo>
                  <a:lnTo>
                    <a:pt x="461" y="452"/>
                  </a:lnTo>
                  <a:lnTo>
                    <a:pt x="461" y="452"/>
                  </a:lnTo>
                  <a:lnTo>
                    <a:pt x="464" y="457"/>
                  </a:lnTo>
                  <a:lnTo>
                    <a:pt x="464" y="457"/>
                  </a:lnTo>
                  <a:lnTo>
                    <a:pt x="464" y="457"/>
                  </a:lnTo>
                  <a:lnTo>
                    <a:pt x="464" y="459"/>
                  </a:lnTo>
                  <a:lnTo>
                    <a:pt x="461" y="459"/>
                  </a:lnTo>
                  <a:lnTo>
                    <a:pt x="461" y="459"/>
                  </a:lnTo>
                  <a:lnTo>
                    <a:pt x="461" y="459"/>
                  </a:lnTo>
                  <a:lnTo>
                    <a:pt x="461" y="459"/>
                  </a:lnTo>
                  <a:lnTo>
                    <a:pt x="464" y="459"/>
                  </a:lnTo>
                  <a:lnTo>
                    <a:pt x="464" y="459"/>
                  </a:lnTo>
                  <a:lnTo>
                    <a:pt x="461" y="459"/>
                  </a:lnTo>
                  <a:lnTo>
                    <a:pt x="461" y="459"/>
                  </a:lnTo>
                  <a:lnTo>
                    <a:pt x="461" y="459"/>
                  </a:lnTo>
                  <a:lnTo>
                    <a:pt x="459" y="459"/>
                  </a:lnTo>
                  <a:lnTo>
                    <a:pt x="459" y="459"/>
                  </a:lnTo>
                  <a:lnTo>
                    <a:pt x="461" y="459"/>
                  </a:lnTo>
                  <a:lnTo>
                    <a:pt x="461" y="459"/>
                  </a:lnTo>
                  <a:lnTo>
                    <a:pt x="461" y="462"/>
                  </a:lnTo>
                  <a:lnTo>
                    <a:pt x="461" y="459"/>
                  </a:lnTo>
                  <a:lnTo>
                    <a:pt x="461" y="459"/>
                  </a:lnTo>
                  <a:lnTo>
                    <a:pt x="461" y="459"/>
                  </a:lnTo>
                  <a:lnTo>
                    <a:pt x="454" y="455"/>
                  </a:lnTo>
                  <a:lnTo>
                    <a:pt x="454" y="455"/>
                  </a:lnTo>
                  <a:lnTo>
                    <a:pt x="450" y="452"/>
                  </a:lnTo>
                  <a:lnTo>
                    <a:pt x="450" y="452"/>
                  </a:lnTo>
                  <a:lnTo>
                    <a:pt x="450" y="452"/>
                  </a:lnTo>
                  <a:lnTo>
                    <a:pt x="450" y="452"/>
                  </a:lnTo>
                  <a:lnTo>
                    <a:pt x="450" y="452"/>
                  </a:lnTo>
                  <a:lnTo>
                    <a:pt x="450" y="450"/>
                  </a:lnTo>
                  <a:lnTo>
                    <a:pt x="450" y="450"/>
                  </a:lnTo>
                  <a:lnTo>
                    <a:pt x="450" y="450"/>
                  </a:lnTo>
                  <a:lnTo>
                    <a:pt x="450" y="452"/>
                  </a:lnTo>
                  <a:lnTo>
                    <a:pt x="450" y="452"/>
                  </a:lnTo>
                  <a:lnTo>
                    <a:pt x="450" y="452"/>
                  </a:lnTo>
                  <a:lnTo>
                    <a:pt x="459" y="459"/>
                  </a:lnTo>
                  <a:lnTo>
                    <a:pt x="464" y="464"/>
                  </a:lnTo>
                  <a:lnTo>
                    <a:pt x="464" y="464"/>
                  </a:lnTo>
                  <a:lnTo>
                    <a:pt x="466" y="466"/>
                  </a:lnTo>
                  <a:lnTo>
                    <a:pt x="466" y="466"/>
                  </a:lnTo>
                  <a:lnTo>
                    <a:pt x="466" y="466"/>
                  </a:lnTo>
                  <a:lnTo>
                    <a:pt x="468" y="469"/>
                  </a:lnTo>
                  <a:lnTo>
                    <a:pt x="471" y="471"/>
                  </a:lnTo>
                  <a:lnTo>
                    <a:pt x="476" y="476"/>
                  </a:lnTo>
                  <a:lnTo>
                    <a:pt x="478" y="478"/>
                  </a:lnTo>
                  <a:lnTo>
                    <a:pt x="480" y="478"/>
                  </a:lnTo>
                  <a:lnTo>
                    <a:pt x="480" y="478"/>
                  </a:lnTo>
                  <a:lnTo>
                    <a:pt x="483" y="481"/>
                  </a:lnTo>
                  <a:lnTo>
                    <a:pt x="487" y="488"/>
                  </a:lnTo>
                  <a:lnTo>
                    <a:pt x="490" y="490"/>
                  </a:lnTo>
                  <a:lnTo>
                    <a:pt x="490" y="493"/>
                  </a:lnTo>
                  <a:lnTo>
                    <a:pt x="490" y="493"/>
                  </a:lnTo>
                  <a:lnTo>
                    <a:pt x="492" y="495"/>
                  </a:lnTo>
                  <a:lnTo>
                    <a:pt x="492" y="495"/>
                  </a:lnTo>
                  <a:lnTo>
                    <a:pt x="492" y="497"/>
                  </a:lnTo>
                  <a:lnTo>
                    <a:pt x="492" y="500"/>
                  </a:lnTo>
                  <a:lnTo>
                    <a:pt x="494" y="500"/>
                  </a:lnTo>
                  <a:lnTo>
                    <a:pt x="494" y="500"/>
                  </a:lnTo>
                  <a:lnTo>
                    <a:pt x="497" y="502"/>
                  </a:lnTo>
                  <a:lnTo>
                    <a:pt x="497" y="504"/>
                  </a:lnTo>
                  <a:lnTo>
                    <a:pt x="499" y="504"/>
                  </a:lnTo>
                  <a:lnTo>
                    <a:pt x="499" y="504"/>
                  </a:lnTo>
                  <a:lnTo>
                    <a:pt x="499" y="507"/>
                  </a:lnTo>
                  <a:lnTo>
                    <a:pt x="499" y="507"/>
                  </a:lnTo>
                  <a:lnTo>
                    <a:pt x="502" y="507"/>
                  </a:lnTo>
                  <a:lnTo>
                    <a:pt x="502" y="507"/>
                  </a:lnTo>
                  <a:lnTo>
                    <a:pt x="502" y="509"/>
                  </a:lnTo>
                  <a:lnTo>
                    <a:pt x="504" y="511"/>
                  </a:lnTo>
                  <a:lnTo>
                    <a:pt x="504" y="511"/>
                  </a:lnTo>
                  <a:lnTo>
                    <a:pt x="504" y="511"/>
                  </a:lnTo>
                  <a:lnTo>
                    <a:pt x="506" y="514"/>
                  </a:lnTo>
                  <a:lnTo>
                    <a:pt x="506" y="514"/>
                  </a:lnTo>
                  <a:lnTo>
                    <a:pt x="506" y="516"/>
                  </a:lnTo>
                  <a:lnTo>
                    <a:pt x="506" y="516"/>
                  </a:lnTo>
                  <a:lnTo>
                    <a:pt x="506" y="516"/>
                  </a:lnTo>
                  <a:lnTo>
                    <a:pt x="506" y="516"/>
                  </a:lnTo>
                  <a:lnTo>
                    <a:pt x="506" y="516"/>
                  </a:lnTo>
                  <a:lnTo>
                    <a:pt x="506" y="516"/>
                  </a:lnTo>
                  <a:lnTo>
                    <a:pt x="509" y="521"/>
                  </a:lnTo>
                  <a:lnTo>
                    <a:pt x="509" y="521"/>
                  </a:lnTo>
                  <a:lnTo>
                    <a:pt x="509" y="523"/>
                  </a:lnTo>
                  <a:lnTo>
                    <a:pt x="509" y="523"/>
                  </a:lnTo>
                  <a:lnTo>
                    <a:pt x="509" y="523"/>
                  </a:lnTo>
                  <a:lnTo>
                    <a:pt x="509" y="523"/>
                  </a:lnTo>
                  <a:lnTo>
                    <a:pt x="511" y="523"/>
                  </a:lnTo>
                  <a:lnTo>
                    <a:pt x="511" y="523"/>
                  </a:lnTo>
                  <a:lnTo>
                    <a:pt x="511" y="523"/>
                  </a:lnTo>
                  <a:lnTo>
                    <a:pt x="516" y="528"/>
                  </a:lnTo>
                  <a:lnTo>
                    <a:pt x="516" y="528"/>
                  </a:lnTo>
                  <a:lnTo>
                    <a:pt x="516" y="530"/>
                  </a:lnTo>
                  <a:lnTo>
                    <a:pt x="518" y="530"/>
                  </a:lnTo>
                  <a:lnTo>
                    <a:pt x="518" y="530"/>
                  </a:lnTo>
                  <a:lnTo>
                    <a:pt x="525" y="542"/>
                  </a:lnTo>
                  <a:lnTo>
                    <a:pt x="528" y="542"/>
                  </a:lnTo>
                  <a:lnTo>
                    <a:pt x="528" y="540"/>
                  </a:lnTo>
                  <a:lnTo>
                    <a:pt x="528" y="540"/>
                  </a:lnTo>
                  <a:lnTo>
                    <a:pt x="528" y="540"/>
                  </a:lnTo>
                  <a:lnTo>
                    <a:pt x="528" y="542"/>
                  </a:lnTo>
                  <a:lnTo>
                    <a:pt x="528" y="542"/>
                  </a:lnTo>
                  <a:lnTo>
                    <a:pt x="528" y="542"/>
                  </a:lnTo>
                  <a:lnTo>
                    <a:pt x="528" y="542"/>
                  </a:lnTo>
                  <a:lnTo>
                    <a:pt x="528" y="542"/>
                  </a:lnTo>
                  <a:lnTo>
                    <a:pt x="528" y="542"/>
                  </a:lnTo>
                  <a:lnTo>
                    <a:pt x="530" y="545"/>
                  </a:lnTo>
                  <a:lnTo>
                    <a:pt x="530" y="545"/>
                  </a:lnTo>
                  <a:lnTo>
                    <a:pt x="532" y="549"/>
                  </a:lnTo>
                  <a:lnTo>
                    <a:pt x="537" y="552"/>
                  </a:lnTo>
                  <a:lnTo>
                    <a:pt x="537" y="554"/>
                  </a:lnTo>
                  <a:lnTo>
                    <a:pt x="539" y="559"/>
                  </a:lnTo>
                  <a:lnTo>
                    <a:pt x="539" y="559"/>
                  </a:lnTo>
                  <a:lnTo>
                    <a:pt x="539" y="556"/>
                  </a:lnTo>
                  <a:lnTo>
                    <a:pt x="539" y="556"/>
                  </a:lnTo>
                  <a:lnTo>
                    <a:pt x="539" y="559"/>
                  </a:lnTo>
                  <a:lnTo>
                    <a:pt x="539" y="559"/>
                  </a:lnTo>
                  <a:lnTo>
                    <a:pt x="539" y="559"/>
                  </a:lnTo>
                  <a:lnTo>
                    <a:pt x="539" y="561"/>
                  </a:lnTo>
                  <a:lnTo>
                    <a:pt x="539" y="563"/>
                  </a:lnTo>
                  <a:lnTo>
                    <a:pt x="542" y="568"/>
                  </a:lnTo>
                  <a:lnTo>
                    <a:pt x="542" y="573"/>
                  </a:lnTo>
                  <a:lnTo>
                    <a:pt x="542" y="575"/>
                  </a:lnTo>
                  <a:lnTo>
                    <a:pt x="542" y="582"/>
                  </a:lnTo>
                  <a:lnTo>
                    <a:pt x="542" y="585"/>
                  </a:lnTo>
                  <a:lnTo>
                    <a:pt x="542" y="587"/>
                  </a:lnTo>
                  <a:lnTo>
                    <a:pt x="547" y="594"/>
                  </a:lnTo>
                  <a:lnTo>
                    <a:pt x="551" y="601"/>
                  </a:lnTo>
                  <a:lnTo>
                    <a:pt x="551" y="604"/>
                  </a:lnTo>
                  <a:lnTo>
                    <a:pt x="551" y="606"/>
                  </a:lnTo>
                  <a:lnTo>
                    <a:pt x="554" y="606"/>
                  </a:lnTo>
                  <a:lnTo>
                    <a:pt x="556" y="608"/>
                  </a:lnTo>
                  <a:lnTo>
                    <a:pt x="558" y="611"/>
                  </a:lnTo>
                  <a:lnTo>
                    <a:pt x="558" y="611"/>
                  </a:lnTo>
                  <a:lnTo>
                    <a:pt x="561" y="611"/>
                  </a:lnTo>
                  <a:lnTo>
                    <a:pt x="561" y="611"/>
                  </a:lnTo>
                  <a:lnTo>
                    <a:pt x="561" y="611"/>
                  </a:lnTo>
                  <a:lnTo>
                    <a:pt x="561" y="611"/>
                  </a:lnTo>
                  <a:lnTo>
                    <a:pt x="561" y="611"/>
                  </a:lnTo>
                  <a:lnTo>
                    <a:pt x="563" y="613"/>
                  </a:lnTo>
                  <a:lnTo>
                    <a:pt x="563" y="613"/>
                  </a:lnTo>
                  <a:lnTo>
                    <a:pt x="563" y="613"/>
                  </a:lnTo>
                  <a:lnTo>
                    <a:pt x="563" y="616"/>
                  </a:lnTo>
                  <a:lnTo>
                    <a:pt x="563" y="616"/>
                  </a:lnTo>
                  <a:lnTo>
                    <a:pt x="561" y="616"/>
                  </a:lnTo>
                  <a:lnTo>
                    <a:pt x="561" y="618"/>
                  </a:lnTo>
                  <a:lnTo>
                    <a:pt x="561" y="620"/>
                  </a:lnTo>
                  <a:lnTo>
                    <a:pt x="561" y="623"/>
                  </a:lnTo>
                  <a:lnTo>
                    <a:pt x="561" y="627"/>
                  </a:lnTo>
                  <a:lnTo>
                    <a:pt x="561" y="627"/>
                  </a:lnTo>
                  <a:lnTo>
                    <a:pt x="561" y="630"/>
                  </a:lnTo>
                  <a:lnTo>
                    <a:pt x="558" y="630"/>
                  </a:lnTo>
                  <a:lnTo>
                    <a:pt x="561" y="632"/>
                  </a:lnTo>
                  <a:lnTo>
                    <a:pt x="561" y="632"/>
                  </a:lnTo>
                  <a:lnTo>
                    <a:pt x="561" y="634"/>
                  </a:lnTo>
                  <a:lnTo>
                    <a:pt x="558" y="634"/>
                  </a:lnTo>
                  <a:lnTo>
                    <a:pt x="558" y="637"/>
                  </a:lnTo>
                  <a:lnTo>
                    <a:pt x="558" y="637"/>
                  </a:lnTo>
                  <a:lnTo>
                    <a:pt x="556" y="637"/>
                  </a:lnTo>
                  <a:lnTo>
                    <a:pt x="556" y="634"/>
                  </a:lnTo>
                  <a:lnTo>
                    <a:pt x="556" y="634"/>
                  </a:lnTo>
                  <a:lnTo>
                    <a:pt x="556" y="637"/>
                  </a:lnTo>
                  <a:lnTo>
                    <a:pt x="556" y="637"/>
                  </a:lnTo>
                  <a:lnTo>
                    <a:pt x="554" y="637"/>
                  </a:lnTo>
                  <a:lnTo>
                    <a:pt x="554" y="639"/>
                  </a:lnTo>
                  <a:lnTo>
                    <a:pt x="554" y="639"/>
                  </a:lnTo>
                  <a:lnTo>
                    <a:pt x="554" y="639"/>
                  </a:lnTo>
                  <a:lnTo>
                    <a:pt x="551" y="642"/>
                  </a:lnTo>
                  <a:lnTo>
                    <a:pt x="549" y="642"/>
                  </a:lnTo>
                  <a:lnTo>
                    <a:pt x="549" y="644"/>
                  </a:lnTo>
                  <a:lnTo>
                    <a:pt x="549" y="644"/>
                  </a:lnTo>
                  <a:lnTo>
                    <a:pt x="549" y="644"/>
                  </a:lnTo>
                  <a:lnTo>
                    <a:pt x="549" y="644"/>
                  </a:lnTo>
                  <a:lnTo>
                    <a:pt x="549" y="646"/>
                  </a:lnTo>
                  <a:lnTo>
                    <a:pt x="547" y="646"/>
                  </a:lnTo>
                  <a:lnTo>
                    <a:pt x="547" y="646"/>
                  </a:lnTo>
                  <a:lnTo>
                    <a:pt x="547" y="649"/>
                  </a:lnTo>
                  <a:lnTo>
                    <a:pt x="547" y="646"/>
                  </a:lnTo>
                  <a:lnTo>
                    <a:pt x="544" y="646"/>
                  </a:lnTo>
                  <a:lnTo>
                    <a:pt x="544" y="649"/>
                  </a:lnTo>
                  <a:lnTo>
                    <a:pt x="544" y="649"/>
                  </a:lnTo>
                  <a:lnTo>
                    <a:pt x="544" y="649"/>
                  </a:lnTo>
                  <a:lnTo>
                    <a:pt x="547" y="649"/>
                  </a:lnTo>
                  <a:lnTo>
                    <a:pt x="547" y="649"/>
                  </a:lnTo>
                  <a:lnTo>
                    <a:pt x="549" y="649"/>
                  </a:lnTo>
                  <a:lnTo>
                    <a:pt x="551" y="651"/>
                  </a:lnTo>
                  <a:lnTo>
                    <a:pt x="551" y="651"/>
                  </a:lnTo>
                  <a:lnTo>
                    <a:pt x="551" y="649"/>
                  </a:lnTo>
                  <a:lnTo>
                    <a:pt x="554" y="649"/>
                  </a:lnTo>
                  <a:lnTo>
                    <a:pt x="554" y="649"/>
                  </a:lnTo>
                  <a:lnTo>
                    <a:pt x="556" y="651"/>
                  </a:lnTo>
                  <a:lnTo>
                    <a:pt x="556" y="653"/>
                  </a:lnTo>
                  <a:lnTo>
                    <a:pt x="558" y="656"/>
                  </a:lnTo>
                  <a:lnTo>
                    <a:pt x="558" y="656"/>
                  </a:lnTo>
                  <a:lnTo>
                    <a:pt x="558" y="658"/>
                  </a:lnTo>
                  <a:lnTo>
                    <a:pt x="558" y="658"/>
                  </a:lnTo>
                  <a:lnTo>
                    <a:pt x="558" y="658"/>
                  </a:lnTo>
                  <a:lnTo>
                    <a:pt x="556" y="660"/>
                  </a:lnTo>
                  <a:lnTo>
                    <a:pt x="556" y="660"/>
                  </a:lnTo>
                  <a:lnTo>
                    <a:pt x="556" y="660"/>
                  </a:lnTo>
                  <a:lnTo>
                    <a:pt x="554" y="663"/>
                  </a:lnTo>
                  <a:lnTo>
                    <a:pt x="551" y="663"/>
                  </a:lnTo>
                  <a:lnTo>
                    <a:pt x="549" y="663"/>
                  </a:lnTo>
                  <a:lnTo>
                    <a:pt x="549" y="663"/>
                  </a:lnTo>
                  <a:lnTo>
                    <a:pt x="547" y="663"/>
                  </a:lnTo>
                  <a:lnTo>
                    <a:pt x="544" y="663"/>
                  </a:lnTo>
                  <a:lnTo>
                    <a:pt x="542" y="663"/>
                  </a:lnTo>
                  <a:lnTo>
                    <a:pt x="537" y="665"/>
                  </a:lnTo>
                  <a:lnTo>
                    <a:pt x="535" y="668"/>
                  </a:lnTo>
                  <a:lnTo>
                    <a:pt x="535" y="668"/>
                  </a:lnTo>
                  <a:lnTo>
                    <a:pt x="537" y="670"/>
                  </a:lnTo>
                  <a:lnTo>
                    <a:pt x="537" y="672"/>
                  </a:lnTo>
                  <a:lnTo>
                    <a:pt x="539" y="672"/>
                  </a:lnTo>
                  <a:lnTo>
                    <a:pt x="539" y="675"/>
                  </a:lnTo>
                  <a:lnTo>
                    <a:pt x="539" y="675"/>
                  </a:lnTo>
                  <a:lnTo>
                    <a:pt x="542" y="675"/>
                  </a:lnTo>
                  <a:lnTo>
                    <a:pt x="542" y="677"/>
                  </a:lnTo>
                  <a:lnTo>
                    <a:pt x="542" y="677"/>
                  </a:lnTo>
                  <a:lnTo>
                    <a:pt x="542" y="677"/>
                  </a:lnTo>
                  <a:lnTo>
                    <a:pt x="542" y="682"/>
                  </a:lnTo>
                  <a:lnTo>
                    <a:pt x="542" y="684"/>
                  </a:lnTo>
                  <a:lnTo>
                    <a:pt x="542" y="684"/>
                  </a:lnTo>
                  <a:lnTo>
                    <a:pt x="542" y="684"/>
                  </a:lnTo>
                  <a:lnTo>
                    <a:pt x="542" y="684"/>
                  </a:lnTo>
                  <a:lnTo>
                    <a:pt x="542" y="686"/>
                  </a:lnTo>
                  <a:lnTo>
                    <a:pt x="547" y="691"/>
                  </a:lnTo>
                  <a:lnTo>
                    <a:pt x="547" y="694"/>
                  </a:lnTo>
                  <a:lnTo>
                    <a:pt x="547" y="694"/>
                  </a:lnTo>
                  <a:lnTo>
                    <a:pt x="549" y="696"/>
                  </a:lnTo>
                  <a:lnTo>
                    <a:pt x="549" y="696"/>
                  </a:lnTo>
                  <a:lnTo>
                    <a:pt x="549" y="696"/>
                  </a:lnTo>
                  <a:lnTo>
                    <a:pt x="551" y="698"/>
                  </a:lnTo>
                  <a:lnTo>
                    <a:pt x="554" y="703"/>
                  </a:lnTo>
                  <a:lnTo>
                    <a:pt x="556" y="705"/>
                  </a:lnTo>
                  <a:lnTo>
                    <a:pt x="558" y="708"/>
                  </a:lnTo>
                  <a:lnTo>
                    <a:pt x="558" y="710"/>
                  </a:lnTo>
                  <a:lnTo>
                    <a:pt x="561" y="710"/>
                  </a:lnTo>
                  <a:lnTo>
                    <a:pt x="561" y="710"/>
                  </a:lnTo>
                  <a:lnTo>
                    <a:pt x="561" y="710"/>
                  </a:lnTo>
                  <a:lnTo>
                    <a:pt x="561" y="710"/>
                  </a:lnTo>
                  <a:lnTo>
                    <a:pt x="563" y="713"/>
                  </a:lnTo>
                  <a:lnTo>
                    <a:pt x="563" y="715"/>
                  </a:lnTo>
                  <a:lnTo>
                    <a:pt x="563" y="715"/>
                  </a:lnTo>
                  <a:lnTo>
                    <a:pt x="563" y="715"/>
                  </a:lnTo>
                  <a:lnTo>
                    <a:pt x="563" y="715"/>
                  </a:lnTo>
                  <a:lnTo>
                    <a:pt x="563" y="715"/>
                  </a:lnTo>
                  <a:lnTo>
                    <a:pt x="563" y="717"/>
                  </a:lnTo>
                  <a:lnTo>
                    <a:pt x="563" y="717"/>
                  </a:lnTo>
                  <a:lnTo>
                    <a:pt x="565" y="717"/>
                  </a:lnTo>
                  <a:lnTo>
                    <a:pt x="565" y="720"/>
                  </a:lnTo>
                  <a:lnTo>
                    <a:pt x="565" y="722"/>
                  </a:lnTo>
                  <a:lnTo>
                    <a:pt x="568" y="722"/>
                  </a:lnTo>
                  <a:lnTo>
                    <a:pt x="568" y="724"/>
                  </a:lnTo>
                  <a:lnTo>
                    <a:pt x="573" y="727"/>
                  </a:lnTo>
                  <a:lnTo>
                    <a:pt x="573" y="727"/>
                  </a:lnTo>
                  <a:lnTo>
                    <a:pt x="573" y="727"/>
                  </a:lnTo>
                  <a:lnTo>
                    <a:pt x="573" y="727"/>
                  </a:lnTo>
                  <a:lnTo>
                    <a:pt x="575" y="727"/>
                  </a:lnTo>
                  <a:lnTo>
                    <a:pt x="575" y="727"/>
                  </a:lnTo>
                  <a:lnTo>
                    <a:pt x="575" y="724"/>
                  </a:lnTo>
                  <a:lnTo>
                    <a:pt x="575" y="724"/>
                  </a:lnTo>
                  <a:lnTo>
                    <a:pt x="577" y="727"/>
                  </a:lnTo>
                  <a:lnTo>
                    <a:pt x="577" y="727"/>
                  </a:lnTo>
                  <a:lnTo>
                    <a:pt x="577" y="727"/>
                  </a:lnTo>
                  <a:lnTo>
                    <a:pt x="575" y="729"/>
                  </a:lnTo>
                  <a:lnTo>
                    <a:pt x="577" y="729"/>
                  </a:lnTo>
                  <a:lnTo>
                    <a:pt x="577" y="729"/>
                  </a:lnTo>
                  <a:lnTo>
                    <a:pt x="580" y="729"/>
                  </a:lnTo>
                  <a:lnTo>
                    <a:pt x="580" y="729"/>
                  </a:lnTo>
                  <a:lnTo>
                    <a:pt x="580" y="729"/>
                  </a:lnTo>
                  <a:lnTo>
                    <a:pt x="580" y="729"/>
                  </a:lnTo>
                  <a:lnTo>
                    <a:pt x="580" y="729"/>
                  </a:lnTo>
                  <a:lnTo>
                    <a:pt x="580" y="729"/>
                  </a:lnTo>
                  <a:lnTo>
                    <a:pt x="580" y="731"/>
                  </a:lnTo>
                  <a:lnTo>
                    <a:pt x="582" y="731"/>
                  </a:lnTo>
                  <a:lnTo>
                    <a:pt x="582" y="731"/>
                  </a:lnTo>
                  <a:lnTo>
                    <a:pt x="582" y="731"/>
                  </a:lnTo>
                  <a:lnTo>
                    <a:pt x="582" y="731"/>
                  </a:lnTo>
                  <a:lnTo>
                    <a:pt x="582" y="731"/>
                  </a:lnTo>
                  <a:lnTo>
                    <a:pt x="584" y="734"/>
                  </a:lnTo>
                  <a:lnTo>
                    <a:pt x="587" y="734"/>
                  </a:lnTo>
                  <a:lnTo>
                    <a:pt x="592" y="734"/>
                  </a:lnTo>
                  <a:lnTo>
                    <a:pt x="592" y="736"/>
                  </a:lnTo>
                  <a:lnTo>
                    <a:pt x="594" y="736"/>
                  </a:lnTo>
                  <a:lnTo>
                    <a:pt x="594" y="739"/>
                  </a:lnTo>
                  <a:lnTo>
                    <a:pt x="594" y="736"/>
                  </a:lnTo>
                  <a:lnTo>
                    <a:pt x="594" y="736"/>
                  </a:lnTo>
                  <a:lnTo>
                    <a:pt x="596" y="736"/>
                  </a:lnTo>
                  <a:lnTo>
                    <a:pt x="596" y="736"/>
                  </a:lnTo>
                  <a:lnTo>
                    <a:pt x="596" y="736"/>
                  </a:lnTo>
                  <a:lnTo>
                    <a:pt x="596" y="736"/>
                  </a:lnTo>
                  <a:lnTo>
                    <a:pt x="596" y="736"/>
                  </a:lnTo>
                  <a:lnTo>
                    <a:pt x="596" y="736"/>
                  </a:lnTo>
                  <a:lnTo>
                    <a:pt x="599" y="736"/>
                  </a:lnTo>
                  <a:lnTo>
                    <a:pt x="599" y="736"/>
                  </a:lnTo>
                  <a:lnTo>
                    <a:pt x="599" y="736"/>
                  </a:lnTo>
                  <a:lnTo>
                    <a:pt x="599" y="736"/>
                  </a:lnTo>
                  <a:lnTo>
                    <a:pt x="599" y="736"/>
                  </a:lnTo>
                  <a:lnTo>
                    <a:pt x="601" y="739"/>
                  </a:lnTo>
                  <a:lnTo>
                    <a:pt x="601" y="739"/>
                  </a:lnTo>
                  <a:lnTo>
                    <a:pt x="601" y="739"/>
                  </a:lnTo>
                  <a:lnTo>
                    <a:pt x="599" y="739"/>
                  </a:lnTo>
                  <a:lnTo>
                    <a:pt x="599" y="741"/>
                  </a:lnTo>
                  <a:lnTo>
                    <a:pt x="599" y="741"/>
                  </a:lnTo>
                  <a:lnTo>
                    <a:pt x="601" y="741"/>
                  </a:lnTo>
                  <a:lnTo>
                    <a:pt x="601" y="741"/>
                  </a:lnTo>
                  <a:lnTo>
                    <a:pt x="603" y="743"/>
                  </a:lnTo>
                  <a:lnTo>
                    <a:pt x="606" y="743"/>
                  </a:lnTo>
                  <a:lnTo>
                    <a:pt x="610" y="746"/>
                  </a:lnTo>
                  <a:lnTo>
                    <a:pt x="615" y="748"/>
                  </a:lnTo>
                  <a:lnTo>
                    <a:pt x="618" y="750"/>
                  </a:lnTo>
                  <a:lnTo>
                    <a:pt x="625" y="755"/>
                  </a:lnTo>
                  <a:lnTo>
                    <a:pt x="627" y="760"/>
                  </a:lnTo>
                  <a:lnTo>
                    <a:pt x="629" y="760"/>
                  </a:lnTo>
                  <a:lnTo>
                    <a:pt x="629" y="762"/>
                  </a:lnTo>
                  <a:lnTo>
                    <a:pt x="629" y="765"/>
                  </a:lnTo>
                  <a:lnTo>
                    <a:pt x="629" y="765"/>
                  </a:lnTo>
                  <a:lnTo>
                    <a:pt x="629" y="765"/>
                  </a:lnTo>
                  <a:lnTo>
                    <a:pt x="632" y="765"/>
                  </a:lnTo>
                  <a:lnTo>
                    <a:pt x="632" y="767"/>
                  </a:lnTo>
                  <a:lnTo>
                    <a:pt x="632" y="767"/>
                  </a:lnTo>
                  <a:lnTo>
                    <a:pt x="634" y="767"/>
                  </a:lnTo>
                  <a:lnTo>
                    <a:pt x="634" y="767"/>
                  </a:lnTo>
                  <a:lnTo>
                    <a:pt x="634" y="769"/>
                  </a:lnTo>
                  <a:lnTo>
                    <a:pt x="636" y="776"/>
                  </a:lnTo>
                  <a:lnTo>
                    <a:pt x="639" y="779"/>
                  </a:lnTo>
                  <a:lnTo>
                    <a:pt x="641" y="779"/>
                  </a:lnTo>
                  <a:lnTo>
                    <a:pt x="644" y="781"/>
                  </a:lnTo>
                  <a:lnTo>
                    <a:pt x="646" y="781"/>
                  </a:lnTo>
                  <a:lnTo>
                    <a:pt x="646" y="781"/>
                  </a:lnTo>
                  <a:lnTo>
                    <a:pt x="648" y="781"/>
                  </a:lnTo>
                  <a:lnTo>
                    <a:pt x="648" y="783"/>
                  </a:lnTo>
                  <a:lnTo>
                    <a:pt x="651" y="783"/>
                  </a:lnTo>
                  <a:lnTo>
                    <a:pt x="653" y="783"/>
                  </a:lnTo>
                  <a:lnTo>
                    <a:pt x="655" y="786"/>
                  </a:lnTo>
                  <a:lnTo>
                    <a:pt x="658" y="786"/>
                  </a:lnTo>
                  <a:lnTo>
                    <a:pt x="658" y="786"/>
                  </a:lnTo>
                  <a:lnTo>
                    <a:pt x="660" y="786"/>
                  </a:lnTo>
                  <a:lnTo>
                    <a:pt x="663" y="786"/>
                  </a:lnTo>
                  <a:lnTo>
                    <a:pt x="665" y="788"/>
                  </a:lnTo>
                  <a:lnTo>
                    <a:pt x="670" y="791"/>
                  </a:lnTo>
                  <a:lnTo>
                    <a:pt x="677" y="793"/>
                  </a:lnTo>
                  <a:lnTo>
                    <a:pt x="679" y="793"/>
                  </a:lnTo>
                  <a:lnTo>
                    <a:pt x="684" y="793"/>
                  </a:lnTo>
                  <a:lnTo>
                    <a:pt x="686" y="795"/>
                  </a:lnTo>
                  <a:lnTo>
                    <a:pt x="689" y="795"/>
                  </a:lnTo>
                  <a:lnTo>
                    <a:pt x="691" y="795"/>
                  </a:lnTo>
                  <a:lnTo>
                    <a:pt x="698" y="798"/>
                  </a:lnTo>
                  <a:lnTo>
                    <a:pt x="700" y="800"/>
                  </a:lnTo>
                  <a:lnTo>
                    <a:pt x="703" y="800"/>
                  </a:lnTo>
                  <a:lnTo>
                    <a:pt x="703" y="800"/>
                  </a:lnTo>
                  <a:lnTo>
                    <a:pt x="705" y="800"/>
                  </a:lnTo>
                  <a:lnTo>
                    <a:pt x="705" y="800"/>
                  </a:lnTo>
                  <a:lnTo>
                    <a:pt x="705" y="800"/>
                  </a:lnTo>
                  <a:lnTo>
                    <a:pt x="707" y="798"/>
                  </a:lnTo>
                  <a:lnTo>
                    <a:pt x="707" y="798"/>
                  </a:lnTo>
                  <a:lnTo>
                    <a:pt x="710" y="798"/>
                  </a:lnTo>
                  <a:lnTo>
                    <a:pt x="712" y="798"/>
                  </a:lnTo>
                  <a:lnTo>
                    <a:pt x="715" y="800"/>
                  </a:lnTo>
                  <a:lnTo>
                    <a:pt x="719" y="802"/>
                  </a:lnTo>
                  <a:lnTo>
                    <a:pt x="719" y="802"/>
                  </a:lnTo>
                  <a:lnTo>
                    <a:pt x="722" y="802"/>
                  </a:lnTo>
                  <a:lnTo>
                    <a:pt x="724" y="805"/>
                  </a:lnTo>
                  <a:lnTo>
                    <a:pt x="724" y="805"/>
                  </a:lnTo>
                  <a:lnTo>
                    <a:pt x="724" y="807"/>
                  </a:lnTo>
                  <a:lnTo>
                    <a:pt x="724" y="807"/>
                  </a:lnTo>
                  <a:lnTo>
                    <a:pt x="726" y="809"/>
                  </a:lnTo>
                  <a:lnTo>
                    <a:pt x="729" y="809"/>
                  </a:lnTo>
                  <a:lnTo>
                    <a:pt x="729" y="812"/>
                  </a:lnTo>
                  <a:lnTo>
                    <a:pt x="729" y="814"/>
                  </a:lnTo>
                  <a:lnTo>
                    <a:pt x="731" y="814"/>
                  </a:lnTo>
                  <a:lnTo>
                    <a:pt x="731" y="814"/>
                  </a:lnTo>
                  <a:lnTo>
                    <a:pt x="731" y="817"/>
                  </a:lnTo>
                  <a:lnTo>
                    <a:pt x="734" y="817"/>
                  </a:lnTo>
                  <a:lnTo>
                    <a:pt x="734" y="817"/>
                  </a:lnTo>
                  <a:lnTo>
                    <a:pt x="734" y="817"/>
                  </a:lnTo>
                  <a:lnTo>
                    <a:pt x="734" y="817"/>
                  </a:lnTo>
                  <a:lnTo>
                    <a:pt x="736" y="817"/>
                  </a:lnTo>
                  <a:lnTo>
                    <a:pt x="736" y="817"/>
                  </a:lnTo>
                  <a:lnTo>
                    <a:pt x="738" y="819"/>
                  </a:lnTo>
                  <a:lnTo>
                    <a:pt x="738" y="819"/>
                  </a:lnTo>
                  <a:lnTo>
                    <a:pt x="741" y="819"/>
                  </a:lnTo>
                  <a:lnTo>
                    <a:pt x="741" y="821"/>
                  </a:lnTo>
                  <a:lnTo>
                    <a:pt x="738" y="821"/>
                  </a:lnTo>
                  <a:lnTo>
                    <a:pt x="738" y="821"/>
                  </a:lnTo>
                  <a:lnTo>
                    <a:pt x="743" y="824"/>
                  </a:lnTo>
                  <a:lnTo>
                    <a:pt x="745" y="824"/>
                  </a:lnTo>
                  <a:lnTo>
                    <a:pt x="748" y="826"/>
                  </a:lnTo>
                  <a:lnTo>
                    <a:pt x="752" y="828"/>
                  </a:lnTo>
                  <a:lnTo>
                    <a:pt x="752" y="828"/>
                  </a:lnTo>
                  <a:lnTo>
                    <a:pt x="757" y="831"/>
                  </a:lnTo>
                  <a:lnTo>
                    <a:pt x="757" y="833"/>
                  </a:lnTo>
                  <a:lnTo>
                    <a:pt x="760" y="833"/>
                  </a:lnTo>
                  <a:lnTo>
                    <a:pt x="760" y="836"/>
                  </a:lnTo>
                  <a:lnTo>
                    <a:pt x="757" y="836"/>
                  </a:lnTo>
                  <a:lnTo>
                    <a:pt x="760" y="836"/>
                  </a:lnTo>
                  <a:lnTo>
                    <a:pt x="760" y="836"/>
                  </a:lnTo>
                  <a:lnTo>
                    <a:pt x="762" y="836"/>
                  </a:lnTo>
                  <a:lnTo>
                    <a:pt x="764" y="838"/>
                  </a:lnTo>
                  <a:lnTo>
                    <a:pt x="767" y="838"/>
                  </a:lnTo>
                  <a:lnTo>
                    <a:pt x="769" y="838"/>
                  </a:lnTo>
                  <a:lnTo>
                    <a:pt x="771" y="840"/>
                  </a:lnTo>
                  <a:lnTo>
                    <a:pt x="776" y="843"/>
                  </a:lnTo>
                  <a:lnTo>
                    <a:pt x="778" y="843"/>
                  </a:lnTo>
                  <a:lnTo>
                    <a:pt x="783" y="845"/>
                  </a:lnTo>
                  <a:lnTo>
                    <a:pt x="795" y="847"/>
                  </a:lnTo>
                  <a:lnTo>
                    <a:pt x="800" y="850"/>
                  </a:lnTo>
                  <a:lnTo>
                    <a:pt x="802" y="852"/>
                  </a:lnTo>
                  <a:lnTo>
                    <a:pt x="804" y="852"/>
                  </a:lnTo>
                  <a:lnTo>
                    <a:pt x="807" y="852"/>
                  </a:lnTo>
                  <a:lnTo>
                    <a:pt x="812" y="854"/>
                  </a:lnTo>
                  <a:lnTo>
                    <a:pt x="814" y="854"/>
                  </a:lnTo>
                  <a:lnTo>
                    <a:pt x="814" y="854"/>
                  </a:lnTo>
                  <a:lnTo>
                    <a:pt x="814" y="857"/>
                  </a:lnTo>
                  <a:lnTo>
                    <a:pt x="814" y="857"/>
                  </a:lnTo>
                  <a:lnTo>
                    <a:pt x="816" y="859"/>
                  </a:lnTo>
                  <a:lnTo>
                    <a:pt x="816" y="859"/>
                  </a:lnTo>
                  <a:lnTo>
                    <a:pt x="816" y="859"/>
                  </a:lnTo>
                  <a:lnTo>
                    <a:pt x="816" y="857"/>
                  </a:lnTo>
                  <a:lnTo>
                    <a:pt x="816" y="857"/>
                  </a:lnTo>
                  <a:lnTo>
                    <a:pt x="816" y="857"/>
                  </a:lnTo>
                  <a:lnTo>
                    <a:pt x="816" y="857"/>
                  </a:lnTo>
                  <a:lnTo>
                    <a:pt x="816" y="857"/>
                  </a:lnTo>
                  <a:lnTo>
                    <a:pt x="816" y="857"/>
                  </a:lnTo>
                  <a:lnTo>
                    <a:pt x="819" y="857"/>
                  </a:lnTo>
                  <a:lnTo>
                    <a:pt x="819" y="857"/>
                  </a:lnTo>
                  <a:lnTo>
                    <a:pt x="819" y="857"/>
                  </a:lnTo>
                  <a:lnTo>
                    <a:pt x="819" y="857"/>
                  </a:lnTo>
                  <a:lnTo>
                    <a:pt x="819" y="859"/>
                  </a:lnTo>
                  <a:lnTo>
                    <a:pt x="819" y="859"/>
                  </a:lnTo>
                  <a:lnTo>
                    <a:pt x="819" y="859"/>
                  </a:lnTo>
                  <a:lnTo>
                    <a:pt x="819" y="859"/>
                  </a:lnTo>
                  <a:lnTo>
                    <a:pt x="816" y="859"/>
                  </a:lnTo>
                  <a:lnTo>
                    <a:pt x="819" y="859"/>
                  </a:lnTo>
                  <a:lnTo>
                    <a:pt x="819" y="859"/>
                  </a:lnTo>
                  <a:lnTo>
                    <a:pt x="819" y="859"/>
                  </a:lnTo>
                  <a:lnTo>
                    <a:pt x="819" y="859"/>
                  </a:lnTo>
                  <a:lnTo>
                    <a:pt x="819" y="859"/>
                  </a:lnTo>
                  <a:lnTo>
                    <a:pt x="819" y="859"/>
                  </a:lnTo>
                  <a:lnTo>
                    <a:pt x="819" y="859"/>
                  </a:lnTo>
                  <a:lnTo>
                    <a:pt x="819" y="859"/>
                  </a:lnTo>
                  <a:lnTo>
                    <a:pt x="819" y="859"/>
                  </a:lnTo>
                  <a:lnTo>
                    <a:pt x="819" y="859"/>
                  </a:lnTo>
                  <a:lnTo>
                    <a:pt x="819" y="862"/>
                  </a:lnTo>
                  <a:lnTo>
                    <a:pt x="819" y="862"/>
                  </a:lnTo>
                  <a:lnTo>
                    <a:pt x="821" y="862"/>
                  </a:lnTo>
                  <a:lnTo>
                    <a:pt x="821" y="862"/>
                  </a:lnTo>
                  <a:lnTo>
                    <a:pt x="821" y="862"/>
                  </a:lnTo>
                  <a:lnTo>
                    <a:pt x="823" y="864"/>
                  </a:lnTo>
                  <a:lnTo>
                    <a:pt x="826" y="864"/>
                  </a:lnTo>
                  <a:lnTo>
                    <a:pt x="826" y="864"/>
                  </a:lnTo>
                  <a:lnTo>
                    <a:pt x="828" y="866"/>
                  </a:lnTo>
                  <a:lnTo>
                    <a:pt x="831" y="866"/>
                  </a:lnTo>
                  <a:lnTo>
                    <a:pt x="831" y="866"/>
                  </a:lnTo>
                  <a:lnTo>
                    <a:pt x="833" y="866"/>
                  </a:lnTo>
                  <a:lnTo>
                    <a:pt x="838" y="866"/>
                  </a:lnTo>
                  <a:lnTo>
                    <a:pt x="842" y="866"/>
                  </a:lnTo>
                  <a:lnTo>
                    <a:pt x="847" y="866"/>
                  </a:lnTo>
                  <a:lnTo>
                    <a:pt x="854" y="869"/>
                  </a:lnTo>
                  <a:lnTo>
                    <a:pt x="864" y="873"/>
                  </a:lnTo>
                  <a:lnTo>
                    <a:pt x="866" y="873"/>
                  </a:lnTo>
                  <a:lnTo>
                    <a:pt x="866" y="873"/>
                  </a:lnTo>
                  <a:lnTo>
                    <a:pt x="868" y="873"/>
                  </a:lnTo>
                  <a:lnTo>
                    <a:pt x="868" y="873"/>
                  </a:lnTo>
                  <a:lnTo>
                    <a:pt x="868" y="873"/>
                  </a:lnTo>
                  <a:lnTo>
                    <a:pt x="868" y="873"/>
                  </a:lnTo>
                  <a:lnTo>
                    <a:pt x="871" y="873"/>
                  </a:lnTo>
                  <a:lnTo>
                    <a:pt x="871" y="873"/>
                  </a:lnTo>
                  <a:lnTo>
                    <a:pt x="871" y="873"/>
                  </a:lnTo>
                  <a:lnTo>
                    <a:pt x="871" y="871"/>
                  </a:lnTo>
                  <a:lnTo>
                    <a:pt x="873" y="873"/>
                  </a:lnTo>
                  <a:lnTo>
                    <a:pt x="873" y="873"/>
                  </a:lnTo>
                  <a:lnTo>
                    <a:pt x="873" y="873"/>
                  </a:lnTo>
                  <a:lnTo>
                    <a:pt x="873" y="873"/>
                  </a:lnTo>
                  <a:lnTo>
                    <a:pt x="875" y="873"/>
                  </a:lnTo>
                  <a:lnTo>
                    <a:pt x="878" y="878"/>
                  </a:lnTo>
                  <a:lnTo>
                    <a:pt x="880" y="880"/>
                  </a:lnTo>
                  <a:lnTo>
                    <a:pt x="883" y="883"/>
                  </a:lnTo>
                  <a:lnTo>
                    <a:pt x="883" y="883"/>
                  </a:lnTo>
                  <a:lnTo>
                    <a:pt x="883" y="883"/>
                  </a:lnTo>
                  <a:lnTo>
                    <a:pt x="883" y="883"/>
                  </a:lnTo>
                  <a:lnTo>
                    <a:pt x="883" y="883"/>
                  </a:lnTo>
                  <a:lnTo>
                    <a:pt x="883" y="885"/>
                  </a:lnTo>
                  <a:lnTo>
                    <a:pt x="885" y="885"/>
                  </a:lnTo>
                  <a:lnTo>
                    <a:pt x="885" y="885"/>
                  </a:lnTo>
                  <a:lnTo>
                    <a:pt x="885" y="885"/>
                  </a:lnTo>
                  <a:lnTo>
                    <a:pt x="885" y="885"/>
                  </a:lnTo>
                  <a:lnTo>
                    <a:pt x="887" y="885"/>
                  </a:lnTo>
                  <a:lnTo>
                    <a:pt x="890" y="888"/>
                  </a:lnTo>
                  <a:lnTo>
                    <a:pt x="897" y="888"/>
                  </a:lnTo>
                  <a:lnTo>
                    <a:pt x="902" y="890"/>
                  </a:lnTo>
                  <a:lnTo>
                    <a:pt x="902" y="890"/>
                  </a:lnTo>
                  <a:lnTo>
                    <a:pt x="902" y="890"/>
                  </a:lnTo>
                  <a:lnTo>
                    <a:pt x="904" y="890"/>
                  </a:lnTo>
                  <a:lnTo>
                    <a:pt x="904" y="888"/>
                  </a:lnTo>
                  <a:lnTo>
                    <a:pt x="904" y="888"/>
                  </a:lnTo>
                  <a:lnTo>
                    <a:pt x="904" y="888"/>
                  </a:lnTo>
                  <a:lnTo>
                    <a:pt x="904" y="890"/>
                  </a:lnTo>
                  <a:lnTo>
                    <a:pt x="904" y="890"/>
                  </a:lnTo>
                  <a:lnTo>
                    <a:pt x="904" y="890"/>
                  </a:lnTo>
                  <a:lnTo>
                    <a:pt x="904" y="890"/>
                  </a:lnTo>
                  <a:lnTo>
                    <a:pt x="906" y="890"/>
                  </a:lnTo>
                  <a:lnTo>
                    <a:pt x="906" y="890"/>
                  </a:lnTo>
                  <a:lnTo>
                    <a:pt x="906" y="890"/>
                  </a:lnTo>
                  <a:lnTo>
                    <a:pt x="909" y="890"/>
                  </a:lnTo>
                  <a:lnTo>
                    <a:pt x="909" y="890"/>
                  </a:lnTo>
                  <a:lnTo>
                    <a:pt x="909" y="890"/>
                  </a:lnTo>
                  <a:lnTo>
                    <a:pt x="906" y="890"/>
                  </a:lnTo>
                  <a:lnTo>
                    <a:pt x="904" y="890"/>
                  </a:lnTo>
                  <a:lnTo>
                    <a:pt x="904" y="890"/>
                  </a:lnTo>
                  <a:lnTo>
                    <a:pt x="906" y="892"/>
                  </a:lnTo>
                  <a:lnTo>
                    <a:pt x="909" y="892"/>
                  </a:lnTo>
                  <a:lnTo>
                    <a:pt x="913" y="895"/>
                  </a:lnTo>
                  <a:lnTo>
                    <a:pt x="916" y="897"/>
                  </a:lnTo>
                  <a:lnTo>
                    <a:pt x="918" y="899"/>
                  </a:lnTo>
                  <a:lnTo>
                    <a:pt x="918" y="899"/>
                  </a:lnTo>
                  <a:lnTo>
                    <a:pt x="920" y="899"/>
                  </a:lnTo>
                  <a:lnTo>
                    <a:pt x="920" y="899"/>
                  </a:lnTo>
                  <a:lnTo>
                    <a:pt x="920" y="899"/>
                  </a:lnTo>
                  <a:lnTo>
                    <a:pt x="923" y="899"/>
                  </a:lnTo>
                  <a:lnTo>
                    <a:pt x="923" y="902"/>
                  </a:lnTo>
                  <a:lnTo>
                    <a:pt x="923" y="902"/>
                  </a:lnTo>
                  <a:lnTo>
                    <a:pt x="928" y="902"/>
                  </a:lnTo>
                  <a:lnTo>
                    <a:pt x="928" y="902"/>
                  </a:lnTo>
                  <a:lnTo>
                    <a:pt x="928" y="902"/>
                  </a:lnTo>
                  <a:lnTo>
                    <a:pt x="930" y="902"/>
                  </a:lnTo>
                  <a:lnTo>
                    <a:pt x="932" y="902"/>
                  </a:lnTo>
                  <a:lnTo>
                    <a:pt x="935" y="902"/>
                  </a:lnTo>
                  <a:lnTo>
                    <a:pt x="937" y="902"/>
                  </a:lnTo>
                  <a:lnTo>
                    <a:pt x="939" y="902"/>
                  </a:lnTo>
                  <a:lnTo>
                    <a:pt x="944" y="904"/>
                  </a:lnTo>
                  <a:lnTo>
                    <a:pt x="944" y="902"/>
                  </a:lnTo>
                  <a:lnTo>
                    <a:pt x="949" y="904"/>
                  </a:lnTo>
                  <a:lnTo>
                    <a:pt x="949" y="904"/>
                  </a:lnTo>
                  <a:lnTo>
                    <a:pt x="951" y="904"/>
                  </a:lnTo>
                  <a:lnTo>
                    <a:pt x="954" y="904"/>
                  </a:lnTo>
                  <a:lnTo>
                    <a:pt x="958" y="906"/>
                  </a:lnTo>
                  <a:lnTo>
                    <a:pt x="958" y="906"/>
                  </a:lnTo>
                  <a:lnTo>
                    <a:pt x="961" y="906"/>
                  </a:lnTo>
                  <a:lnTo>
                    <a:pt x="961" y="909"/>
                  </a:lnTo>
                  <a:lnTo>
                    <a:pt x="961" y="909"/>
                  </a:lnTo>
                  <a:lnTo>
                    <a:pt x="961" y="909"/>
                  </a:lnTo>
                  <a:lnTo>
                    <a:pt x="963" y="909"/>
                  </a:lnTo>
                  <a:lnTo>
                    <a:pt x="965" y="911"/>
                  </a:lnTo>
                  <a:lnTo>
                    <a:pt x="970" y="914"/>
                  </a:lnTo>
                  <a:lnTo>
                    <a:pt x="973" y="914"/>
                  </a:lnTo>
                  <a:lnTo>
                    <a:pt x="980" y="914"/>
                  </a:lnTo>
                  <a:lnTo>
                    <a:pt x="982" y="916"/>
                  </a:lnTo>
                  <a:lnTo>
                    <a:pt x="987" y="916"/>
                  </a:lnTo>
                  <a:lnTo>
                    <a:pt x="987" y="916"/>
                  </a:lnTo>
                  <a:lnTo>
                    <a:pt x="987" y="916"/>
                  </a:lnTo>
                  <a:lnTo>
                    <a:pt x="989" y="916"/>
                  </a:lnTo>
                  <a:lnTo>
                    <a:pt x="989" y="916"/>
                  </a:lnTo>
                  <a:lnTo>
                    <a:pt x="989" y="916"/>
                  </a:lnTo>
                  <a:lnTo>
                    <a:pt x="991" y="916"/>
                  </a:lnTo>
                  <a:lnTo>
                    <a:pt x="991" y="914"/>
                  </a:lnTo>
                  <a:lnTo>
                    <a:pt x="994" y="914"/>
                  </a:lnTo>
                  <a:lnTo>
                    <a:pt x="996" y="916"/>
                  </a:lnTo>
                  <a:lnTo>
                    <a:pt x="999" y="916"/>
                  </a:lnTo>
                  <a:lnTo>
                    <a:pt x="1001" y="916"/>
                  </a:lnTo>
                  <a:lnTo>
                    <a:pt x="1003" y="914"/>
                  </a:lnTo>
                  <a:lnTo>
                    <a:pt x="1008" y="911"/>
                  </a:lnTo>
                  <a:lnTo>
                    <a:pt x="1008" y="911"/>
                  </a:lnTo>
                  <a:lnTo>
                    <a:pt x="1008" y="911"/>
                  </a:lnTo>
                  <a:lnTo>
                    <a:pt x="1008" y="911"/>
                  </a:lnTo>
                  <a:lnTo>
                    <a:pt x="1008" y="911"/>
                  </a:lnTo>
                  <a:lnTo>
                    <a:pt x="1008" y="911"/>
                  </a:lnTo>
                  <a:lnTo>
                    <a:pt x="1010" y="909"/>
                  </a:lnTo>
                  <a:lnTo>
                    <a:pt x="1010" y="909"/>
                  </a:lnTo>
                  <a:lnTo>
                    <a:pt x="1013" y="909"/>
                  </a:lnTo>
                  <a:lnTo>
                    <a:pt x="1013" y="909"/>
                  </a:lnTo>
                  <a:lnTo>
                    <a:pt x="1015" y="906"/>
                  </a:lnTo>
                  <a:lnTo>
                    <a:pt x="1015" y="906"/>
                  </a:lnTo>
                  <a:lnTo>
                    <a:pt x="1020" y="906"/>
                  </a:lnTo>
                  <a:lnTo>
                    <a:pt x="1020" y="906"/>
                  </a:lnTo>
                  <a:lnTo>
                    <a:pt x="1022" y="904"/>
                  </a:lnTo>
                  <a:lnTo>
                    <a:pt x="1022" y="904"/>
                  </a:lnTo>
                  <a:lnTo>
                    <a:pt x="1025" y="904"/>
                  </a:lnTo>
                  <a:lnTo>
                    <a:pt x="1025" y="904"/>
                  </a:lnTo>
                  <a:lnTo>
                    <a:pt x="1025" y="904"/>
                  </a:lnTo>
                  <a:lnTo>
                    <a:pt x="1025" y="904"/>
                  </a:lnTo>
                  <a:lnTo>
                    <a:pt x="1025" y="902"/>
                  </a:lnTo>
                  <a:lnTo>
                    <a:pt x="1027" y="902"/>
                  </a:lnTo>
                  <a:lnTo>
                    <a:pt x="1027" y="902"/>
                  </a:lnTo>
                  <a:lnTo>
                    <a:pt x="1029" y="902"/>
                  </a:lnTo>
                  <a:lnTo>
                    <a:pt x="1032" y="902"/>
                  </a:lnTo>
                  <a:lnTo>
                    <a:pt x="1034" y="899"/>
                  </a:lnTo>
                  <a:lnTo>
                    <a:pt x="1034" y="899"/>
                  </a:lnTo>
                  <a:lnTo>
                    <a:pt x="1034" y="899"/>
                  </a:lnTo>
                  <a:lnTo>
                    <a:pt x="1039" y="899"/>
                  </a:lnTo>
                  <a:lnTo>
                    <a:pt x="1039" y="897"/>
                  </a:lnTo>
                  <a:lnTo>
                    <a:pt x="1041" y="897"/>
                  </a:lnTo>
                  <a:lnTo>
                    <a:pt x="1041" y="897"/>
                  </a:lnTo>
                  <a:lnTo>
                    <a:pt x="1041" y="897"/>
                  </a:lnTo>
                  <a:lnTo>
                    <a:pt x="1044" y="897"/>
                  </a:lnTo>
                  <a:lnTo>
                    <a:pt x="1044" y="895"/>
                  </a:lnTo>
                  <a:lnTo>
                    <a:pt x="1044" y="895"/>
                  </a:lnTo>
                  <a:lnTo>
                    <a:pt x="1044" y="895"/>
                  </a:lnTo>
                  <a:lnTo>
                    <a:pt x="1046" y="892"/>
                  </a:lnTo>
                  <a:lnTo>
                    <a:pt x="1046" y="892"/>
                  </a:lnTo>
                  <a:lnTo>
                    <a:pt x="1048" y="892"/>
                  </a:lnTo>
                  <a:lnTo>
                    <a:pt x="1048" y="892"/>
                  </a:lnTo>
                  <a:lnTo>
                    <a:pt x="1048" y="890"/>
                  </a:lnTo>
                  <a:lnTo>
                    <a:pt x="1048" y="890"/>
                  </a:lnTo>
                  <a:lnTo>
                    <a:pt x="1048" y="890"/>
                  </a:lnTo>
                  <a:lnTo>
                    <a:pt x="1051" y="890"/>
                  </a:lnTo>
                  <a:lnTo>
                    <a:pt x="1051" y="890"/>
                  </a:lnTo>
                  <a:lnTo>
                    <a:pt x="1051" y="888"/>
                  </a:lnTo>
                  <a:lnTo>
                    <a:pt x="1051" y="888"/>
                  </a:lnTo>
                  <a:lnTo>
                    <a:pt x="1053" y="888"/>
                  </a:lnTo>
                  <a:lnTo>
                    <a:pt x="1053" y="888"/>
                  </a:lnTo>
                  <a:lnTo>
                    <a:pt x="1053" y="888"/>
                  </a:lnTo>
                  <a:lnTo>
                    <a:pt x="1055" y="888"/>
                  </a:lnTo>
                  <a:lnTo>
                    <a:pt x="1055" y="888"/>
                  </a:lnTo>
                  <a:lnTo>
                    <a:pt x="1055" y="888"/>
                  </a:lnTo>
                  <a:lnTo>
                    <a:pt x="1055" y="888"/>
                  </a:lnTo>
                  <a:lnTo>
                    <a:pt x="1055" y="888"/>
                  </a:lnTo>
                  <a:lnTo>
                    <a:pt x="1055" y="885"/>
                  </a:lnTo>
                  <a:lnTo>
                    <a:pt x="1058" y="885"/>
                  </a:lnTo>
                  <a:lnTo>
                    <a:pt x="1058" y="888"/>
                  </a:lnTo>
                  <a:lnTo>
                    <a:pt x="1060" y="888"/>
                  </a:lnTo>
                  <a:lnTo>
                    <a:pt x="1062" y="885"/>
                  </a:lnTo>
                  <a:lnTo>
                    <a:pt x="1062" y="885"/>
                  </a:lnTo>
                  <a:lnTo>
                    <a:pt x="1065" y="885"/>
                  </a:lnTo>
                  <a:lnTo>
                    <a:pt x="1067" y="885"/>
                  </a:lnTo>
                  <a:lnTo>
                    <a:pt x="1072" y="885"/>
                  </a:lnTo>
                  <a:lnTo>
                    <a:pt x="1074" y="885"/>
                  </a:lnTo>
                  <a:lnTo>
                    <a:pt x="1074" y="885"/>
                  </a:lnTo>
                  <a:lnTo>
                    <a:pt x="1074" y="883"/>
                  </a:lnTo>
                  <a:lnTo>
                    <a:pt x="1072" y="883"/>
                  </a:lnTo>
                  <a:lnTo>
                    <a:pt x="1067" y="883"/>
                  </a:lnTo>
                  <a:lnTo>
                    <a:pt x="1067" y="883"/>
                  </a:lnTo>
                  <a:lnTo>
                    <a:pt x="1067" y="883"/>
                  </a:lnTo>
                  <a:lnTo>
                    <a:pt x="1070" y="883"/>
                  </a:lnTo>
                  <a:lnTo>
                    <a:pt x="1072" y="880"/>
                  </a:lnTo>
                  <a:lnTo>
                    <a:pt x="1072" y="880"/>
                  </a:lnTo>
                  <a:lnTo>
                    <a:pt x="1072" y="880"/>
                  </a:lnTo>
                  <a:lnTo>
                    <a:pt x="1070" y="883"/>
                  </a:lnTo>
                  <a:lnTo>
                    <a:pt x="1070" y="883"/>
                  </a:lnTo>
                  <a:lnTo>
                    <a:pt x="1070" y="883"/>
                  </a:lnTo>
                  <a:lnTo>
                    <a:pt x="1067" y="883"/>
                  </a:lnTo>
                  <a:lnTo>
                    <a:pt x="1067" y="883"/>
                  </a:lnTo>
                  <a:lnTo>
                    <a:pt x="1065" y="883"/>
                  </a:lnTo>
                  <a:lnTo>
                    <a:pt x="1062" y="883"/>
                  </a:lnTo>
                  <a:lnTo>
                    <a:pt x="1060" y="883"/>
                  </a:lnTo>
                  <a:lnTo>
                    <a:pt x="1060" y="883"/>
                  </a:lnTo>
                  <a:lnTo>
                    <a:pt x="1060" y="880"/>
                  </a:lnTo>
                  <a:lnTo>
                    <a:pt x="1060" y="880"/>
                  </a:lnTo>
                  <a:lnTo>
                    <a:pt x="1060" y="880"/>
                  </a:lnTo>
                  <a:lnTo>
                    <a:pt x="1060" y="880"/>
                  </a:lnTo>
                  <a:lnTo>
                    <a:pt x="1062" y="880"/>
                  </a:lnTo>
                  <a:lnTo>
                    <a:pt x="1060" y="878"/>
                  </a:lnTo>
                  <a:lnTo>
                    <a:pt x="1065" y="878"/>
                  </a:lnTo>
                  <a:lnTo>
                    <a:pt x="1065" y="878"/>
                  </a:lnTo>
                  <a:lnTo>
                    <a:pt x="1067" y="876"/>
                  </a:lnTo>
                  <a:lnTo>
                    <a:pt x="1067" y="873"/>
                  </a:lnTo>
                  <a:lnTo>
                    <a:pt x="1070" y="873"/>
                  </a:lnTo>
                  <a:lnTo>
                    <a:pt x="1070" y="873"/>
                  </a:lnTo>
                  <a:lnTo>
                    <a:pt x="1070" y="873"/>
                  </a:lnTo>
                  <a:lnTo>
                    <a:pt x="1072" y="873"/>
                  </a:lnTo>
                  <a:lnTo>
                    <a:pt x="1072" y="873"/>
                  </a:lnTo>
                  <a:lnTo>
                    <a:pt x="1072" y="876"/>
                  </a:lnTo>
                  <a:lnTo>
                    <a:pt x="1072" y="876"/>
                  </a:lnTo>
                  <a:lnTo>
                    <a:pt x="1072" y="876"/>
                  </a:lnTo>
                  <a:lnTo>
                    <a:pt x="1072" y="876"/>
                  </a:lnTo>
                  <a:lnTo>
                    <a:pt x="1074" y="878"/>
                  </a:lnTo>
                  <a:lnTo>
                    <a:pt x="1074" y="878"/>
                  </a:lnTo>
                  <a:lnTo>
                    <a:pt x="1074" y="878"/>
                  </a:lnTo>
                  <a:lnTo>
                    <a:pt x="1072" y="880"/>
                  </a:lnTo>
                  <a:lnTo>
                    <a:pt x="1072" y="880"/>
                  </a:lnTo>
                  <a:lnTo>
                    <a:pt x="1072" y="880"/>
                  </a:lnTo>
                  <a:lnTo>
                    <a:pt x="1072" y="880"/>
                  </a:lnTo>
                  <a:lnTo>
                    <a:pt x="1074" y="883"/>
                  </a:lnTo>
                  <a:lnTo>
                    <a:pt x="1074" y="880"/>
                  </a:lnTo>
                  <a:lnTo>
                    <a:pt x="1074" y="880"/>
                  </a:lnTo>
                  <a:lnTo>
                    <a:pt x="1074" y="880"/>
                  </a:lnTo>
                  <a:lnTo>
                    <a:pt x="1077" y="878"/>
                  </a:lnTo>
                  <a:lnTo>
                    <a:pt x="1077" y="878"/>
                  </a:lnTo>
                  <a:lnTo>
                    <a:pt x="1077" y="878"/>
                  </a:lnTo>
                  <a:lnTo>
                    <a:pt x="1077" y="878"/>
                  </a:lnTo>
                  <a:lnTo>
                    <a:pt x="1077" y="878"/>
                  </a:lnTo>
                  <a:lnTo>
                    <a:pt x="1079" y="878"/>
                  </a:lnTo>
                  <a:lnTo>
                    <a:pt x="1079" y="878"/>
                  </a:lnTo>
                  <a:lnTo>
                    <a:pt x="1079" y="878"/>
                  </a:lnTo>
                  <a:lnTo>
                    <a:pt x="1079" y="876"/>
                  </a:lnTo>
                  <a:lnTo>
                    <a:pt x="1079" y="876"/>
                  </a:lnTo>
                  <a:lnTo>
                    <a:pt x="1079" y="876"/>
                  </a:lnTo>
                  <a:lnTo>
                    <a:pt x="1079" y="876"/>
                  </a:lnTo>
                  <a:lnTo>
                    <a:pt x="1081" y="876"/>
                  </a:lnTo>
                  <a:lnTo>
                    <a:pt x="1081" y="876"/>
                  </a:lnTo>
                  <a:lnTo>
                    <a:pt x="1084" y="878"/>
                  </a:lnTo>
                  <a:lnTo>
                    <a:pt x="1084" y="878"/>
                  </a:lnTo>
                  <a:lnTo>
                    <a:pt x="1084" y="880"/>
                  </a:lnTo>
                  <a:lnTo>
                    <a:pt x="1081" y="880"/>
                  </a:lnTo>
                  <a:lnTo>
                    <a:pt x="1077" y="883"/>
                  </a:lnTo>
                  <a:lnTo>
                    <a:pt x="1077" y="883"/>
                  </a:lnTo>
                  <a:lnTo>
                    <a:pt x="1077" y="885"/>
                  </a:lnTo>
                  <a:lnTo>
                    <a:pt x="1077" y="885"/>
                  </a:lnTo>
                  <a:lnTo>
                    <a:pt x="1079" y="885"/>
                  </a:lnTo>
                  <a:lnTo>
                    <a:pt x="1079" y="885"/>
                  </a:lnTo>
                  <a:lnTo>
                    <a:pt x="1081" y="885"/>
                  </a:lnTo>
                  <a:lnTo>
                    <a:pt x="1081" y="885"/>
                  </a:lnTo>
                  <a:lnTo>
                    <a:pt x="1084" y="885"/>
                  </a:lnTo>
                  <a:lnTo>
                    <a:pt x="1084" y="885"/>
                  </a:lnTo>
                  <a:lnTo>
                    <a:pt x="1086" y="885"/>
                  </a:lnTo>
                  <a:lnTo>
                    <a:pt x="1086" y="885"/>
                  </a:lnTo>
                  <a:lnTo>
                    <a:pt x="1091" y="885"/>
                  </a:lnTo>
                  <a:lnTo>
                    <a:pt x="1093" y="885"/>
                  </a:lnTo>
                  <a:lnTo>
                    <a:pt x="1096" y="885"/>
                  </a:lnTo>
                  <a:lnTo>
                    <a:pt x="1096" y="888"/>
                  </a:lnTo>
                  <a:lnTo>
                    <a:pt x="1117" y="892"/>
                  </a:lnTo>
                  <a:lnTo>
                    <a:pt x="1114" y="892"/>
                  </a:lnTo>
                  <a:lnTo>
                    <a:pt x="1114" y="892"/>
                  </a:lnTo>
                  <a:lnTo>
                    <a:pt x="1112" y="892"/>
                  </a:lnTo>
                  <a:lnTo>
                    <a:pt x="1112" y="892"/>
                  </a:lnTo>
                  <a:lnTo>
                    <a:pt x="1110" y="890"/>
                  </a:lnTo>
                  <a:lnTo>
                    <a:pt x="1110" y="888"/>
                  </a:lnTo>
                  <a:lnTo>
                    <a:pt x="1107" y="888"/>
                  </a:lnTo>
                  <a:lnTo>
                    <a:pt x="1105" y="888"/>
                  </a:lnTo>
                  <a:lnTo>
                    <a:pt x="1105" y="888"/>
                  </a:lnTo>
                  <a:lnTo>
                    <a:pt x="1105" y="888"/>
                  </a:lnTo>
                  <a:lnTo>
                    <a:pt x="1105" y="888"/>
                  </a:lnTo>
                  <a:lnTo>
                    <a:pt x="1103" y="885"/>
                  </a:lnTo>
                  <a:lnTo>
                    <a:pt x="1103" y="885"/>
                  </a:lnTo>
                  <a:lnTo>
                    <a:pt x="1103" y="885"/>
                  </a:lnTo>
                  <a:lnTo>
                    <a:pt x="1100" y="885"/>
                  </a:lnTo>
                  <a:lnTo>
                    <a:pt x="1100" y="885"/>
                  </a:lnTo>
                  <a:lnTo>
                    <a:pt x="1098" y="885"/>
                  </a:lnTo>
                  <a:lnTo>
                    <a:pt x="1096" y="885"/>
                  </a:lnTo>
                  <a:lnTo>
                    <a:pt x="1096" y="885"/>
                  </a:lnTo>
                  <a:lnTo>
                    <a:pt x="1100" y="885"/>
                  </a:lnTo>
                  <a:lnTo>
                    <a:pt x="1098" y="888"/>
                  </a:lnTo>
                  <a:lnTo>
                    <a:pt x="1096" y="885"/>
                  </a:lnTo>
                  <a:lnTo>
                    <a:pt x="1091" y="883"/>
                  </a:lnTo>
                  <a:lnTo>
                    <a:pt x="1091" y="883"/>
                  </a:lnTo>
                  <a:lnTo>
                    <a:pt x="1093" y="883"/>
                  </a:lnTo>
                  <a:lnTo>
                    <a:pt x="1093" y="883"/>
                  </a:lnTo>
                  <a:lnTo>
                    <a:pt x="1091" y="883"/>
                  </a:lnTo>
                  <a:lnTo>
                    <a:pt x="1091" y="883"/>
                  </a:lnTo>
                  <a:lnTo>
                    <a:pt x="1091" y="883"/>
                  </a:lnTo>
                  <a:lnTo>
                    <a:pt x="1091" y="880"/>
                  </a:lnTo>
                  <a:lnTo>
                    <a:pt x="1091" y="883"/>
                  </a:lnTo>
                  <a:lnTo>
                    <a:pt x="1093" y="883"/>
                  </a:lnTo>
                  <a:lnTo>
                    <a:pt x="1093" y="880"/>
                  </a:lnTo>
                  <a:lnTo>
                    <a:pt x="1093" y="880"/>
                  </a:lnTo>
                  <a:lnTo>
                    <a:pt x="1093" y="878"/>
                  </a:lnTo>
                  <a:lnTo>
                    <a:pt x="1093" y="878"/>
                  </a:lnTo>
                  <a:lnTo>
                    <a:pt x="1093" y="878"/>
                  </a:lnTo>
                  <a:lnTo>
                    <a:pt x="1096" y="880"/>
                  </a:lnTo>
                  <a:lnTo>
                    <a:pt x="1096" y="880"/>
                  </a:lnTo>
                  <a:lnTo>
                    <a:pt x="1098" y="883"/>
                  </a:lnTo>
                  <a:lnTo>
                    <a:pt x="1100" y="883"/>
                  </a:lnTo>
                  <a:lnTo>
                    <a:pt x="1103" y="883"/>
                  </a:lnTo>
                  <a:lnTo>
                    <a:pt x="1105" y="883"/>
                  </a:lnTo>
                  <a:lnTo>
                    <a:pt x="1105" y="883"/>
                  </a:lnTo>
                  <a:lnTo>
                    <a:pt x="1105" y="883"/>
                  </a:lnTo>
                  <a:lnTo>
                    <a:pt x="1107" y="883"/>
                  </a:lnTo>
                  <a:lnTo>
                    <a:pt x="1107" y="883"/>
                  </a:lnTo>
                  <a:lnTo>
                    <a:pt x="1107" y="885"/>
                  </a:lnTo>
                  <a:lnTo>
                    <a:pt x="1107" y="885"/>
                  </a:lnTo>
                  <a:lnTo>
                    <a:pt x="1110" y="885"/>
                  </a:lnTo>
                  <a:lnTo>
                    <a:pt x="1110" y="885"/>
                  </a:lnTo>
                  <a:lnTo>
                    <a:pt x="1112" y="888"/>
                  </a:lnTo>
                  <a:lnTo>
                    <a:pt x="1117" y="888"/>
                  </a:lnTo>
                  <a:lnTo>
                    <a:pt x="1119" y="888"/>
                  </a:lnTo>
                  <a:lnTo>
                    <a:pt x="1119" y="890"/>
                  </a:lnTo>
                  <a:lnTo>
                    <a:pt x="1119" y="890"/>
                  </a:lnTo>
                  <a:lnTo>
                    <a:pt x="1122" y="892"/>
                  </a:lnTo>
                  <a:lnTo>
                    <a:pt x="1122" y="892"/>
                  </a:lnTo>
                  <a:lnTo>
                    <a:pt x="1119" y="892"/>
                  </a:lnTo>
                  <a:lnTo>
                    <a:pt x="1119" y="892"/>
                  </a:lnTo>
                  <a:lnTo>
                    <a:pt x="1119" y="892"/>
                  </a:lnTo>
                  <a:lnTo>
                    <a:pt x="1119" y="892"/>
                  </a:lnTo>
                  <a:lnTo>
                    <a:pt x="1117" y="892"/>
                  </a:lnTo>
                  <a:lnTo>
                    <a:pt x="1117" y="892"/>
                  </a:lnTo>
                  <a:lnTo>
                    <a:pt x="1126" y="897"/>
                  </a:lnTo>
                  <a:lnTo>
                    <a:pt x="1131" y="902"/>
                  </a:lnTo>
                  <a:lnTo>
                    <a:pt x="1141" y="906"/>
                  </a:lnTo>
                  <a:lnTo>
                    <a:pt x="1141" y="906"/>
                  </a:lnTo>
                  <a:lnTo>
                    <a:pt x="1155" y="916"/>
                  </a:lnTo>
                  <a:lnTo>
                    <a:pt x="1155" y="918"/>
                  </a:lnTo>
                  <a:lnTo>
                    <a:pt x="1157" y="918"/>
                  </a:lnTo>
                  <a:lnTo>
                    <a:pt x="1157" y="921"/>
                  </a:lnTo>
                  <a:lnTo>
                    <a:pt x="1162" y="925"/>
                  </a:lnTo>
                  <a:lnTo>
                    <a:pt x="1167" y="928"/>
                  </a:lnTo>
                  <a:lnTo>
                    <a:pt x="1167" y="928"/>
                  </a:lnTo>
                  <a:lnTo>
                    <a:pt x="1169" y="930"/>
                  </a:lnTo>
                  <a:lnTo>
                    <a:pt x="1171" y="930"/>
                  </a:lnTo>
                  <a:lnTo>
                    <a:pt x="1174" y="933"/>
                  </a:lnTo>
                  <a:lnTo>
                    <a:pt x="1174" y="933"/>
                  </a:lnTo>
                  <a:lnTo>
                    <a:pt x="1174" y="933"/>
                  </a:lnTo>
                  <a:lnTo>
                    <a:pt x="1174" y="930"/>
                  </a:lnTo>
                  <a:lnTo>
                    <a:pt x="1176" y="930"/>
                  </a:lnTo>
                  <a:lnTo>
                    <a:pt x="1176" y="933"/>
                  </a:lnTo>
                  <a:lnTo>
                    <a:pt x="1176" y="933"/>
                  </a:lnTo>
                  <a:lnTo>
                    <a:pt x="1176" y="933"/>
                  </a:lnTo>
                  <a:lnTo>
                    <a:pt x="1178" y="933"/>
                  </a:lnTo>
                  <a:lnTo>
                    <a:pt x="1178" y="933"/>
                  </a:lnTo>
                  <a:lnTo>
                    <a:pt x="1178" y="933"/>
                  </a:lnTo>
                  <a:lnTo>
                    <a:pt x="1181" y="935"/>
                  </a:lnTo>
                  <a:lnTo>
                    <a:pt x="1181" y="937"/>
                  </a:lnTo>
                  <a:lnTo>
                    <a:pt x="1181" y="937"/>
                  </a:lnTo>
                  <a:lnTo>
                    <a:pt x="1178" y="935"/>
                  </a:lnTo>
                  <a:lnTo>
                    <a:pt x="1178" y="935"/>
                  </a:lnTo>
                  <a:lnTo>
                    <a:pt x="1178" y="935"/>
                  </a:lnTo>
                  <a:lnTo>
                    <a:pt x="1178" y="933"/>
                  </a:lnTo>
                  <a:lnTo>
                    <a:pt x="1176" y="933"/>
                  </a:lnTo>
                  <a:lnTo>
                    <a:pt x="1176" y="933"/>
                  </a:lnTo>
                  <a:lnTo>
                    <a:pt x="1176" y="933"/>
                  </a:lnTo>
                  <a:lnTo>
                    <a:pt x="1176" y="935"/>
                  </a:lnTo>
                  <a:lnTo>
                    <a:pt x="1183" y="942"/>
                  </a:lnTo>
                  <a:lnTo>
                    <a:pt x="1193" y="951"/>
                  </a:lnTo>
                  <a:lnTo>
                    <a:pt x="1200" y="956"/>
                  </a:lnTo>
                  <a:lnTo>
                    <a:pt x="1204" y="961"/>
                  </a:lnTo>
                  <a:lnTo>
                    <a:pt x="1207" y="963"/>
                  </a:lnTo>
                  <a:lnTo>
                    <a:pt x="1207" y="963"/>
                  </a:lnTo>
                  <a:lnTo>
                    <a:pt x="1207" y="963"/>
                  </a:lnTo>
                  <a:lnTo>
                    <a:pt x="1209" y="963"/>
                  </a:lnTo>
                  <a:lnTo>
                    <a:pt x="1209" y="963"/>
                  </a:lnTo>
                  <a:lnTo>
                    <a:pt x="1212" y="959"/>
                  </a:lnTo>
                  <a:lnTo>
                    <a:pt x="1212" y="956"/>
                  </a:lnTo>
                  <a:lnTo>
                    <a:pt x="1212" y="956"/>
                  </a:lnTo>
                  <a:lnTo>
                    <a:pt x="1212" y="956"/>
                  </a:lnTo>
                  <a:lnTo>
                    <a:pt x="1209" y="954"/>
                  </a:lnTo>
                  <a:lnTo>
                    <a:pt x="1209" y="951"/>
                  </a:lnTo>
                  <a:lnTo>
                    <a:pt x="1209" y="951"/>
                  </a:lnTo>
                  <a:lnTo>
                    <a:pt x="1209" y="951"/>
                  </a:lnTo>
                  <a:lnTo>
                    <a:pt x="1209" y="949"/>
                  </a:lnTo>
                  <a:lnTo>
                    <a:pt x="1209" y="949"/>
                  </a:lnTo>
                  <a:lnTo>
                    <a:pt x="1209" y="949"/>
                  </a:lnTo>
                  <a:lnTo>
                    <a:pt x="1209" y="947"/>
                  </a:lnTo>
                  <a:lnTo>
                    <a:pt x="1212" y="947"/>
                  </a:lnTo>
                  <a:lnTo>
                    <a:pt x="1212" y="944"/>
                  </a:lnTo>
                  <a:lnTo>
                    <a:pt x="1212" y="942"/>
                  </a:lnTo>
                  <a:lnTo>
                    <a:pt x="1212" y="940"/>
                  </a:lnTo>
                  <a:lnTo>
                    <a:pt x="1212" y="940"/>
                  </a:lnTo>
                  <a:lnTo>
                    <a:pt x="1212" y="940"/>
                  </a:lnTo>
                  <a:lnTo>
                    <a:pt x="1212" y="940"/>
                  </a:lnTo>
                  <a:lnTo>
                    <a:pt x="1214" y="940"/>
                  </a:lnTo>
                  <a:lnTo>
                    <a:pt x="1214" y="937"/>
                  </a:lnTo>
                  <a:lnTo>
                    <a:pt x="1214" y="935"/>
                  </a:lnTo>
                  <a:lnTo>
                    <a:pt x="1207" y="928"/>
                  </a:lnTo>
                  <a:lnTo>
                    <a:pt x="1207" y="925"/>
                  </a:lnTo>
                  <a:lnTo>
                    <a:pt x="1207" y="925"/>
                  </a:lnTo>
                  <a:lnTo>
                    <a:pt x="1207" y="925"/>
                  </a:lnTo>
                  <a:lnTo>
                    <a:pt x="1207" y="923"/>
                  </a:lnTo>
                  <a:lnTo>
                    <a:pt x="1209" y="918"/>
                  </a:lnTo>
                  <a:lnTo>
                    <a:pt x="1212" y="916"/>
                  </a:lnTo>
                  <a:lnTo>
                    <a:pt x="1214" y="911"/>
                  </a:lnTo>
                  <a:lnTo>
                    <a:pt x="1216" y="904"/>
                  </a:lnTo>
                  <a:lnTo>
                    <a:pt x="1221" y="897"/>
                  </a:lnTo>
                  <a:lnTo>
                    <a:pt x="1223" y="892"/>
                  </a:lnTo>
                  <a:lnTo>
                    <a:pt x="1226" y="888"/>
                  </a:lnTo>
                  <a:lnTo>
                    <a:pt x="1226" y="885"/>
                  </a:lnTo>
                  <a:lnTo>
                    <a:pt x="1228" y="883"/>
                  </a:lnTo>
                  <a:lnTo>
                    <a:pt x="1228" y="883"/>
                  </a:lnTo>
                  <a:lnTo>
                    <a:pt x="1228" y="883"/>
                  </a:lnTo>
                  <a:lnTo>
                    <a:pt x="1230" y="883"/>
                  </a:lnTo>
                  <a:lnTo>
                    <a:pt x="1238" y="880"/>
                  </a:lnTo>
                  <a:lnTo>
                    <a:pt x="1245" y="880"/>
                  </a:lnTo>
                  <a:lnTo>
                    <a:pt x="1252" y="880"/>
                  </a:lnTo>
                  <a:lnTo>
                    <a:pt x="1259" y="880"/>
                  </a:lnTo>
                  <a:lnTo>
                    <a:pt x="1266" y="880"/>
                  </a:lnTo>
                  <a:lnTo>
                    <a:pt x="1266" y="880"/>
                  </a:lnTo>
                  <a:lnTo>
                    <a:pt x="1273" y="878"/>
                  </a:lnTo>
                  <a:lnTo>
                    <a:pt x="1280" y="878"/>
                  </a:lnTo>
                  <a:lnTo>
                    <a:pt x="1285" y="878"/>
                  </a:lnTo>
                  <a:lnTo>
                    <a:pt x="1290" y="878"/>
                  </a:lnTo>
                  <a:lnTo>
                    <a:pt x="1292" y="878"/>
                  </a:lnTo>
                  <a:lnTo>
                    <a:pt x="1292" y="876"/>
                  </a:lnTo>
                  <a:lnTo>
                    <a:pt x="1292" y="876"/>
                  </a:lnTo>
                  <a:lnTo>
                    <a:pt x="1292" y="876"/>
                  </a:lnTo>
                  <a:lnTo>
                    <a:pt x="1292" y="876"/>
                  </a:lnTo>
                  <a:lnTo>
                    <a:pt x="1292" y="876"/>
                  </a:lnTo>
                  <a:lnTo>
                    <a:pt x="1292" y="876"/>
                  </a:lnTo>
                  <a:lnTo>
                    <a:pt x="1292" y="876"/>
                  </a:lnTo>
                  <a:lnTo>
                    <a:pt x="1292" y="876"/>
                  </a:lnTo>
                  <a:lnTo>
                    <a:pt x="1292" y="876"/>
                  </a:lnTo>
                  <a:lnTo>
                    <a:pt x="1292" y="876"/>
                  </a:lnTo>
                  <a:lnTo>
                    <a:pt x="1292" y="876"/>
                  </a:lnTo>
                  <a:lnTo>
                    <a:pt x="1292" y="876"/>
                  </a:lnTo>
                  <a:lnTo>
                    <a:pt x="1292" y="873"/>
                  </a:lnTo>
                  <a:lnTo>
                    <a:pt x="1292" y="873"/>
                  </a:lnTo>
                  <a:lnTo>
                    <a:pt x="1292" y="873"/>
                  </a:lnTo>
                  <a:lnTo>
                    <a:pt x="1292" y="871"/>
                  </a:lnTo>
                  <a:lnTo>
                    <a:pt x="1292" y="871"/>
                  </a:lnTo>
                  <a:lnTo>
                    <a:pt x="1292" y="871"/>
                  </a:lnTo>
                  <a:lnTo>
                    <a:pt x="1292" y="871"/>
                  </a:lnTo>
                  <a:lnTo>
                    <a:pt x="1292" y="869"/>
                  </a:lnTo>
                  <a:lnTo>
                    <a:pt x="1292" y="869"/>
                  </a:lnTo>
                  <a:lnTo>
                    <a:pt x="1292" y="869"/>
                  </a:lnTo>
                  <a:lnTo>
                    <a:pt x="1292" y="869"/>
                  </a:lnTo>
                  <a:lnTo>
                    <a:pt x="1292" y="869"/>
                  </a:lnTo>
                  <a:lnTo>
                    <a:pt x="1292" y="866"/>
                  </a:lnTo>
                  <a:lnTo>
                    <a:pt x="1292" y="866"/>
                  </a:lnTo>
                  <a:lnTo>
                    <a:pt x="1292" y="866"/>
                  </a:lnTo>
                  <a:lnTo>
                    <a:pt x="1292" y="866"/>
                  </a:lnTo>
                  <a:lnTo>
                    <a:pt x="1292" y="866"/>
                  </a:lnTo>
                  <a:lnTo>
                    <a:pt x="1292" y="866"/>
                  </a:lnTo>
                  <a:lnTo>
                    <a:pt x="1292" y="866"/>
                  </a:lnTo>
                  <a:lnTo>
                    <a:pt x="1292" y="866"/>
                  </a:lnTo>
                  <a:lnTo>
                    <a:pt x="1292" y="866"/>
                  </a:lnTo>
                  <a:lnTo>
                    <a:pt x="1292" y="866"/>
                  </a:lnTo>
                  <a:lnTo>
                    <a:pt x="1292" y="866"/>
                  </a:lnTo>
                  <a:lnTo>
                    <a:pt x="1292" y="866"/>
                  </a:lnTo>
                  <a:lnTo>
                    <a:pt x="1292" y="866"/>
                  </a:lnTo>
                  <a:lnTo>
                    <a:pt x="1292" y="866"/>
                  </a:lnTo>
                  <a:lnTo>
                    <a:pt x="1292" y="866"/>
                  </a:lnTo>
                  <a:lnTo>
                    <a:pt x="1292" y="864"/>
                  </a:lnTo>
                  <a:lnTo>
                    <a:pt x="1292" y="866"/>
                  </a:lnTo>
                  <a:lnTo>
                    <a:pt x="1292" y="864"/>
                  </a:lnTo>
                  <a:lnTo>
                    <a:pt x="1292" y="864"/>
                  </a:lnTo>
                  <a:lnTo>
                    <a:pt x="1292" y="864"/>
                  </a:lnTo>
                  <a:lnTo>
                    <a:pt x="1292" y="864"/>
                  </a:lnTo>
                  <a:lnTo>
                    <a:pt x="1294" y="864"/>
                  </a:lnTo>
                  <a:lnTo>
                    <a:pt x="1294" y="862"/>
                  </a:lnTo>
                  <a:lnTo>
                    <a:pt x="1292" y="862"/>
                  </a:lnTo>
                  <a:lnTo>
                    <a:pt x="1292" y="862"/>
                  </a:lnTo>
                  <a:lnTo>
                    <a:pt x="1292" y="862"/>
                  </a:lnTo>
                  <a:lnTo>
                    <a:pt x="1292" y="862"/>
                  </a:lnTo>
                  <a:lnTo>
                    <a:pt x="1292" y="862"/>
                  </a:lnTo>
                  <a:lnTo>
                    <a:pt x="1292" y="862"/>
                  </a:lnTo>
                  <a:lnTo>
                    <a:pt x="1294" y="862"/>
                  </a:lnTo>
                  <a:lnTo>
                    <a:pt x="1294" y="862"/>
                  </a:lnTo>
                  <a:lnTo>
                    <a:pt x="1294" y="862"/>
                  </a:lnTo>
                  <a:lnTo>
                    <a:pt x="1294" y="859"/>
                  </a:lnTo>
                  <a:lnTo>
                    <a:pt x="1294" y="859"/>
                  </a:lnTo>
                  <a:lnTo>
                    <a:pt x="1294" y="859"/>
                  </a:lnTo>
                  <a:lnTo>
                    <a:pt x="1294" y="859"/>
                  </a:lnTo>
                  <a:lnTo>
                    <a:pt x="1292" y="859"/>
                  </a:lnTo>
                  <a:lnTo>
                    <a:pt x="1292" y="859"/>
                  </a:lnTo>
                  <a:lnTo>
                    <a:pt x="1292" y="859"/>
                  </a:lnTo>
                  <a:lnTo>
                    <a:pt x="1292" y="859"/>
                  </a:lnTo>
                  <a:lnTo>
                    <a:pt x="1292" y="859"/>
                  </a:lnTo>
                  <a:lnTo>
                    <a:pt x="1290" y="859"/>
                  </a:lnTo>
                  <a:lnTo>
                    <a:pt x="1290" y="859"/>
                  </a:lnTo>
                  <a:lnTo>
                    <a:pt x="1290" y="857"/>
                  </a:lnTo>
                  <a:lnTo>
                    <a:pt x="1290" y="857"/>
                  </a:lnTo>
                  <a:lnTo>
                    <a:pt x="1290" y="857"/>
                  </a:lnTo>
                  <a:lnTo>
                    <a:pt x="1287" y="857"/>
                  </a:lnTo>
                  <a:lnTo>
                    <a:pt x="1287" y="857"/>
                  </a:lnTo>
                  <a:lnTo>
                    <a:pt x="1287" y="857"/>
                  </a:lnTo>
                  <a:lnTo>
                    <a:pt x="1287" y="857"/>
                  </a:lnTo>
                  <a:lnTo>
                    <a:pt x="1285" y="857"/>
                  </a:lnTo>
                  <a:lnTo>
                    <a:pt x="1285" y="857"/>
                  </a:lnTo>
                  <a:lnTo>
                    <a:pt x="1285" y="857"/>
                  </a:lnTo>
                  <a:lnTo>
                    <a:pt x="1285" y="857"/>
                  </a:lnTo>
                  <a:lnTo>
                    <a:pt x="1283" y="857"/>
                  </a:lnTo>
                  <a:lnTo>
                    <a:pt x="1283" y="857"/>
                  </a:lnTo>
                  <a:lnTo>
                    <a:pt x="1283" y="857"/>
                  </a:lnTo>
                  <a:lnTo>
                    <a:pt x="1280" y="857"/>
                  </a:lnTo>
                  <a:lnTo>
                    <a:pt x="1283" y="857"/>
                  </a:lnTo>
                  <a:lnTo>
                    <a:pt x="1283" y="854"/>
                  </a:lnTo>
                  <a:lnTo>
                    <a:pt x="1283" y="854"/>
                  </a:lnTo>
                  <a:lnTo>
                    <a:pt x="1283" y="854"/>
                  </a:lnTo>
                  <a:lnTo>
                    <a:pt x="1283" y="854"/>
                  </a:lnTo>
                  <a:lnTo>
                    <a:pt x="1280" y="854"/>
                  </a:lnTo>
                  <a:lnTo>
                    <a:pt x="1280" y="854"/>
                  </a:lnTo>
                  <a:lnTo>
                    <a:pt x="1280" y="852"/>
                  </a:lnTo>
                  <a:lnTo>
                    <a:pt x="1280" y="852"/>
                  </a:lnTo>
                  <a:lnTo>
                    <a:pt x="1280" y="852"/>
                  </a:lnTo>
                  <a:lnTo>
                    <a:pt x="1280" y="850"/>
                  </a:lnTo>
                  <a:lnTo>
                    <a:pt x="1280" y="850"/>
                  </a:lnTo>
                  <a:lnTo>
                    <a:pt x="1280" y="850"/>
                  </a:lnTo>
                  <a:lnTo>
                    <a:pt x="1280" y="852"/>
                  </a:lnTo>
                  <a:lnTo>
                    <a:pt x="1280" y="852"/>
                  </a:lnTo>
                  <a:lnTo>
                    <a:pt x="1280" y="852"/>
                  </a:lnTo>
                  <a:lnTo>
                    <a:pt x="1280" y="850"/>
                  </a:lnTo>
                  <a:lnTo>
                    <a:pt x="1280" y="850"/>
                  </a:lnTo>
                  <a:lnTo>
                    <a:pt x="1278" y="847"/>
                  </a:lnTo>
                  <a:lnTo>
                    <a:pt x="1275" y="843"/>
                  </a:lnTo>
                  <a:lnTo>
                    <a:pt x="1275" y="843"/>
                  </a:lnTo>
                  <a:lnTo>
                    <a:pt x="1273" y="843"/>
                  </a:lnTo>
                  <a:lnTo>
                    <a:pt x="1271" y="840"/>
                  </a:lnTo>
                  <a:lnTo>
                    <a:pt x="1271" y="840"/>
                  </a:lnTo>
                  <a:lnTo>
                    <a:pt x="1271" y="840"/>
                  </a:lnTo>
                  <a:lnTo>
                    <a:pt x="1271" y="840"/>
                  </a:lnTo>
                  <a:lnTo>
                    <a:pt x="1271" y="840"/>
                  </a:lnTo>
                  <a:lnTo>
                    <a:pt x="1271" y="840"/>
                  </a:lnTo>
                  <a:lnTo>
                    <a:pt x="1266" y="840"/>
                  </a:lnTo>
                  <a:lnTo>
                    <a:pt x="1266" y="840"/>
                  </a:lnTo>
                  <a:lnTo>
                    <a:pt x="1264" y="838"/>
                  </a:lnTo>
                  <a:lnTo>
                    <a:pt x="1264" y="838"/>
                  </a:lnTo>
                  <a:lnTo>
                    <a:pt x="1264" y="836"/>
                  </a:lnTo>
                  <a:lnTo>
                    <a:pt x="1264" y="836"/>
                  </a:lnTo>
                  <a:lnTo>
                    <a:pt x="1264" y="836"/>
                  </a:lnTo>
                  <a:lnTo>
                    <a:pt x="1261" y="836"/>
                  </a:lnTo>
                  <a:lnTo>
                    <a:pt x="1261" y="836"/>
                  </a:lnTo>
                  <a:lnTo>
                    <a:pt x="1261" y="838"/>
                  </a:lnTo>
                  <a:lnTo>
                    <a:pt x="1261" y="838"/>
                  </a:lnTo>
                  <a:lnTo>
                    <a:pt x="1261" y="838"/>
                  </a:lnTo>
                  <a:lnTo>
                    <a:pt x="1261" y="838"/>
                  </a:lnTo>
                  <a:lnTo>
                    <a:pt x="1261" y="838"/>
                  </a:lnTo>
                  <a:lnTo>
                    <a:pt x="1261" y="836"/>
                  </a:lnTo>
                  <a:lnTo>
                    <a:pt x="1259" y="836"/>
                  </a:lnTo>
                  <a:lnTo>
                    <a:pt x="1259" y="836"/>
                  </a:lnTo>
                  <a:lnTo>
                    <a:pt x="1256" y="836"/>
                  </a:lnTo>
                  <a:lnTo>
                    <a:pt x="1256" y="833"/>
                  </a:lnTo>
                  <a:lnTo>
                    <a:pt x="1254" y="833"/>
                  </a:lnTo>
                  <a:lnTo>
                    <a:pt x="1254" y="831"/>
                  </a:lnTo>
                  <a:lnTo>
                    <a:pt x="1254" y="831"/>
                  </a:lnTo>
                  <a:lnTo>
                    <a:pt x="1254" y="831"/>
                  </a:lnTo>
                  <a:lnTo>
                    <a:pt x="1254" y="831"/>
                  </a:lnTo>
                  <a:lnTo>
                    <a:pt x="1252" y="831"/>
                  </a:lnTo>
                  <a:lnTo>
                    <a:pt x="1252" y="831"/>
                  </a:lnTo>
                  <a:lnTo>
                    <a:pt x="1249" y="828"/>
                  </a:lnTo>
                  <a:lnTo>
                    <a:pt x="1249" y="828"/>
                  </a:lnTo>
                  <a:lnTo>
                    <a:pt x="1249" y="828"/>
                  </a:lnTo>
                  <a:lnTo>
                    <a:pt x="1249" y="826"/>
                  </a:lnTo>
                  <a:lnTo>
                    <a:pt x="1249" y="826"/>
                  </a:lnTo>
                  <a:lnTo>
                    <a:pt x="1249" y="826"/>
                  </a:lnTo>
                  <a:lnTo>
                    <a:pt x="1247" y="826"/>
                  </a:lnTo>
                  <a:lnTo>
                    <a:pt x="1247" y="826"/>
                  </a:lnTo>
                  <a:lnTo>
                    <a:pt x="1247" y="824"/>
                  </a:lnTo>
                  <a:lnTo>
                    <a:pt x="1247" y="824"/>
                  </a:lnTo>
                  <a:lnTo>
                    <a:pt x="1247" y="824"/>
                  </a:lnTo>
                  <a:lnTo>
                    <a:pt x="1245" y="824"/>
                  </a:lnTo>
                  <a:lnTo>
                    <a:pt x="1245" y="824"/>
                  </a:lnTo>
                  <a:lnTo>
                    <a:pt x="1242" y="824"/>
                  </a:lnTo>
                  <a:lnTo>
                    <a:pt x="1242" y="824"/>
                  </a:lnTo>
                  <a:lnTo>
                    <a:pt x="1242" y="821"/>
                  </a:lnTo>
                  <a:lnTo>
                    <a:pt x="1240" y="821"/>
                  </a:lnTo>
                  <a:lnTo>
                    <a:pt x="1240" y="821"/>
                  </a:lnTo>
                  <a:lnTo>
                    <a:pt x="1238" y="821"/>
                  </a:lnTo>
                  <a:lnTo>
                    <a:pt x="1238" y="819"/>
                  </a:lnTo>
                  <a:lnTo>
                    <a:pt x="1238" y="819"/>
                  </a:lnTo>
                  <a:lnTo>
                    <a:pt x="1261" y="819"/>
                  </a:lnTo>
                  <a:lnTo>
                    <a:pt x="1259" y="805"/>
                  </a:lnTo>
                  <a:lnTo>
                    <a:pt x="1259" y="791"/>
                  </a:lnTo>
                  <a:lnTo>
                    <a:pt x="1259" y="788"/>
                  </a:lnTo>
                  <a:lnTo>
                    <a:pt x="1259" y="788"/>
                  </a:lnTo>
                  <a:lnTo>
                    <a:pt x="1261" y="788"/>
                  </a:lnTo>
                  <a:lnTo>
                    <a:pt x="1273" y="788"/>
                  </a:lnTo>
                  <a:lnTo>
                    <a:pt x="1283" y="786"/>
                  </a:lnTo>
                  <a:lnTo>
                    <a:pt x="1294" y="786"/>
                  </a:lnTo>
                  <a:lnTo>
                    <a:pt x="1304" y="786"/>
                  </a:lnTo>
                  <a:lnTo>
                    <a:pt x="1316" y="783"/>
                  </a:lnTo>
                  <a:lnTo>
                    <a:pt x="1327" y="783"/>
                  </a:lnTo>
                  <a:lnTo>
                    <a:pt x="1337" y="781"/>
                  </a:lnTo>
                  <a:lnTo>
                    <a:pt x="1349" y="781"/>
                  </a:lnTo>
                  <a:lnTo>
                    <a:pt x="1349" y="776"/>
                  </a:lnTo>
                  <a:lnTo>
                    <a:pt x="1349" y="774"/>
                  </a:lnTo>
                  <a:lnTo>
                    <a:pt x="1349" y="772"/>
                  </a:lnTo>
                  <a:lnTo>
                    <a:pt x="1354" y="772"/>
                  </a:lnTo>
                  <a:lnTo>
                    <a:pt x="1354" y="772"/>
                  </a:lnTo>
                  <a:lnTo>
                    <a:pt x="1356" y="772"/>
                  </a:lnTo>
                  <a:lnTo>
                    <a:pt x="1356" y="772"/>
                  </a:lnTo>
                  <a:lnTo>
                    <a:pt x="1356" y="774"/>
                  </a:lnTo>
                  <a:lnTo>
                    <a:pt x="1356" y="774"/>
                  </a:lnTo>
                  <a:lnTo>
                    <a:pt x="1358" y="774"/>
                  </a:lnTo>
                  <a:lnTo>
                    <a:pt x="1358" y="774"/>
                  </a:lnTo>
                  <a:lnTo>
                    <a:pt x="1358" y="774"/>
                  </a:lnTo>
                  <a:lnTo>
                    <a:pt x="1361" y="774"/>
                  </a:lnTo>
                  <a:lnTo>
                    <a:pt x="1361" y="776"/>
                  </a:lnTo>
                  <a:lnTo>
                    <a:pt x="1363" y="776"/>
                  </a:lnTo>
                  <a:lnTo>
                    <a:pt x="1363" y="774"/>
                  </a:lnTo>
                  <a:lnTo>
                    <a:pt x="1363" y="774"/>
                  </a:lnTo>
                  <a:lnTo>
                    <a:pt x="1363" y="774"/>
                  </a:lnTo>
                  <a:lnTo>
                    <a:pt x="1365" y="772"/>
                  </a:lnTo>
                  <a:lnTo>
                    <a:pt x="1365" y="772"/>
                  </a:lnTo>
                  <a:lnTo>
                    <a:pt x="1365" y="769"/>
                  </a:lnTo>
                  <a:lnTo>
                    <a:pt x="1365" y="769"/>
                  </a:lnTo>
                  <a:lnTo>
                    <a:pt x="1368" y="767"/>
                  </a:lnTo>
                  <a:lnTo>
                    <a:pt x="1368" y="767"/>
                  </a:lnTo>
                  <a:lnTo>
                    <a:pt x="1368" y="767"/>
                  </a:lnTo>
                  <a:lnTo>
                    <a:pt x="1368" y="765"/>
                  </a:lnTo>
                  <a:lnTo>
                    <a:pt x="1368" y="765"/>
                  </a:lnTo>
                  <a:lnTo>
                    <a:pt x="1368" y="765"/>
                  </a:lnTo>
                  <a:lnTo>
                    <a:pt x="1368" y="765"/>
                  </a:lnTo>
                  <a:lnTo>
                    <a:pt x="1370" y="762"/>
                  </a:lnTo>
                  <a:lnTo>
                    <a:pt x="1370" y="760"/>
                  </a:lnTo>
                  <a:lnTo>
                    <a:pt x="1370" y="760"/>
                  </a:lnTo>
                  <a:lnTo>
                    <a:pt x="1370" y="760"/>
                  </a:lnTo>
                  <a:lnTo>
                    <a:pt x="1370" y="760"/>
                  </a:lnTo>
                  <a:lnTo>
                    <a:pt x="1372" y="757"/>
                  </a:lnTo>
                  <a:lnTo>
                    <a:pt x="1372" y="757"/>
                  </a:lnTo>
                  <a:lnTo>
                    <a:pt x="1372" y="757"/>
                  </a:lnTo>
                  <a:lnTo>
                    <a:pt x="1372" y="755"/>
                  </a:lnTo>
                  <a:lnTo>
                    <a:pt x="1372" y="755"/>
                  </a:lnTo>
                  <a:lnTo>
                    <a:pt x="1372" y="755"/>
                  </a:lnTo>
                  <a:lnTo>
                    <a:pt x="1372" y="755"/>
                  </a:lnTo>
                  <a:lnTo>
                    <a:pt x="1372" y="753"/>
                  </a:lnTo>
                  <a:lnTo>
                    <a:pt x="1375" y="750"/>
                  </a:lnTo>
                  <a:lnTo>
                    <a:pt x="1375" y="750"/>
                  </a:lnTo>
                  <a:lnTo>
                    <a:pt x="1375" y="750"/>
                  </a:lnTo>
                  <a:lnTo>
                    <a:pt x="1375" y="748"/>
                  </a:lnTo>
                  <a:lnTo>
                    <a:pt x="1375" y="748"/>
                  </a:lnTo>
                  <a:lnTo>
                    <a:pt x="1375" y="746"/>
                  </a:lnTo>
                  <a:lnTo>
                    <a:pt x="1377" y="746"/>
                  </a:lnTo>
                  <a:lnTo>
                    <a:pt x="1377" y="743"/>
                  </a:lnTo>
                  <a:lnTo>
                    <a:pt x="1377" y="743"/>
                  </a:lnTo>
                  <a:lnTo>
                    <a:pt x="1377" y="743"/>
                  </a:lnTo>
                  <a:lnTo>
                    <a:pt x="1380" y="743"/>
                  </a:lnTo>
                  <a:lnTo>
                    <a:pt x="1380" y="743"/>
                  </a:lnTo>
                  <a:lnTo>
                    <a:pt x="1380" y="743"/>
                  </a:lnTo>
                  <a:lnTo>
                    <a:pt x="1380" y="743"/>
                  </a:lnTo>
                  <a:lnTo>
                    <a:pt x="1382" y="743"/>
                  </a:lnTo>
                  <a:lnTo>
                    <a:pt x="1382" y="743"/>
                  </a:lnTo>
                  <a:lnTo>
                    <a:pt x="1382" y="743"/>
                  </a:lnTo>
                  <a:lnTo>
                    <a:pt x="1382" y="743"/>
                  </a:lnTo>
                  <a:lnTo>
                    <a:pt x="1382" y="743"/>
                  </a:lnTo>
                  <a:lnTo>
                    <a:pt x="1382" y="743"/>
                  </a:lnTo>
                  <a:lnTo>
                    <a:pt x="1384" y="743"/>
                  </a:lnTo>
                  <a:lnTo>
                    <a:pt x="1384" y="743"/>
                  </a:lnTo>
                  <a:lnTo>
                    <a:pt x="1387" y="743"/>
                  </a:lnTo>
                  <a:lnTo>
                    <a:pt x="1387" y="743"/>
                  </a:lnTo>
                  <a:lnTo>
                    <a:pt x="1387" y="743"/>
                  </a:lnTo>
                  <a:lnTo>
                    <a:pt x="1387" y="741"/>
                  </a:lnTo>
                  <a:lnTo>
                    <a:pt x="1387" y="741"/>
                  </a:lnTo>
                  <a:lnTo>
                    <a:pt x="1387" y="741"/>
                  </a:lnTo>
                  <a:lnTo>
                    <a:pt x="1389" y="741"/>
                  </a:lnTo>
                  <a:lnTo>
                    <a:pt x="1389" y="739"/>
                  </a:lnTo>
                  <a:lnTo>
                    <a:pt x="1389" y="739"/>
                  </a:lnTo>
                  <a:lnTo>
                    <a:pt x="1391" y="736"/>
                  </a:lnTo>
                  <a:lnTo>
                    <a:pt x="1391" y="734"/>
                  </a:lnTo>
                  <a:lnTo>
                    <a:pt x="1391" y="731"/>
                  </a:lnTo>
                  <a:lnTo>
                    <a:pt x="1391" y="731"/>
                  </a:lnTo>
                  <a:lnTo>
                    <a:pt x="1394" y="731"/>
                  </a:lnTo>
                  <a:lnTo>
                    <a:pt x="1394" y="731"/>
                  </a:lnTo>
                  <a:lnTo>
                    <a:pt x="1394" y="729"/>
                  </a:lnTo>
                  <a:lnTo>
                    <a:pt x="1391" y="729"/>
                  </a:lnTo>
                  <a:lnTo>
                    <a:pt x="1391" y="731"/>
                  </a:lnTo>
                  <a:lnTo>
                    <a:pt x="1391" y="731"/>
                  </a:lnTo>
                  <a:lnTo>
                    <a:pt x="1391" y="731"/>
                  </a:lnTo>
                  <a:lnTo>
                    <a:pt x="1391" y="731"/>
                  </a:lnTo>
                  <a:lnTo>
                    <a:pt x="1391" y="729"/>
                  </a:lnTo>
                  <a:lnTo>
                    <a:pt x="1391" y="729"/>
                  </a:lnTo>
                  <a:lnTo>
                    <a:pt x="1391" y="729"/>
                  </a:lnTo>
                  <a:lnTo>
                    <a:pt x="1391" y="729"/>
                  </a:lnTo>
                  <a:lnTo>
                    <a:pt x="1389" y="731"/>
                  </a:lnTo>
                  <a:lnTo>
                    <a:pt x="1389" y="731"/>
                  </a:lnTo>
                  <a:lnTo>
                    <a:pt x="1389" y="731"/>
                  </a:lnTo>
                  <a:lnTo>
                    <a:pt x="1389" y="731"/>
                  </a:lnTo>
                  <a:lnTo>
                    <a:pt x="1389" y="731"/>
                  </a:lnTo>
                  <a:lnTo>
                    <a:pt x="1389" y="731"/>
                  </a:lnTo>
                  <a:lnTo>
                    <a:pt x="1391" y="729"/>
                  </a:lnTo>
                  <a:lnTo>
                    <a:pt x="1391" y="729"/>
                  </a:lnTo>
                  <a:lnTo>
                    <a:pt x="1391" y="729"/>
                  </a:lnTo>
                  <a:lnTo>
                    <a:pt x="1394" y="727"/>
                  </a:lnTo>
                  <a:lnTo>
                    <a:pt x="1394" y="727"/>
                  </a:lnTo>
                  <a:lnTo>
                    <a:pt x="1394" y="727"/>
                  </a:lnTo>
                  <a:lnTo>
                    <a:pt x="1394" y="727"/>
                  </a:lnTo>
                  <a:lnTo>
                    <a:pt x="1394" y="729"/>
                  </a:lnTo>
                  <a:lnTo>
                    <a:pt x="1394" y="729"/>
                  </a:lnTo>
                  <a:lnTo>
                    <a:pt x="1394" y="729"/>
                  </a:lnTo>
                  <a:lnTo>
                    <a:pt x="1394" y="727"/>
                  </a:lnTo>
                  <a:lnTo>
                    <a:pt x="1394" y="727"/>
                  </a:lnTo>
                  <a:lnTo>
                    <a:pt x="1394" y="727"/>
                  </a:lnTo>
                  <a:lnTo>
                    <a:pt x="1394" y="724"/>
                  </a:lnTo>
                  <a:lnTo>
                    <a:pt x="1396" y="722"/>
                  </a:lnTo>
                  <a:lnTo>
                    <a:pt x="1396" y="722"/>
                  </a:lnTo>
                  <a:lnTo>
                    <a:pt x="1398" y="720"/>
                  </a:lnTo>
                  <a:lnTo>
                    <a:pt x="1398" y="722"/>
                  </a:lnTo>
                  <a:lnTo>
                    <a:pt x="1398" y="724"/>
                  </a:lnTo>
                  <a:lnTo>
                    <a:pt x="1398" y="724"/>
                  </a:lnTo>
                  <a:lnTo>
                    <a:pt x="1401" y="724"/>
                  </a:lnTo>
                  <a:lnTo>
                    <a:pt x="1401" y="727"/>
                  </a:lnTo>
                  <a:lnTo>
                    <a:pt x="1401" y="729"/>
                  </a:lnTo>
                  <a:lnTo>
                    <a:pt x="1401" y="729"/>
                  </a:lnTo>
                  <a:lnTo>
                    <a:pt x="1401" y="729"/>
                  </a:lnTo>
                  <a:lnTo>
                    <a:pt x="1401" y="729"/>
                  </a:lnTo>
                  <a:lnTo>
                    <a:pt x="1398" y="729"/>
                  </a:lnTo>
                  <a:lnTo>
                    <a:pt x="1401" y="729"/>
                  </a:lnTo>
                  <a:lnTo>
                    <a:pt x="1401" y="729"/>
                  </a:lnTo>
                  <a:lnTo>
                    <a:pt x="1401" y="729"/>
                  </a:lnTo>
                  <a:lnTo>
                    <a:pt x="1401" y="729"/>
                  </a:lnTo>
                  <a:lnTo>
                    <a:pt x="1401" y="731"/>
                  </a:lnTo>
                  <a:lnTo>
                    <a:pt x="1401" y="731"/>
                  </a:lnTo>
                  <a:lnTo>
                    <a:pt x="1401" y="731"/>
                  </a:lnTo>
                  <a:lnTo>
                    <a:pt x="1401" y="734"/>
                  </a:lnTo>
                  <a:lnTo>
                    <a:pt x="1398" y="734"/>
                  </a:lnTo>
                  <a:lnTo>
                    <a:pt x="1398" y="736"/>
                  </a:lnTo>
                  <a:lnTo>
                    <a:pt x="1398" y="736"/>
                  </a:lnTo>
                  <a:lnTo>
                    <a:pt x="1398" y="739"/>
                  </a:lnTo>
                  <a:lnTo>
                    <a:pt x="1398" y="739"/>
                  </a:lnTo>
                  <a:lnTo>
                    <a:pt x="1398" y="739"/>
                  </a:lnTo>
                  <a:lnTo>
                    <a:pt x="1398" y="741"/>
                  </a:lnTo>
                  <a:lnTo>
                    <a:pt x="1398" y="741"/>
                  </a:lnTo>
                  <a:lnTo>
                    <a:pt x="1398" y="741"/>
                  </a:lnTo>
                  <a:lnTo>
                    <a:pt x="1403" y="741"/>
                  </a:lnTo>
                  <a:lnTo>
                    <a:pt x="1403" y="741"/>
                  </a:lnTo>
                  <a:lnTo>
                    <a:pt x="1406" y="741"/>
                  </a:lnTo>
                  <a:lnTo>
                    <a:pt x="1406" y="743"/>
                  </a:lnTo>
                  <a:lnTo>
                    <a:pt x="1406" y="743"/>
                  </a:lnTo>
                  <a:lnTo>
                    <a:pt x="1406" y="743"/>
                  </a:lnTo>
                  <a:lnTo>
                    <a:pt x="1406" y="743"/>
                  </a:lnTo>
                  <a:lnTo>
                    <a:pt x="1406" y="743"/>
                  </a:lnTo>
                  <a:lnTo>
                    <a:pt x="1406" y="746"/>
                  </a:lnTo>
                  <a:lnTo>
                    <a:pt x="1406" y="746"/>
                  </a:lnTo>
                  <a:lnTo>
                    <a:pt x="1406" y="746"/>
                  </a:lnTo>
                  <a:lnTo>
                    <a:pt x="1408" y="746"/>
                  </a:lnTo>
                  <a:lnTo>
                    <a:pt x="1408" y="746"/>
                  </a:lnTo>
                  <a:lnTo>
                    <a:pt x="1408" y="746"/>
                  </a:lnTo>
                  <a:lnTo>
                    <a:pt x="1408" y="746"/>
                  </a:lnTo>
                  <a:lnTo>
                    <a:pt x="1408" y="746"/>
                  </a:lnTo>
                  <a:lnTo>
                    <a:pt x="1408" y="748"/>
                  </a:lnTo>
                  <a:lnTo>
                    <a:pt x="1408" y="748"/>
                  </a:lnTo>
                  <a:lnTo>
                    <a:pt x="1408" y="748"/>
                  </a:lnTo>
                  <a:lnTo>
                    <a:pt x="1408" y="748"/>
                  </a:lnTo>
                  <a:lnTo>
                    <a:pt x="1408" y="748"/>
                  </a:lnTo>
                  <a:lnTo>
                    <a:pt x="1408" y="750"/>
                  </a:lnTo>
                  <a:lnTo>
                    <a:pt x="1408" y="750"/>
                  </a:lnTo>
                  <a:lnTo>
                    <a:pt x="1408" y="748"/>
                  </a:lnTo>
                  <a:lnTo>
                    <a:pt x="1408" y="748"/>
                  </a:lnTo>
                  <a:lnTo>
                    <a:pt x="1410" y="748"/>
                  </a:lnTo>
                  <a:lnTo>
                    <a:pt x="1410" y="748"/>
                  </a:lnTo>
                  <a:lnTo>
                    <a:pt x="1410" y="750"/>
                  </a:lnTo>
                  <a:lnTo>
                    <a:pt x="1410" y="750"/>
                  </a:lnTo>
                  <a:lnTo>
                    <a:pt x="1408" y="753"/>
                  </a:lnTo>
                  <a:lnTo>
                    <a:pt x="1408" y="753"/>
                  </a:lnTo>
                  <a:lnTo>
                    <a:pt x="1408" y="753"/>
                  </a:lnTo>
                  <a:lnTo>
                    <a:pt x="1410" y="753"/>
                  </a:lnTo>
                  <a:lnTo>
                    <a:pt x="1410" y="753"/>
                  </a:lnTo>
                  <a:lnTo>
                    <a:pt x="1410" y="753"/>
                  </a:lnTo>
                  <a:lnTo>
                    <a:pt x="1410" y="755"/>
                  </a:lnTo>
                  <a:lnTo>
                    <a:pt x="1410" y="755"/>
                  </a:lnTo>
                  <a:lnTo>
                    <a:pt x="1410" y="750"/>
                  </a:lnTo>
                  <a:lnTo>
                    <a:pt x="1410" y="750"/>
                  </a:lnTo>
                  <a:lnTo>
                    <a:pt x="1410" y="748"/>
                  </a:lnTo>
                  <a:lnTo>
                    <a:pt x="1410" y="748"/>
                  </a:lnTo>
                  <a:lnTo>
                    <a:pt x="1410" y="748"/>
                  </a:lnTo>
                  <a:lnTo>
                    <a:pt x="1413" y="743"/>
                  </a:lnTo>
                  <a:lnTo>
                    <a:pt x="1413" y="741"/>
                  </a:lnTo>
                  <a:lnTo>
                    <a:pt x="1413" y="739"/>
                  </a:lnTo>
                  <a:lnTo>
                    <a:pt x="1413" y="739"/>
                  </a:lnTo>
                  <a:lnTo>
                    <a:pt x="1415" y="736"/>
                  </a:lnTo>
                  <a:lnTo>
                    <a:pt x="1415" y="736"/>
                  </a:lnTo>
                  <a:lnTo>
                    <a:pt x="1413" y="734"/>
                  </a:lnTo>
                  <a:lnTo>
                    <a:pt x="1413" y="731"/>
                  </a:lnTo>
                  <a:lnTo>
                    <a:pt x="1415" y="729"/>
                  </a:lnTo>
                  <a:lnTo>
                    <a:pt x="1415" y="727"/>
                  </a:lnTo>
                  <a:lnTo>
                    <a:pt x="1415" y="727"/>
                  </a:lnTo>
                  <a:lnTo>
                    <a:pt x="1417" y="724"/>
                  </a:lnTo>
                  <a:lnTo>
                    <a:pt x="1417" y="717"/>
                  </a:lnTo>
                  <a:lnTo>
                    <a:pt x="1417" y="710"/>
                  </a:lnTo>
                  <a:lnTo>
                    <a:pt x="1420" y="710"/>
                  </a:lnTo>
                  <a:lnTo>
                    <a:pt x="1420" y="705"/>
                  </a:lnTo>
                  <a:lnTo>
                    <a:pt x="1420" y="705"/>
                  </a:lnTo>
                  <a:lnTo>
                    <a:pt x="1420" y="703"/>
                  </a:lnTo>
                  <a:lnTo>
                    <a:pt x="1420" y="703"/>
                  </a:lnTo>
                  <a:lnTo>
                    <a:pt x="1420" y="701"/>
                  </a:lnTo>
                  <a:lnTo>
                    <a:pt x="1420" y="698"/>
                  </a:lnTo>
                  <a:lnTo>
                    <a:pt x="1422" y="696"/>
                  </a:lnTo>
                  <a:lnTo>
                    <a:pt x="1422" y="696"/>
                  </a:lnTo>
                  <a:lnTo>
                    <a:pt x="1422" y="696"/>
                  </a:lnTo>
                  <a:lnTo>
                    <a:pt x="1422" y="694"/>
                  </a:lnTo>
                  <a:lnTo>
                    <a:pt x="1422" y="696"/>
                  </a:lnTo>
                  <a:lnTo>
                    <a:pt x="1422" y="696"/>
                  </a:lnTo>
                  <a:lnTo>
                    <a:pt x="1422" y="696"/>
                  </a:lnTo>
                  <a:lnTo>
                    <a:pt x="1420" y="696"/>
                  </a:lnTo>
                  <a:lnTo>
                    <a:pt x="1422" y="694"/>
                  </a:lnTo>
                  <a:lnTo>
                    <a:pt x="1420" y="696"/>
                  </a:lnTo>
                  <a:lnTo>
                    <a:pt x="1417" y="696"/>
                  </a:lnTo>
                  <a:lnTo>
                    <a:pt x="1417" y="696"/>
                  </a:lnTo>
                  <a:lnTo>
                    <a:pt x="1417" y="696"/>
                  </a:lnTo>
                  <a:lnTo>
                    <a:pt x="1417" y="698"/>
                  </a:lnTo>
                  <a:lnTo>
                    <a:pt x="1415" y="701"/>
                  </a:lnTo>
                  <a:lnTo>
                    <a:pt x="1415" y="701"/>
                  </a:lnTo>
                  <a:lnTo>
                    <a:pt x="1415" y="701"/>
                  </a:lnTo>
                  <a:lnTo>
                    <a:pt x="1415" y="701"/>
                  </a:lnTo>
                  <a:lnTo>
                    <a:pt x="1413" y="701"/>
                  </a:lnTo>
                  <a:lnTo>
                    <a:pt x="1413" y="701"/>
                  </a:lnTo>
                  <a:lnTo>
                    <a:pt x="1413" y="698"/>
                  </a:lnTo>
                  <a:lnTo>
                    <a:pt x="1413" y="696"/>
                  </a:lnTo>
                  <a:lnTo>
                    <a:pt x="1413" y="696"/>
                  </a:lnTo>
                  <a:lnTo>
                    <a:pt x="1413" y="696"/>
                  </a:lnTo>
                  <a:lnTo>
                    <a:pt x="1413" y="696"/>
                  </a:lnTo>
                  <a:lnTo>
                    <a:pt x="1415" y="694"/>
                  </a:lnTo>
                  <a:lnTo>
                    <a:pt x="1413" y="694"/>
                  </a:lnTo>
                  <a:lnTo>
                    <a:pt x="1413" y="696"/>
                  </a:lnTo>
                  <a:lnTo>
                    <a:pt x="1413" y="696"/>
                  </a:lnTo>
                  <a:lnTo>
                    <a:pt x="1413" y="694"/>
                  </a:lnTo>
                  <a:lnTo>
                    <a:pt x="1415" y="691"/>
                  </a:lnTo>
                  <a:lnTo>
                    <a:pt x="1417" y="689"/>
                  </a:lnTo>
                  <a:lnTo>
                    <a:pt x="1420" y="689"/>
                  </a:lnTo>
                  <a:lnTo>
                    <a:pt x="1420" y="689"/>
                  </a:lnTo>
                  <a:lnTo>
                    <a:pt x="1420" y="691"/>
                  </a:lnTo>
                  <a:lnTo>
                    <a:pt x="1417" y="691"/>
                  </a:lnTo>
                  <a:lnTo>
                    <a:pt x="1417" y="691"/>
                  </a:lnTo>
                  <a:lnTo>
                    <a:pt x="1420" y="691"/>
                  </a:lnTo>
                  <a:lnTo>
                    <a:pt x="1420" y="691"/>
                  </a:lnTo>
                  <a:lnTo>
                    <a:pt x="1420" y="689"/>
                  </a:lnTo>
                  <a:lnTo>
                    <a:pt x="1422" y="689"/>
                  </a:lnTo>
                  <a:lnTo>
                    <a:pt x="1422" y="689"/>
                  </a:lnTo>
                  <a:lnTo>
                    <a:pt x="1422" y="689"/>
                  </a:lnTo>
                  <a:lnTo>
                    <a:pt x="1422" y="686"/>
                  </a:lnTo>
                  <a:lnTo>
                    <a:pt x="1424" y="686"/>
                  </a:lnTo>
                  <a:lnTo>
                    <a:pt x="1424" y="682"/>
                  </a:lnTo>
                  <a:lnTo>
                    <a:pt x="1424" y="682"/>
                  </a:lnTo>
                  <a:lnTo>
                    <a:pt x="1424" y="682"/>
                  </a:lnTo>
                  <a:lnTo>
                    <a:pt x="1424" y="679"/>
                  </a:lnTo>
                  <a:lnTo>
                    <a:pt x="1422" y="679"/>
                  </a:lnTo>
                  <a:lnTo>
                    <a:pt x="1422" y="679"/>
                  </a:lnTo>
                  <a:lnTo>
                    <a:pt x="1422" y="682"/>
                  </a:lnTo>
                  <a:lnTo>
                    <a:pt x="1422" y="682"/>
                  </a:lnTo>
                  <a:lnTo>
                    <a:pt x="1422" y="682"/>
                  </a:lnTo>
                  <a:lnTo>
                    <a:pt x="1420" y="682"/>
                  </a:lnTo>
                  <a:lnTo>
                    <a:pt x="1417" y="682"/>
                  </a:lnTo>
                  <a:lnTo>
                    <a:pt x="1420" y="682"/>
                  </a:lnTo>
                  <a:lnTo>
                    <a:pt x="1420" y="682"/>
                  </a:lnTo>
                  <a:lnTo>
                    <a:pt x="1422" y="682"/>
                  </a:lnTo>
                  <a:lnTo>
                    <a:pt x="1422" y="682"/>
                  </a:lnTo>
                  <a:lnTo>
                    <a:pt x="1422" y="682"/>
                  </a:lnTo>
                  <a:lnTo>
                    <a:pt x="1422" y="682"/>
                  </a:lnTo>
                  <a:lnTo>
                    <a:pt x="1422" y="679"/>
                  </a:lnTo>
                  <a:lnTo>
                    <a:pt x="1424" y="682"/>
                  </a:lnTo>
                  <a:lnTo>
                    <a:pt x="1424" y="682"/>
                  </a:lnTo>
                  <a:lnTo>
                    <a:pt x="1422" y="682"/>
                  </a:lnTo>
                  <a:lnTo>
                    <a:pt x="1422" y="684"/>
                  </a:lnTo>
                  <a:lnTo>
                    <a:pt x="1422" y="682"/>
                  </a:lnTo>
                  <a:lnTo>
                    <a:pt x="1422" y="682"/>
                  </a:lnTo>
                  <a:lnTo>
                    <a:pt x="1422" y="682"/>
                  </a:lnTo>
                  <a:lnTo>
                    <a:pt x="1422" y="682"/>
                  </a:lnTo>
                  <a:lnTo>
                    <a:pt x="1422" y="682"/>
                  </a:lnTo>
                  <a:lnTo>
                    <a:pt x="1422" y="682"/>
                  </a:lnTo>
                  <a:lnTo>
                    <a:pt x="1422" y="682"/>
                  </a:lnTo>
                  <a:lnTo>
                    <a:pt x="1420" y="682"/>
                  </a:lnTo>
                  <a:lnTo>
                    <a:pt x="1420" y="682"/>
                  </a:lnTo>
                  <a:lnTo>
                    <a:pt x="1420" y="682"/>
                  </a:lnTo>
                  <a:lnTo>
                    <a:pt x="1420" y="682"/>
                  </a:lnTo>
                  <a:lnTo>
                    <a:pt x="1420" y="682"/>
                  </a:lnTo>
                  <a:lnTo>
                    <a:pt x="1420" y="684"/>
                  </a:lnTo>
                  <a:lnTo>
                    <a:pt x="1420" y="684"/>
                  </a:lnTo>
                  <a:lnTo>
                    <a:pt x="1420" y="684"/>
                  </a:lnTo>
                  <a:lnTo>
                    <a:pt x="1417" y="682"/>
                  </a:lnTo>
                  <a:lnTo>
                    <a:pt x="1417" y="682"/>
                  </a:lnTo>
                  <a:lnTo>
                    <a:pt x="1415" y="684"/>
                  </a:lnTo>
                  <a:lnTo>
                    <a:pt x="1415" y="684"/>
                  </a:lnTo>
                  <a:lnTo>
                    <a:pt x="1415" y="684"/>
                  </a:lnTo>
                  <a:lnTo>
                    <a:pt x="1413" y="684"/>
                  </a:lnTo>
                  <a:lnTo>
                    <a:pt x="1413" y="686"/>
                  </a:lnTo>
                  <a:lnTo>
                    <a:pt x="1413" y="686"/>
                  </a:lnTo>
                  <a:lnTo>
                    <a:pt x="1413" y="686"/>
                  </a:lnTo>
                  <a:lnTo>
                    <a:pt x="1413" y="686"/>
                  </a:lnTo>
                  <a:lnTo>
                    <a:pt x="1413" y="684"/>
                  </a:lnTo>
                  <a:lnTo>
                    <a:pt x="1413" y="684"/>
                  </a:lnTo>
                  <a:lnTo>
                    <a:pt x="1413" y="684"/>
                  </a:lnTo>
                  <a:lnTo>
                    <a:pt x="1410" y="684"/>
                  </a:lnTo>
                  <a:lnTo>
                    <a:pt x="1410" y="684"/>
                  </a:lnTo>
                  <a:lnTo>
                    <a:pt x="1410" y="684"/>
                  </a:lnTo>
                  <a:lnTo>
                    <a:pt x="1410" y="682"/>
                  </a:lnTo>
                  <a:lnTo>
                    <a:pt x="1408" y="682"/>
                  </a:lnTo>
                  <a:lnTo>
                    <a:pt x="1408" y="682"/>
                  </a:lnTo>
                  <a:lnTo>
                    <a:pt x="1408" y="679"/>
                  </a:lnTo>
                  <a:lnTo>
                    <a:pt x="1408" y="679"/>
                  </a:lnTo>
                  <a:lnTo>
                    <a:pt x="1408" y="679"/>
                  </a:lnTo>
                  <a:lnTo>
                    <a:pt x="1408" y="677"/>
                  </a:lnTo>
                  <a:lnTo>
                    <a:pt x="1408" y="677"/>
                  </a:lnTo>
                  <a:lnTo>
                    <a:pt x="1410" y="677"/>
                  </a:lnTo>
                  <a:lnTo>
                    <a:pt x="1410" y="677"/>
                  </a:lnTo>
                  <a:lnTo>
                    <a:pt x="1413" y="677"/>
                  </a:lnTo>
                  <a:lnTo>
                    <a:pt x="1413" y="679"/>
                  </a:lnTo>
                  <a:lnTo>
                    <a:pt x="1410" y="679"/>
                  </a:lnTo>
                  <a:lnTo>
                    <a:pt x="1410" y="679"/>
                  </a:lnTo>
                  <a:lnTo>
                    <a:pt x="1410" y="679"/>
                  </a:lnTo>
                  <a:lnTo>
                    <a:pt x="1413" y="679"/>
                  </a:lnTo>
                  <a:lnTo>
                    <a:pt x="1413" y="677"/>
                  </a:lnTo>
                  <a:lnTo>
                    <a:pt x="1413" y="675"/>
                  </a:lnTo>
                  <a:lnTo>
                    <a:pt x="1413" y="675"/>
                  </a:lnTo>
                  <a:lnTo>
                    <a:pt x="1413" y="672"/>
                  </a:lnTo>
                  <a:lnTo>
                    <a:pt x="1415" y="670"/>
                  </a:lnTo>
                  <a:lnTo>
                    <a:pt x="1415" y="670"/>
                  </a:lnTo>
                  <a:lnTo>
                    <a:pt x="1415" y="670"/>
                  </a:lnTo>
                  <a:lnTo>
                    <a:pt x="1415" y="670"/>
                  </a:lnTo>
                  <a:lnTo>
                    <a:pt x="1417" y="670"/>
                  </a:lnTo>
                  <a:lnTo>
                    <a:pt x="1417" y="670"/>
                  </a:lnTo>
                  <a:lnTo>
                    <a:pt x="1417" y="670"/>
                  </a:lnTo>
                  <a:lnTo>
                    <a:pt x="1417" y="670"/>
                  </a:lnTo>
                  <a:lnTo>
                    <a:pt x="1417" y="670"/>
                  </a:lnTo>
                  <a:lnTo>
                    <a:pt x="1417" y="670"/>
                  </a:lnTo>
                  <a:lnTo>
                    <a:pt x="1417" y="670"/>
                  </a:lnTo>
                  <a:lnTo>
                    <a:pt x="1420" y="665"/>
                  </a:lnTo>
                  <a:lnTo>
                    <a:pt x="1420" y="665"/>
                  </a:lnTo>
                  <a:lnTo>
                    <a:pt x="1420" y="665"/>
                  </a:lnTo>
                  <a:lnTo>
                    <a:pt x="1420" y="668"/>
                  </a:lnTo>
                  <a:lnTo>
                    <a:pt x="1420" y="665"/>
                  </a:lnTo>
                  <a:lnTo>
                    <a:pt x="1420" y="665"/>
                  </a:lnTo>
                  <a:lnTo>
                    <a:pt x="1420" y="663"/>
                  </a:lnTo>
                  <a:lnTo>
                    <a:pt x="1420" y="663"/>
                  </a:lnTo>
                  <a:lnTo>
                    <a:pt x="1417" y="663"/>
                  </a:lnTo>
                  <a:lnTo>
                    <a:pt x="1417" y="663"/>
                  </a:lnTo>
                  <a:lnTo>
                    <a:pt x="1417" y="663"/>
                  </a:lnTo>
                  <a:lnTo>
                    <a:pt x="1420" y="663"/>
                  </a:lnTo>
                  <a:lnTo>
                    <a:pt x="1420" y="663"/>
                  </a:lnTo>
                  <a:lnTo>
                    <a:pt x="1420" y="663"/>
                  </a:lnTo>
                  <a:lnTo>
                    <a:pt x="1420" y="663"/>
                  </a:lnTo>
                  <a:lnTo>
                    <a:pt x="1420" y="663"/>
                  </a:lnTo>
                  <a:lnTo>
                    <a:pt x="1420" y="665"/>
                  </a:lnTo>
                  <a:lnTo>
                    <a:pt x="1420" y="665"/>
                  </a:lnTo>
                  <a:lnTo>
                    <a:pt x="1420" y="668"/>
                  </a:lnTo>
                  <a:lnTo>
                    <a:pt x="1420" y="668"/>
                  </a:lnTo>
                  <a:lnTo>
                    <a:pt x="1420" y="668"/>
                  </a:lnTo>
                  <a:lnTo>
                    <a:pt x="1420" y="668"/>
                  </a:lnTo>
                  <a:lnTo>
                    <a:pt x="1420" y="668"/>
                  </a:lnTo>
                  <a:lnTo>
                    <a:pt x="1420" y="668"/>
                  </a:lnTo>
                  <a:lnTo>
                    <a:pt x="1420" y="670"/>
                  </a:lnTo>
                  <a:lnTo>
                    <a:pt x="1420" y="670"/>
                  </a:lnTo>
                  <a:lnTo>
                    <a:pt x="1420" y="670"/>
                  </a:lnTo>
                  <a:lnTo>
                    <a:pt x="1420" y="668"/>
                  </a:lnTo>
                  <a:lnTo>
                    <a:pt x="1420" y="668"/>
                  </a:lnTo>
                  <a:lnTo>
                    <a:pt x="1420" y="668"/>
                  </a:lnTo>
                  <a:lnTo>
                    <a:pt x="1422" y="668"/>
                  </a:lnTo>
                  <a:lnTo>
                    <a:pt x="1422" y="665"/>
                  </a:lnTo>
                  <a:lnTo>
                    <a:pt x="1422" y="665"/>
                  </a:lnTo>
                  <a:lnTo>
                    <a:pt x="1420" y="663"/>
                  </a:lnTo>
                  <a:lnTo>
                    <a:pt x="1420" y="663"/>
                  </a:lnTo>
                  <a:lnTo>
                    <a:pt x="1420" y="660"/>
                  </a:lnTo>
                  <a:lnTo>
                    <a:pt x="1417" y="656"/>
                  </a:lnTo>
                  <a:lnTo>
                    <a:pt x="1417" y="653"/>
                  </a:lnTo>
                  <a:lnTo>
                    <a:pt x="1420" y="651"/>
                  </a:lnTo>
                  <a:lnTo>
                    <a:pt x="1420" y="649"/>
                  </a:lnTo>
                  <a:lnTo>
                    <a:pt x="1420" y="646"/>
                  </a:lnTo>
                  <a:lnTo>
                    <a:pt x="1422" y="646"/>
                  </a:lnTo>
                  <a:lnTo>
                    <a:pt x="1422" y="646"/>
                  </a:lnTo>
                  <a:lnTo>
                    <a:pt x="1422" y="644"/>
                  </a:lnTo>
                  <a:lnTo>
                    <a:pt x="1422" y="644"/>
                  </a:lnTo>
                  <a:lnTo>
                    <a:pt x="1422" y="644"/>
                  </a:lnTo>
                  <a:lnTo>
                    <a:pt x="1422" y="642"/>
                  </a:lnTo>
                  <a:lnTo>
                    <a:pt x="1427" y="634"/>
                  </a:lnTo>
                  <a:lnTo>
                    <a:pt x="1429" y="630"/>
                  </a:lnTo>
                  <a:lnTo>
                    <a:pt x="1432" y="630"/>
                  </a:lnTo>
                  <a:lnTo>
                    <a:pt x="1432" y="627"/>
                  </a:lnTo>
                  <a:lnTo>
                    <a:pt x="1434" y="627"/>
                  </a:lnTo>
                  <a:lnTo>
                    <a:pt x="1434" y="625"/>
                  </a:lnTo>
                  <a:lnTo>
                    <a:pt x="1436" y="623"/>
                  </a:lnTo>
                  <a:lnTo>
                    <a:pt x="1439" y="618"/>
                  </a:lnTo>
                  <a:lnTo>
                    <a:pt x="1443" y="613"/>
                  </a:lnTo>
                  <a:close/>
                  <a:moveTo>
                    <a:pt x="253" y="388"/>
                  </a:moveTo>
                  <a:lnTo>
                    <a:pt x="253" y="391"/>
                  </a:lnTo>
                  <a:lnTo>
                    <a:pt x="253" y="393"/>
                  </a:lnTo>
                  <a:lnTo>
                    <a:pt x="253" y="393"/>
                  </a:lnTo>
                  <a:lnTo>
                    <a:pt x="253" y="393"/>
                  </a:lnTo>
                  <a:lnTo>
                    <a:pt x="253" y="393"/>
                  </a:lnTo>
                  <a:lnTo>
                    <a:pt x="253" y="393"/>
                  </a:lnTo>
                  <a:lnTo>
                    <a:pt x="253" y="393"/>
                  </a:lnTo>
                  <a:lnTo>
                    <a:pt x="253" y="393"/>
                  </a:lnTo>
                  <a:lnTo>
                    <a:pt x="253" y="393"/>
                  </a:lnTo>
                  <a:lnTo>
                    <a:pt x="253" y="393"/>
                  </a:lnTo>
                  <a:lnTo>
                    <a:pt x="253" y="391"/>
                  </a:lnTo>
                  <a:lnTo>
                    <a:pt x="253" y="391"/>
                  </a:lnTo>
                  <a:lnTo>
                    <a:pt x="253" y="388"/>
                  </a:lnTo>
                  <a:lnTo>
                    <a:pt x="255" y="388"/>
                  </a:lnTo>
                  <a:lnTo>
                    <a:pt x="255" y="386"/>
                  </a:lnTo>
                  <a:lnTo>
                    <a:pt x="255" y="386"/>
                  </a:lnTo>
                  <a:lnTo>
                    <a:pt x="255" y="384"/>
                  </a:lnTo>
                  <a:lnTo>
                    <a:pt x="255" y="384"/>
                  </a:lnTo>
                  <a:lnTo>
                    <a:pt x="255" y="384"/>
                  </a:lnTo>
                  <a:lnTo>
                    <a:pt x="255" y="384"/>
                  </a:lnTo>
                  <a:lnTo>
                    <a:pt x="255" y="386"/>
                  </a:lnTo>
                  <a:lnTo>
                    <a:pt x="255" y="386"/>
                  </a:lnTo>
                  <a:lnTo>
                    <a:pt x="253" y="388"/>
                  </a:lnTo>
                  <a:close/>
                  <a:moveTo>
                    <a:pt x="274" y="729"/>
                  </a:moveTo>
                  <a:lnTo>
                    <a:pt x="274" y="729"/>
                  </a:lnTo>
                  <a:lnTo>
                    <a:pt x="274" y="729"/>
                  </a:lnTo>
                  <a:lnTo>
                    <a:pt x="274" y="727"/>
                  </a:lnTo>
                  <a:lnTo>
                    <a:pt x="272" y="727"/>
                  </a:lnTo>
                  <a:lnTo>
                    <a:pt x="272" y="727"/>
                  </a:lnTo>
                  <a:lnTo>
                    <a:pt x="270" y="727"/>
                  </a:lnTo>
                  <a:lnTo>
                    <a:pt x="270" y="729"/>
                  </a:lnTo>
                  <a:lnTo>
                    <a:pt x="267" y="729"/>
                  </a:lnTo>
                  <a:lnTo>
                    <a:pt x="267" y="731"/>
                  </a:lnTo>
                  <a:lnTo>
                    <a:pt x="267" y="731"/>
                  </a:lnTo>
                  <a:lnTo>
                    <a:pt x="270" y="731"/>
                  </a:lnTo>
                  <a:lnTo>
                    <a:pt x="270" y="731"/>
                  </a:lnTo>
                  <a:lnTo>
                    <a:pt x="272" y="734"/>
                  </a:lnTo>
                  <a:lnTo>
                    <a:pt x="272" y="734"/>
                  </a:lnTo>
                  <a:lnTo>
                    <a:pt x="272" y="734"/>
                  </a:lnTo>
                  <a:lnTo>
                    <a:pt x="274" y="734"/>
                  </a:lnTo>
                  <a:lnTo>
                    <a:pt x="274" y="734"/>
                  </a:lnTo>
                  <a:lnTo>
                    <a:pt x="274" y="734"/>
                  </a:lnTo>
                  <a:lnTo>
                    <a:pt x="277" y="731"/>
                  </a:lnTo>
                  <a:lnTo>
                    <a:pt x="274" y="731"/>
                  </a:lnTo>
                  <a:lnTo>
                    <a:pt x="274" y="729"/>
                  </a:lnTo>
                  <a:close/>
                  <a:moveTo>
                    <a:pt x="506" y="611"/>
                  </a:moveTo>
                  <a:lnTo>
                    <a:pt x="506" y="611"/>
                  </a:lnTo>
                  <a:lnTo>
                    <a:pt x="504" y="608"/>
                  </a:lnTo>
                  <a:lnTo>
                    <a:pt x="504" y="608"/>
                  </a:lnTo>
                  <a:lnTo>
                    <a:pt x="504" y="608"/>
                  </a:lnTo>
                  <a:lnTo>
                    <a:pt x="502" y="608"/>
                  </a:lnTo>
                  <a:lnTo>
                    <a:pt x="502" y="608"/>
                  </a:lnTo>
                  <a:lnTo>
                    <a:pt x="502" y="608"/>
                  </a:lnTo>
                  <a:lnTo>
                    <a:pt x="499" y="611"/>
                  </a:lnTo>
                  <a:lnTo>
                    <a:pt x="502" y="611"/>
                  </a:lnTo>
                  <a:lnTo>
                    <a:pt x="502" y="611"/>
                  </a:lnTo>
                  <a:lnTo>
                    <a:pt x="502" y="611"/>
                  </a:lnTo>
                  <a:lnTo>
                    <a:pt x="504" y="611"/>
                  </a:lnTo>
                  <a:lnTo>
                    <a:pt x="504" y="613"/>
                  </a:lnTo>
                  <a:lnTo>
                    <a:pt x="506" y="613"/>
                  </a:lnTo>
                  <a:lnTo>
                    <a:pt x="506" y="613"/>
                  </a:lnTo>
                  <a:lnTo>
                    <a:pt x="506" y="611"/>
                  </a:lnTo>
                  <a:lnTo>
                    <a:pt x="506" y="611"/>
                  </a:lnTo>
                  <a:lnTo>
                    <a:pt x="506" y="611"/>
                  </a:lnTo>
                  <a:lnTo>
                    <a:pt x="506" y="611"/>
                  </a:lnTo>
                  <a:lnTo>
                    <a:pt x="506" y="611"/>
                  </a:lnTo>
                  <a:close/>
                  <a:moveTo>
                    <a:pt x="513" y="618"/>
                  </a:moveTo>
                  <a:lnTo>
                    <a:pt x="511" y="618"/>
                  </a:lnTo>
                  <a:lnTo>
                    <a:pt x="511" y="618"/>
                  </a:lnTo>
                  <a:lnTo>
                    <a:pt x="511" y="618"/>
                  </a:lnTo>
                  <a:lnTo>
                    <a:pt x="511" y="620"/>
                  </a:lnTo>
                  <a:lnTo>
                    <a:pt x="511" y="620"/>
                  </a:lnTo>
                  <a:lnTo>
                    <a:pt x="511" y="620"/>
                  </a:lnTo>
                  <a:lnTo>
                    <a:pt x="513" y="620"/>
                  </a:lnTo>
                  <a:lnTo>
                    <a:pt x="513" y="618"/>
                  </a:lnTo>
                  <a:lnTo>
                    <a:pt x="513" y="618"/>
                  </a:lnTo>
                  <a:lnTo>
                    <a:pt x="513" y="618"/>
                  </a:lnTo>
                  <a:lnTo>
                    <a:pt x="513" y="618"/>
                  </a:lnTo>
                  <a:close/>
                  <a:moveTo>
                    <a:pt x="251" y="431"/>
                  </a:moveTo>
                  <a:lnTo>
                    <a:pt x="251" y="429"/>
                  </a:lnTo>
                  <a:lnTo>
                    <a:pt x="251" y="429"/>
                  </a:lnTo>
                  <a:lnTo>
                    <a:pt x="251" y="429"/>
                  </a:lnTo>
                  <a:lnTo>
                    <a:pt x="251" y="429"/>
                  </a:lnTo>
                  <a:lnTo>
                    <a:pt x="248" y="426"/>
                  </a:lnTo>
                  <a:lnTo>
                    <a:pt x="248" y="426"/>
                  </a:lnTo>
                  <a:lnTo>
                    <a:pt x="248" y="426"/>
                  </a:lnTo>
                  <a:lnTo>
                    <a:pt x="248" y="426"/>
                  </a:lnTo>
                  <a:lnTo>
                    <a:pt x="248" y="426"/>
                  </a:lnTo>
                  <a:lnTo>
                    <a:pt x="248" y="424"/>
                  </a:lnTo>
                  <a:lnTo>
                    <a:pt x="251" y="424"/>
                  </a:lnTo>
                  <a:lnTo>
                    <a:pt x="251" y="424"/>
                  </a:lnTo>
                  <a:lnTo>
                    <a:pt x="248" y="424"/>
                  </a:lnTo>
                  <a:lnTo>
                    <a:pt x="248" y="424"/>
                  </a:lnTo>
                  <a:lnTo>
                    <a:pt x="248" y="424"/>
                  </a:lnTo>
                  <a:lnTo>
                    <a:pt x="248" y="422"/>
                  </a:lnTo>
                  <a:lnTo>
                    <a:pt x="248" y="422"/>
                  </a:lnTo>
                  <a:lnTo>
                    <a:pt x="248" y="422"/>
                  </a:lnTo>
                  <a:lnTo>
                    <a:pt x="248" y="419"/>
                  </a:lnTo>
                  <a:lnTo>
                    <a:pt x="248" y="419"/>
                  </a:lnTo>
                  <a:lnTo>
                    <a:pt x="248" y="419"/>
                  </a:lnTo>
                  <a:lnTo>
                    <a:pt x="248" y="419"/>
                  </a:lnTo>
                  <a:lnTo>
                    <a:pt x="248" y="419"/>
                  </a:lnTo>
                  <a:lnTo>
                    <a:pt x="248" y="419"/>
                  </a:lnTo>
                  <a:lnTo>
                    <a:pt x="248" y="419"/>
                  </a:lnTo>
                  <a:lnTo>
                    <a:pt x="248" y="417"/>
                  </a:lnTo>
                  <a:lnTo>
                    <a:pt x="246" y="417"/>
                  </a:lnTo>
                  <a:lnTo>
                    <a:pt x="246" y="417"/>
                  </a:lnTo>
                  <a:lnTo>
                    <a:pt x="246" y="417"/>
                  </a:lnTo>
                  <a:lnTo>
                    <a:pt x="246" y="417"/>
                  </a:lnTo>
                  <a:lnTo>
                    <a:pt x="246" y="417"/>
                  </a:lnTo>
                  <a:lnTo>
                    <a:pt x="246" y="414"/>
                  </a:lnTo>
                  <a:lnTo>
                    <a:pt x="246" y="414"/>
                  </a:lnTo>
                  <a:lnTo>
                    <a:pt x="246" y="414"/>
                  </a:lnTo>
                  <a:lnTo>
                    <a:pt x="248" y="414"/>
                  </a:lnTo>
                  <a:lnTo>
                    <a:pt x="248" y="414"/>
                  </a:lnTo>
                  <a:lnTo>
                    <a:pt x="248" y="414"/>
                  </a:lnTo>
                  <a:lnTo>
                    <a:pt x="248" y="414"/>
                  </a:lnTo>
                  <a:lnTo>
                    <a:pt x="248" y="414"/>
                  </a:lnTo>
                  <a:lnTo>
                    <a:pt x="248" y="412"/>
                  </a:lnTo>
                  <a:lnTo>
                    <a:pt x="248" y="412"/>
                  </a:lnTo>
                  <a:lnTo>
                    <a:pt x="248" y="410"/>
                  </a:lnTo>
                  <a:lnTo>
                    <a:pt x="248" y="410"/>
                  </a:lnTo>
                  <a:lnTo>
                    <a:pt x="248" y="410"/>
                  </a:lnTo>
                  <a:lnTo>
                    <a:pt x="248" y="410"/>
                  </a:lnTo>
                  <a:lnTo>
                    <a:pt x="248" y="410"/>
                  </a:lnTo>
                  <a:lnTo>
                    <a:pt x="248" y="410"/>
                  </a:lnTo>
                  <a:lnTo>
                    <a:pt x="248" y="407"/>
                  </a:lnTo>
                  <a:lnTo>
                    <a:pt x="248" y="407"/>
                  </a:lnTo>
                  <a:lnTo>
                    <a:pt x="248" y="407"/>
                  </a:lnTo>
                  <a:lnTo>
                    <a:pt x="248" y="407"/>
                  </a:lnTo>
                  <a:lnTo>
                    <a:pt x="248" y="405"/>
                  </a:lnTo>
                  <a:lnTo>
                    <a:pt x="251" y="405"/>
                  </a:lnTo>
                  <a:lnTo>
                    <a:pt x="251" y="400"/>
                  </a:lnTo>
                  <a:lnTo>
                    <a:pt x="251" y="400"/>
                  </a:lnTo>
                  <a:lnTo>
                    <a:pt x="253" y="398"/>
                  </a:lnTo>
                  <a:lnTo>
                    <a:pt x="253" y="398"/>
                  </a:lnTo>
                  <a:lnTo>
                    <a:pt x="253" y="396"/>
                  </a:lnTo>
                  <a:lnTo>
                    <a:pt x="253" y="396"/>
                  </a:lnTo>
                  <a:lnTo>
                    <a:pt x="251" y="396"/>
                  </a:lnTo>
                  <a:lnTo>
                    <a:pt x="251" y="398"/>
                  </a:lnTo>
                  <a:lnTo>
                    <a:pt x="251" y="400"/>
                  </a:lnTo>
                  <a:lnTo>
                    <a:pt x="248" y="405"/>
                  </a:lnTo>
                  <a:lnTo>
                    <a:pt x="248" y="407"/>
                  </a:lnTo>
                  <a:lnTo>
                    <a:pt x="244" y="414"/>
                  </a:lnTo>
                  <a:lnTo>
                    <a:pt x="244" y="417"/>
                  </a:lnTo>
                  <a:lnTo>
                    <a:pt x="244" y="417"/>
                  </a:lnTo>
                  <a:lnTo>
                    <a:pt x="241" y="417"/>
                  </a:lnTo>
                  <a:lnTo>
                    <a:pt x="241" y="417"/>
                  </a:lnTo>
                  <a:lnTo>
                    <a:pt x="241" y="417"/>
                  </a:lnTo>
                  <a:lnTo>
                    <a:pt x="241" y="419"/>
                  </a:lnTo>
                  <a:lnTo>
                    <a:pt x="244" y="419"/>
                  </a:lnTo>
                  <a:lnTo>
                    <a:pt x="244" y="419"/>
                  </a:lnTo>
                  <a:lnTo>
                    <a:pt x="244" y="422"/>
                  </a:lnTo>
                  <a:lnTo>
                    <a:pt x="244" y="422"/>
                  </a:lnTo>
                  <a:lnTo>
                    <a:pt x="244" y="419"/>
                  </a:lnTo>
                  <a:lnTo>
                    <a:pt x="244" y="419"/>
                  </a:lnTo>
                  <a:lnTo>
                    <a:pt x="244" y="419"/>
                  </a:lnTo>
                  <a:lnTo>
                    <a:pt x="244" y="419"/>
                  </a:lnTo>
                  <a:lnTo>
                    <a:pt x="244" y="419"/>
                  </a:lnTo>
                  <a:lnTo>
                    <a:pt x="246" y="419"/>
                  </a:lnTo>
                  <a:lnTo>
                    <a:pt x="246" y="419"/>
                  </a:lnTo>
                  <a:lnTo>
                    <a:pt x="246" y="419"/>
                  </a:lnTo>
                  <a:lnTo>
                    <a:pt x="246" y="419"/>
                  </a:lnTo>
                  <a:lnTo>
                    <a:pt x="246" y="419"/>
                  </a:lnTo>
                  <a:lnTo>
                    <a:pt x="248" y="419"/>
                  </a:lnTo>
                  <a:lnTo>
                    <a:pt x="248" y="422"/>
                  </a:lnTo>
                  <a:lnTo>
                    <a:pt x="248" y="422"/>
                  </a:lnTo>
                  <a:lnTo>
                    <a:pt x="248" y="422"/>
                  </a:lnTo>
                  <a:lnTo>
                    <a:pt x="248" y="424"/>
                  </a:lnTo>
                  <a:lnTo>
                    <a:pt x="248" y="424"/>
                  </a:lnTo>
                  <a:lnTo>
                    <a:pt x="248" y="424"/>
                  </a:lnTo>
                  <a:lnTo>
                    <a:pt x="248" y="424"/>
                  </a:lnTo>
                  <a:lnTo>
                    <a:pt x="248" y="424"/>
                  </a:lnTo>
                  <a:lnTo>
                    <a:pt x="248" y="424"/>
                  </a:lnTo>
                  <a:lnTo>
                    <a:pt x="248" y="424"/>
                  </a:lnTo>
                  <a:lnTo>
                    <a:pt x="248" y="426"/>
                  </a:lnTo>
                  <a:lnTo>
                    <a:pt x="246" y="426"/>
                  </a:lnTo>
                  <a:lnTo>
                    <a:pt x="246" y="426"/>
                  </a:lnTo>
                  <a:lnTo>
                    <a:pt x="248" y="426"/>
                  </a:lnTo>
                  <a:lnTo>
                    <a:pt x="248" y="429"/>
                  </a:lnTo>
                  <a:lnTo>
                    <a:pt x="248" y="429"/>
                  </a:lnTo>
                  <a:lnTo>
                    <a:pt x="248" y="429"/>
                  </a:lnTo>
                  <a:lnTo>
                    <a:pt x="248" y="429"/>
                  </a:lnTo>
                  <a:lnTo>
                    <a:pt x="251" y="429"/>
                  </a:lnTo>
                  <a:lnTo>
                    <a:pt x="251" y="431"/>
                  </a:lnTo>
                  <a:lnTo>
                    <a:pt x="251" y="431"/>
                  </a:lnTo>
                  <a:lnTo>
                    <a:pt x="251" y="431"/>
                  </a:lnTo>
                  <a:lnTo>
                    <a:pt x="251" y="431"/>
                  </a:lnTo>
                  <a:lnTo>
                    <a:pt x="251" y="431"/>
                  </a:lnTo>
                  <a:lnTo>
                    <a:pt x="251" y="431"/>
                  </a:lnTo>
                  <a:lnTo>
                    <a:pt x="251" y="431"/>
                  </a:lnTo>
                  <a:lnTo>
                    <a:pt x="251" y="431"/>
                  </a:lnTo>
                  <a:close/>
                  <a:moveTo>
                    <a:pt x="1434" y="734"/>
                  </a:moveTo>
                  <a:lnTo>
                    <a:pt x="1434" y="734"/>
                  </a:lnTo>
                  <a:lnTo>
                    <a:pt x="1434" y="734"/>
                  </a:lnTo>
                  <a:lnTo>
                    <a:pt x="1434" y="734"/>
                  </a:lnTo>
                  <a:lnTo>
                    <a:pt x="1434" y="736"/>
                  </a:lnTo>
                  <a:lnTo>
                    <a:pt x="1434" y="739"/>
                  </a:lnTo>
                  <a:lnTo>
                    <a:pt x="1434" y="739"/>
                  </a:lnTo>
                  <a:lnTo>
                    <a:pt x="1434" y="741"/>
                  </a:lnTo>
                  <a:lnTo>
                    <a:pt x="1432" y="741"/>
                  </a:lnTo>
                  <a:lnTo>
                    <a:pt x="1432" y="741"/>
                  </a:lnTo>
                  <a:lnTo>
                    <a:pt x="1434" y="741"/>
                  </a:lnTo>
                  <a:lnTo>
                    <a:pt x="1434" y="739"/>
                  </a:lnTo>
                  <a:lnTo>
                    <a:pt x="1434" y="736"/>
                  </a:lnTo>
                  <a:lnTo>
                    <a:pt x="1434" y="734"/>
                  </a:lnTo>
                  <a:lnTo>
                    <a:pt x="1434" y="731"/>
                  </a:lnTo>
                  <a:lnTo>
                    <a:pt x="1434" y="734"/>
                  </a:lnTo>
                  <a:close/>
                  <a:moveTo>
                    <a:pt x="405" y="403"/>
                  </a:moveTo>
                  <a:lnTo>
                    <a:pt x="405" y="400"/>
                  </a:lnTo>
                  <a:lnTo>
                    <a:pt x="402" y="400"/>
                  </a:lnTo>
                  <a:lnTo>
                    <a:pt x="402" y="400"/>
                  </a:lnTo>
                  <a:lnTo>
                    <a:pt x="397" y="400"/>
                  </a:lnTo>
                  <a:lnTo>
                    <a:pt x="397" y="400"/>
                  </a:lnTo>
                  <a:lnTo>
                    <a:pt x="397" y="400"/>
                  </a:lnTo>
                  <a:lnTo>
                    <a:pt x="400" y="400"/>
                  </a:lnTo>
                  <a:lnTo>
                    <a:pt x="400" y="400"/>
                  </a:lnTo>
                  <a:lnTo>
                    <a:pt x="400" y="400"/>
                  </a:lnTo>
                  <a:lnTo>
                    <a:pt x="402" y="400"/>
                  </a:lnTo>
                  <a:lnTo>
                    <a:pt x="402" y="403"/>
                  </a:lnTo>
                  <a:lnTo>
                    <a:pt x="402" y="403"/>
                  </a:lnTo>
                  <a:lnTo>
                    <a:pt x="405" y="403"/>
                  </a:lnTo>
                  <a:lnTo>
                    <a:pt x="407" y="405"/>
                  </a:lnTo>
                  <a:lnTo>
                    <a:pt x="407" y="403"/>
                  </a:lnTo>
                  <a:lnTo>
                    <a:pt x="407" y="403"/>
                  </a:lnTo>
                  <a:lnTo>
                    <a:pt x="405" y="403"/>
                  </a:lnTo>
                  <a:close/>
                  <a:moveTo>
                    <a:pt x="492" y="594"/>
                  </a:moveTo>
                  <a:lnTo>
                    <a:pt x="494" y="594"/>
                  </a:lnTo>
                  <a:lnTo>
                    <a:pt x="494" y="594"/>
                  </a:lnTo>
                  <a:lnTo>
                    <a:pt x="492" y="594"/>
                  </a:lnTo>
                  <a:lnTo>
                    <a:pt x="492" y="594"/>
                  </a:lnTo>
                  <a:lnTo>
                    <a:pt x="492" y="594"/>
                  </a:lnTo>
                  <a:lnTo>
                    <a:pt x="492" y="594"/>
                  </a:lnTo>
                  <a:lnTo>
                    <a:pt x="492" y="594"/>
                  </a:lnTo>
                  <a:lnTo>
                    <a:pt x="492" y="594"/>
                  </a:lnTo>
                  <a:lnTo>
                    <a:pt x="492" y="597"/>
                  </a:lnTo>
                  <a:lnTo>
                    <a:pt x="492" y="597"/>
                  </a:lnTo>
                  <a:lnTo>
                    <a:pt x="492" y="594"/>
                  </a:lnTo>
                  <a:close/>
                  <a:moveTo>
                    <a:pt x="499" y="604"/>
                  </a:moveTo>
                  <a:lnTo>
                    <a:pt x="499" y="601"/>
                  </a:lnTo>
                  <a:lnTo>
                    <a:pt x="499" y="601"/>
                  </a:lnTo>
                  <a:lnTo>
                    <a:pt x="499" y="601"/>
                  </a:lnTo>
                  <a:lnTo>
                    <a:pt x="499" y="601"/>
                  </a:lnTo>
                  <a:lnTo>
                    <a:pt x="499" y="601"/>
                  </a:lnTo>
                  <a:lnTo>
                    <a:pt x="499" y="599"/>
                  </a:lnTo>
                  <a:lnTo>
                    <a:pt x="497" y="599"/>
                  </a:lnTo>
                  <a:lnTo>
                    <a:pt x="497" y="599"/>
                  </a:lnTo>
                  <a:lnTo>
                    <a:pt x="494" y="599"/>
                  </a:lnTo>
                  <a:lnTo>
                    <a:pt x="494" y="599"/>
                  </a:lnTo>
                  <a:lnTo>
                    <a:pt x="492" y="599"/>
                  </a:lnTo>
                  <a:lnTo>
                    <a:pt x="494" y="599"/>
                  </a:lnTo>
                  <a:lnTo>
                    <a:pt x="494" y="599"/>
                  </a:lnTo>
                  <a:lnTo>
                    <a:pt x="494" y="599"/>
                  </a:lnTo>
                  <a:lnTo>
                    <a:pt x="492" y="599"/>
                  </a:lnTo>
                  <a:lnTo>
                    <a:pt x="494" y="601"/>
                  </a:lnTo>
                  <a:lnTo>
                    <a:pt x="494" y="601"/>
                  </a:lnTo>
                  <a:lnTo>
                    <a:pt x="494" y="601"/>
                  </a:lnTo>
                  <a:lnTo>
                    <a:pt x="494" y="601"/>
                  </a:lnTo>
                  <a:lnTo>
                    <a:pt x="494" y="604"/>
                  </a:lnTo>
                  <a:lnTo>
                    <a:pt x="494" y="604"/>
                  </a:lnTo>
                  <a:lnTo>
                    <a:pt x="494" y="604"/>
                  </a:lnTo>
                  <a:lnTo>
                    <a:pt x="497" y="604"/>
                  </a:lnTo>
                  <a:lnTo>
                    <a:pt x="497" y="606"/>
                  </a:lnTo>
                  <a:lnTo>
                    <a:pt x="499" y="606"/>
                  </a:lnTo>
                  <a:lnTo>
                    <a:pt x="499" y="606"/>
                  </a:lnTo>
                  <a:lnTo>
                    <a:pt x="499" y="606"/>
                  </a:lnTo>
                  <a:lnTo>
                    <a:pt x="499" y="606"/>
                  </a:lnTo>
                  <a:lnTo>
                    <a:pt x="499" y="606"/>
                  </a:lnTo>
                  <a:lnTo>
                    <a:pt x="499" y="606"/>
                  </a:lnTo>
                  <a:lnTo>
                    <a:pt x="499" y="606"/>
                  </a:lnTo>
                  <a:lnTo>
                    <a:pt x="499" y="606"/>
                  </a:lnTo>
                  <a:lnTo>
                    <a:pt x="499" y="606"/>
                  </a:lnTo>
                  <a:lnTo>
                    <a:pt x="499" y="606"/>
                  </a:lnTo>
                  <a:lnTo>
                    <a:pt x="499" y="604"/>
                  </a:lnTo>
                  <a:lnTo>
                    <a:pt x="499" y="604"/>
                  </a:lnTo>
                  <a:lnTo>
                    <a:pt x="499" y="604"/>
                  </a:lnTo>
                  <a:lnTo>
                    <a:pt x="499" y="604"/>
                  </a:lnTo>
                  <a:lnTo>
                    <a:pt x="499" y="604"/>
                  </a:lnTo>
                  <a:lnTo>
                    <a:pt x="499" y="604"/>
                  </a:lnTo>
                  <a:lnTo>
                    <a:pt x="499" y="604"/>
                  </a:lnTo>
                  <a:close/>
                  <a:moveTo>
                    <a:pt x="267" y="443"/>
                  </a:moveTo>
                  <a:lnTo>
                    <a:pt x="267" y="443"/>
                  </a:lnTo>
                  <a:lnTo>
                    <a:pt x="267" y="440"/>
                  </a:lnTo>
                  <a:lnTo>
                    <a:pt x="265" y="438"/>
                  </a:lnTo>
                  <a:lnTo>
                    <a:pt x="265" y="438"/>
                  </a:lnTo>
                  <a:lnTo>
                    <a:pt x="263" y="438"/>
                  </a:lnTo>
                  <a:lnTo>
                    <a:pt x="263" y="438"/>
                  </a:lnTo>
                  <a:lnTo>
                    <a:pt x="263" y="436"/>
                  </a:lnTo>
                  <a:lnTo>
                    <a:pt x="263" y="436"/>
                  </a:lnTo>
                  <a:lnTo>
                    <a:pt x="263" y="436"/>
                  </a:lnTo>
                  <a:lnTo>
                    <a:pt x="263" y="436"/>
                  </a:lnTo>
                  <a:lnTo>
                    <a:pt x="260" y="436"/>
                  </a:lnTo>
                  <a:lnTo>
                    <a:pt x="260" y="433"/>
                  </a:lnTo>
                  <a:lnTo>
                    <a:pt x="260" y="433"/>
                  </a:lnTo>
                  <a:lnTo>
                    <a:pt x="258" y="433"/>
                  </a:lnTo>
                  <a:lnTo>
                    <a:pt x="255" y="433"/>
                  </a:lnTo>
                  <a:lnTo>
                    <a:pt x="255" y="433"/>
                  </a:lnTo>
                  <a:lnTo>
                    <a:pt x="255" y="433"/>
                  </a:lnTo>
                  <a:lnTo>
                    <a:pt x="253" y="433"/>
                  </a:lnTo>
                  <a:lnTo>
                    <a:pt x="253" y="433"/>
                  </a:lnTo>
                  <a:lnTo>
                    <a:pt x="255" y="436"/>
                  </a:lnTo>
                  <a:lnTo>
                    <a:pt x="258" y="436"/>
                  </a:lnTo>
                  <a:lnTo>
                    <a:pt x="258" y="436"/>
                  </a:lnTo>
                  <a:lnTo>
                    <a:pt x="258" y="436"/>
                  </a:lnTo>
                  <a:lnTo>
                    <a:pt x="258" y="438"/>
                  </a:lnTo>
                  <a:lnTo>
                    <a:pt x="260" y="438"/>
                  </a:lnTo>
                  <a:lnTo>
                    <a:pt x="260" y="440"/>
                  </a:lnTo>
                  <a:lnTo>
                    <a:pt x="263" y="440"/>
                  </a:lnTo>
                  <a:lnTo>
                    <a:pt x="265" y="443"/>
                  </a:lnTo>
                  <a:lnTo>
                    <a:pt x="265" y="443"/>
                  </a:lnTo>
                  <a:lnTo>
                    <a:pt x="267" y="445"/>
                  </a:lnTo>
                  <a:lnTo>
                    <a:pt x="267" y="445"/>
                  </a:lnTo>
                  <a:lnTo>
                    <a:pt x="267" y="445"/>
                  </a:lnTo>
                  <a:lnTo>
                    <a:pt x="267" y="443"/>
                  </a:lnTo>
                  <a:lnTo>
                    <a:pt x="267" y="443"/>
                  </a:lnTo>
                  <a:lnTo>
                    <a:pt x="267" y="443"/>
                  </a:lnTo>
                  <a:lnTo>
                    <a:pt x="267" y="443"/>
                  </a:lnTo>
                  <a:close/>
                  <a:moveTo>
                    <a:pt x="1214" y="748"/>
                  </a:moveTo>
                  <a:lnTo>
                    <a:pt x="1216" y="748"/>
                  </a:lnTo>
                  <a:lnTo>
                    <a:pt x="1216" y="748"/>
                  </a:lnTo>
                  <a:lnTo>
                    <a:pt x="1219" y="746"/>
                  </a:lnTo>
                  <a:lnTo>
                    <a:pt x="1219" y="748"/>
                  </a:lnTo>
                  <a:lnTo>
                    <a:pt x="1221" y="748"/>
                  </a:lnTo>
                  <a:lnTo>
                    <a:pt x="1221" y="746"/>
                  </a:lnTo>
                  <a:lnTo>
                    <a:pt x="1223" y="743"/>
                  </a:lnTo>
                  <a:lnTo>
                    <a:pt x="1223" y="743"/>
                  </a:lnTo>
                  <a:lnTo>
                    <a:pt x="1226" y="743"/>
                  </a:lnTo>
                  <a:lnTo>
                    <a:pt x="1226" y="743"/>
                  </a:lnTo>
                  <a:lnTo>
                    <a:pt x="1226" y="743"/>
                  </a:lnTo>
                  <a:lnTo>
                    <a:pt x="1226" y="743"/>
                  </a:lnTo>
                  <a:lnTo>
                    <a:pt x="1226" y="743"/>
                  </a:lnTo>
                  <a:lnTo>
                    <a:pt x="1226" y="743"/>
                  </a:lnTo>
                  <a:lnTo>
                    <a:pt x="1226" y="743"/>
                  </a:lnTo>
                  <a:lnTo>
                    <a:pt x="1226" y="743"/>
                  </a:lnTo>
                  <a:lnTo>
                    <a:pt x="1228" y="743"/>
                  </a:lnTo>
                  <a:lnTo>
                    <a:pt x="1228" y="743"/>
                  </a:lnTo>
                  <a:lnTo>
                    <a:pt x="1228" y="743"/>
                  </a:lnTo>
                  <a:lnTo>
                    <a:pt x="1228" y="741"/>
                  </a:lnTo>
                  <a:lnTo>
                    <a:pt x="1228" y="741"/>
                  </a:lnTo>
                  <a:lnTo>
                    <a:pt x="1228" y="741"/>
                  </a:lnTo>
                  <a:lnTo>
                    <a:pt x="1226" y="741"/>
                  </a:lnTo>
                  <a:lnTo>
                    <a:pt x="1226" y="741"/>
                  </a:lnTo>
                  <a:lnTo>
                    <a:pt x="1223" y="741"/>
                  </a:lnTo>
                  <a:lnTo>
                    <a:pt x="1221" y="743"/>
                  </a:lnTo>
                  <a:lnTo>
                    <a:pt x="1221" y="746"/>
                  </a:lnTo>
                  <a:lnTo>
                    <a:pt x="1216" y="746"/>
                  </a:lnTo>
                  <a:lnTo>
                    <a:pt x="1216" y="746"/>
                  </a:lnTo>
                  <a:lnTo>
                    <a:pt x="1214" y="748"/>
                  </a:lnTo>
                  <a:lnTo>
                    <a:pt x="1214" y="748"/>
                  </a:lnTo>
                  <a:lnTo>
                    <a:pt x="1212" y="748"/>
                  </a:lnTo>
                  <a:lnTo>
                    <a:pt x="1212" y="748"/>
                  </a:lnTo>
                  <a:lnTo>
                    <a:pt x="1214" y="750"/>
                  </a:lnTo>
                  <a:lnTo>
                    <a:pt x="1214" y="748"/>
                  </a:lnTo>
                  <a:close/>
                  <a:moveTo>
                    <a:pt x="85" y="731"/>
                  </a:moveTo>
                  <a:lnTo>
                    <a:pt x="83" y="731"/>
                  </a:lnTo>
                  <a:lnTo>
                    <a:pt x="83" y="731"/>
                  </a:lnTo>
                  <a:lnTo>
                    <a:pt x="83" y="731"/>
                  </a:lnTo>
                  <a:lnTo>
                    <a:pt x="85" y="731"/>
                  </a:lnTo>
                  <a:lnTo>
                    <a:pt x="85" y="731"/>
                  </a:lnTo>
                  <a:lnTo>
                    <a:pt x="85" y="731"/>
                  </a:lnTo>
                  <a:lnTo>
                    <a:pt x="87" y="731"/>
                  </a:lnTo>
                  <a:lnTo>
                    <a:pt x="87" y="731"/>
                  </a:lnTo>
                  <a:lnTo>
                    <a:pt x="87" y="731"/>
                  </a:lnTo>
                  <a:lnTo>
                    <a:pt x="87" y="731"/>
                  </a:lnTo>
                  <a:lnTo>
                    <a:pt x="87" y="731"/>
                  </a:lnTo>
                  <a:lnTo>
                    <a:pt x="85" y="731"/>
                  </a:lnTo>
                  <a:close/>
                  <a:moveTo>
                    <a:pt x="76" y="8"/>
                  </a:moveTo>
                  <a:lnTo>
                    <a:pt x="76" y="8"/>
                  </a:lnTo>
                  <a:lnTo>
                    <a:pt x="76" y="5"/>
                  </a:lnTo>
                  <a:lnTo>
                    <a:pt x="76" y="8"/>
                  </a:lnTo>
                  <a:lnTo>
                    <a:pt x="76" y="8"/>
                  </a:lnTo>
                  <a:lnTo>
                    <a:pt x="76" y="8"/>
                  </a:lnTo>
                  <a:lnTo>
                    <a:pt x="76" y="8"/>
                  </a:lnTo>
                  <a:lnTo>
                    <a:pt x="76" y="8"/>
                  </a:lnTo>
                  <a:lnTo>
                    <a:pt x="76" y="8"/>
                  </a:lnTo>
                  <a:lnTo>
                    <a:pt x="76" y="8"/>
                  </a:lnTo>
                  <a:lnTo>
                    <a:pt x="76" y="8"/>
                  </a:lnTo>
                  <a:close/>
                  <a:moveTo>
                    <a:pt x="5" y="166"/>
                  </a:moveTo>
                  <a:lnTo>
                    <a:pt x="5" y="166"/>
                  </a:lnTo>
                  <a:lnTo>
                    <a:pt x="5" y="164"/>
                  </a:lnTo>
                  <a:lnTo>
                    <a:pt x="5" y="164"/>
                  </a:lnTo>
                  <a:lnTo>
                    <a:pt x="2" y="164"/>
                  </a:lnTo>
                  <a:lnTo>
                    <a:pt x="5" y="161"/>
                  </a:lnTo>
                  <a:lnTo>
                    <a:pt x="5" y="161"/>
                  </a:lnTo>
                  <a:lnTo>
                    <a:pt x="5" y="161"/>
                  </a:lnTo>
                  <a:lnTo>
                    <a:pt x="5" y="161"/>
                  </a:lnTo>
                  <a:lnTo>
                    <a:pt x="2" y="161"/>
                  </a:lnTo>
                  <a:lnTo>
                    <a:pt x="2" y="161"/>
                  </a:lnTo>
                  <a:lnTo>
                    <a:pt x="2" y="161"/>
                  </a:lnTo>
                  <a:lnTo>
                    <a:pt x="0" y="161"/>
                  </a:lnTo>
                  <a:lnTo>
                    <a:pt x="0" y="161"/>
                  </a:lnTo>
                  <a:lnTo>
                    <a:pt x="0" y="164"/>
                  </a:lnTo>
                  <a:lnTo>
                    <a:pt x="0" y="164"/>
                  </a:lnTo>
                  <a:lnTo>
                    <a:pt x="0" y="166"/>
                  </a:lnTo>
                  <a:lnTo>
                    <a:pt x="0" y="166"/>
                  </a:lnTo>
                  <a:lnTo>
                    <a:pt x="0" y="166"/>
                  </a:lnTo>
                  <a:lnTo>
                    <a:pt x="0" y="168"/>
                  </a:lnTo>
                  <a:lnTo>
                    <a:pt x="2" y="168"/>
                  </a:lnTo>
                  <a:lnTo>
                    <a:pt x="2" y="168"/>
                  </a:lnTo>
                  <a:lnTo>
                    <a:pt x="0" y="171"/>
                  </a:lnTo>
                  <a:lnTo>
                    <a:pt x="2" y="171"/>
                  </a:lnTo>
                  <a:lnTo>
                    <a:pt x="2" y="173"/>
                  </a:lnTo>
                  <a:lnTo>
                    <a:pt x="2" y="173"/>
                  </a:lnTo>
                  <a:lnTo>
                    <a:pt x="2" y="173"/>
                  </a:lnTo>
                  <a:lnTo>
                    <a:pt x="2" y="176"/>
                  </a:lnTo>
                  <a:lnTo>
                    <a:pt x="0" y="176"/>
                  </a:lnTo>
                  <a:lnTo>
                    <a:pt x="0" y="176"/>
                  </a:lnTo>
                  <a:lnTo>
                    <a:pt x="0" y="176"/>
                  </a:lnTo>
                  <a:lnTo>
                    <a:pt x="2" y="176"/>
                  </a:lnTo>
                  <a:lnTo>
                    <a:pt x="2" y="176"/>
                  </a:lnTo>
                  <a:lnTo>
                    <a:pt x="2" y="176"/>
                  </a:lnTo>
                  <a:lnTo>
                    <a:pt x="2" y="176"/>
                  </a:lnTo>
                  <a:lnTo>
                    <a:pt x="5" y="173"/>
                  </a:lnTo>
                  <a:lnTo>
                    <a:pt x="5" y="173"/>
                  </a:lnTo>
                  <a:lnTo>
                    <a:pt x="5" y="171"/>
                  </a:lnTo>
                  <a:lnTo>
                    <a:pt x="5" y="168"/>
                  </a:lnTo>
                  <a:lnTo>
                    <a:pt x="5" y="166"/>
                  </a:lnTo>
                  <a:close/>
                  <a:moveTo>
                    <a:pt x="1448" y="594"/>
                  </a:moveTo>
                  <a:lnTo>
                    <a:pt x="1448" y="594"/>
                  </a:lnTo>
                  <a:lnTo>
                    <a:pt x="1448" y="592"/>
                  </a:lnTo>
                  <a:lnTo>
                    <a:pt x="1446" y="592"/>
                  </a:lnTo>
                  <a:lnTo>
                    <a:pt x="1446" y="590"/>
                  </a:lnTo>
                  <a:lnTo>
                    <a:pt x="1446" y="592"/>
                  </a:lnTo>
                  <a:lnTo>
                    <a:pt x="1446" y="592"/>
                  </a:lnTo>
                  <a:lnTo>
                    <a:pt x="1448" y="594"/>
                  </a:lnTo>
                  <a:close/>
                  <a:moveTo>
                    <a:pt x="1297" y="542"/>
                  </a:moveTo>
                  <a:lnTo>
                    <a:pt x="1297" y="542"/>
                  </a:lnTo>
                  <a:lnTo>
                    <a:pt x="1299" y="542"/>
                  </a:lnTo>
                  <a:lnTo>
                    <a:pt x="1299" y="542"/>
                  </a:lnTo>
                  <a:lnTo>
                    <a:pt x="1299" y="542"/>
                  </a:lnTo>
                  <a:lnTo>
                    <a:pt x="1301" y="545"/>
                  </a:lnTo>
                  <a:lnTo>
                    <a:pt x="1301" y="545"/>
                  </a:lnTo>
                  <a:lnTo>
                    <a:pt x="1301" y="547"/>
                  </a:lnTo>
                  <a:lnTo>
                    <a:pt x="1301" y="547"/>
                  </a:lnTo>
                  <a:lnTo>
                    <a:pt x="1299" y="547"/>
                  </a:lnTo>
                  <a:lnTo>
                    <a:pt x="1299" y="547"/>
                  </a:lnTo>
                  <a:lnTo>
                    <a:pt x="1299" y="549"/>
                  </a:lnTo>
                  <a:lnTo>
                    <a:pt x="1299" y="549"/>
                  </a:lnTo>
                  <a:lnTo>
                    <a:pt x="1301" y="549"/>
                  </a:lnTo>
                  <a:lnTo>
                    <a:pt x="1301" y="549"/>
                  </a:lnTo>
                  <a:lnTo>
                    <a:pt x="1301" y="549"/>
                  </a:lnTo>
                  <a:lnTo>
                    <a:pt x="1304" y="549"/>
                  </a:lnTo>
                  <a:lnTo>
                    <a:pt x="1304" y="547"/>
                  </a:lnTo>
                  <a:lnTo>
                    <a:pt x="1304" y="545"/>
                  </a:lnTo>
                  <a:lnTo>
                    <a:pt x="1304" y="545"/>
                  </a:lnTo>
                  <a:lnTo>
                    <a:pt x="1301" y="542"/>
                  </a:lnTo>
                  <a:lnTo>
                    <a:pt x="1299" y="540"/>
                  </a:lnTo>
                  <a:lnTo>
                    <a:pt x="1297" y="540"/>
                  </a:lnTo>
                  <a:lnTo>
                    <a:pt x="1297" y="540"/>
                  </a:lnTo>
                  <a:lnTo>
                    <a:pt x="1297" y="540"/>
                  </a:lnTo>
                  <a:lnTo>
                    <a:pt x="1297" y="542"/>
                  </a:lnTo>
                  <a:lnTo>
                    <a:pt x="1297" y="542"/>
                  </a:lnTo>
                  <a:lnTo>
                    <a:pt x="1297" y="542"/>
                  </a:lnTo>
                  <a:lnTo>
                    <a:pt x="1297" y="542"/>
                  </a:lnTo>
                  <a:close/>
                  <a:moveTo>
                    <a:pt x="85" y="391"/>
                  </a:moveTo>
                  <a:lnTo>
                    <a:pt x="85" y="391"/>
                  </a:lnTo>
                  <a:lnTo>
                    <a:pt x="85" y="391"/>
                  </a:lnTo>
                  <a:lnTo>
                    <a:pt x="85" y="391"/>
                  </a:lnTo>
                  <a:lnTo>
                    <a:pt x="85" y="391"/>
                  </a:lnTo>
                  <a:lnTo>
                    <a:pt x="85" y="391"/>
                  </a:lnTo>
                  <a:lnTo>
                    <a:pt x="85" y="391"/>
                  </a:lnTo>
                  <a:close/>
                  <a:moveTo>
                    <a:pt x="132" y="246"/>
                  </a:moveTo>
                  <a:lnTo>
                    <a:pt x="130" y="246"/>
                  </a:lnTo>
                  <a:lnTo>
                    <a:pt x="130" y="246"/>
                  </a:lnTo>
                  <a:lnTo>
                    <a:pt x="130" y="246"/>
                  </a:lnTo>
                  <a:lnTo>
                    <a:pt x="130" y="246"/>
                  </a:lnTo>
                  <a:lnTo>
                    <a:pt x="130" y="246"/>
                  </a:lnTo>
                  <a:lnTo>
                    <a:pt x="130" y="246"/>
                  </a:lnTo>
                  <a:lnTo>
                    <a:pt x="130" y="246"/>
                  </a:lnTo>
                  <a:lnTo>
                    <a:pt x="130" y="246"/>
                  </a:lnTo>
                  <a:lnTo>
                    <a:pt x="130" y="249"/>
                  </a:lnTo>
                  <a:lnTo>
                    <a:pt x="130" y="249"/>
                  </a:lnTo>
                  <a:lnTo>
                    <a:pt x="132" y="249"/>
                  </a:lnTo>
                  <a:lnTo>
                    <a:pt x="132" y="249"/>
                  </a:lnTo>
                  <a:lnTo>
                    <a:pt x="132" y="246"/>
                  </a:lnTo>
                  <a:lnTo>
                    <a:pt x="132" y="246"/>
                  </a:lnTo>
                  <a:close/>
                  <a:moveTo>
                    <a:pt x="213" y="317"/>
                  </a:moveTo>
                  <a:lnTo>
                    <a:pt x="213" y="317"/>
                  </a:lnTo>
                  <a:lnTo>
                    <a:pt x="213" y="315"/>
                  </a:lnTo>
                  <a:lnTo>
                    <a:pt x="213" y="315"/>
                  </a:lnTo>
                  <a:lnTo>
                    <a:pt x="213" y="317"/>
                  </a:lnTo>
                  <a:lnTo>
                    <a:pt x="213" y="317"/>
                  </a:lnTo>
                  <a:lnTo>
                    <a:pt x="213" y="317"/>
                  </a:lnTo>
                  <a:lnTo>
                    <a:pt x="213" y="315"/>
                  </a:lnTo>
                  <a:lnTo>
                    <a:pt x="213" y="315"/>
                  </a:lnTo>
                  <a:lnTo>
                    <a:pt x="211" y="315"/>
                  </a:lnTo>
                  <a:lnTo>
                    <a:pt x="211" y="315"/>
                  </a:lnTo>
                  <a:lnTo>
                    <a:pt x="211" y="315"/>
                  </a:lnTo>
                  <a:lnTo>
                    <a:pt x="211" y="315"/>
                  </a:lnTo>
                  <a:lnTo>
                    <a:pt x="208" y="317"/>
                  </a:lnTo>
                  <a:lnTo>
                    <a:pt x="211" y="317"/>
                  </a:lnTo>
                  <a:lnTo>
                    <a:pt x="211" y="317"/>
                  </a:lnTo>
                  <a:lnTo>
                    <a:pt x="211" y="317"/>
                  </a:lnTo>
                  <a:lnTo>
                    <a:pt x="213" y="317"/>
                  </a:lnTo>
                  <a:lnTo>
                    <a:pt x="213" y="317"/>
                  </a:lnTo>
                  <a:lnTo>
                    <a:pt x="213" y="320"/>
                  </a:lnTo>
                  <a:lnTo>
                    <a:pt x="215" y="320"/>
                  </a:lnTo>
                  <a:lnTo>
                    <a:pt x="215" y="320"/>
                  </a:lnTo>
                  <a:lnTo>
                    <a:pt x="215" y="320"/>
                  </a:lnTo>
                  <a:lnTo>
                    <a:pt x="215" y="317"/>
                  </a:lnTo>
                  <a:lnTo>
                    <a:pt x="213" y="317"/>
                  </a:lnTo>
                  <a:close/>
                  <a:moveTo>
                    <a:pt x="135" y="228"/>
                  </a:moveTo>
                  <a:lnTo>
                    <a:pt x="135" y="225"/>
                  </a:lnTo>
                  <a:lnTo>
                    <a:pt x="135" y="225"/>
                  </a:lnTo>
                  <a:lnTo>
                    <a:pt x="135" y="225"/>
                  </a:lnTo>
                  <a:lnTo>
                    <a:pt x="135" y="225"/>
                  </a:lnTo>
                  <a:lnTo>
                    <a:pt x="132" y="223"/>
                  </a:lnTo>
                  <a:lnTo>
                    <a:pt x="135" y="223"/>
                  </a:lnTo>
                  <a:lnTo>
                    <a:pt x="132" y="220"/>
                  </a:lnTo>
                  <a:lnTo>
                    <a:pt x="132" y="220"/>
                  </a:lnTo>
                  <a:lnTo>
                    <a:pt x="130" y="223"/>
                  </a:lnTo>
                  <a:lnTo>
                    <a:pt x="130" y="223"/>
                  </a:lnTo>
                  <a:lnTo>
                    <a:pt x="130" y="225"/>
                  </a:lnTo>
                  <a:lnTo>
                    <a:pt x="130" y="228"/>
                  </a:lnTo>
                  <a:lnTo>
                    <a:pt x="130" y="228"/>
                  </a:lnTo>
                  <a:lnTo>
                    <a:pt x="130" y="230"/>
                  </a:lnTo>
                  <a:lnTo>
                    <a:pt x="125" y="232"/>
                  </a:lnTo>
                  <a:lnTo>
                    <a:pt x="125" y="235"/>
                  </a:lnTo>
                  <a:lnTo>
                    <a:pt x="125" y="235"/>
                  </a:lnTo>
                  <a:lnTo>
                    <a:pt x="125" y="237"/>
                  </a:lnTo>
                  <a:lnTo>
                    <a:pt x="125" y="235"/>
                  </a:lnTo>
                  <a:lnTo>
                    <a:pt x="125" y="235"/>
                  </a:lnTo>
                  <a:lnTo>
                    <a:pt x="128" y="235"/>
                  </a:lnTo>
                  <a:lnTo>
                    <a:pt x="128" y="235"/>
                  </a:lnTo>
                  <a:lnTo>
                    <a:pt x="128" y="237"/>
                  </a:lnTo>
                  <a:lnTo>
                    <a:pt x="128" y="237"/>
                  </a:lnTo>
                  <a:lnTo>
                    <a:pt x="130" y="239"/>
                  </a:lnTo>
                  <a:lnTo>
                    <a:pt x="130" y="239"/>
                  </a:lnTo>
                  <a:lnTo>
                    <a:pt x="130" y="239"/>
                  </a:lnTo>
                  <a:lnTo>
                    <a:pt x="130" y="239"/>
                  </a:lnTo>
                  <a:lnTo>
                    <a:pt x="130" y="239"/>
                  </a:lnTo>
                  <a:lnTo>
                    <a:pt x="132" y="239"/>
                  </a:lnTo>
                  <a:lnTo>
                    <a:pt x="132" y="239"/>
                  </a:lnTo>
                  <a:lnTo>
                    <a:pt x="132" y="239"/>
                  </a:lnTo>
                  <a:lnTo>
                    <a:pt x="132" y="239"/>
                  </a:lnTo>
                  <a:lnTo>
                    <a:pt x="132" y="239"/>
                  </a:lnTo>
                  <a:lnTo>
                    <a:pt x="132" y="237"/>
                  </a:lnTo>
                  <a:lnTo>
                    <a:pt x="132" y="237"/>
                  </a:lnTo>
                  <a:lnTo>
                    <a:pt x="132" y="237"/>
                  </a:lnTo>
                  <a:lnTo>
                    <a:pt x="132" y="235"/>
                  </a:lnTo>
                  <a:lnTo>
                    <a:pt x="132" y="235"/>
                  </a:lnTo>
                  <a:lnTo>
                    <a:pt x="132" y="235"/>
                  </a:lnTo>
                  <a:lnTo>
                    <a:pt x="132" y="235"/>
                  </a:lnTo>
                  <a:lnTo>
                    <a:pt x="132" y="235"/>
                  </a:lnTo>
                  <a:lnTo>
                    <a:pt x="135" y="235"/>
                  </a:lnTo>
                  <a:lnTo>
                    <a:pt x="135" y="232"/>
                  </a:lnTo>
                  <a:lnTo>
                    <a:pt x="135" y="232"/>
                  </a:lnTo>
                  <a:lnTo>
                    <a:pt x="135" y="230"/>
                  </a:lnTo>
                  <a:lnTo>
                    <a:pt x="132" y="230"/>
                  </a:lnTo>
                  <a:lnTo>
                    <a:pt x="135" y="230"/>
                  </a:lnTo>
                  <a:lnTo>
                    <a:pt x="135" y="228"/>
                  </a:lnTo>
                  <a:close/>
                  <a:moveTo>
                    <a:pt x="116" y="223"/>
                  </a:moveTo>
                  <a:lnTo>
                    <a:pt x="116" y="223"/>
                  </a:lnTo>
                  <a:lnTo>
                    <a:pt x="116" y="223"/>
                  </a:lnTo>
                  <a:lnTo>
                    <a:pt x="116" y="223"/>
                  </a:lnTo>
                  <a:lnTo>
                    <a:pt x="116" y="223"/>
                  </a:lnTo>
                  <a:lnTo>
                    <a:pt x="116" y="223"/>
                  </a:lnTo>
                  <a:lnTo>
                    <a:pt x="116" y="223"/>
                  </a:lnTo>
                  <a:lnTo>
                    <a:pt x="116" y="223"/>
                  </a:lnTo>
                  <a:lnTo>
                    <a:pt x="116" y="223"/>
                  </a:lnTo>
                  <a:lnTo>
                    <a:pt x="116" y="223"/>
                  </a:lnTo>
                  <a:lnTo>
                    <a:pt x="116" y="223"/>
                  </a:lnTo>
                  <a:lnTo>
                    <a:pt x="116" y="223"/>
                  </a:lnTo>
                  <a:close/>
                  <a:moveTo>
                    <a:pt x="109" y="109"/>
                  </a:moveTo>
                  <a:lnTo>
                    <a:pt x="109" y="109"/>
                  </a:lnTo>
                  <a:lnTo>
                    <a:pt x="109" y="109"/>
                  </a:lnTo>
                  <a:lnTo>
                    <a:pt x="109" y="112"/>
                  </a:lnTo>
                  <a:lnTo>
                    <a:pt x="109" y="112"/>
                  </a:lnTo>
                  <a:lnTo>
                    <a:pt x="109" y="109"/>
                  </a:lnTo>
                  <a:lnTo>
                    <a:pt x="109" y="109"/>
                  </a:lnTo>
                  <a:lnTo>
                    <a:pt x="109" y="109"/>
                  </a:lnTo>
                  <a:close/>
                  <a:moveTo>
                    <a:pt x="229" y="199"/>
                  </a:moveTo>
                  <a:lnTo>
                    <a:pt x="229" y="199"/>
                  </a:lnTo>
                  <a:lnTo>
                    <a:pt x="229" y="199"/>
                  </a:lnTo>
                  <a:lnTo>
                    <a:pt x="229" y="199"/>
                  </a:lnTo>
                  <a:lnTo>
                    <a:pt x="229" y="197"/>
                  </a:lnTo>
                  <a:lnTo>
                    <a:pt x="229" y="197"/>
                  </a:lnTo>
                  <a:lnTo>
                    <a:pt x="229" y="197"/>
                  </a:lnTo>
                  <a:lnTo>
                    <a:pt x="227" y="197"/>
                  </a:lnTo>
                  <a:lnTo>
                    <a:pt x="227" y="194"/>
                  </a:lnTo>
                  <a:lnTo>
                    <a:pt x="227" y="194"/>
                  </a:lnTo>
                  <a:lnTo>
                    <a:pt x="229" y="192"/>
                  </a:lnTo>
                  <a:lnTo>
                    <a:pt x="229" y="192"/>
                  </a:lnTo>
                  <a:lnTo>
                    <a:pt x="229" y="192"/>
                  </a:lnTo>
                  <a:lnTo>
                    <a:pt x="229" y="192"/>
                  </a:lnTo>
                  <a:lnTo>
                    <a:pt x="229" y="190"/>
                  </a:lnTo>
                  <a:lnTo>
                    <a:pt x="229" y="190"/>
                  </a:lnTo>
                  <a:lnTo>
                    <a:pt x="229" y="190"/>
                  </a:lnTo>
                  <a:lnTo>
                    <a:pt x="229" y="187"/>
                  </a:lnTo>
                  <a:lnTo>
                    <a:pt x="229" y="187"/>
                  </a:lnTo>
                  <a:lnTo>
                    <a:pt x="227" y="187"/>
                  </a:lnTo>
                  <a:lnTo>
                    <a:pt x="227" y="187"/>
                  </a:lnTo>
                  <a:lnTo>
                    <a:pt x="227" y="187"/>
                  </a:lnTo>
                  <a:lnTo>
                    <a:pt x="225" y="187"/>
                  </a:lnTo>
                  <a:lnTo>
                    <a:pt x="225" y="187"/>
                  </a:lnTo>
                  <a:lnTo>
                    <a:pt x="225" y="187"/>
                  </a:lnTo>
                  <a:lnTo>
                    <a:pt x="225" y="187"/>
                  </a:lnTo>
                  <a:lnTo>
                    <a:pt x="222" y="187"/>
                  </a:lnTo>
                  <a:lnTo>
                    <a:pt x="222" y="187"/>
                  </a:lnTo>
                  <a:lnTo>
                    <a:pt x="222" y="185"/>
                  </a:lnTo>
                  <a:lnTo>
                    <a:pt x="220" y="185"/>
                  </a:lnTo>
                  <a:lnTo>
                    <a:pt x="220" y="185"/>
                  </a:lnTo>
                  <a:lnTo>
                    <a:pt x="220" y="183"/>
                  </a:lnTo>
                  <a:lnTo>
                    <a:pt x="220" y="183"/>
                  </a:lnTo>
                  <a:lnTo>
                    <a:pt x="220" y="183"/>
                  </a:lnTo>
                  <a:lnTo>
                    <a:pt x="222" y="183"/>
                  </a:lnTo>
                  <a:lnTo>
                    <a:pt x="222" y="180"/>
                  </a:lnTo>
                  <a:lnTo>
                    <a:pt x="222" y="180"/>
                  </a:lnTo>
                  <a:lnTo>
                    <a:pt x="220" y="180"/>
                  </a:lnTo>
                  <a:lnTo>
                    <a:pt x="220" y="178"/>
                  </a:lnTo>
                  <a:lnTo>
                    <a:pt x="220" y="178"/>
                  </a:lnTo>
                  <a:lnTo>
                    <a:pt x="220" y="178"/>
                  </a:lnTo>
                  <a:lnTo>
                    <a:pt x="220" y="178"/>
                  </a:lnTo>
                  <a:lnTo>
                    <a:pt x="220" y="178"/>
                  </a:lnTo>
                  <a:lnTo>
                    <a:pt x="218" y="176"/>
                  </a:lnTo>
                  <a:lnTo>
                    <a:pt x="218" y="173"/>
                  </a:lnTo>
                  <a:lnTo>
                    <a:pt x="218" y="173"/>
                  </a:lnTo>
                  <a:lnTo>
                    <a:pt x="215" y="173"/>
                  </a:lnTo>
                  <a:lnTo>
                    <a:pt x="215" y="173"/>
                  </a:lnTo>
                  <a:lnTo>
                    <a:pt x="215" y="173"/>
                  </a:lnTo>
                  <a:lnTo>
                    <a:pt x="215" y="173"/>
                  </a:lnTo>
                  <a:lnTo>
                    <a:pt x="215" y="173"/>
                  </a:lnTo>
                  <a:lnTo>
                    <a:pt x="215" y="173"/>
                  </a:lnTo>
                  <a:lnTo>
                    <a:pt x="213" y="173"/>
                  </a:lnTo>
                  <a:lnTo>
                    <a:pt x="213" y="173"/>
                  </a:lnTo>
                  <a:lnTo>
                    <a:pt x="213" y="173"/>
                  </a:lnTo>
                  <a:lnTo>
                    <a:pt x="213" y="173"/>
                  </a:lnTo>
                  <a:lnTo>
                    <a:pt x="213" y="173"/>
                  </a:lnTo>
                  <a:lnTo>
                    <a:pt x="213" y="173"/>
                  </a:lnTo>
                  <a:lnTo>
                    <a:pt x="213" y="176"/>
                  </a:lnTo>
                  <a:lnTo>
                    <a:pt x="211" y="178"/>
                  </a:lnTo>
                  <a:lnTo>
                    <a:pt x="211" y="178"/>
                  </a:lnTo>
                  <a:lnTo>
                    <a:pt x="211" y="180"/>
                  </a:lnTo>
                  <a:lnTo>
                    <a:pt x="213" y="180"/>
                  </a:lnTo>
                  <a:lnTo>
                    <a:pt x="213" y="180"/>
                  </a:lnTo>
                  <a:lnTo>
                    <a:pt x="213" y="180"/>
                  </a:lnTo>
                  <a:lnTo>
                    <a:pt x="213" y="183"/>
                  </a:lnTo>
                  <a:lnTo>
                    <a:pt x="213" y="183"/>
                  </a:lnTo>
                  <a:lnTo>
                    <a:pt x="213" y="183"/>
                  </a:lnTo>
                  <a:lnTo>
                    <a:pt x="213" y="183"/>
                  </a:lnTo>
                  <a:lnTo>
                    <a:pt x="215" y="183"/>
                  </a:lnTo>
                  <a:lnTo>
                    <a:pt x="215" y="185"/>
                  </a:lnTo>
                  <a:lnTo>
                    <a:pt x="215" y="185"/>
                  </a:lnTo>
                  <a:lnTo>
                    <a:pt x="215" y="185"/>
                  </a:lnTo>
                  <a:lnTo>
                    <a:pt x="215" y="187"/>
                  </a:lnTo>
                  <a:lnTo>
                    <a:pt x="215" y="187"/>
                  </a:lnTo>
                  <a:lnTo>
                    <a:pt x="218" y="187"/>
                  </a:lnTo>
                  <a:lnTo>
                    <a:pt x="218" y="187"/>
                  </a:lnTo>
                  <a:lnTo>
                    <a:pt x="218" y="187"/>
                  </a:lnTo>
                  <a:lnTo>
                    <a:pt x="218" y="187"/>
                  </a:lnTo>
                  <a:lnTo>
                    <a:pt x="218" y="190"/>
                  </a:lnTo>
                  <a:lnTo>
                    <a:pt x="220" y="190"/>
                  </a:lnTo>
                  <a:lnTo>
                    <a:pt x="220" y="192"/>
                  </a:lnTo>
                  <a:lnTo>
                    <a:pt x="220" y="192"/>
                  </a:lnTo>
                  <a:lnTo>
                    <a:pt x="220" y="192"/>
                  </a:lnTo>
                  <a:lnTo>
                    <a:pt x="222" y="194"/>
                  </a:lnTo>
                  <a:lnTo>
                    <a:pt x="222" y="194"/>
                  </a:lnTo>
                  <a:lnTo>
                    <a:pt x="222" y="194"/>
                  </a:lnTo>
                  <a:lnTo>
                    <a:pt x="222" y="194"/>
                  </a:lnTo>
                  <a:lnTo>
                    <a:pt x="222" y="194"/>
                  </a:lnTo>
                  <a:lnTo>
                    <a:pt x="225" y="197"/>
                  </a:lnTo>
                  <a:lnTo>
                    <a:pt x="225" y="197"/>
                  </a:lnTo>
                  <a:lnTo>
                    <a:pt x="225" y="197"/>
                  </a:lnTo>
                  <a:lnTo>
                    <a:pt x="225" y="199"/>
                  </a:lnTo>
                  <a:lnTo>
                    <a:pt x="225" y="199"/>
                  </a:lnTo>
                  <a:lnTo>
                    <a:pt x="225" y="199"/>
                  </a:lnTo>
                  <a:lnTo>
                    <a:pt x="227" y="199"/>
                  </a:lnTo>
                  <a:lnTo>
                    <a:pt x="227" y="199"/>
                  </a:lnTo>
                  <a:lnTo>
                    <a:pt x="227" y="202"/>
                  </a:lnTo>
                  <a:lnTo>
                    <a:pt x="229" y="202"/>
                  </a:lnTo>
                  <a:lnTo>
                    <a:pt x="229" y="202"/>
                  </a:lnTo>
                  <a:lnTo>
                    <a:pt x="229" y="204"/>
                  </a:lnTo>
                  <a:lnTo>
                    <a:pt x="229" y="204"/>
                  </a:lnTo>
                  <a:lnTo>
                    <a:pt x="229" y="202"/>
                  </a:lnTo>
                  <a:lnTo>
                    <a:pt x="229" y="202"/>
                  </a:lnTo>
                  <a:lnTo>
                    <a:pt x="229" y="199"/>
                  </a:lnTo>
                  <a:lnTo>
                    <a:pt x="229" y="199"/>
                  </a:lnTo>
                  <a:close/>
                  <a:moveTo>
                    <a:pt x="180" y="147"/>
                  </a:moveTo>
                  <a:lnTo>
                    <a:pt x="180" y="147"/>
                  </a:lnTo>
                  <a:lnTo>
                    <a:pt x="180" y="147"/>
                  </a:lnTo>
                  <a:lnTo>
                    <a:pt x="180" y="145"/>
                  </a:lnTo>
                  <a:lnTo>
                    <a:pt x="180" y="145"/>
                  </a:lnTo>
                  <a:lnTo>
                    <a:pt x="180" y="147"/>
                  </a:lnTo>
                  <a:lnTo>
                    <a:pt x="177" y="147"/>
                  </a:lnTo>
                  <a:lnTo>
                    <a:pt x="180" y="147"/>
                  </a:lnTo>
                  <a:close/>
                  <a:moveTo>
                    <a:pt x="239" y="223"/>
                  </a:moveTo>
                  <a:lnTo>
                    <a:pt x="241" y="223"/>
                  </a:lnTo>
                  <a:lnTo>
                    <a:pt x="241" y="223"/>
                  </a:lnTo>
                  <a:lnTo>
                    <a:pt x="241" y="223"/>
                  </a:lnTo>
                  <a:lnTo>
                    <a:pt x="241" y="225"/>
                  </a:lnTo>
                  <a:lnTo>
                    <a:pt x="241" y="225"/>
                  </a:lnTo>
                  <a:lnTo>
                    <a:pt x="241" y="225"/>
                  </a:lnTo>
                  <a:lnTo>
                    <a:pt x="241" y="225"/>
                  </a:lnTo>
                  <a:lnTo>
                    <a:pt x="244" y="225"/>
                  </a:lnTo>
                  <a:lnTo>
                    <a:pt x="244" y="225"/>
                  </a:lnTo>
                  <a:lnTo>
                    <a:pt x="244" y="225"/>
                  </a:lnTo>
                  <a:lnTo>
                    <a:pt x="244" y="223"/>
                  </a:lnTo>
                  <a:lnTo>
                    <a:pt x="241" y="223"/>
                  </a:lnTo>
                  <a:lnTo>
                    <a:pt x="241" y="223"/>
                  </a:lnTo>
                  <a:lnTo>
                    <a:pt x="241" y="223"/>
                  </a:lnTo>
                  <a:lnTo>
                    <a:pt x="241" y="223"/>
                  </a:lnTo>
                  <a:lnTo>
                    <a:pt x="239" y="220"/>
                  </a:lnTo>
                  <a:lnTo>
                    <a:pt x="237" y="220"/>
                  </a:lnTo>
                  <a:lnTo>
                    <a:pt x="239" y="220"/>
                  </a:lnTo>
                  <a:lnTo>
                    <a:pt x="239" y="220"/>
                  </a:lnTo>
                  <a:lnTo>
                    <a:pt x="239" y="220"/>
                  </a:lnTo>
                  <a:lnTo>
                    <a:pt x="239" y="220"/>
                  </a:lnTo>
                  <a:lnTo>
                    <a:pt x="239" y="220"/>
                  </a:lnTo>
                  <a:lnTo>
                    <a:pt x="239" y="223"/>
                  </a:lnTo>
                  <a:close/>
                  <a:moveTo>
                    <a:pt x="213" y="199"/>
                  </a:moveTo>
                  <a:lnTo>
                    <a:pt x="213" y="199"/>
                  </a:lnTo>
                  <a:lnTo>
                    <a:pt x="213" y="199"/>
                  </a:lnTo>
                  <a:lnTo>
                    <a:pt x="213" y="199"/>
                  </a:lnTo>
                  <a:lnTo>
                    <a:pt x="213" y="197"/>
                  </a:lnTo>
                  <a:lnTo>
                    <a:pt x="213" y="197"/>
                  </a:lnTo>
                  <a:lnTo>
                    <a:pt x="213" y="197"/>
                  </a:lnTo>
                  <a:lnTo>
                    <a:pt x="213" y="197"/>
                  </a:lnTo>
                  <a:lnTo>
                    <a:pt x="213" y="197"/>
                  </a:lnTo>
                  <a:lnTo>
                    <a:pt x="213" y="197"/>
                  </a:lnTo>
                  <a:lnTo>
                    <a:pt x="213" y="197"/>
                  </a:lnTo>
                  <a:lnTo>
                    <a:pt x="213" y="197"/>
                  </a:lnTo>
                  <a:lnTo>
                    <a:pt x="213" y="197"/>
                  </a:lnTo>
                  <a:lnTo>
                    <a:pt x="213" y="194"/>
                  </a:lnTo>
                  <a:lnTo>
                    <a:pt x="213" y="194"/>
                  </a:lnTo>
                  <a:lnTo>
                    <a:pt x="213" y="194"/>
                  </a:lnTo>
                  <a:lnTo>
                    <a:pt x="213" y="194"/>
                  </a:lnTo>
                  <a:lnTo>
                    <a:pt x="213" y="197"/>
                  </a:lnTo>
                  <a:lnTo>
                    <a:pt x="213" y="197"/>
                  </a:lnTo>
                  <a:lnTo>
                    <a:pt x="213" y="197"/>
                  </a:lnTo>
                  <a:lnTo>
                    <a:pt x="213" y="197"/>
                  </a:lnTo>
                  <a:lnTo>
                    <a:pt x="213" y="197"/>
                  </a:lnTo>
                  <a:lnTo>
                    <a:pt x="213" y="197"/>
                  </a:lnTo>
                  <a:lnTo>
                    <a:pt x="213" y="197"/>
                  </a:lnTo>
                  <a:lnTo>
                    <a:pt x="213" y="197"/>
                  </a:lnTo>
                  <a:lnTo>
                    <a:pt x="213" y="197"/>
                  </a:lnTo>
                  <a:lnTo>
                    <a:pt x="213" y="197"/>
                  </a:lnTo>
                  <a:lnTo>
                    <a:pt x="213" y="199"/>
                  </a:lnTo>
                  <a:lnTo>
                    <a:pt x="213" y="199"/>
                  </a:lnTo>
                  <a:close/>
                  <a:moveTo>
                    <a:pt x="251" y="220"/>
                  </a:moveTo>
                  <a:lnTo>
                    <a:pt x="251" y="220"/>
                  </a:lnTo>
                  <a:lnTo>
                    <a:pt x="253" y="220"/>
                  </a:lnTo>
                  <a:lnTo>
                    <a:pt x="253" y="220"/>
                  </a:lnTo>
                  <a:lnTo>
                    <a:pt x="253" y="220"/>
                  </a:lnTo>
                  <a:lnTo>
                    <a:pt x="253" y="220"/>
                  </a:lnTo>
                  <a:lnTo>
                    <a:pt x="253" y="220"/>
                  </a:lnTo>
                  <a:lnTo>
                    <a:pt x="253" y="218"/>
                  </a:lnTo>
                  <a:lnTo>
                    <a:pt x="253" y="218"/>
                  </a:lnTo>
                  <a:lnTo>
                    <a:pt x="253" y="218"/>
                  </a:lnTo>
                  <a:lnTo>
                    <a:pt x="251" y="218"/>
                  </a:lnTo>
                  <a:lnTo>
                    <a:pt x="251" y="218"/>
                  </a:lnTo>
                  <a:lnTo>
                    <a:pt x="251" y="218"/>
                  </a:lnTo>
                  <a:lnTo>
                    <a:pt x="251" y="220"/>
                  </a:lnTo>
                  <a:lnTo>
                    <a:pt x="251" y="220"/>
                  </a:lnTo>
                  <a:lnTo>
                    <a:pt x="251" y="220"/>
                  </a:lnTo>
                  <a:lnTo>
                    <a:pt x="251" y="220"/>
                  </a:lnTo>
                  <a:close/>
                  <a:moveTo>
                    <a:pt x="265" y="294"/>
                  </a:moveTo>
                  <a:lnTo>
                    <a:pt x="265" y="296"/>
                  </a:lnTo>
                  <a:lnTo>
                    <a:pt x="265" y="296"/>
                  </a:lnTo>
                  <a:lnTo>
                    <a:pt x="265" y="299"/>
                  </a:lnTo>
                  <a:lnTo>
                    <a:pt x="265" y="299"/>
                  </a:lnTo>
                  <a:lnTo>
                    <a:pt x="265" y="299"/>
                  </a:lnTo>
                  <a:lnTo>
                    <a:pt x="267" y="299"/>
                  </a:lnTo>
                  <a:lnTo>
                    <a:pt x="267" y="296"/>
                  </a:lnTo>
                  <a:lnTo>
                    <a:pt x="267" y="296"/>
                  </a:lnTo>
                  <a:lnTo>
                    <a:pt x="265" y="294"/>
                  </a:lnTo>
                  <a:close/>
                  <a:moveTo>
                    <a:pt x="277" y="287"/>
                  </a:moveTo>
                  <a:lnTo>
                    <a:pt x="274" y="287"/>
                  </a:lnTo>
                  <a:lnTo>
                    <a:pt x="274" y="287"/>
                  </a:lnTo>
                  <a:lnTo>
                    <a:pt x="274" y="287"/>
                  </a:lnTo>
                  <a:lnTo>
                    <a:pt x="277" y="287"/>
                  </a:lnTo>
                  <a:lnTo>
                    <a:pt x="277" y="287"/>
                  </a:lnTo>
                  <a:lnTo>
                    <a:pt x="277" y="287"/>
                  </a:lnTo>
                  <a:lnTo>
                    <a:pt x="277" y="287"/>
                  </a:lnTo>
                  <a:lnTo>
                    <a:pt x="277" y="287"/>
                  </a:lnTo>
                  <a:close/>
                  <a:moveTo>
                    <a:pt x="270" y="209"/>
                  </a:moveTo>
                  <a:lnTo>
                    <a:pt x="270" y="206"/>
                  </a:lnTo>
                  <a:lnTo>
                    <a:pt x="270" y="206"/>
                  </a:lnTo>
                  <a:lnTo>
                    <a:pt x="270" y="202"/>
                  </a:lnTo>
                  <a:lnTo>
                    <a:pt x="267" y="199"/>
                  </a:lnTo>
                  <a:lnTo>
                    <a:pt x="267" y="199"/>
                  </a:lnTo>
                  <a:lnTo>
                    <a:pt x="267" y="199"/>
                  </a:lnTo>
                  <a:lnTo>
                    <a:pt x="267" y="197"/>
                  </a:lnTo>
                  <a:lnTo>
                    <a:pt x="267" y="197"/>
                  </a:lnTo>
                  <a:lnTo>
                    <a:pt x="267" y="197"/>
                  </a:lnTo>
                  <a:lnTo>
                    <a:pt x="267" y="197"/>
                  </a:lnTo>
                  <a:lnTo>
                    <a:pt x="267" y="197"/>
                  </a:lnTo>
                  <a:lnTo>
                    <a:pt x="267" y="194"/>
                  </a:lnTo>
                  <a:lnTo>
                    <a:pt x="270" y="194"/>
                  </a:lnTo>
                  <a:lnTo>
                    <a:pt x="270" y="194"/>
                  </a:lnTo>
                  <a:lnTo>
                    <a:pt x="267" y="194"/>
                  </a:lnTo>
                  <a:lnTo>
                    <a:pt x="267" y="194"/>
                  </a:lnTo>
                  <a:lnTo>
                    <a:pt x="267" y="194"/>
                  </a:lnTo>
                  <a:lnTo>
                    <a:pt x="267" y="194"/>
                  </a:lnTo>
                  <a:lnTo>
                    <a:pt x="265" y="194"/>
                  </a:lnTo>
                  <a:lnTo>
                    <a:pt x="265" y="194"/>
                  </a:lnTo>
                  <a:lnTo>
                    <a:pt x="263" y="197"/>
                  </a:lnTo>
                  <a:lnTo>
                    <a:pt x="263" y="197"/>
                  </a:lnTo>
                  <a:lnTo>
                    <a:pt x="260" y="197"/>
                  </a:lnTo>
                  <a:lnTo>
                    <a:pt x="260" y="194"/>
                  </a:lnTo>
                  <a:lnTo>
                    <a:pt x="260" y="197"/>
                  </a:lnTo>
                  <a:lnTo>
                    <a:pt x="260" y="197"/>
                  </a:lnTo>
                  <a:lnTo>
                    <a:pt x="258" y="197"/>
                  </a:lnTo>
                  <a:lnTo>
                    <a:pt x="258" y="197"/>
                  </a:lnTo>
                  <a:lnTo>
                    <a:pt x="258" y="199"/>
                  </a:lnTo>
                  <a:lnTo>
                    <a:pt x="258" y="202"/>
                  </a:lnTo>
                  <a:lnTo>
                    <a:pt x="258" y="204"/>
                  </a:lnTo>
                  <a:lnTo>
                    <a:pt x="258" y="206"/>
                  </a:lnTo>
                  <a:lnTo>
                    <a:pt x="258" y="206"/>
                  </a:lnTo>
                  <a:lnTo>
                    <a:pt x="258" y="206"/>
                  </a:lnTo>
                  <a:lnTo>
                    <a:pt x="258" y="206"/>
                  </a:lnTo>
                  <a:lnTo>
                    <a:pt x="258" y="209"/>
                  </a:lnTo>
                  <a:lnTo>
                    <a:pt x="255" y="209"/>
                  </a:lnTo>
                  <a:lnTo>
                    <a:pt x="255" y="209"/>
                  </a:lnTo>
                  <a:lnTo>
                    <a:pt x="255" y="209"/>
                  </a:lnTo>
                  <a:lnTo>
                    <a:pt x="255" y="209"/>
                  </a:lnTo>
                  <a:lnTo>
                    <a:pt x="253" y="211"/>
                  </a:lnTo>
                  <a:lnTo>
                    <a:pt x="253" y="211"/>
                  </a:lnTo>
                  <a:lnTo>
                    <a:pt x="253" y="211"/>
                  </a:lnTo>
                  <a:lnTo>
                    <a:pt x="253" y="211"/>
                  </a:lnTo>
                  <a:lnTo>
                    <a:pt x="253" y="213"/>
                  </a:lnTo>
                  <a:lnTo>
                    <a:pt x="255" y="213"/>
                  </a:lnTo>
                  <a:lnTo>
                    <a:pt x="255" y="213"/>
                  </a:lnTo>
                  <a:lnTo>
                    <a:pt x="255" y="213"/>
                  </a:lnTo>
                  <a:lnTo>
                    <a:pt x="258" y="216"/>
                  </a:lnTo>
                  <a:lnTo>
                    <a:pt x="258" y="216"/>
                  </a:lnTo>
                  <a:lnTo>
                    <a:pt x="258" y="216"/>
                  </a:lnTo>
                  <a:lnTo>
                    <a:pt x="258" y="216"/>
                  </a:lnTo>
                  <a:lnTo>
                    <a:pt x="258" y="216"/>
                  </a:lnTo>
                  <a:lnTo>
                    <a:pt x="260" y="216"/>
                  </a:lnTo>
                  <a:lnTo>
                    <a:pt x="260" y="216"/>
                  </a:lnTo>
                  <a:lnTo>
                    <a:pt x="260" y="218"/>
                  </a:lnTo>
                  <a:lnTo>
                    <a:pt x="263" y="218"/>
                  </a:lnTo>
                  <a:lnTo>
                    <a:pt x="263" y="218"/>
                  </a:lnTo>
                  <a:lnTo>
                    <a:pt x="263" y="218"/>
                  </a:lnTo>
                  <a:lnTo>
                    <a:pt x="263" y="218"/>
                  </a:lnTo>
                  <a:lnTo>
                    <a:pt x="265" y="218"/>
                  </a:lnTo>
                  <a:lnTo>
                    <a:pt x="265" y="218"/>
                  </a:lnTo>
                  <a:lnTo>
                    <a:pt x="265" y="218"/>
                  </a:lnTo>
                  <a:lnTo>
                    <a:pt x="265" y="218"/>
                  </a:lnTo>
                  <a:lnTo>
                    <a:pt x="267" y="218"/>
                  </a:lnTo>
                  <a:lnTo>
                    <a:pt x="267" y="218"/>
                  </a:lnTo>
                  <a:lnTo>
                    <a:pt x="265" y="218"/>
                  </a:lnTo>
                  <a:lnTo>
                    <a:pt x="265" y="216"/>
                  </a:lnTo>
                  <a:lnTo>
                    <a:pt x="265" y="216"/>
                  </a:lnTo>
                  <a:lnTo>
                    <a:pt x="267" y="216"/>
                  </a:lnTo>
                  <a:lnTo>
                    <a:pt x="267" y="213"/>
                  </a:lnTo>
                  <a:lnTo>
                    <a:pt x="267" y="213"/>
                  </a:lnTo>
                  <a:lnTo>
                    <a:pt x="267" y="211"/>
                  </a:lnTo>
                  <a:lnTo>
                    <a:pt x="267" y="211"/>
                  </a:lnTo>
                  <a:lnTo>
                    <a:pt x="270" y="209"/>
                  </a:lnTo>
                  <a:close/>
                  <a:moveTo>
                    <a:pt x="180" y="57"/>
                  </a:moveTo>
                  <a:lnTo>
                    <a:pt x="177" y="55"/>
                  </a:lnTo>
                  <a:lnTo>
                    <a:pt x="177" y="53"/>
                  </a:lnTo>
                  <a:lnTo>
                    <a:pt x="175" y="53"/>
                  </a:lnTo>
                  <a:lnTo>
                    <a:pt x="175" y="55"/>
                  </a:lnTo>
                  <a:lnTo>
                    <a:pt x="175" y="57"/>
                  </a:lnTo>
                  <a:lnTo>
                    <a:pt x="177" y="57"/>
                  </a:lnTo>
                  <a:lnTo>
                    <a:pt x="177" y="57"/>
                  </a:lnTo>
                  <a:lnTo>
                    <a:pt x="177" y="57"/>
                  </a:lnTo>
                  <a:lnTo>
                    <a:pt x="180" y="60"/>
                  </a:lnTo>
                  <a:lnTo>
                    <a:pt x="180" y="60"/>
                  </a:lnTo>
                  <a:lnTo>
                    <a:pt x="180" y="60"/>
                  </a:lnTo>
                  <a:lnTo>
                    <a:pt x="180" y="57"/>
                  </a:lnTo>
                  <a:close/>
                  <a:moveTo>
                    <a:pt x="1436" y="724"/>
                  </a:moveTo>
                  <a:lnTo>
                    <a:pt x="1436" y="724"/>
                  </a:lnTo>
                  <a:lnTo>
                    <a:pt x="1436" y="727"/>
                  </a:lnTo>
                  <a:lnTo>
                    <a:pt x="1436" y="729"/>
                  </a:lnTo>
                  <a:lnTo>
                    <a:pt x="1436" y="727"/>
                  </a:lnTo>
                  <a:lnTo>
                    <a:pt x="1436" y="727"/>
                  </a:lnTo>
                  <a:lnTo>
                    <a:pt x="1436" y="724"/>
                  </a:lnTo>
                  <a:close/>
                  <a:moveTo>
                    <a:pt x="1451" y="625"/>
                  </a:moveTo>
                  <a:lnTo>
                    <a:pt x="1451" y="625"/>
                  </a:lnTo>
                  <a:lnTo>
                    <a:pt x="1451" y="625"/>
                  </a:lnTo>
                  <a:lnTo>
                    <a:pt x="1451" y="625"/>
                  </a:lnTo>
                  <a:lnTo>
                    <a:pt x="1451" y="627"/>
                  </a:lnTo>
                  <a:lnTo>
                    <a:pt x="1448" y="627"/>
                  </a:lnTo>
                  <a:lnTo>
                    <a:pt x="1448" y="627"/>
                  </a:lnTo>
                  <a:lnTo>
                    <a:pt x="1448" y="627"/>
                  </a:lnTo>
                  <a:lnTo>
                    <a:pt x="1446" y="627"/>
                  </a:lnTo>
                  <a:lnTo>
                    <a:pt x="1446" y="630"/>
                  </a:lnTo>
                  <a:lnTo>
                    <a:pt x="1446" y="627"/>
                  </a:lnTo>
                  <a:lnTo>
                    <a:pt x="1443" y="627"/>
                  </a:lnTo>
                  <a:lnTo>
                    <a:pt x="1443" y="627"/>
                  </a:lnTo>
                  <a:lnTo>
                    <a:pt x="1443" y="627"/>
                  </a:lnTo>
                  <a:lnTo>
                    <a:pt x="1443" y="627"/>
                  </a:lnTo>
                  <a:lnTo>
                    <a:pt x="1443" y="627"/>
                  </a:lnTo>
                  <a:lnTo>
                    <a:pt x="1443" y="627"/>
                  </a:lnTo>
                  <a:lnTo>
                    <a:pt x="1443" y="627"/>
                  </a:lnTo>
                  <a:lnTo>
                    <a:pt x="1441" y="630"/>
                  </a:lnTo>
                  <a:lnTo>
                    <a:pt x="1441" y="630"/>
                  </a:lnTo>
                  <a:lnTo>
                    <a:pt x="1441" y="632"/>
                  </a:lnTo>
                  <a:lnTo>
                    <a:pt x="1439" y="634"/>
                  </a:lnTo>
                  <a:lnTo>
                    <a:pt x="1439" y="637"/>
                  </a:lnTo>
                  <a:lnTo>
                    <a:pt x="1439" y="639"/>
                  </a:lnTo>
                  <a:lnTo>
                    <a:pt x="1439" y="642"/>
                  </a:lnTo>
                  <a:lnTo>
                    <a:pt x="1439" y="642"/>
                  </a:lnTo>
                  <a:lnTo>
                    <a:pt x="1439" y="644"/>
                  </a:lnTo>
                  <a:lnTo>
                    <a:pt x="1441" y="644"/>
                  </a:lnTo>
                  <a:lnTo>
                    <a:pt x="1441" y="644"/>
                  </a:lnTo>
                  <a:lnTo>
                    <a:pt x="1443" y="642"/>
                  </a:lnTo>
                  <a:lnTo>
                    <a:pt x="1443" y="639"/>
                  </a:lnTo>
                  <a:lnTo>
                    <a:pt x="1443" y="639"/>
                  </a:lnTo>
                  <a:lnTo>
                    <a:pt x="1443" y="639"/>
                  </a:lnTo>
                  <a:lnTo>
                    <a:pt x="1443" y="639"/>
                  </a:lnTo>
                  <a:lnTo>
                    <a:pt x="1446" y="639"/>
                  </a:lnTo>
                  <a:lnTo>
                    <a:pt x="1446" y="639"/>
                  </a:lnTo>
                  <a:lnTo>
                    <a:pt x="1446" y="637"/>
                  </a:lnTo>
                  <a:lnTo>
                    <a:pt x="1446" y="634"/>
                  </a:lnTo>
                  <a:lnTo>
                    <a:pt x="1446" y="634"/>
                  </a:lnTo>
                  <a:lnTo>
                    <a:pt x="1448" y="632"/>
                  </a:lnTo>
                  <a:lnTo>
                    <a:pt x="1448" y="632"/>
                  </a:lnTo>
                  <a:lnTo>
                    <a:pt x="1448" y="630"/>
                  </a:lnTo>
                  <a:lnTo>
                    <a:pt x="1451" y="627"/>
                  </a:lnTo>
                  <a:lnTo>
                    <a:pt x="1451" y="627"/>
                  </a:lnTo>
                  <a:lnTo>
                    <a:pt x="1451" y="625"/>
                  </a:lnTo>
                  <a:lnTo>
                    <a:pt x="1451" y="625"/>
                  </a:lnTo>
                  <a:close/>
                  <a:moveTo>
                    <a:pt x="923" y="601"/>
                  </a:moveTo>
                  <a:lnTo>
                    <a:pt x="923" y="601"/>
                  </a:lnTo>
                  <a:lnTo>
                    <a:pt x="923" y="599"/>
                  </a:lnTo>
                  <a:lnTo>
                    <a:pt x="923" y="599"/>
                  </a:lnTo>
                  <a:lnTo>
                    <a:pt x="923" y="599"/>
                  </a:lnTo>
                  <a:lnTo>
                    <a:pt x="923" y="599"/>
                  </a:lnTo>
                  <a:lnTo>
                    <a:pt x="923" y="601"/>
                  </a:lnTo>
                  <a:lnTo>
                    <a:pt x="925" y="604"/>
                  </a:lnTo>
                  <a:lnTo>
                    <a:pt x="925" y="604"/>
                  </a:lnTo>
                  <a:lnTo>
                    <a:pt x="925" y="604"/>
                  </a:lnTo>
                  <a:lnTo>
                    <a:pt x="925" y="604"/>
                  </a:lnTo>
                  <a:lnTo>
                    <a:pt x="923" y="601"/>
                  </a:lnTo>
                  <a:close/>
                  <a:moveTo>
                    <a:pt x="916" y="554"/>
                  </a:moveTo>
                  <a:lnTo>
                    <a:pt x="913" y="554"/>
                  </a:lnTo>
                  <a:lnTo>
                    <a:pt x="913" y="556"/>
                  </a:lnTo>
                  <a:lnTo>
                    <a:pt x="913" y="556"/>
                  </a:lnTo>
                  <a:lnTo>
                    <a:pt x="916" y="556"/>
                  </a:lnTo>
                  <a:lnTo>
                    <a:pt x="916" y="554"/>
                  </a:lnTo>
                  <a:lnTo>
                    <a:pt x="916" y="552"/>
                  </a:lnTo>
                  <a:lnTo>
                    <a:pt x="916" y="552"/>
                  </a:lnTo>
                  <a:lnTo>
                    <a:pt x="916" y="552"/>
                  </a:lnTo>
                  <a:lnTo>
                    <a:pt x="916" y="554"/>
                  </a:lnTo>
                  <a:close/>
                  <a:moveTo>
                    <a:pt x="322" y="426"/>
                  </a:moveTo>
                  <a:lnTo>
                    <a:pt x="322" y="424"/>
                  </a:lnTo>
                  <a:lnTo>
                    <a:pt x="322" y="424"/>
                  </a:lnTo>
                  <a:lnTo>
                    <a:pt x="322" y="424"/>
                  </a:lnTo>
                  <a:lnTo>
                    <a:pt x="322" y="424"/>
                  </a:lnTo>
                  <a:lnTo>
                    <a:pt x="322" y="424"/>
                  </a:lnTo>
                  <a:lnTo>
                    <a:pt x="322" y="424"/>
                  </a:lnTo>
                  <a:lnTo>
                    <a:pt x="322" y="424"/>
                  </a:lnTo>
                  <a:lnTo>
                    <a:pt x="322" y="424"/>
                  </a:lnTo>
                  <a:lnTo>
                    <a:pt x="322" y="424"/>
                  </a:lnTo>
                  <a:lnTo>
                    <a:pt x="322" y="424"/>
                  </a:lnTo>
                  <a:lnTo>
                    <a:pt x="322" y="424"/>
                  </a:lnTo>
                  <a:lnTo>
                    <a:pt x="322" y="426"/>
                  </a:lnTo>
                  <a:lnTo>
                    <a:pt x="322" y="426"/>
                  </a:lnTo>
                  <a:close/>
                  <a:moveTo>
                    <a:pt x="300" y="263"/>
                  </a:moveTo>
                  <a:lnTo>
                    <a:pt x="300" y="263"/>
                  </a:lnTo>
                  <a:lnTo>
                    <a:pt x="300" y="261"/>
                  </a:lnTo>
                  <a:lnTo>
                    <a:pt x="300" y="263"/>
                  </a:lnTo>
                  <a:lnTo>
                    <a:pt x="300" y="263"/>
                  </a:lnTo>
                  <a:lnTo>
                    <a:pt x="300" y="263"/>
                  </a:lnTo>
                  <a:lnTo>
                    <a:pt x="300" y="263"/>
                  </a:lnTo>
                  <a:close/>
                  <a:moveTo>
                    <a:pt x="324" y="422"/>
                  </a:moveTo>
                  <a:lnTo>
                    <a:pt x="324" y="422"/>
                  </a:lnTo>
                  <a:lnTo>
                    <a:pt x="324" y="422"/>
                  </a:lnTo>
                  <a:lnTo>
                    <a:pt x="324" y="422"/>
                  </a:lnTo>
                  <a:lnTo>
                    <a:pt x="324" y="422"/>
                  </a:lnTo>
                  <a:lnTo>
                    <a:pt x="324" y="419"/>
                  </a:lnTo>
                  <a:lnTo>
                    <a:pt x="324" y="419"/>
                  </a:lnTo>
                  <a:lnTo>
                    <a:pt x="322" y="419"/>
                  </a:lnTo>
                  <a:lnTo>
                    <a:pt x="322" y="417"/>
                  </a:lnTo>
                  <a:lnTo>
                    <a:pt x="322" y="417"/>
                  </a:lnTo>
                  <a:lnTo>
                    <a:pt x="322" y="414"/>
                  </a:lnTo>
                  <a:lnTo>
                    <a:pt x="322" y="414"/>
                  </a:lnTo>
                  <a:lnTo>
                    <a:pt x="322" y="414"/>
                  </a:lnTo>
                  <a:lnTo>
                    <a:pt x="322" y="414"/>
                  </a:lnTo>
                  <a:lnTo>
                    <a:pt x="322" y="414"/>
                  </a:lnTo>
                  <a:lnTo>
                    <a:pt x="322" y="414"/>
                  </a:lnTo>
                  <a:lnTo>
                    <a:pt x="319" y="412"/>
                  </a:lnTo>
                  <a:lnTo>
                    <a:pt x="319" y="412"/>
                  </a:lnTo>
                  <a:lnTo>
                    <a:pt x="317" y="412"/>
                  </a:lnTo>
                  <a:lnTo>
                    <a:pt x="317" y="410"/>
                  </a:lnTo>
                  <a:lnTo>
                    <a:pt x="317" y="410"/>
                  </a:lnTo>
                  <a:lnTo>
                    <a:pt x="317" y="410"/>
                  </a:lnTo>
                  <a:lnTo>
                    <a:pt x="317" y="410"/>
                  </a:lnTo>
                  <a:lnTo>
                    <a:pt x="317" y="410"/>
                  </a:lnTo>
                  <a:lnTo>
                    <a:pt x="317" y="412"/>
                  </a:lnTo>
                  <a:lnTo>
                    <a:pt x="317" y="412"/>
                  </a:lnTo>
                  <a:lnTo>
                    <a:pt x="317" y="412"/>
                  </a:lnTo>
                  <a:lnTo>
                    <a:pt x="317" y="412"/>
                  </a:lnTo>
                  <a:lnTo>
                    <a:pt x="317" y="414"/>
                  </a:lnTo>
                  <a:lnTo>
                    <a:pt x="317" y="414"/>
                  </a:lnTo>
                  <a:lnTo>
                    <a:pt x="317" y="414"/>
                  </a:lnTo>
                  <a:lnTo>
                    <a:pt x="317" y="414"/>
                  </a:lnTo>
                  <a:lnTo>
                    <a:pt x="317" y="414"/>
                  </a:lnTo>
                  <a:lnTo>
                    <a:pt x="317" y="414"/>
                  </a:lnTo>
                  <a:lnTo>
                    <a:pt x="317" y="417"/>
                  </a:lnTo>
                  <a:lnTo>
                    <a:pt x="319" y="417"/>
                  </a:lnTo>
                  <a:lnTo>
                    <a:pt x="319" y="417"/>
                  </a:lnTo>
                  <a:lnTo>
                    <a:pt x="319" y="417"/>
                  </a:lnTo>
                  <a:lnTo>
                    <a:pt x="319" y="419"/>
                  </a:lnTo>
                  <a:lnTo>
                    <a:pt x="319" y="419"/>
                  </a:lnTo>
                  <a:lnTo>
                    <a:pt x="319" y="419"/>
                  </a:lnTo>
                  <a:lnTo>
                    <a:pt x="319" y="419"/>
                  </a:lnTo>
                  <a:lnTo>
                    <a:pt x="319" y="419"/>
                  </a:lnTo>
                  <a:lnTo>
                    <a:pt x="319" y="419"/>
                  </a:lnTo>
                  <a:lnTo>
                    <a:pt x="319" y="419"/>
                  </a:lnTo>
                  <a:lnTo>
                    <a:pt x="319" y="419"/>
                  </a:lnTo>
                  <a:lnTo>
                    <a:pt x="319" y="422"/>
                  </a:lnTo>
                  <a:lnTo>
                    <a:pt x="322" y="422"/>
                  </a:lnTo>
                  <a:lnTo>
                    <a:pt x="322" y="422"/>
                  </a:lnTo>
                  <a:lnTo>
                    <a:pt x="322" y="422"/>
                  </a:lnTo>
                  <a:lnTo>
                    <a:pt x="322" y="422"/>
                  </a:lnTo>
                  <a:lnTo>
                    <a:pt x="322" y="422"/>
                  </a:lnTo>
                  <a:lnTo>
                    <a:pt x="322" y="422"/>
                  </a:lnTo>
                  <a:lnTo>
                    <a:pt x="322" y="424"/>
                  </a:lnTo>
                  <a:lnTo>
                    <a:pt x="322" y="422"/>
                  </a:lnTo>
                  <a:lnTo>
                    <a:pt x="322" y="422"/>
                  </a:lnTo>
                  <a:lnTo>
                    <a:pt x="324" y="422"/>
                  </a:lnTo>
                  <a:close/>
                  <a:moveTo>
                    <a:pt x="336" y="301"/>
                  </a:moveTo>
                  <a:lnTo>
                    <a:pt x="334" y="299"/>
                  </a:lnTo>
                  <a:lnTo>
                    <a:pt x="334" y="299"/>
                  </a:lnTo>
                  <a:lnTo>
                    <a:pt x="334" y="296"/>
                  </a:lnTo>
                  <a:lnTo>
                    <a:pt x="334" y="294"/>
                  </a:lnTo>
                  <a:lnTo>
                    <a:pt x="334" y="294"/>
                  </a:lnTo>
                  <a:lnTo>
                    <a:pt x="334" y="296"/>
                  </a:lnTo>
                  <a:lnTo>
                    <a:pt x="334" y="296"/>
                  </a:lnTo>
                  <a:lnTo>
                    <a:pt x="334" y="299"/>
                  </a:lnTo>
                  <a:lnTo>
                    <a:pt x="334" y="299"/>
                  </a:lnTo>
                  <a:lnTo>
                    <a:pt x="336" y="301"/>
                  </a:lnTo>
                  <a:lnTo>
                    <a:pt x="336" y="301"/>
                  </a:lnTo>
                  <a:close/>
                  <a:moveTo>
                    <a:pt x="334" y="445"/>
                  </a:moveTo>
                  <a:lnTo>
                    <a:pt x="334" y="443"/>
                  </a:lnTo>
                  <a:lnTo>
                    <a:pt x="334" y="443"/>
                  </a:lnTo>
                  <a:lnTo>
                    <a:pt x="334" y="443"/>
                  </a:lnTo>
                  <a:lnTo>
                    <a:pt x="334" y="443"/>
                  </a:lnTo>
                  <a:lnTo>
                    <a:pt x="331" y="443"/>
                  </a:lnTo>
                  <a:lnTo>
                    <a:pt x="331" y="440"/>
                  </a:lnTo>
                  <a:lnTo>
                    <a:pt x="331" y="440"/>
                  </a:lnTo>
                  <a:lnTo>
                    <a:pt x="331" y="440"/>
                  </a:lnTo>
                  <a:lnTo>
                    <a:pt x="331" y="440"/>
                  </a:lnTo>
                  <a:lnTo>
                    <a:pt x="331" y="438"/>
                  </a:lnTo>
                  <a:lnTo>
                    <a:pt x="329" y="438"/>
                  </a:lnTo>
                  <a:lnTo>
                    <a:pt x="329" y="438"/>
                  </a:lnTo>
                  <a:lnTo>
                    <a:pt x="329" y="438"/>
                  </a:lnTo>
                  <a:lnTo>
                    <a:pt x="329" y="438"/>
                  </a:lnTo>
                  <a:lnTo>
                    <a:pt x="329" y="438"/>
                  </a:lnTo>
                  <a:lnTo>
                    <a:pt x="329" y="438"/>
                  </a:lnTo>
                  <a:lnTo>
                    <a:pt x="329" y="438"/>
                  </a:lnTo>
                  <a:lnTo>
                    <a:pt x="329" y="438"/>
                  </a:lnTo>
                  <a:lnTo>
                    <a:pt x="329" y="440"/>
                  </a:lnTo>
                  <a:lnTo>
                    <a:pt x="329" y="440"/>
                  </a:lnTo>
                  <a:lnTo>
                    <a:pt x="329" y="440"/>
                  </a:lnTo>
                  <a:lnTo>
                    <a:pt x="329" y="440"/>
                  </a:lnTo>
                  <a:lnTo>
                    <a:pt x="329" y="440"/>
                  </a:lnTo>
                  <a:lnTo>
                    <a:pt x="329" y="440"/>
                  </a:lnTo>
                  <a:lnTo>
                    <a:pt x="329" y="440"/>
                  </a:lnTo>
                  <a:lnTo>
                    <a:pt x="329" y="440"/>
                  </a:lnTo>
                  <a:lnTo>
                    <a:pt x="329" y="440"/>
                  </a:lnTo>
                  <a:lnTo>
                    <a:pt x="329" y="443"/>
                  </a:lnTo>
                  <a:lnTo>
                    <a:pt x="329" y="443"/>
                  </a:lnTo>
                  <a:lnTo>
                    <a:pt x="329" y="443"/>
                  </a:lnTo>
                  <a:lnTo>
                    <a:pt x="329" y="443"/>
                  </a:lnTo>
                  <a:lnTo>
                    <a:pt x="329" y="443"/>
                  </a:lnTo>
                  <a:lnTo>
                    <a:pt x="329" y="443"/>
                  </a:lnTo>
                  <a:lnTo>
                    <a:pt x="329" y="445"/>
                  </a:lnTo>
                  <a:lnTo>
                    <a:pt x="329" y="445"/>
                  </a:lnTo>
                  <a:lnTo>
                    <a:pt x="329" y="445"/>
                  </a:lnTo>
                  <a:lnTo>
                    <a:pt x="329" y="445"/>
                  </a:lnTo>
                  <a:lnTo>
                    <a:pt x="329" y="445"/>
                  </a:lnTo>
                  <a:lnTo>
                    <a:pt x="329" y="445"/>
                  </a:lnTo>
                  <a:lnTo>
                    <a:pt x="329" y="445"/>
                  </a:lnTo>
                  <a:lnTo>
                    <a:pt x="331" y="445"/>
                  </a:lnTo>
                  <a:lnTo>
                    <a:pt x="331" y="445"/>
                  </a:lnTo>
                  <a:lnTo>
                    <a:pt x="331" y="445"/>
                  </a:lnTo>
                  <a:lnTo>
                    <a:pt x="331" y="448"/>
                  </a:lnTo>
                  <a:lnTo>
                    <a:pt x="331" y="448"/>
                  </a:lnTo>
                  <a:lnTo>
                    <a:pt x="331" y="448"/>
                  </a:lnTo>
                  <a:lnTo>
                    <a:pt x="331" y="448"/>
                  </a:lnTo>
                  <a:lnTo>
                    <a:pt x="331" y="445"/>
                  </a:lnTo>
                  <a:lnTo>
                    <a:pt x="331" y="445"/>
                  </a:lnTo>
                  <a:lnTo>
                    <a:pt x="331" y="445"/>
                  </a:lnTo>
                  <a:lnTo>
                    <a:pt x="331" y="445"/>
                  </a:lnTo>
                  <a:lnTo>
                    <a:pt x="334" y="445"/>
                  </a:lnTo>
                  <a:close/>
                  <a:moveTo>
                    <a:pt x="317" y="379"/>
                  </a:moveTo>
                  <a:lnTo>
                    <a:pt x="317" y="379"/>
                  </a:lnTo>
                  <a:lnTo>
                    <a:pt x="317" y="379"/>
                  </a:lnTo>
                  <a:lnTo>
                    <a:pt x="317" y="379"/>
                  </a:lnTo>
                  <a:lnTo>
                    <a:pt x="315" y="381"/>
                  </a:lnTo>
                  <a:lnTo>
                    <a:pt x="315" y="381"/>
                  </a:lnTo>
                  <a:lnTo>
                    <a:pt x="317" y="384"/>
                  </a:lnTo>
                  <a:lnTo>
                    <a:pt x="317" y="386"/>
                  </a:lnTo>
                  <a:lnTo>
                    <a:pt x="317" y="384"/>
                  </a:lnTo>
                  <a:lnTo>
                    <a:pt x="317" y="381"/>
                  </a:lnTo>
                  <a:lnTo>
                    <a:pt x="317" y="381"/>
                  </a:lnTo>
                  <a:lnTo>
                    <a:pt x="317" y="379"/>
                  </a:lnTo>
                  <a:lnTo>
                    <a:pt x="317" y="379"/>
                  </a:lnTo>
                  <a:close/>
                  <a:moveTo>
                    <a:pt x="353" y="462"/>
                  </a:moveTo>
                  <a:lnTo>
                    <a:pt x="353" y="462"/>
                  </a:lnTo>
                  <a:lnTo>
                    <a:pt x="355" y="462"/>
                  </a:lnTo>
                  <a:lnTo>
                    <a:pt x="355" y="462"/>
                  </a:lnTo>
                  <a:lnTo>
                    <a:pt x="355" y="462"/>
                  </a:lnTo>
                  <a:lnTo>
                    <a:pt x="355" y="462"/>
                  </a:lnTo>
                  <a:lnTo>
                    <a:pt x="355" y="459"/>
                  </a:lnTo>
                  <a:lnTo>
                    <a:pt x="353" y="459"/>
                  </a:lnTo>
                  <a:lnTo>
                    <a:pt x="353" y="459"/>
                  </a:lnTo>
                  <a:lnTo>
                    <a:pt x="353" y="457"/>
                  </a:lnTo>
                  <a:lnTo>
                    <a:pt x="353" y="457"/>
                  </a:lnTo>
                  <a:lnTo>
                    <a:pt x="353" y="455"/>
                  </a:lnTo>
                  <a:lnTo>
                    <a:pt x="350" y="455"/>
                  </a:lnTo>
                  <a:lnTo>
                    <a:pt x="350" y="452"/>
                  </a:lnTo>
                  <a:lnTo>
                    <a:pt x="350" y="452"/>
                  </a:lnTo>
                  <a:lnTo>
                    <a:pt x="350" y="452"/>
                  </a:lnTo>
                  <a:lnTo>
                    <a:pt x="350" y="452"/>
                  </a:lnTo>
                  <a:lnTo>
                    <a:pt x="350" y="450"/>
                  </a:lnTo>
                  <a:lnTo>
                    <a:pt x="350" y="450"/>
                  </a:lnTo>
                  <a:lnTo>
                    <a:pt x="350" y="450"/>
                  </a:lnTo>
                  <a:lnTo>
                    <a:pt x="350" y="450"/>
                  </a:lnTo>
                  <a:lnTo>
                    <a:pt x="348" y="452"/>
                  </a:lnTo>
                  <a:lnTo>
                    <a:pt x="350" y="455"/>
                  </a:lnTo>
                  <a:lnTo>
                    <a:pt x="350" y="455"/>
                  </a:lnTo>
                  <a:lnTo>
                    <a:pt x="350" y="455"/>
                  </a:lnTo>
                  <a:lnTo>
                    <a:pt x="350" y="457"/>
                  </a:lnTo>
                  <a:lnTo>
                    <a:pt x="350" y="459"/>
                  </a:lnTo>
                  <a:lnTo>
                    <a:pt x="350" y="459"/>
                  </a:lnTo>
                  <a:lnTo>
                    <a:pt x="350" y="462"/>
                  </a:lnTo>
                  <a:lnTo>
                    <a:pt x="350" y="462"/>
                  </a:lnTo>
                  <a:lnTo>
                    <a:pt x="353" y="462"/>
                  </a:lnTo>
                  <a:close/>
                  <a:moveTo>
                    <a:pt x="360" y="315"/>
                  </a:moveTo>
                  <a:lnTo>
                    <a:pt x="360" y="315"/>
                  </a:lnTo>
                  <a:lnTo>
                    <a:pt x="357" y="313"/>
                  </a:lnTo>
                  <a:lnTo>
                    <a:pt x="357" y="313"/>
                  </a:lnTo>
                  <a:lnTo>
                    <a:pt x="357" y="313"/>
                  </a:lnTo>
                  <a:lnTo>
                    <a:pt x="357" y="313"/>
                  </a:lnTo>
                  <a:lnTo>
                    <a:pt x="357" y="313"/>
                  </a:lnTo>
                  <a:lnTo>
                    <a:pt x="360" y="315"/>
                  </a:lnTo>
                  <a:lnTo>
                    <a:pt x="360" y="315"/>
                  </a:lnTo>
                  <a:lnTo>
                    <a:pt x="362" y="317"/>
                  </a:lnTo>
                  <a:lnTo>
                    <a:pt x="362" y="317"/>
                  </a:lnTo>
                  <a:lnTo>
                    <a:pt x="360" y="315"/>
                  </a:lnTo>
                  <a:close/>
                  <a:moveTo>
                    <a:pt x="296" y="358"/>
                  </a:moveTo>
                  <a:lnTo>
                    <a:pt x="296" y="358"/>
                  </a:lnTo>
                  <a:lnTo>
                    <a:pt x="296" y="355"/>
                  </a:lnTo>
                  <a:lnTo>
                    <a:pt x="296" y="355"/>
                  </a:lnTo>
                  <a:lnTo>
                    <a:pt x="296" y="355"/>
                  </a:lnTo>
                  <a:lnTo>
                    <a:pt x="296" y="355"/>
                  </a:lnTo>
                  <a:lnTo>
                    <a:pt x="296" y="355"/>
                  </a:lnTo>
                  <a:lnTo>
                    <a:pt x="296" y="355"/>
                  </a:lnTo>
                  <a:lnTo>
                    <a:pt x="296" y="355"/>
                  </a:lnTo>
                  <a:lnTo>
                    <a:pt x="296" y="355"/>
                  </a:lnTo>
                  <a:lnTo>
                    <a:pt x="296" y="355"/>
                  </a:lnTo>
                  <a:lnTo>
                    <a:pt x="296" y="358"/>
                  </a:lnTo>
                  <a:lnTo>
                    <a:pt x="296" y="358"/>
                  </a:lnTo>
                  <a:lnTo>
                    <a:pt x="296" y="358"/>
                  </a:lnTo>
                  <a:lnTo>
                    <a:pt x="296" y="358"/>
                  </a:lnTo>
                  <a:lnTo>
                    <a:pt x="296" y="358"/>
                  </a:lnTo>
                  <a:lnTo>
                    <a:pt x="296" y="358"/>
                  </a:lnTo>
                  <a:close/>
                  <a:moveTo>
                    <a:pt x="296" y="372"/>
                  </a:moveTo>
                  <a:lnTo>
                    <a:pt x="296" y="372"/>
                  </a:lnTo>
                  <a:lnTo>
                    <a:pt x="296" y="372"/>
                  </a:lnTo>
                  <a:lnTo>
                    <a:pt x="296" y="372"/>
                  </a:lnTo>
                  <a:lnTo>
                    <a:pt x="296" y="372"/>
                  </a:lnTo>
                  <a:lnTo>
                    <a:pt x="296" y="372"/>
                  </a:lnTo>
                  <a:lnTo>
                    <a:pt x="296" y="372"/>
                  </a:lnTo>
                  <a:lnTo>
                    <a:pt x="296" y="372"/>
                  </a:lnTo>
                  <a:lnTo>
                    <a:pt x="296" y="372"/>
                  </a:lnTo>
                  <a:lnTo>
                    <a:pt x="296" y="374"/>
                  </a:lnTo>
                  <a:lnTo>
                    <a:pt x="296" y="374"/>
                  </a:lnTo>
                  <a:lnTo>
                    <a:pt x="296" y="374"/>
                  </a:lnTo>
                  <a:lnTo>
                    <a:pt x="296" y="374"/>
                  </a:lnTo>
                  <a:lnTo>
                    <a:pt x="296" y="374"/>
                  </a:lnTo>
                  <a:lnTo>
                    <a:pt x="296" y="374"/>
                  </a:lnTo>
                  <a:lnTo>
                    <a:pt x="296" y="374"/>
                  </a:lnTo>
                  <a:lnTo>
                    <a:pt x="296" y="374"/>
                  </a:lnTo>
                  <a:lnTo>
                    <a:pt x="296" y="372"/>
                  </a:lnTo>
                  <a:close/>
                  <a:moveTo>
                    <a:pt x="305" y="360"/>
                  </a:moveTo>
                  <a:lnTo>
                    <a:pt x="305" y="360"/>
                  </a:lnTo>
                  <a:lnTo>
                    <a:pt x="303" y="360"/>
                  </a:lnTo>
                  <a:lnTo>
                    <a:pt x="303" y="360"/>
                  </a:lnTo>
                  <a:lnTo>
                    <a:pt x="303" y="360"/>
                  </a:lnTo>
                  <a:lnTo>
                    <a:pt x="303" y="360"/>
                  </a:lnTo>
                  <a:lnTo>
                    <a:pt x="303" y="360"/>
                  </a:lnTo>
                  <a:lnTo>
                    <a:pt x="300" y="360"/>
                  </a:lnTo>
                  <a:lnTo>
                    <a:pt x="300" y="360"/>
                  </a:lnTo>
                  <a:lnTo>
                    <a:pt x="300" y="360"/>
                  </a:lnTo>
                  <a:lnTo>
                    <a:pt x="300" y="362"/>
                  </a:lnTo>
                  <a:lnTo>
                    <a:pt x="300" y="362"/>
                  </a:lnTo>
                  <a:lnTo>
                    <a:pt x="300" y="362"/>
                  </a:lnTo>
                  <a:lnTo>
                    <a:pt x="300" y="365"/>
                  </a:lnTo>
                  <a:lnTo>
                    <a:pt x="300" y="365"/>
                  </a:lnTo>
                  <a:lnTo>
                    <a:pt x="298" y="365"/>
                  </a:lnTo>
                  <a:lnTo>
                    <a:pt x="298" y="365"/>
                  </a:lnTo>
                  <a:lnTo>
                    <a:pt x="298" y="367"/>
                  </a:lnTo>
                  <a:lnTo>
                    <a:pt x="298" y="367"/>
                  </a:lnTo>
                  <a:lnTo>
                    <a:pt x="298" y="367"/>
                  </a:lnTo>
                  <a:lnTo>
                    <a:pt x="298" y="370"/>
                  </a:lnTo>
                  <a:lnTo>
                    <a:pt x="296" y="370"/>
                  </a:lnTo>
                  <a:lnTo>
                    <a:pt x="296" y="370"/>
                  </a:lnTo>
                  <a:lnTo>
                    <a:pt x="296" y="372"/>
                  </a:lnTo>
                  <a:lnTo>
                    <a:pt x="296" y="372"/>
                  </a:lnTo>
                  <a:lnTo>
                    <a:pt x="298" y="372"/>
                  </a:lnTo>
                  <a:lnTo>
                    <a:pt x="298" y="372"/>
                  </a:lnTo>
                  <a:lnTo>
                    <a:pt x="298" y="372"/>
                  </a:lnTo>
                  <a:lnTo>
                    <a:pt x="298" y="372"/>
                  </a:lnTo>
                  <a:lnTo>
                    <a:pt x="298" y="372"/>
                  </a:lnTo>
                  <a:lnTo>
                    <a:pt x="298" y="370"/>
                  </a:lnTo>
                  <a:lnTo>
                    <a:pt x="298" y="370"/>
                  </a:lnTo>
                  <a:lnTo>
                    <a:pt x="298" y="370"/>
                  </a:lnTo>
                  <a:lnTo>
                    <a:pt x="298" y="370"/>
                  </a:lnTo>
                  <a:lnTo>
                    <a:pt x="298" y="370"/>
                  </a:lnTo>
                  <a:lnTo>
                    <a:pt x="300" y="367"/>
                  </a:lnTo>
                  <a:lnTo>
                    <a:pt x="300" y="367"/>
                  </a:lnTo>
                  <a:lnTo>
                    <a:pt x="300" y="367"/>
                  </a:lnTo>
                  <a:lnTo>
                    <a:pt x="300" y="367"/>
                  </a:lnTo>
                  <a:lnTo>
                    <a:pt x="300" y="365"/>
                  </a:lnTo>
                  <a:lnTo>
                    <a:pt x="303" y="365"/>
                  </a:lnTo>
                  <a:lnTo>
                    <a:pt x="303" y="365"/>
                  </a:lnTo>
                  <a:lnTo>
                    <a:pt x="303" y="365"/>
                  </a:lnTo>
                  <a:lnTo>
                    <a:pt x="303" y="362"/>
                  </a:lnTo>
                  <a:lnTo>
                    <a:pt x="303" y="362"/>
                  </a:lnTo>
                  <a:lnTo>
                    <a:pt x="303" y="362"/>
                  </a:lnTo>
                  <a:lnTo>
                    <a:pt x="303" y="365"/>
                  </a:lnTo>
                  <a:lnTo>
                    <a:pt x="305" y="365"/>
                  </a:lnTo>
                  <a:lnTo>
                    <a:pt x="305" y="365"/>
                  </a:lnTo>
                  <a:lnTo>
                    <a:pt x="305" y="365"/>
                  </a:lnTo>
                  <a:lnTo>
                    <a:pt x="305" y="365"/>
                  </a:lnTo>
                  <a:lnTo>
                    <a:pt x="305" y="365"/>
                  </a:lnTo>
                  <a:lnTo>
                    <a:pt x="305" y="365"/>
                  </a:lnTo>
                  <a:lnTo>
                    <a:pt x="305" y="365"/>
                  </a:lnTo>
                  <a:lnTo>
                    <a:pt x="305" y="362"/>
                  </a:lnTo>
                  <a:lnTo>
                    <a:pt x="305" y="362"/>
                  </a:lnTo>
                  <a:lnTo>
                    <a:pt x="305" y="362"/>
                  </a:lnTo>
                  <a:lnTo>
                    <a:pt x="305" y="360"/>
                  </a:lnTo>
                  <a:lnTo>
                    <a:pt x="305" y="360"/>
                  </a:lnTo>
                  <a:lnTo>
                    <a:pt x="305" y="360"/>
                  </a:lnTo>
                  <a:close/>
                  <a:moveTo>
                    <a:pt x="317" y="400"/>
                  </a:moveTo>
                  <a:lnTo>
                    <a:pt x="317" y="403"/>
                  </a:lnTo>
                  <a:lnTo>
                    <a:pt x="317" y="403"/>
                  </a:lnTo>
                  <a:lnTo>
                    <a:pt x="317" y="403"/>
                  </a:lnTo>
                  <a:lnTo>
                    <a:pt x="317" y="403"/>
                  </a:lnTo>
                  <a:lnTo>
                    <a:pt x="317" y="403"/>
                  </a:lnTo>
                  <a:lnTo>
                    <a:pt x="317" y="400"/>
                  </a:lnTo>
                  <a:lnTo>
                    <a:pt x="319" y="400"/>
                  </a:lnTo>
                  <a:lnTo>
                    <a:pt x="319" y="400"/>
                  </a:lnTo>
                  <a:lnTo>
                    <a:pt x="319" y="400"/>
                  </a:lnTo>
                  <a:lnTo>
                    <a:pt x="319" y="400"/>
                  </a:lnTo>
                  <a:lnTo>
                    <a:pt x="317" y="400"/>
                  </a:lnTo>
                  <a:lnTo>
                    <a:pt x="317" y="400"/>
                  </a:lnTo>
                  <a:lnTo>
                    <a:pt x="317" y="400"/>
                  </a:lnTo>
                  <a:lnTo>
                    <a:pt x="317" y="400"/>
                  </a:lnTo>
                  <a:close/>
                  <a:moveTo>
                    <a:pt x="305" y="381"/>
                  </a:moveTo>
                  <a:lnTo>
                    <a:pt x="305" y="381"/>
                  </a:lnTo>
                  <a:lnTo>
                    <a:pt x="305" y="381"/>
                  </a:lnTo>
                  <a:lnTo>
                    <a:pt x="305" y="381"/>
                  </a:lnTo>
                  <a:lnTo>
                    <a:pt x="305" y="379"/>
                  </a:lnTo>
                  <a:lnTo>
                    <a:pt x="305" y="379"/>
                  </a:lnTo>
                  <a:lnTo>
                    <a:pt x="305" y="379"/>
                  </a:lnTo>
                  <a:lnTo>
                    <a:pt x="305" y="379"/>
                  </a:lnTo>
                  <a:lnTo>
                    <a:pt x="305" y="379"/>
                  </a:lnTo>
                  <a:lnTo>
                    <a:pt x="305" y="377"/>
                  </a:lnTo>
                  <a:lnTo>
                    <a:pt x="305" y="379"/>
                  </a:lnTo>
                  <a:lnTo>
                    <a:pt x="305" y="379"/>
                  </a:lnTo>
                  <a:lnTo>
                    <a:pt x="303" y="379"/>
                  </a:lnTo>
                  <a:lnTo>
                    <a:pt x="303" y="379"/>
                  </a:lnTo>
                  <a:lnTo>
                    <a:pt x="305" y="379"/>
                  </a:lnTo>
                  <a:lnTo>
                    <a:pt x="305" y="379"/>
                  </a:lnTo>
                  <a:lnTo>
                    <a:pt x="305" y="379"/>
                  </a:lnTo>
                  <a:lnTo>
                    <a:pt x="305" y="381"/>
                  </a:lnTo>
                  <a:close/>
                </a:path>
              </a:pathLst>
            </a:custGeom>
            <a:grpFill/>
            <a:ln w="6350" cap="rnd">
              <a:solidFill>
                <a:schemeClr val="bg1"/>
              </a:solidFill>
              <a:prstDash val="solid"/>
              <a:round/>
              <a:headEnd/>
              <a:tailEnd/>
            </a:ln>
          </p:spPr>
          <p:txBody>
            <a:bodyPr vert="horz" wrap="square" lIns="91440" tIns="45721" rIns="91440" bIns="45721" numCol="1" anchor="t" anchorCtr="0" compatLnSpc="1">
              <a:prstTxWarp prst="textNoShape">
                <a:avLst/>
              </a:prstTxWarp>
            </a:bodyPr>
            <a:lstStyle/>
            <a:p>
              <a:endParaRPr lang="en-US" sz="1801"/>
            </a:p>
          </p:txBody>
        </p:sp>
        <p:sp>
          <p:nvSpPr>
            <p:cNvPr id="6" name="Canada">
              <a:extLst>
                <a:ext uri="{FF2B5EF4-FFF2-40B4-BE49-F238E27FC236}">
                  <a16:creationId xmlns:a16="http://schemas.microsoft.com/office/drawing/2014/main" id="{99F1C4B2-3109-844C-67D8-3F1625C3297C}"/>
                </a:ext>
              </a:extLst>
            </p:cNvPr>
            <p:cNvSpPr>
              <a:spLocks noEditPoints="1"/>
            </p:cNvSpPr>
            <p:nvPr/>
          </p:nvSpPr>
          <p:spPr bwMode="auto">
            <a:xfrm>
              <a:off x="3182" y="210"/>
              <a:ext cx="2830" cy="2758"/>
            </a:xfrm>
            <a:custGeom>
              <a:avLst/>
              <a:gdLst>
                <a:gd name="T0" fmla="*/ 1481 w 2830"/>
                <a:gd name="T1" fmla="*/ 828 h 2758"/>
                <a:gd name="T2" fmla="*/ 1313 w 2830"/>
                <a:gd name="T3" fmla="*/ 700 h 2758"/>
                <a:gd name="T4" fmla="*/ 1117 w 2830"/>
                <a:gd name="T5" fmla="*/ 984 h 2758"/>
                <a:gd name="T6" fmla="*/ 1027 w 2830"/>
                <a:gd name="T7" fmla="*/ 936 h 2758"/>
                <a:gd name="T8" fmla="*/ 897 w 2830"/>
                <a:gd name="T9" fmla="*/ 1147 h 2758"/>
                <a:gd name="T10" fmla="*/ 1219 w 2830"/>
                <a:gd name="T11" fmla="*/ 1211 h 2758"/>
                <a:gd name="T12" fmla="*/ 1692 w 2830"/>
                <a:gd name="T13" fmla="*/ 1251 h 2758"/>
                <a:gd name="T14" fmla="*/ 1079 w 2830"/>
                <a:gd name="T15" fmla="*/ 927 h 2758"/>
                <a:gd name="T16" fmla="*/ 1342 w 2830"/>
                <a:gd name="T17" fmla="*/ 596 h 2758"/>
                <a:gd name="T18" fmla="*/ 1531 w 2830"/>
                <a:gd name="T19" fmla="*/ 1570 h 2758"/>
                <a:gd name="T20" fmla="*/ 1787 w 2830"/>
                <a:gd name="T21" fmla="*/ 998 h 2758"/>
                <a:gd name="T22" fmla="*/ 1522 w 2830"/>
                <a:gd name="T23" fmla="*/ 1074 h 2758"/>
                <a:gd name="T24" fmla="*/ 1659 w 2830"/>
                <a:gd name="T25" fmla="*/ 1104 h 2758"/>
                <a:gd name="T26" fmla="*/ 1836 w 2830"/>
                <a:gd name="T27" fmla="*/ 1431 h 2758"/>
                <a:gd name="T28" fmla="*/ 1936 w 2830"/>
                <a:gd name="T29" fmla="*/ 1492 h 2758"/>
                <a:gd name="T30" fmla="*/ 2083 w 2830"/>
                <a:gd name="T31" fmla="*/ 1483 h 2758"/>
                <a:gd name="T32" fmla="*/ 2028 w 2830"/>
                <a:gd name="T33" fmla="*/ 1353 h 2758"/>
                <a:gd name="T34" fmla="*/ 2132 w 2830"/>
                <a:gd name="T35" fmla="*/ 1350 h 2758"/>
                <a:gd name="T36" fmla="*/ 2040 w 2830"/>
                <a:gd name="T37" fmla="*/ 1192 h 2758"/>
                <a:gd name="T38" fmla="*/ 1889 w 2830"/>
                <a:gd name="T39" fmla="*/ 1085 h 2758"/>
                <a:gd name="T40" fmla="*/ 2154 w 2830"/>
                <a:gd name="T41" fmla="*/ 1445 h 2758"/>
                <a:gd name="T42" fmla="*/ 1836 w 2830"/>
                <a:gd name="T43" fmla="*/ 2048 h 2758"/>
                <a:gd name="T44" fmla="*/ 2097 w 2830"/>
                <a:gd name="T45" fmla="*/ 1395 h 2758"/>
                <a:gd name="T46" fmla="*/ 2572 w 2830"/>
                <a:gd name="T47" fmla="*/ 2368 h 2758"/>
                <a:gd name="T48" fmla="*/ 2274 w 2830"/>
                <a:gd name="T49" fmla="*/ 2360 h 2758"/>
                <a:gd name="T50" fmla="*/ 2494 w 2830"/>
                <a:gd name="T51" fmla="*/ 2448 h 2758"/>
                <a:gd name="T52" fmla="*/ 2511 w 2830"/>
                <a:gd name="T53" fmla="*/ 2126 h 2758"/>
                <a:gd name="T54" fmla="*/ 2459 w 2830"/>
                <a:gd name="T55" fmla="*/ 1961 h 2758"/>
                <a:gd name="T56" fmla="*/ 2352 w 2830"/>
                <a:gd name="T57" fmla="*/ 1809 h 2758"/>
                <a:gd name="T58" fmla="*/ 2196 w 2830"/>
                <a:gd name="T59" fmla="*/ 1665 h 2758"/>
                <a:gd name="T60" fmla="*/ 2049 w 2830"/>
                <a:gd name="T61" fmla="*/ 1641 h 2758"/>
                <a:gd name="T62" fmla="*/ 1877 w 2830"/>
                <a:gd name="T63" fmla="*/ 1864 h 2758"/>
                <a:gd name="T64" fmla="*/ 1713 w 2830"/>
                <a:gd name="T65" fmla="*/ 2051 h 2758"/>
                <a:gd name="T66" fmla="*/ 1389 w 2830"/>
                <a:gd name="T67" fmla="*/ 1641 h 2758"/>
                <a:gd name="T68" fmla="*/ 1555 w 2830"/>
                <a:gd name="T69" fmla="*/ 1386 h 2758"/>
                <a:gd name="T70" fmla="*/ 1519 w 2830"/>
                <a:gd name="T71" fmla="*/ 1336 h 2758"/>
                <a:gd name="T72" fmla="*/ 1302 w 2830"/>
                <a:gd name="T73" fmla="*/ 1045 h 2758"/>
                <a:gd name="T74" fmla="*/ 1276 w 2830"/>
                <a:gd name="T75" fmla="*/ 1350 h 2758"/>
                <a:gd name="T76" fmla="*/ 1018 w 2830"/>
                <a:gd name="T77" fmla="*/ 1296 h 2758"/>
                <a:gd name="T78" fmla="*/ 601 w 2830"/>
                <a:gd name="T79" fmla="*/ 1109 h 2758"/>
                <a:gd name="T80" fmla="*/ 405 w 2830"/>
                <a:gd name="T81" fmla="*/ 1116 h 2758"/>
                <a:gd name="T82" fmla="*/ 197 w 2830"/>
                <a:gd name="T83" fmla="*/ 1859 h 2758"/>
                <a:gd name="T84" fmla="*/ 277 w 2830"/>
                <a:gd name="T85" fmla="*/ 2138 h 2758"/>
                <a:gd name="T86" fmla="*/ 386 w 2830"/>
                <a:gd name="T87" fmla="*/ 2325 h 2758"/>
                <a:gd name="T88" fmla="*/ 1881 w 2830"/>
                <a:gd name="T89" fmla="*/ 2535 h 2758"/>
                <a:gd name="T90" fmla="*/ 1621 w 2830"/>
                <a:gd name="T91" fmla="*/ 1256 h 2758"/>
                <a:gd name="T92" fmla="*/ 2142 w 2830"/>
                <a:gd name="T93" fmla="*/ 2491 h 2758"/>
                <a:gd name="T94" fmla="*/ 2764 w 2830"/>
                <a:gd name="T95" fmla="*/ 2122 h 2758"/>
                <a:gd name="T96" fmla="*/ 2634 w 2830"/>
                <a:gd name="T97" fmla="*/ 1999 h 2758"/>
                <a:gd name="T98" fmla="*/ 2752 w 2830"/>
                <a:gd name="T99" fmla="*/ 2202 h 2758"/>
                <a:gd name="T100" fmla="*/ 2459 w 2830"/>
                <a:gd name="T101" fmla="*/ 2339 h 2758"/>
                <a:gd name="T102" fmla="*/ 133 w 2830"/>
                <a:gd name="T103" fmla="*/ 2025 h 2758"/>
                <a:gd name="T104" fmla="*/ 220 w 2830"/>
                <a:gd name="T105" fmla="*/ 2088 h 2758"/>
                <a:gd name="T106" fmla="*/ 1200 w 2830"/>
                <a:gd name="T107" fmla="*/ 404 h 2758"/>
                <a:gd name="T108" fmla="*/ 1505 w 2830"/>
                <a:gd name="T109" fmla="*/ 390 h 2758"/>
                <a:gd name="T110" fmla="*/ 1420 w 2830"/>
                <a:gd name="T111" fmla="*/ 686 h 2758"/>
                <a:gd name="T112" fmla="*/ 1616 w 2830"/>
                <a:gd name="T113" fmla="*/ 350 h 2758"/>
                <a:gd name="T114" fmla="*/ 1302 w 2830"/>
                <a:gd name="T115" fmla="*/ 205 h 2758"/>
                <a:gd name="T116" fmla="*/ 1273 w 2830"/>
                <a:gd name="T117" fmla="*/ 257 h 2758"/>
                <a:gd name="T118" fmla="*/ 1053 w 2830"/>
                <a:gd name="T119" fmla="*/ 721 h 2758"/>
                <a:gd name="T120" fmla="*/ 639 w 2830"/>
                <a:gd name="T121" fmla="*/ 910 h 2758"/>
                <a:gd name="T122" fmla="*/ 355 w 2830"/>
                <a:gd name="T123" fmla="*/ 2360 h 2758"/>
                <a:gd name="T124" fmla="*/ 353 w 2830"/>
                <a:gd name="T125" fmla="*/ 2334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30" h="2758">
                  <a:moveTo>
                    <a:pt x="1377" y="1182"/>
                  </a:moveTo>
                  <a:lnTo>
                    <a:pt x="1375" y="1180"/>
                  </a:lnTo>
                  <a:lnTo>
                    <a:pt x="1373" y="1182"/>
                  </a:lnTo>
                  <a:lnTo>
                    <a:pt x="1373" y="1182"/>
                  </a:lnTo>
                  <a:lnTo>
                    <a:pt x="1373" y="1182"/>
                  </a:lnTo>
                  <a:lnTo>
                    <a:pt x="1373" y="1182"/>
                  </a:lnTo>
                  <a:lnTo>
                    <a:pt x="1373" y="1185"/>
                  </a:lnTo>
                  <a:lnTo>
                    <a:pt x="1373" y="1185"/>
                  </a:lnTo>
                  <a:lnTo>
                    <a:pt x="1373" y="1185"/>
                  </a:lnTo>
                  <a:lnTo>
                    <a:pt x="1373" y="1185"/>
                  </a:lnTo>
                  <a:lnTo>
                    <a:pt x="1375" y="1185"/>
                  </a:lnTo>
                  <a:lnTo>
                    <a:pt x="1377" y="1182"/>
                  </a:lnTo>
                  <a:lnTo>
                    <a:pt x="1377" y="1182"/>
                  </a:lnTo>
                  <a:lnTo>
                    <a:pt x="1377" y="1182"/>
                  </a:lnTo>
                  <a:close/>
                  <a:moveTo>
                    <a:pt x="1382" y="1180"/>
                  </a:moveTo>
                  <a:lnTo>
                    <a:pt x="1382" y="1180"/>
                  </a:lnTo>
                  <a:lnTo>
                    <a:pt x="1382" y="1180"/>
                  </a:lnTo>
                  <a:lnTo>
                    <a:pt x="1382" y="1180"/>
                  </a:lnTo>
                  <a:lnTo>
                    <a:pt x="1382" y="1180"/>
                  </a:lnTo>
                  <a:lnTo>
                    <a:pt x="1382" y="1180"/>
                  </a:lnTo>
                  <a:lnTo>
                    <a:pt x="1382" y="1182"/>
                  </a:lnTo>
                  <a:lnTo>
                    <a:pt x="1382" y="1182"/>
                  </a:lnTo>
                  <a:lnTo>
                    <a:pt x="1382" y="1182"/>
                  </a:lnTo>
                  <a:lnTo>
                    <a:pt x="1382" y="1182"/>
                  </a:lnTo>
                  <a:lnTo>
                    <a:pt x="1380" y="1185"/>
                  </a:lnTo>
                  <a:lnTo>
                    <a:pt x="1380" y="1185"/>
                  </a:lnTo>
                  <a:lnTo>
                    <a:pt x="1380" y="1185"/>
                  </a:lnTo>
                  <a:lnTo>
                    <a:pt x="1380" y="1185"/>
                  </a:lnTo>
                  <a:lnTo>
                    <a:pt x="1375" y="1187"/>
                  </a:lnTo>
                  <a:lnTo>
                    <a:pt x="1375" y="1187"/>
                  </a:lnTo>
                  <a:lnTo>
                    <a:pt x="1377" y="1187"/>
                  </a:lnTo>
                  <a:lnTo>
                    <a:pt x="1377" y="1189"/>
                  </a:lnTo>
                  <a:lnTo>
                    <a:pt x="1377" y="1189"/>
                  </a:lnTo>
                  <a:lnTo>
                    <a:pt x="1377" y="1189"/>
                  </a:lnTo>
                  <a:lnTo>
                    <a:pt x="1380" y="1189"/>
                  </a:lnTo>
                  <a:lnTo>
                    <a:pt x="1380" y="1192"/>
                  </a:lnTo>
                  <a:lnTo>
                    <a:pt x="1382" y="1192"/>
                  </a:lnTo>
                  <a:lnTo>
                    <a:pt x="1382" y="1189"/>
                  </a:lnTo>
                  <a:lnTo>
                    <a:pt x="1382" y="1189"/>
                  </a:lnTo>
                  <a:lnTo>
                    <a:pt x="1382" y="1187"/>
                  </a:lnTo>
                  <a:lnTo>
                    <a:pt x="1382" y="1187"/>
                  </a:lnTo>
                  <a:lnTo>
                    <a:pt x="1382" y="1187"/>
                  </a:lnTo>
                  <a:lnTo>
                    <a:pt x="1382" y="1185"/>
                  </a:lnTo>
                  <a:lnTo>
                    <a:pt x="1382" y="1185"/>
                  </a:lnTo>
                  <a:lnTo>
                    <a:pt x="1382" y="1182"/>
                  </a:lnTo>
                  <a:lnTo>
                    <a:pt x="1382" y="1182"/>
                  </a:lnTo>
                  <a:lnTo>
                    <a:pt x="1382" y="1182"/>
                  </a:lnTo>
                  <a:lnTo>
                    <a:pt x="1382" y="1182"/>
                  </a:lnTo>
                  <a:lnTo>
                    <a:pt x="1382" y="1180"/>
                  </a:lnTo>
                  <a:close/>
                  <a:moveTo>
                    <a:pt x="1285" y="1048"/>
                  </a:moveTo>
                  <a:lnTo>
                    <a:pt x="1285" y="1048"/>
                  </a:lnTo>
                  <a:lnTo>
                    <a:pt x="1285" y="1048"/>
                  </a:lnTo>
                  <a:lnTo>
                    <a:pt x="1283" y="1048"/>
                  </a:lnTo>
                  <a:lnTo>
                    <a:pt x="1283" y="1048"/>
                  </a:lnTo>
                  <a:lnTo>
                    <a:pt x="1283" y="1048"/>
                  </a:lnTo>
                  <a:lnTo>
                    <a:pt x="1280" y="1048"/>
                  </a:lnTo>
                  <a:lnTo>
                    <a:pt x="1280" y="1048"/>
                  </a:lnTo>
                  <a:lnTo>
                    <a:pt x="1280" y="1050"/>
                  </a:lnTo>
                  <a:lnTo>
                    <a:pt x="1280" y="1050"/>
                  </a:lnTo>
                  <a:lnTo>
                    <a:pt x="1280" y="1050"/>
                  </a:lnTo>
                  <a:lnTo>
                    <a:pt x="1280" y="1050"/>
                  </a:lnTo>
                  <a:lnTo>
                    <a:pt x="1280" y="1050"/>
                  </a:lnTo>
                  <a:lnTo>
                    <a:pt x="1283" y="1050"/>
                  </a:lnTo>
                  <a:lnTo>
                    <a:pt x="1283" y="1050"/>
                  </a:lnTo>
                  <a:lnTo>
                    <a:pt x="1283" y="1050"/>
                  </a:lnTo>
                  <a:lnTo>
                    <a:pt x="1283" y="1052"/>
                  </a:lnTo>
                  <a:lnTo>
                    <a:pt x="1280" y="1052"/>
                  </a:lnTo>
                  <a:lnTo>
                    <a:pt x="1280" y="1055"/>
                  </a:lnTo>
                  <a:lnTo>
                    <a:pt x="1283" y="1055"/>
                  </a:lnTo>
                  <a:lnTo>
                    <a:pt x="1283" y="1055"/>
                  </a:lnTo>
                  <a:lnTo>
                    <a:pt x="1283" y="1055"/>
                  </a:lnTo>
                  <a:lnTo>
                    <a:pt x="1285" y="1055"/>
                  </a:lnTo>
                  <a:lnTo>
                    <a:pt x="1285" y="1055"/>
                  </a:lnTo>
                  <a:lnTo>
                    <a:pt x="1285" y="1052"/>
                  </a:lnTo>
                  <a:lnTo>
                    <a:pt x="1285" y="1052"/>
                  </a:lnTo>
                  <a:lnTo>
                    <a:pt x="1285" y="1048"/>
                  </a:lnTo>
                  <a:close/>
                  <a:moveTo>
                    <a:pt x="1264" y="823"/>
                  </a:moveTo>
                  <a:lnTo>
                    <a:pt x="1261" y="823"/>
                  </a:lnTo>
                  <a:lnTo>
                    <a:pt x="1261" y="823"/>
                  </a:lnTo>
                  <a:lnTo>
                    <a:pt x="1264" y="823"/>
                  </a:lnTo>
                  <a:lnTo>
                    <a:pt x="1266" y="823"/>
                  </a:lnTo>
                  <a:lnTo>
                    <a:pt x="1266" y="823"/>
                  </a:lnTo>
                  <a:lnTo>
                    <a:pt x="1266" y="823"/>
                  </a:lnTo>
                  <a:lnTo>
                    <a:pt x="1266" y="820"/>
                  </a:lnTo>
                  <a:lnTo>
                    <a:pt x="1266" y="820"/>
                  </a:lnTo>
                  <a:lnTo>
                    <a:pt x="1266" y="823"/>
                  </a:lnTo>
                  <a:lnTo>
                    <a:pt x="1266" y="823"/>
                  </a:lnTo>
                  <a:lnTo>
                    <a:pt x="1266" y="823"/>
                  </a:lnTo>
                  <a:lnTo>
                    <a:pt x="1269" y="823"/>
                  </a:lnTo>
                  <a:lnTo>
                    <a:pt x="1271" y="823"/>
                  </a:lnTo>
                  <a:lnTo>
                    <a:pt x="1271" y="823"/>
                  </a:lnTo>
                  <a:lnTo>
                    <a:pt x="1271" y="825"/>
                  </a:lnTo>
                  <a:lnTo>
                    <a:pt x="1271" y="828"/>
                  </a:lnTo>
                  <a:lnTo>
                    <a:pt x="1271" y="828"/>
                  </a:lnTo>
                  <a:lnTo>
                    <a:pt x="1271" y="830"/>
                  </a:lnTo>
                  <a:lnTo>
                    <a:pt x="1273" y="830"/>
                  </a:lnTo>
                  <a:lnTo>
                    <a:pt x="1271" y="828"/>
                  </a:lnTo>
                  <a:lnTo>
                    <a:pt x="1271" y="825"/>
                  </a:lnTo>
                  <a:lnTo>
                    <a:pt x="1271" y="825"/>
                  </a:lnTo>
                  <a:lnTo>
                    <a:pt x="1271" y="825"/>
                  </a:lnTo>
                  <a:lnTo>
                    <a:pt x="1273" y="823"/>
                  </a:lnTo>
                  <a:lnTo>
                    <a:pt x="1273" y="823"/>
                  </a:lnTo>
                  <a:lnTo>
                    <a:pt x="1273" y="825"/>
                  </a:lnTo>
                  <a:lnTo>
                    <a:pt x="1271" y="825"/>
                  </a:lnTo>
                  <a:lnTo>
                    <a:pt x="1273" y="828"/>
                  </a:lnTo>
                  <a:lnTo>
                    <a:pt x="1273" y="828"/>
                  </a:lnTo>
                  <a:lnTo>
                    <a:pt x="1273" y="825"/>
                  </a:lnTo>
                  <a:lnTo>
                    <a:pt x="1273" y="825"/>
                  </a:lnTo>
                  <a:lnTo>
                    <a:pt x="1273" y="825"/>
                  </a:lnTo>
                  <a:lnTo>
                    <a:pt x="1273" y="825"/>
                  </a:lnTo>
                  <a:lnTo>
                    <a:pt x="1273" y="825"/>
                  </a:lnTo>
                  <a:lnTo>
                    <a:pt x="1276" y="823"/>
                  </a:lnTo>
                  <a:lnTo>
                    <a:pt x="1276" y="825"/>
                  </a:lnTo>
                  <a:lnTo>
                    <a:pt x="1280" y="830"/>
                  </a:lnTo>
                  <a:lnTo>
                    <a:pt x="1280" y="830"/>
                  </a:lnTo>
                  <a:lnTo>
                    <a:pt x="1280" y="832"/>
                  </a:lnTo>
                  <a:lnTo>
                    <a:pt x="1280" y="832"/>
                  </a:lnTo>
                  <a:lnTo>
                    <a:pt x="1280" y="835"/>
                  </a:lnTo>
                  <a:lnTo>
                    <a:pt x="1280" y="835"/>
                  </a:lnTo>
                  <a:lnTo>
                    <a:pt x="1283" y="835"/>
                  </a:lnTo>
                  <a:lnTo>
                    <a:pt x="1283" y="835"/>
                  </a:lnTo>
                  <a:lnTo>
                    <a:pt x="1283" y="835"/>
                  </a:lnTo>
                  <a:lnTo>
                    <a:pt x="1285" y="832"/>
                  </a:lnTo>
                  <a:lnTo>
                    <a:pt x="1285" y="832"/>
                  </a:lnTo>
                  <a:lnTo>
                    <a:pt x="1285" y="835"/>
                  </a:lnTo>
                  <a:lnTo>
                    <a:pt x="1287" y="835"/>
                  </a:lnTo>
                  <a:lnTo>
                    <a:pt x="1287" y="837"/>
                  </a:lnTo>
                  <a:lnTo>
                    <a:pt x="1292" y="837"/>
                  </a:lnTo>
                  <a:lnTo>
                    <a:pt x="1295" y="837"/>
                  </a:lnTo>
                  <a:lnTo>
                    <a:pt x="1297" y="835"/>
                  </a:lnTo>
                  <a:lnTo>
                    <a:pt x="1297" y="835"/>
                  </a:lnTo>
                  <a:lnTo>
                    <a:pt x="1297" y="835"/>
                  </a:lnTo>
                  <a:lnTo>
                    <a:pt x="1299" y="837"/>
                  </a:lnTo>
                  <a:lnTo>
                    <a:pt x="1304" y="835"/>
                  </a:lnTo>
                  <a:lnTo>
                    <a:pt x="1311" y="835"/>
                  </a:lnTo>
                  <a:lnTo>
                    <a:pt x="1311" y="832"/>
                  </a:lnTo>
                  <a:lnTo>
                    <a:pt x="1313" y="832"/>
                  </a:lnTo>
                  <a:lnTo>
                    <a:pt x="1313" y="830"/>
                  </a:lnTo>
                  <a:lnTo>
                    <a:pt x="1313" y="830"/>
                  </a:lnTo>
                  <a:lnTo>
                    <a:pt x="1313" y="828"/>
                  </a:lnTo>
                  <a:lnTo>
                    <a:pt x="1311" y="828"/>
                  </a:lnTo>
                  <a:lnTo>
                    <a:pt x="1311" y="828"/>
                  </a:lnTo>
                  <a:lnTo>
                    <a:pt x="1313" y="828"/>
                  </a:lnTo>
                  <a:lnTo>
                    <a:pt x="1313" y="828"/>
                  </a:lnTo>
                  <a:lnTo>
                    <a:pt x="1313" y="825"/>
                  </a:lnTo>
                  <a:lnTo>
                    <a:pt x="1313" y="823"/>
                  </a:lnTo>
                  <a:lnTo>
                    <a:pt x="1313" y="820"/>
                  </a:lnTo>
                  <a:lnTo>
                    <a:pt x="1313" y="818"/>
                  </a:lnTo>
                  <a:lnTo>
                    <a:pt x="1313" y="816"/>
                  </a:lnTo>
                  <a:lnTo>
                    <a:pt x="1313" y="816"/>
                  </a:lnTo>
                  <a:lnTo>
                    <a:pt x="1313" y="813"/>
                  </a:lnTo>
                  <a:lnTo>
                    <a:pt x="1313" y="813"/>
                  </a:lnTo>
                  <a:lnTo>
                    <a:pt x="1313" y="811"/>
                  </a:lnTo>
                  <a:lnTo>
                    <a:pt x="1313" y="809"/>
                  </a:lnTo>
                  <a:lnTo>
                    <a:pt x="1311" y="809"/>
                  </a:lnTo>
                  <a:lnTo>
                    <a:pt x="1311" y="806"/>
                  </a:lnTo>
                  <a:lnTo>
                    <a:pt x="1311" y="804"/>
                  </a:lnTo>
                  <a:lnTo>
                    <a:pt x="1311" y="804"/>
                  </a:lnTo>
                  <a:lnTo>
                    <a:pt x="1309" y="804"/>
                  </a:lnTo>
                  <a:lnTo>
                    <a:pt x="1309" y="804"/>
                  </a:lnTo>
                  <a:lnTo>
                    <a:pt x="1309" y="804"/>
                  </a:lnTo>
                  <a:lnTo>
                    <a:pt x="1309" y="804"/>
                  </a:lnTo>
                  <a:lnTo>
                    <a:pt x="1309" y="802"/>
                  </a:lnTo>
                  <a:lnTo>
                    <a:pt x="1309" y="802"/>
                  </a:lnTo>
                  <a:lnTo>
                    <a:pt x="1311" y="802"/>
                  </a:lnTo>
                  <a:lnTo>
                    <a:pt x="1311" y="802"/>
                  </a:lnTo>
                  <a:lnTo>
                    <a:pt x="1311" y="799"/>
                  </a:lnTo>
                  <a:lnTo>
                    <a:pt x="1311" y="799"/>
                  </a:lnTo>
                  <a:lnTo>
                    <a:pt x="1311" y="799"/>
                  </a:lnTo>
                  <a:lnTo>
                    <a:pt x="1311" y="797"/>
                  </a:lnTo>
                  <a:lnTo>
                    <a:pt x="1311" y="797"/>
                  </a:lnTo>
                  <a:lnTo>
                    <a:pt x="1311" y="794"/>
                  </a:lnTo>
                  <a:lnTo>
                    <a:pt x="1309" y="792"/>
                  </a:lnTo>
                  <a:lnTo>
                    <a:pt x="1309" y="790"/>
                  </a:lnTo>
                  <a:lnTo>
                    <a:pt x="1309" y="790"/>
                  </a:lnTo>
                  <a:lnTo>
                    <a:pt x="1309" y="787"/>
                  </a:lnTo>
                  <a:lnTo>
                    <a:pt x="1311" y="787"/>
                  </a:lnTo>
                  <a:lnTo>
                    <a:pt x="1309" y="785"/>
                  </a:lnTo>
                  <a:lnTo>
                    <a:pt x="1306" y="783"/>
                  </a:lnTo>
                  <a:lnTo>
                    <a:pt x="1304" y="783"/>
                  </a:lnTo>
                  <a:lnTo>
                    <a:pt x="1304" y="783"/>
                  </a:lnTo>
                  <a:lnTo>
                    <a:pt x="1304" y="783"/>
                  </a:lnTo>
                  <a:lnTo>
                    <a:pt x="1306" y="783"/>
                  </a:lnTo>
                  <a:lnTo>
                    <a:pt x="1306" y="780"/>
                  </a:lnTo>
                  <a:lnTo>
                    <a:pt x="1306" y="780"/>
                  </a:lnTo>
                  <a:lnTo>
                    <a:pt x="1306" y="778"/>
                  </a:lnTo>
                  <a:lnTo>
                    <a:pt x="1306" y="778"/>
                  </a:lnTo>
                  <a:lnTo>
                    <a:pt x="1306" y="778"/>
                  </a:lnTo>
                  <a:lnTo>
                    <a:pt x="1304" y="778"/>
                  </a:lnTo>
                  <a:lnTo>
                    <a:pt x="1302" y="773"/>
                  </a:lnTo>
                  <a:lnTo>
                    <a:pt x="1299" y="773"/>
                  </a:lnTo>
                  <a:lnTo>
                    <a:pt x="1299" y="771"/>
                  </a:lnTo>
                  <a:lnTo>
                    <a:pt x="1297" y="771"/>
                  </a:lnTo>
                  <a:lnTo>
                    <a:pt x="1290" y="759"/>
                  </a:lnTo>
                  <a:lnTo>
                    <a:pt x="1285" y="759"/>
                  </a:lnTo>
                  <a:lnTo>
                    <a:pt x="1280" y="757"/>
                  </a:lnTo>
                  <a:lnTo>
                    <a:pt x="1280" y="757"/>
                  </a:lnTo>
                  <a:lnTo>
                    <a:pt x="1278" y="759"/>
                  </a:lnTo>
                  <a:lnTo>
                    <a:pt x="1278" y="759"/>
                  </a:lnTo>
                  <a:lnTo>
                    <a:pt x="1278" y="759"/>
                  </a:lnTo>
                  <a:lnTo>
                    <a:pt x="1276" y="759"/>
                  </a:lnTo>
                  <a:lnTo>
                    <a:pt x="1276" y="761"/>
                  </a:lnTo>
                  <a:lnTo>
                    <a:pt x="1276" y="761"/>
                  </a:lnTo>
                  <a:lnTo>
                    <a:pt x="1276" y="761"/>
                  </a:lnTo>
                  <a:lnTo>
                    <a:pt x="1276" y="761"/>
                  </a:lnTo>
                  <a:lnTo>
                    <a:pt x="1273" y="761"/>
                  </a:lnTo>
                  <a:lnTo>
                    <a:pt x="1273" y="761"/>
                  </a:lnTo>
                  <a:lnTo>
                    <a:pt x="1273" y="761"/>
                  </a:lnTo>
                  <a:lnTo>
                    <a:pt x="1273" y="761"/>
                  </a:lnTo>
                  <a:lnTo>
                    <a:pt x="1271" y="761"/>
                  </a:lnTo>
                  <a:lnTo>
                    <a:pt x="1271" y="761"/>
                  </a:lnTo>
                  <a:lnTo>
                    <a:pt x="1271" y="764"/>
                  </a:lnTo>
                  <a:lnTo>
                    <a:pt x="1271" y="764"/>
                  </a:lnTo>
                  <a:lnTo>
                    <a:pt x="1271" y="764"/>
                  </a:lnTo>
                  <a:lnTo>
                    <a:pt x="1271" y="764"/>
                  </a:lnTo>
                  <a:lnTo>
                    <a:pt x="1271" y="764"/>
                  </a:lnTo>
                  <a:lnTo>
                    <a:pt x="1271" y="764"/>
                  </a:lnTo>
                  <a:lnTo>
                    <a:pt x="1269" y="764"/>
                  </a:lnTo>
                  <a:lnTo>
                    <a:pt x="1269" y="764"/>
                  </a:lnTo>
                  <a:lnTo>
                    <a:pt x="1266" y="766"/>
                  </a:lnTo>
                  <a:lnTo>
                    <a:pt x="1264" y="768"/>
                  </a:lnTo>
                  <a:lnTo>
                    <a:pt x="1261" y="773"/>
                  </a:lnTo>
                  <a:lnTo>
                    <a:pt x="1261" y="773"/>
                  </a:lnTo>
                  <a:lnTo>
                    <a:pt x="1264" y="776"/>
                  </a:lnTo>
                  <a:lnTo>
                    <a:pt x="1264" y="776"/>
                  </a:lnTo>
                  <a:lnTo>
                    <a:pt x="1264" y="776"/>
                  </a:lnTo>
                  <a:lnTo>
                    <a:pt x="1266" y="776"/>
                  </a:lnTo>
                  <a:lnTo>
                    <a:pt x="1266" y="776"/>
                  </a:lnTo>
                  <a:lnTo>
                    <a:pt x="1264" y="778"/>
                  </a:lnTo>
                  <a:lnTo>
                    <a:pt x="1264" y="778"/>
                  </a:lnTo>
                  <a:lnTo>
                    <a:pt x="1264" y="778"/>
                  </a:lnTo>
                  <a:lnTo>
                    <a:pt x="1264" y="778"/>
                  </a:lnTo>
                  <a:lnTo>
                    <a:pt x="1261" y="778"/>
                  </a:lnTo>
                  <a:lnTo>
                    <a:pt x="1261" y="778"/>
                  </a:lnTo>
                  <a:lnTo>
                    <a:pt x="1261" y="776"/>
                  </a:lnTo>
                  <a:lnTo>
                    <a:pt x="1261" y="776"/>
                  </a:lnTo>
                  <a:lnTo>
                    <a:pt x="1261" y="776"/>
                  </a:lnTo>
                  <a:lnTo>
                    <a:pt x="1259" y="776"/>
                  </a:lnTo>
                  <a:lnTo>
                    <a:pt x="1259" y="776"/>
                  </a:lnTo>
                  <a:lnTo>
                    <a:pt x="1259" y="776"/>
                  </a:lnTo>
                  <a:lnTo>
                    <a:pt x="1259" y="776"/>
                  </a:lnTo>
                  <a:lnTo>
                    <a:pt x="1259" y="776"/>
                  </a:lnTo>
                  <a:lnTo>
                    <a:pt x="1259" y="776"/>
                  </a:lnTo>
                  <a:lnTo>
                    <a:pt x="1257" y="776"/>
                  </a:lnTo>
                  <a:lnTo>
                    <a:pt x="1257" y="778"/>
                  </a:lnTo>
                  <a:lnTo>
                    <a:pt x="1254" y="780"/>
                  </a:lnTo>
                  <a:lnTo>
                    <a:pt x="1257" y="780"/>
                  </a:lnTo>
                  <a:lnTo>
                    <a:pt x="1257" y="780"/>
                  </a:lnTo>
                  <a:lnTo>
                    <a:pt x="1257" y="778"/>
                  </a:lnTo>
                  <a:lnTo>
                    <a:pt x="1257" y="778"/>
                  </a:lnTo>
                  <a:lnTo>
                    <a:pt x="1257" y="778"/>
                  </a:lnTo>
                  <a:lnTo>
                    <a:pt x="1257" y="778"/>
                  </a:lnTo>
                  <a:lnTo>
                    <a:pt x="1257" y="778"/>
                  </a:lnTo>
                  <a:lnTo>
                    <a:pt x="1257" y="778"/>
                  </a:lnTo>
                  <a:lnTo>
                    <a:pt x="1259" y="778"/>
                  </a:lnTo>
                  <a:lnTo>
                    <a:pt x="1264" y="778"/>
                  </a:lnTo>
                  <a:lnTo>
                    <a:pt x="1264" y="780"/>
                  </a:lnTo>
                  <a:lnTo>
                    <a:pt x="1261" y="783"/>
                  </a:lnTo>
                  <a:lnTo>
                    <a:pt x="1261" y="780"/>
                  </a:lnTo>
                  <a:lnTo>
                    <a:pt x="1261" y="780"/>
                  </a:lnTo>
                  <a:lnTo>
                    <a:pt x="1261" y="780"/>
                  </a:lnTo>
                  <a:lnTo>
                    <a:pt x="1261" y="778"/>
                  </a:lnTo>
                  <a:lnTo>
                    <a:pt x="1259" y="780"/>
                  </a:lnTo>
                  <a:lnTo>
                    <a:pt x="1259" y="783"/>
                  </a:lnTo>
                  <a:lnTo>
                    <a:pt x="1257" y="785"/>
                  </a:lnTo>
                  <a:lnTo>
                    <a:pt x="1257" y="785"/>
                  </a:lnTo>
                  <a:lnTo>
                    <a:pt x="1257" y="785"/>
                  </a:lnTo>
                  <a:lnTo>
                    <a:pt x="1257" y="785"/>
                  </a:lnTo>
                  <a:lnTo>
                    <a:pt x="1257" y="787"/>
                  </a:lnTo>
                  <a:lnTo>
                    <a:pt x="1261" y="785"/>
                  </a:lnTo>
                  <a:lnTo>
                    <a:pt x="1261" y="785"/>
                  </a:lnTo>
                  <a:lnTo>
                    <a:pt x="1261" y="787"/>
                  </a:lnTo>
                  <a:lnTo>
                    <a:pt x="1259" y="787"/>
                  </a:lnTo>
                  <a:lnTo>
                    <a:pt x="1257" y="787"/>
                  </a:lnTo>
                  <a:lnTo>
                    <a:pt x="1257" y="787"/>
                  </a:lnTo>
                  <a:lnTo>
                    <a:pt x="1257" y="790"/>
                  </a:lnTo>
                  <a:lnTo>
                    <a:pt x="1257" y="790"/>
                  </a:lnTo>
                  <a:lnTo>
                    <a:pt x="1259" y="790"/>
                  </a:lnTo>
                  <a:lnTo>
                    <a:pt x="1259" y="790"/>
                  </a:lnTo>
                  <a:lnTo>
                    <a:pt x="1259" y="790"/>
                  </a:lnTo>
                  <a:lnTo>
                    <a:pt x="1259" y="790"/>
                  </a:lnTo>
                  <a:lnTo>
                    <a:pt x="1257" y="790"/>
                  </a:lnTo>
                  <a:lnTo>
                    <a:pt x="1257" y="790"/>
                  </a:lnTo>
                  <a:lnTo>
                    <a:pt x="1252" y="792"/>
                  </a:lnTo>
                  <a:lnTo>
                    <a:pt x="1252" y="792"/>
                  </a:lnTo>
                  <a:lnTo>
                    <a:pt x="1252" y="794"/>
                  </a:lnTo>
                  <a:lnTo>
                    <a:pt x="1252" y="794"/>
                  </a:lnTo>
                  <a:lnTo>
                    <a:pt x="1252" y="794"/>
                  </a:lnTo>
                  <a:lnTo>
                    <a:pt x="1252" y="794"/>
                  </a:lnTo>
                  <a:lnTo>
                    <a:pt x="1252" y="794"/>
                  </a:lnTo>
                  <a:lnTo>
                    <a:pt x="1252" y="794"/>
                  </a:lnTo>
                  <a:lnTo>
                    <a:pt x="1252" y="794"/>
                  </a:lnTo>
                  <a:lnTo>
                    <a:pt x="1250" y="794"/>
                  </a:lnTo>
                  <a:lnTo>
                    <a:pt x="1250" y="794"/>
                  </a:lnTo>
                  <a:lnTo>
                    <a:pt x="1250" y="794"/>
                  </a:lnTo>
                  <a:lnTo>
                    <a:pt x="1250" y="794"/>
                  </a:lnTo>
                  <a:lnTo>
                    <a:pt x="1250" y="794"/>
                  </a:lnTo>
                  <a:lnTo>
                    <a:pt x="1250" y="797"/>
                  </a:lnTo>
                  <a:lnTo>
                    <a:pt x="1250" y="797"/>
                  </a:lnTo>
                  <a:lnTo>
                    <a:pt x="1250" y="799"/>
                  </a:lnTo>
                  <a:lnTo>
                    <a:pt x="1250" y="799"/>
                  </a:lnTo>
                  <a:lnTo>
                    <a:pt x="1247" y="802"/>
                  </a:lnTo>
                  <a:lnTo>
                    <a:pt x="1247" y="802"/>
                  </a:lnTo>
                  <a:lnTo>
                    <a:pt x="1247" y="804"/>
                  </a:lnTo>
                  <a:lnTo>
                    <a:pt x="1247" y="804"/>
                  </a:lnTo>
                  <a:lnTo>
                    <a:pt x="1247" y="804"/>
                  </a:lnTo>
                  <a:lnTo>
                    <a:pt x="1247" y="806"/>
                  </a:lnTo>
                  <a:lnTo>
                    <a:pt x="1247" y="806"/>
                  </a:lnTo>
                  <a:lnTo>
                    <a:pt x="1247" y="809"/>
                  </a:lnTo>
                  <a:lnTo>
                    <a:pt x="1247" y="809"/>
                  </a:lnTo>
                  <a:lnTo>
                    <a:pt x="1247" y="811"/>
                  </a:lnTo>
                  <a:lnTo>
                    <a:pt x="1247" y="811"/>
                  </a:lnTo>
                  <a:lnTo>
                    <a:pt x="1250" y="811"/>
                  </a:lnTo>
                  <a:lnTo>
                    <a:pt x="1250" y="809"/>
                  </a:lnTo>
                  <a:lnTo>
                    <a:pt x="1250" y="809"/>
                  </a:lnTo>
                  <a:lnTo>
                    <a:pt x="1252" y="809"/>
                  </a:lnTo>
                  <a:lnTo>
                    <a:pt x="1254" y="809"/>
                  </a:lnTo>
                  <a:lnTo>
                    <a:pt x="1254" y="811"/>
                  </a:lnTo>
                  <a:lnTo>
                    <a:pt x="1254" y="811"/>
                  </a:lnTo>
                  <a:lnTo>
                    <a:pt x="1252" y="811"/>
                  </a:lnTo>
                  <a:lnTo>
                    <a:pt x="1252" y="811"/>
                  </a:lnTo>
                  <a:lnTo>
                    <a:pt x="1252" y="811"/>
                  </a:lnTo>
                  <a:lnTo>
                    <a:pt x="1252" y="813"/>
                  </a:lnTo>
                  <a:lnTo>
                    <a:pt x="1252" y="813"/>
                  </a:lnTo>
                  <a:lnTo>
                    <a:pt x="1252" y="816"/>
                  </a:lnTo>
                  <a:lnTo>
                    <a:pt x="1252" y="816"/>
                  </a:lnTo>
                  <a:lnTo>
                    <a:pt x="1254" y="816"/>
                  </a:lnTo>
                  <a:lnTo>
                    <a:pt x="1254" y="816"/>
                  </a:lnTo>
                  <a:lnTo>
                    <a:pt x="1257" y="816"/>
                  </a:lnTo>
                  <a:lnTo>
                    <a:pt x="1257" y="816"/>
                  </a:lnTo>
                  <a:lnTo>
                    <a:pt x="1257" y="816"/>
                  </a:lnTo>
                  <a:lnTo>
                    <a:pt x="1257" y="813"/>
                  </a:lnTo>
                  <a:lnTo>
                    <a:pt x="1257" y="813"/>
                  </a:lnTo>
                  <a:lnTo>
                    <a:pt x="1257" y="813"/>
                  </a:lnTo>
                  <a:lnTo>
                    <a:pt x="1257" y="813"/>
                  </a:lnTo>
                  <a:lnTo>
                    <a:pt x="1257" y="813"/>
                  </a:lnTo>
                  <a:lnTo>
                    <a:pt x="1257" y="811"/>
                  </a:lnTo>
                  <a:lnTo>
                    <a:pt x="1257" y="809"/>
                  </a:lnTo>
                  <a:lnTo>
                    <a:pt x="1257" y="809"/>
                  </a:lnTo>
                  <a:lnTo>
                    <a:pt x="1257" y="809"/>
                  </a:lnTo>
                  <a:lnTo>
                    <a:pt x="1259" y="809"/>
                  </a:lnTo>
                  <a:lnTo>
                    <a:pt x="1259" y="809"/>
                  </a:lnTo>
                  <a:lnTo>
                    <a:pt x="1259" y="809"/>
                  </a:lnTo>
                  <a:lnTo>
                    <a:pt x="1259" y="809"/>
                  </a:lnTo>
                  <a:lnTo>
                    <a:pt x="1259" y="811"/>
                  </a:lnTo>
                  <a:lnTo>
                    <a:pt x="1257" y="811"/>
                  </a:lnTo>
                  <a:lnTo>
                    <a:pt x="1257" y="813"/>
                  </a:lnTo>
                  <a:lnTo>
                    <a:pt x="1259" y="813"/>
                  </a:lnTo>
                  <a:lnTo>
                    <a:pt x="1259" y="813"/>
                  </a:lnTo>
                  <a:lnTo>
                    <a:pt x="1259" y="811"/>
                  </a:lnTo>
                  <a:lnTo>
                    <a:pt x="1259" y="811"/>
                  </a:lnTo>
                  <a:lnTo>
                    <a:pt x="1259" y="811"/>
                  </a:lnTo>
                  <a:lnTo>
                    <a:pt x="1259" y="811"/>
                  </a:lnTo>
                  <a:lnTo>
                    <a:pt x="1259" y="813"/>
                  </a:lnTo>
                  <a:lnTo>
                    <a:pt x="1259" y="813"/>
                  </a:lnTo>
                  <a:lnTo>
                    <a:pt x="1259" y="813"/>
                  </a:lnTo>
                  <a:lnTo>
                    <a:pt x="1257" y="813"/>
                  </a:lnTo>
                  <a:lnTo>
                    <a:pt x="1257" y="816"/>
                  </a:lnTo>
                  <a:lnTo>
                    <a:pt x="1259" y="816"/>
                  </a:lnTo>
                  <a:lnTo>
                    <a:pt x="1259" y="818"/>
                  </a:lnTo>
                  <a:lnTo>
                    <a:pt x="1259" y="818"/>
                  </a:lnTo>
                  <a:lnTo>
                    <a:pt x="1261" y="818"/>
                  </a:lnTo>
                  <a:lnTo>
                    <a:pt x="1261" y="820"/>
                  </a:lnTo>
                  <a:lnTo>
                    <a:pt x="1261" y="820"/>
                  </a:lnTo>
                  <a:lnTo>
                    <a:pt x="1264" y="820"/>
                  </a:lnTo>
                  <a:lnTo>
                    <a:pt x="1264" y="823"/>
                  </a:lnTo>
                  <a:lnTo>
                    <a:pt x="1264" y="823"/>
                  </a:lnTo>
                  <a:close/>
                  <a:moveTo>
                    <a:pt x="1382" y="889"/>
                  </a:moveTo>
                  <a:lnTo>
                    <a:pt x="1382" y="889"/>
                  </a:lnTo>
                  <a:lnTo>
                    <a:pt x="1384" y="889"/>
                  </a:lnTo>
                  <a:lnTo>
                    <a:pt x="1384" y="889"/>
                  </a:lnTo>
                  <a:lnTo>
                    <a:pt x="1384" y="889"/>
                  </a:lnTo>
                  <a:lnTo>
                    <a:pt x="1384" y="891"/>
                  </a:lnTo>
                  <a:lnTo>
                    <a:pt x="1384" y="891"/>
                  </a:lnTo>
                  <a:lnTo>
                    <a:pt x="1384" y="891"/>
                  </a:lnTo>
                  <a:lnTo>
                    <a:pt x="1384" y="891"/>
                  </a:lnTo>
                  <a:lnTo>
                    <a:pt x="1387" y="887"/>
                  </a:lnTo>
                  <a:lnTo>
                    <a:pt x="1384" y="887"/>
                  </a:lnTo>
                  <a:lnTo>
                    <a:pt x="1384" y="887"/>
                  </a:lnTo>
                  <a:lnTo>
                    <a:pt x="1384" y="884"/>
                  </a:lnTo>
                  <a:lnTo>
                    <a:pt x="1382" y="884"/>
                  </a:lnTo>
                  <a:lnTo>
                    <a:pt x="1382" y="884"/>
                  </a:lnTo>
                  <a:lnTo>
                    <a:pt x="1382" y="887"/>
                  </a:lnTo>
                  <a:lnTo>
                    <a:pt x="1377" y="884"/>
                  </a:lnTo>
                  <a:lnTo>
                    <a:pt x="1368" y="880"/>
                  </a:lnTo>
                  <a:lnTo>
                    <a:pt x="1361" y="880"/>
                  </a:lnTo>
                  <a:lnTo>
                    <a:pt x="1356" y="880"/>
                  </a:lnTo>
                  <a:lnTo>
                    <a:pt x="1351" y="882"/>
                  </a:lnTo>
                  <a:lnTo>
                    <a:pt x="1351" y="880"/>
                  </a:lnTo>
                  <a:lnTo>
                    <a:pt x="1347" y="882"/>
                  </a:lnTo>
                  <a:lnTo>
                    <a:pt x="1347" y="882"/>
                  </a:lnTo>
                  <a:lnTo>
                    <a:pt x="1347" y="884"/>
                  </a:lnTo>
                  <a:lnTo>
                    <a:pt x="1344" y="882"/>
                  </a:lnTo>
                  <a:lnTo>
                    <a:pt x="1344" y="884"/>
                  </a:lnTo>
                  <a:lnTo>
                    <a:pt x="1344" y="884"/>
                  </a:lnTo>
                  <a:lnTo>
                    <a:pt x="1344" y="884"/>
                  </a:lnTo>
                  <a:lnTo>
                    <a:pt x="1344" y="887"/>
                  </a:lnTo>
                  <a:lnTo>
                    <a:pt x="1344" y="887"/>
                  </a:lnTo>
                  <a:lnTo>
                    <a:pt x="1344" y="887"/>
                  </a:lnTo>
                  <a:lnTo>
                    <a:pt x="1340" y="887"/>
                  </a:lnTo>
                  <a:lnTo>
                    <a:pt x="1342" y="887"/>
                  </a:lnTo>
                  <a:lnTo>
                    <a:pt x="1340" y="887"/>
                  </a:lnTo>
                  <a:lnTo>
                    <a:pt x="1342" y="884"/>
                  </a:lnTo>
                  <a:lnTo>
                    <a:pt x="1342" y="884"/>
                  </a:lnTo>
                  <a:lnTo>
                    <a:pt x="1340" y="882"/>
                  </a:lnTo>
                  <a:lnTo>
                    <a:pt x="1340" y="880"/>
                  </a:lnTo>
                  <a:lnTo>
                    <a:pt x="1337" y="877"/>
                  </a:lnTo>
                  <a:lnTo>
                    <a:pt x="1337" y="877"/>
                  </a:lnTo>
                  <a:lnTo>
                    <a:pt x="1332" y="875"/>
                  </a:lnTo>
                  <a:lnTo>
                    <a:pt x="1332" y="875"/>
                  </a:lnTo>
                  <a:lnTo>
                    <a:pt x="1332" y="877"/>
                  </a:lnTo>
                  <a:lnTo>
                    <a:pt x="1332" y="877"/>
                  </a:lnTo>
                  <a:lnTo>
                    <a:pt x="1330" y="877"/>
                  </a:lnTo>
                  <a:lnTo>
                    <a:pt x="1330" y="877"/>
                  </a:lnTo>
                  <a:lnTo>
                    <a:pt x="1330" y="875"/>
                  </a:lnTo>
                  <a:lnTo>
                    <a:pt x="1330" y="875"/>
                  </a:lnTo>
                  <a:lnTo>
                    <a:pt x="1330" y="873"/>
                  </a:lnTo>
                  <a:lnTo>
                    <a:pt x="1325" y="873"/>
                  </a:lnTo>
                  <a:lnTo>
                    <a:pt x="1321" y="870"/>
                  </a:lnTo>
                  <a:lnTo>
                    <a:pt x="1316" y="870"/>
                  </a:lnTo>
                  <a:lnTo>
                    <a:pt x="1311" y="873"/>
                  </a:lnTo>
                  <a:lnTo>
                    <a:pt x="1311" y="873"/>
                  </a:lnTo>
                  <a:lnTo>
                    <a:pt x="1309" y="875"/>
                  </a:lnTo>
                  <a:lnTo>
                    <a:pt x="1309" y="875"/>
                  </a:lnTo>
                  <a:lnTo>
                    <a:pt x="1309" y="877"/>
                  </a:lnTo>
                  <a:lnTo>
                    <a:pt x="1311" y="877"/>
                  </a:lnTo>
                  <a:lnTo>
                    <a:pt x="1311" y="877"/>
                  </a:lnTo>
                  <a:lnTo>
                    <a:pt x="1309" y="880"/>
                  </a:lnTo>
                  <a:lnTo>
                    <a:pt x="1309" y="880"/>
                  </a:lnTo>
                  <a:lnTo>
                    <a:pt x="1309" y="877"/>
                  </a:lnTo>
                  <a:lnTo>
                    <a:pt x="1306" y="875"/>
                  </a:lnTo>
                  <a:lnTo>
                    <a:pt x="1306" y="875"/>
                  </a:lnTo>
                  <a:lnTo>
                    <a:pt x="1297" y="875"/>
                  </a:lnTo>
                  <a:lnTo>
                    <a:pt x="1297" y="875"/>
                  </a:lnTo>
                  <a:lnTo>
                    <a:pt x="1297" y="877"/>
                  </a:lnTo>
                  <a:lnTo>
                    <a:pt x="1295" y="877"/>
                  </a:lnTo>
                  <a:lnTo>
                    <a:pt x="1295" y="877"/>
                  </a:lnTo>
                  <a:lnTo>
                    <a:pt x="1295" y="877"/>
                  </a:lnTo>
                  <a:lnTo>
                    <a:pt x="1290" y="880"/>
                  </a:lnTo>
                  <a:lnTo>
                    <a:pt x="1290" y="877"/>
                  </a:lnTo>
                  <a:lnTo>
                    <a:pt x="1290" y="880"/>
                  </a:lnTo>
                  <a:lnTo>
                    <a:pt x="1287" y="882"/>
                  </a:lnTo>
                  <a:lnTo>
                    <a:pt x="1287" y="882"/>
                  </a:lnTo>
                  <a:lnTo>
                    <a:pt x="1285" y="882"/>
                  </a:lnTo>
                  <a:lnTo>
                    <a:pt x="1283" y="884"/>
                  </a:lnTo>
                  <a:lnTo>
                    <a:pt x="1278" y="887"/>
                  </a:lnTo>
                  <a:lnTo>
                    <a:pt x="1278" y="887"/>
                  </a:lnTo>
                  <a:lnTo>
                    <a:pt x="1278" y="889"/>
                  </a:lnTo>
                  <a:lnTo>
                    <a:pt x="1278" y="891"/>
                  </a:lnTo>
                  <a:lnTo>
                    <a:pt x="1278" y="894"/>
                  </a:lnTo>
                  <a:lnTo>
                    <a:pt x="1278" y="894"/>
                  </a:lnTo>
                  <a:lnTo>
                    <a:pt x="1278" y="896"/>
                  </a:lnTo>
                  <a:lnTo>
                    <a:pt x="1278" y="896"/>
                  </a:lnTo>
                  <a:lnTo>
                    <a:pt x="1280" y="896"/>
                  </a:lnTo>
                  <a:lnTo>
                    <a:pt x="1280" y="899"/>
                  </a:lnTo>
                  <a:lnTo>
                    <a:pt x="1280" y="899"/>
                  </a:lnTo>
                  <a:lnTo>
                    <a:pt x="1283" y="899"/>
                  </a:lnTo>
                  <a:lnTo>
                    <a:pt x="1283" y="899"/>
                  </a:lnTo>
                  <a:lnTo>
                    <a:pt x="1283" y="899"/>
                  </a:lnTo>
                  <a:lnTo>
                    <a:pt x="1283" y="899"/>
                  </a:lnTo>
                  <a:lnTo>
                    <a:pt x="1283" y="896"/>
                  </a:lnTo>
                  <a:lnTo>
                    <a:pt x="1283" y="896"/>
                  </a:lnTo>
                  <a:lnTo>
                    <a:pt x="1285" y="896"/>
                  </a:lnTo>
                  <a:lnTo>
                    <a:pt x="1285" y="899"/>
                  </a:lnTo>
                  <a:lnTo>
                    <a:pt x="1285" y="899"/>
                  </a:lnTo>
                  <a:lnTo>
                    <a:pt x="1285" y="899"/>
                  </a:lnTo>
                  <a:lnTo>
                    <a:pt x="1283" y="901"/>
                  </a:lnTo>
                  <a:lnTo>
                    <a:pt x="1283" y="903"/>
                  </a:lnTo>
                  <a:lnTo>
                    <a:pt x="1283" y="903"/>
                  </a:lnTo>
                  <a:lnTo>
                    <a:pt x="1285" y="906"/>
                  </a:lnTo>
                  <a:lnTo>
                    <a:pt x="1285" y="906"/>
                  </a:lnTo>
                  <a:lnTo>
                    <a:pt x="1285" y="906"/>
                  </a:lnTo>
                  <a:lnTo>
                    <a:pt x="1287" y="908"/>
                  </a:lnTo>
                  <a:lnTo>
                    <a:pt x="1287" y="908"/>
                  </a:lnTo>
                  <a:lnTo>
                    <a:pt x="1287" y="910"/>
                  </a:lnTo>
                  <a:lnTo>
                    <a:pt x="1292" y="910"/>
                  </a:lnTo>
                  <a:lnTo>
                    <a:pt x="1292" y="913"/>
                  </a:lnTo>
                  <a:lnTo>
                    <a:pt x="1290" y="913"/>
                  </a:lnTo>
                  <a:lnTo>
                    <a:pt x="1285" y="910"/>
                  </a:lnTo>
                  <a:lnTo>
                    <a:pt x="1283" y="910"/>
                  </a:lnTo>
                  <a:lnTo>
                    <a:pt x="1280" y="906"/>
                  </a:lnTo>
                  <a:lnTo>
                    <a:pt x="1278" y="903"/>
                  </a:lnTo>
                  <a:lnTo>
                    <a:pt x="1278" y="903"/>
                  </a:lnTo>
                  <a:lnTo>
                    <a:pt x="1278" y="906"/>
                  </a:lnTo>
                  <a:lnTo>
                    <a:pt x="1278" y="906"/>
                  </a:lnTo>
                  <a:lnTo>
                    <a:pt x="1278" y="906"/>
                  </a:lnTo>
                  <a:lnTo>
                    <a:pt x="1276" y="903"/>
                  </a:lnTo>
                  <a:lnTo>
                    <a:pt x="1276" y="903"/>
                  </a:lnTo>
                  <a:lnTo>
                    <a:pt x="1276" y="903"/>
                  </a:lnTo>
                  <a:lnTo>
                    <a:pt x="1276" y="903"/>
                  </a:lnTo>
                  <a:lnTo>
                    <a:pt x="1276" y="903"/>
                  </a:lnTo>
                  <a:lnTo>
                    <a:pt x="1273" y="906"/>
                  </a:lnTo>
                  <a:lnTo>
                    <a:pt x="1271" y="908"/>
                  </a:lnTo>
                  <a:lnTo>
                    <a:pt x="1271" y="908"/>
                  </a:lnTo>
                  <a:lnTo>
                    <a:pt x="1271" y="908"/>
                  </a:lnTo>
                  <a:lnTo>
                    <a:pt x="1271" y="910"/>
                  </a:lnTo>
                  <a:lnTo>
                    <a:pt x="1271" y="910"/>
                  </a:lnTo>
                  <a:lnTo>
                    <a:pt x="1271" y="910"/>
                  </a:lnTo>
                  <a:lnTo>
                    <a:pt x="1271" y="910"/>
                  </a:lnTo>
                  <a:lnTo>
                    <a:pt x="1271" y="910"/>
                  </a:lnTo>
                  <a:lnTo>
                    <a:pt x="1271" y="913"/>
                  </a:lnTo>
                  <a:lnTo>
                    <a:pt x="1271" y="913"/>
                  </a:lnTo>
                  <a:lnTo>
                    <a:pt x="1271" y="915"/>
                  </a:lnTo>
                  <a:lnTo>
                    <a:pt x="1271" y="915"/>
                  </a:lnTo>
                  <a:lnTo>
                    <a:pt x="1273" y="915"/>
                  </a:lnTo>
                  <a:lnTo>
                    <a:pt x="1273" y="917"/>
                  </a:lnTo>
                  <a:lnTo>
                    <a:pt x="1273" y="920"/>
                  </a:lnTo>
                  <a:lnTo>
                    <a:pt x="1273" y="920"/>
                  </a:lnTo>
                  <a:lnTo>
                    <a:pt x="1273" y="920"/>
                  </a:lnTo>
                  <a:lnTo>
                    <a:pt x="1273" y="920"/>
                  </a:lnTo>
                  <a:lnTo>
                    <a:pt x="1273" y="917"/>
                  </a:lnTo>
                  <a:lnTo>
                    <a:pt x="1273" y="917"/>
                  </a:lnTo>
                  <a:lnTo>
                    <a:pt x="1271" y="917"/>
                  </a:lnTo>
                  <a:lnTo>
                    <a:pt x="1271" y="917"/>
                  </a:lnTo>
                  <a:lnTo>
                    <a:pt x="1271" y="920"/>
                  </a:lnTo>
                  <a:lnTo>
                    <a:pt x="1271" y="920"/>
                  </a:lnTo>
                  <a:lnTo>
                    <a:pt x="1271" y="920"/>
                  </a:lnTo>
                  <a:lnTo>
                    <a:pt x="1271" y="920"/>
                  </a:lnTo>
                  <a:lnTo>
                    <a:pt x="1271" y="920"/>
                  </a:lnTo>
                  <a:lnTo>
                    <a:pt x="1271" y="920"/>
                  </a:lnTo>
                  <a:lnTo>
                    <a:pt x="1271" y="922"/>
                  </a:lnTo>
                  <a:lnTo>
                    <a:pt x="1271" y="922"/>
                  </a:lnTo>
                  <a:lnTo>
                    <a:pt x="1271" y="925"/>
                  </a:lnTo>
                  <a:lnTo>
                    <a:pt x="1271" y="925"/>
                  </a:lnTo>
                  <a:lnTo>
                    <a:pt x="1271" y="925"/>
                  </a:lnTo>
                  <a:lnTo>
                    <a:pt x="1273" y="925"/>
                  </a:lnTo>
                  <a:lnTo>
                    <a:pt x="1271" y="925"/>
                  </a:lnTo>
                  <a:lnTo>
                    <a:pt x="1271" y="927"/>
                  </a:lnTo>
                  <a:lnTo>
                    <a:pt x="1271" y="927"/>
                  </a:lnTo>
                  <a:lnTo>
                    <a:pt x="1271" y="929"/>
                  </a:lnTo>
                  <a:lnTo>
                    <a:pt x="1273" y="932"/>
                  </a:lnTo>
                  <a:lnTo>
                    <a:pt x="1273" y="934"/>
                  </a:lnTo>
                  <a:lnTo>
                    <a:pt x="1273" y="934"/>
                  </a:lnTo>
                  <a:lnTo>
                    <a:pt x="1273" y="934"/>
                  </a:lnTo>
                  <a:lnTo>
                    <a:pt x="1273" y="936"/>
                  </a:lnTo>
                  <a:lnTo>
                    <a:pt x="1273" y="936"/>
                  </a:lnTo>
                  <a:lnTo>
                    <a:pt x="1273" y="936"/>
                  </a:lnTo>
                  <a:lnTo>
                    <a:pt x="1273" y="936"/>
                  </a:lnTo>
                  <a:lnTo>
                    <a:pt x="1273" y="936"/>
                  </a:lnTo>
                  <a:lnTo>
                    <a:pt x="1273" y="936"/>
                  </a:lnTo>
                  <a:lnTo>
                    <a:pt x="1273" y="939"/>
                  </a:lnTo>
                  <a:lnTo>
                    <a:pt x="1273" y="939"/>
                  </a:lnTo>
                  <a:lnTo>
                    <a:pt x="1273" y="939"/>
                  </a:lnTo>
                  <a:lnTo>
                    <a:pt x="1273" y="941"/>
                  </a:lnTo>
                  <a:lnTo>
                    <a:pt x="1273" y="941"/>
                  </a:lnTo>
                  <a:lnTo>
                    <a:pt x="1273" y="941"/>
                  </a:lnTo>
                  <a:lnTo>
                    <a:pt x="1273" y="941"/>
                  </a:lnTo>
                  <a:lnTo>
                    <a:pt x="1273" y="943"/>
                  </a:lnTo>
                  <a:lnTo>
                    <a:pt x="1273" y="943"/>
                  </a:lnTo>
                  <a:lnTo>
                    <a:pt x="1273" y="943"/>
                  </a:lnTo>
                  <a:lnTo>
                    <a:pt x="1276" y="943"/>
                  </a:lnTo>
                  <a:lnTo>
                    <a:pt x="1276" y="946"/>
                  </a:lnTo>
                  <a:lnTo>
                    <a:pt x="1273" y="946"/>
                  </a:lnTo>
                  <a:lnTo>
                    <a:pt x="1273" y="946"/>
                  </a:lnTo>
                  <a:lnTo>
                    <a:pt x="1273" y="948"/>
                  </a:lnTo>
                  <a:lnTo>
                    <a:pt x="1273" y="951"/>
                  </a:lnTo>
                  <a:lnTo>
                    <a:pt x="1276" y="951"/>
                  </a:lnTo>
                  <a:lnTo>
                    <a:pt x="1276" y="951"/>
                  </a:lnTo>
                  <a:lnTo>
                    <a:pt x="1276" y="951"/>
                  </a:lnTo>
                  <a:lnTo>
                    <a:pt x="1276" y="951"/>
                  </a:lnTo>
                  <a:lnTo>
                    <a:pt x="1276" y="953"/>
                  </a:lnTo>
                  <a:lnTo>
                    <a:pt x="1276" y="953"/>
                  </a:lnTo>
                  <a:lnTo>
                    <a:pt x="1276" y="953"/>
                  </a:lnTo>
                  <a:lnTo>
                    <a:pt x="1273" y="953"/>
                  </a:lnTo>
                  <a:lnTo>
                    <a:pt x="1273" y="953"/>
                  </a:lnTo>
                  <a:lnTo>
                    <a:pt x="1273" y="953"/>
                  </a:lnTo>
                  <a:lnTo>
                    <a:pt x="1273" y="955"/>
                  </a:lnTo>
                  <a:lnTo>
                    <a:pt x="1273" y="958"/>
                  </a:lnTo>
                  <a:lnTo>
                    <a:pt x="1273" y="958"/>
                  </a:lnTo>
                  <a:lnTo>
                    <a:pt x="1273" y="958"/>
                  </a:lnTo>
                  <a:lnTo>
                    <a:pt x="1273" y="960"/>
                  </a:lnTo>
                  <a:lnTo>
                    <a:pt x="1273" y="960"/>
                  </a:lnTo>
                  <a:lnTo>
                    <a:pt x="1273" y="960"/>
                  </a:lnTo>
                  <a:lnTo>
                    <a:pt x="1271" y="960"/>
                  </a:lnTo>
                  <a:lnTo>
                    <a:pt x="1271" y="962"/>
                  </a:lnTo>
                  <a:lnTo>
                    <a:pt x="1271" y="962"/>
                  </a:lnTo>
                  <a:lnTo>
                    <a:pt x="1273" y="962"/>
                  </a:lnTo>
                  <a:lnTo>
                    <a:pt x="1273" y="965"/>
                  </a:lnTo>
                  <a:lnTo>
                    <a:pt x="1273" y="965"/>
                  </a:lnTo>
                  <a:lnTo>
                    <a:pt x="1273" y="965"/>
                  </a:lnTo>
                  <a:lnTo>
                    <a:pt x="1273" y="967"/>
                  </a:lnTo>
                  <a:lnTo>
                    <a:pt x="1273" y="967"/>
                  </a:lnTo>
                  <a:lnTo>
                    <a:pt x="1273" y="967"/>
                  </a:lnTo>
                  <a:lnTo>
                    <a:pt x="1273" y="970"/>
                  </a:lnTo>
                  <a:lnTo>
                    <a:pt x="1273" y="972"/>
                  </a:lnTo>
                  <a:lnTo>
                    <a:pt x="1273" y="974"/>
                  </a:lnTo>
                  <a:lnTo>
                    <a:pt x="1273" y="977"/>
                  </a:lnTo>
                  <a:lnTo>
                    <a:pt x="1273" y="977"/>
                  </a:lnTo>
                  <a:lnTo>
                    <a:pt x="1273" y="979"/>
                  </a:lnTo>
                  <a:lnTo>
                    <a:pt x="1276" y="979"/>
                  </a:lnTo>
                  <a:lnTo>
                    <a:pt x="1276" y="979"/>
                  </a:lnTo>
                  <a:lnTo>
                    <a:pt x="1276" y="979"/>
                  </a:lnTo>
                  <a:lnTo>
                    <a:pt x="1276" y="979"/>
                  </a:lnTo>
                  <a:lnTo>
                    <a:pt x="1276" y="981"/>
                  </a:lnTo>
                  <a:lnTo>
                    <a:pt x="1278" y="981"/>
                  </a:lnTo>
                  <a:lnTo>
                    <a:pt x="1276" y="981"/>
                  </a:lnTo>
                  <a:lnTo>
                    <a:pt x="1276" y="981"/>
                  </a:lnTo>
                  <a:lnTo>
                    <a:pt x="1276" y="981"/>
                  </a:lnTo>
                  <a:lnTo>
                    <a:pt x="1276" y="984"/>
                  </a:lnTo>
                  <a:lnTo>
                    <a:pt x="1276" y="984"/>
                  </a:lnTo>
                  <a:lnTo>
                    <a:pt x="1276" y="984"/>
                  </a:lnTo>
                  <a:lnTo>
                    <a:pt x="1276" y="986"/>
                  </a:lnTo>
                  <a:lnTo>
                    <a:pt x="1278" y="986"/>
                  </a:lnTo>
                  <a:lnTo>
                    <a:pt x="1278" y="986"/>
                  </a:lnTo>
                  <a:lnTo>
                    <a:pt x="1278" y="986"/>
                  </a:lnTo>
                  <a:lnTo>
                    <a:pt x="1278" y="986"/>
                  </a:lnTo>
                  <a:lnTo>
                    <a:pt x="1278" y="988"/>
                  </a:lnTo>
                  <a:lnTo>
                    <a:pt x="1280" y="988"/>
                  </a:lnTo>
                  <a:lnTo>
                    <a:pt x="1280" y="988"/>
                  </a:lnTo>
                  <a:lnTo>
                    <a:pt x="1280" y="991"/>
                  </a:lnTo>
                  <a:lnTo>
                    <a:pt x="1283" y="991"/>
                  </a:lnTo>
                  <a:lnTo>
                    <a:pt x="1280" y="991"/>
                  </a:lnTo>
                  <a:lnTo>
                    <a:pt x="1280" y="991"/>
                  </a:lnTo>
                  <a:lnTo>
                    <a:pt x="1280" y="993"/>
                  </a:lnTo>
                  <a:lnTo>
                    <a:pt x="1280" y="993"/>
                  </a:lnTo>
                  <a:lnTo>
                    <a:pt x="1280" y="993"/>
                  </a:lnTo>
                  <a:lnTo>
                    <a:pt x="1280" y="993"/>
                  </a:lnTo>
                  <a:lnTo>
                    <a:pt x="1283" y="993"/>
                  </a:lnTo>
                  <a:lnTo>
                    <a:pt x="1283" y="993"/>
                  </a:lnTo>
                  <a:lnTo>
                    <a:pt x="1283" y="996"/>
                  </a:lnTo>
                  <a:lnTo>
                    <a:pt x="1283" y="996"/>
                  </a:lnTo>
                  <a:lnTo>
                    <a:pt x="1283" y="996"/>
                  </a:lnTo>
                  <a:lnTo>
                    <a:pt x="1283" y="996"/>
                  </a:lnTo>
                  <a:lnTo>
                    <a:pt x="1283" y="996"/>
                  </a:lnTo>
                  <a:lnTo>
                    <a:pt x="1285" y="996"/>
                  </a:lnTo>
                  <a:lnTo>
                    <a:pt x="1285" y="998"/>
                  </a:lnTo>
                  <a:lnTo>
                    <a:pt x="1285" y="1000"/>
                  </a:lnTo>
                  <a:lnTo>
                    <a:pt x="1285" y="1000"/>
                  </a:lnTo>
                  <a:lnTo>
                    <a:pt x="1285" y="1003"/>
                  </a:lnTo>
                  <a:lnTo>
                    <a:pt x="1285" y="1003"/>
                  </a:lnTo>
                  <a:lnTo>
                    <a:pt x="1285" y="1003"/>
                  </a:lnTo>
                  <a:lnTo>
                    <a:pt x="1285" y="1003"/>
                  </a:lnTo>
                  <a:lnTo>
                    <a:pt x="1285" y="1003"/>
                  </a:lnTo>
                  <a:lnTo>
                    <a:pt x="1285" y="1003"/>
                  </a:lnTo>
                  <a:lnTo>
                    <a:pt x="1285" y="1003"/>
                  </a:lnTo>
                  <a:lnTo>
                    <a:pt x="1285" y="1003"/>
                  </a:lnTo>
                  <a:lnTo>
                    <a:pt x="1285" y="1005"/>
                  </a:lnTo>
                  <a:lnTo>
                    <a:pt x="1285" y="1005"/>
                  </a:lnTo>
                  <a:lnTo>
                    <a:pt x="1285" y="1007"/>
                  </a:lnTo>
                  <a:lnTo>
                    <a:pt x="1285" y="1007"/>
                  </a:lnTo>
                  <a:lnTo>
                    <a:pt x="1285" y="1007"/>
                  </a:lnTo>
                  <a:lnTo>
                    <a:pt x="1285" y="1010"/>
                  </a:lnTo>
                  <a:lnTo>
                    <a:pt x="1285" y="1010"/>
                  </a:lnTo>
                  <a:lnTo>
                    <a:pt x="1285" y="1010"/>
                  </a:lnTo>
                  <a:lnTo>
                    <a:pt x="1285" y="1012"/>
                  </a:lnTo>
                  <a:lnTo>
                    <a:pt x="1285" y="1012"/>
                  </a:lnTo>
                  <a:lnTo>
                    <a:pt x="1285" y="1014"/>
                  </a:lnTo>
                  <a:lnTo>
                    <a:pt x="1285" y="1014"/>
                  </a:lnTo>
                  <a:lnTo>
                    <a:pt x="1285" y="1014"/>
                  </a:lnTo>
                  <a:lnTo>
                    <a:pt x="1285" y="1014"/>
                  </a:lnTo>
                  <a:lnTo>
                    <a:pt x="1285" y="1017"/>
                  </a:lnTo>
                  <a:lnTo>
                    <a:pt x="1285" y="1017"/>
                  </a:lnTo>
                  <a:lnTo>
                    <a:pt x="1285" y="1019"/>
                  </a:lnTo>
                  <a:lnTo>
                    <a:pt x="1285" y="1019"/>
                  </a:lnTo>
                  <a:lnTo>
                    <a:pt x="1285" y="1019"/>
                  </a:lnTo>
                  <a:lnTo>
                    <a:pt x="1285" y="1022"/>
                  </a:lnTo>
                  <a:lnTo>
                    <a:pt x="1285" y="1022"/>
                  </a:lnTo>
                  <a:lnTo>
                    <a:pt x="1285" y="1022"/>
                  </a:lnTo>
                  <a:lnTo>
                    <a:pt x="1287" y="1024"/>
                  </a:lnTo>
                  <a:lnTo>
                    <a:pt x="1287" y="1024"/>
                  </a:lnTo>
                  <a:lnTo>
                    <a:pt x="1287" y="1024"/>
                  </a:lnTo>
                  <a:lnTo>
                    <a:pt x="1287" y="1026"/>
                  </a:lnTo>
                  <a:lnTo>
                    <a:pt x="1295" y="1024"/>
                  </a:lnTo>
                  <a:lnTo>
                    <a:pt x="1295" y="1024"/>
                  </a:lnTo>
                  <a:lnTo>
                    <a:pt x="1287" y="1026"/>
                  </a:lnTo>
                  <a:lnTo>
                    <a:pt x="1287" y="1026"/>
                  </a:lnTo>
                  <a:lnTo>
                    <a:pt x="1287" y="1026"/>
                  </a:lnTo>
                  <a:lnTo>
                    <a:pt x="1285" y="1026"/>
                  </a:lnTo>
                  <a:lnTo>
                    <a:pt x="1285" y="1029"/>
                  </a:lnTo>
                  <a:lnTo>
                    <a:pt x="1285" y="1029"/>
                  </a:lnTo>
                  <a:lnTo>
                    <a:pt x="1287" y="1029"/>
                  </a:lnTo>
                  <a:lnTo>
                    <a:pt x="1287" y="1031"/>
                  </a:lnTo>
                  <a:lnTo>
                    <a:pt x="1287" y="1031"/>
                  </a:lnTo>
                  <a:lnTo>
                    <a:pt x="1285" y="1031"/>
                  </a:lnTo>
                  <a:lnTo>
                    <a:pt x="1287" y="1031"/>
                  </a:lnTo>
                  <a:lnTo>
                    <a:pt x="1287" y="1033"/>
                  </a:lnTo>
                  <a:lnTo>
                    <a:pt x="1287" y="1033"/>
                  </a:lnTo>
                  <a:lnTo>
                    <a:pt x="1285" y="1036"/>
                  </a:lnTo>
                  <a:lnTo>
                    <a:pt x="1285" y="1036"/>
                  </a:lnTo>
                  <a:lnTo>
                    <a:pt x="1287" y="1036"/>
                  </a:lnTo>
                  <a:lnTo>
                    <a:pt x="1287" y="1036"/>
                  </a:lnTo>
                  <a:lnTo>
                    <a:pt x="1287" y="1036"/>
                  </a:lnTo>
                  <a:lnTo>
                    <a:pt x="1287" y="1038"/>
                  </a:lnTo>
                  <a:lnTo>
                    <a:pt x="1287" y="1038"/>
                  </a:lnTo>
                  <a:lnTo>
                    <a:pt x="1287" y="1038"/>
                  </a:lnTo>
                  <a:lnTo>
                    <a:pt x="1297" y="1033"/>
                  </a:lnTo>
                  <a:lnTo>
                    <a:pt x="1299" y="1033"/>
                  </a:lnTo>
                  <a:lnTo>
                    <a:pt x="1299" y="1033"/>
                  </a:lnTo>
                  <a:lnTo>
                    <a:pt x="1299" y="1033"/>
                  </a:lnTo>
                  <a:lnTo>
                    <a:pt x="1299" y="1033"/>
                  </a:lnTo>
                  <a:lnTo>
                    <a:pt x="1306" y="1033"/>
                  </a:lnTo>
                  <a:lnTo>
                    <a:pt x="1306" y="1033"/>
                  </a:lnTo>
                  <a:lnTo>
                    <a:pt x="1309" y="1033"/>
                  </a:lnTo>
                  <a:lnTo>
                    <a:pt x="1311" y="1036"/>
                  </a:lnTo>
                  <a:lnTo>
                    <a:pt x="1311" y="1036"/>
                  </a:lnTo>
                  <a:lnTo>
                    <a:pt x="1311" y="1036"/>
                  </a:lnTo>
                  <a:lnTo>
                    <a:pt x="1311" y="1036"/>
                  </a:lnTo>
                  <a:lnTo>
                    <a:pt x="1311" y="1036"/>
                  </a:lnTo>
                  <a:lnTo>
                    <a:pt x="1311" y="1033"/>
                  </a:lnTo>
                  <a:lnTo>
                    <a:pt x="1311" y="1033"/>
                  </a:lnTo>
                  <a:lnTo>
                    <a:pt x="1313" y="1033"/>
                  </a:lnTo>
                  <a:lnTo>
                    <a:pt x="1311" y="1033"/>
                  </a:lnTo>
                  <a:lnTo>
                    <a:pt x="1313" y="1029"/>
                  </a:lnTo>
                  <a:lnTo>
                    <a:pt x="1311" y="1029"/>
                  </a:lnTo>
                  <a:lnTo>
                    <a:pt x="1311" y="1031"/>
                  </a:lnTo>
                  <a:lnTo>
                    <a:pt x="1311" y="1031"/>
                  </a:lnTo>
                  <a:lnTo>
                    <a:pt x="1311" y="1033"/>
                  </a:lnTo>
                  <a:lnTo>
                    <a:pt x="1309" y="1033"/>
                  </a:lnTo>
                  <a:lnTo>
                    <a:pt x="1309" y="1033"/>
                  </a:lnTo>
                  <a:lnTo>
                    <a:pt x="1309" y="1033"/>
                  </a:lnTo>
                  <a:lnTo>
                    <a:pt x="1309" y="1031"/>
                  </a:lnTo>
                  <a:lnTo>
                    <a:pt x="1311" y="1029"/>
                  </a:lnTo>
                  <a:lnTo>
                    <a:pt x="1311" y="1029"/>
                  </a:lnTo>
                  <a:lnTo>
                    <a:pt x="1311" y="1029"/>
                  </a:lnTo>
                  <a:lnTo>
                    <a:pt x="1311" y="1029"/>
                  </a:lnTo>
                  <a:lnTo>
                    <a:pt x="1311" y="1029"/>
                  </a:lnTo>
                  <a:lnTo>
                    <a:pt x="1311" y="1026"/>
                  </a:lnTo>
                  <a:lnTo>
                    <a:pt x="1311" y="1026"/>
                  </a:lnTo>
                  <a:lnTo>
                    <a:pt x="1311" y="1026"/>
                  </a:lnTo>
                  <a:lnTo>
                    <a:pt x="1311" y="1026"/>
                  </a:lnTo>
                  <a:lnTo>
                    <a:pt x="1311" y="1024"/>
                  </a:lnTo>
                  <a:lnTo>
                    <a:pt x="1311" y="1024"/>
                  </a:lnTo>
                  <a:lnTo>
                    <a:pt x="1311" y="1024"/>
                  </a:lnTo>
                  <a:lnTo>
                    <a:pt x="1313" y="1019"/>
                  </a:lnTo>
                  <a:lnTo>
                    <a:pt x="1313" y="1017"/>
                  </a:lnTo>
                  <a:lnTo>
                    <a:pt x="1313" y="1017"/>
                  </a:lnTo>
                  <a:lnTo>
                    <a:pt x="1313" y="1017"/>
                  </a:lnTo>
                  <a:lnTo>
                    <a:pt x="1316" y="1014"/>
                  </a:lnTo>
                  <a:lnTo>
                    <a:pt x="1316" y="1014"/>
                  </a:lnTo>
                  <a:lnTo>
                    <a:pt x="1316" y="1014"/>
                  </a:lnTo>
                  <a:lnTo>
                    <a:pt x="1316" y="1012"/>
                  </a:lnTo>
                  <a:lnTo>
                    <a:pt x="1316" y="1012"/>
                  </a:lnTo>
                  <a:lnTo>
                    <a:pt x="1318" y="1010"/>
                  </a:lnTo>
                  <a:lnTo>
                    <a:pt x="1318" y="1010"/>
                  </a:lnTo>
                  <a:lnTo>
                    <a:pt x="1318" y="1010"/>
                  </a:lnTo>
                  <a:lnTo>
                    <a:pt x="1321" y="1007"/>
                  </a:lnTo>
                  <a:lnTo>
                    <a:pt x="1321" y="1007"/>
                  </a:lnTo>
                  <a:lnTo>
                    <a:pt x="1321" y="1005"/>
                  </a:lnTo>
                  <a:lnTo>
                    <a:pt x="1321" y="1003"/>
                  </a:lnTo>
                  <a:lnTo>
                    <a:pt x="1321" y="1003"/>
                  </a:lnTo>
                  <a:lnTo>
                    <a:pt x="1323" y="1003"/>
                  </a:lnTo>
                  <a:lnTo>
                    <a:pt x="1323" y="1003"/>
                  </a:lnTo>
                  <a:lnTo>
                    <a:pt x="1323" y="1003"/>
                  </a:lnTo>
                  <a:lnTo>
                    <a:pt x="1323" y="1000"/>
                  </a:lnTo>
                  <a:lnTo>
                    <a:pt x="1323" y="1000"/>
                  </a:lnTo>
                  <a:lnTo>
                    <a:pt x="1323" y="1000"/>
                  </a:lnTo>
                  <a:lnTo>
                    <a:pt x="1323" y="1000"/>
                  </a:lnTo>
                  <a:lnTo>
                    <a:pt x="1323" y="996"/>
                  </a:lnTo>
                  <a:lnTo>
                    <a:pt x="1321" y="993"/>
                  </a:lnTo>
                  <a:lnTo>
                    <a:pt x="1318" y="991"/>
                  </a:lnTo>
                  <a:lnTo>
                    <a:pt x="1318" y="988"/>
                  </a:lnTo>
                  <a:lnTo>
                    <a:pt x="1316" y="988"/>
                  </a:lnTo>
                  <a:lnTo>
                    <a:pt x="1316" y="986"/>
                  </a:lnTo>
                  <a:lnTo>
                    <a:pt x="1313" y="986"/>
                  </a:lnTo>
                  <a:lnTo>
                    <a:pt x="1316" y="986"/>
                  </a:lnTo>
                  <a:lnTo>
                    <a:pt x="1316" y="984"/>
                  </a:lnTo>
                  <a:lnTo>
                    <a:pt x="1316" y="984"/>
                  </a:lnTo>
                  <a:lnTo>
                    <a:pt x="1316" y="981"/>
                  </a:lnTo>
                  <a:lnTo>
                    <a:pt x="1316" y="981"/>
                  </a:lnTo>
                  <a:lnTo>
                    <a:pt x="1316" y="981"/>
                  </a:lnTo>
                  <a:lnTo>
                    <a:pt x="1316" y="979"/>
                  </a:lnTo>
                  <a:lnTo>
                    <a:pt x="1316" y="979"/>
                  </a:lnTo>
                  <a:lnTo>
                    <a:pt x="1313" y="979"/>
                  </a:lnTo>
                  <a:lnTo>
                    <a:pt x="1313" y="981"/>
                  </a:lnTo>
                  <a:lnTo>
                    <a:pt x="1313" y="981"/>
                  </a:lnTo>
                  <a:lnTo>
                    <a:pt x="1313" y="981"/>
                  </a:lnTo>
                  <a:lnTo>
                    <a:pt x="1313" y="981"/>
                  </a:lnTo>
                  <a:lnTo>
                    <a:pt x="1313" y="981"/>
                  </a:lnTo>
                  <a:lnTo>
                    <a:pt x="1313" y="981"/>
                  </a:lnTo>
                  <a:lnTo>
                    <a:pt x="1313" y="981"/>
                  </a:lnTo>
                  <a:lnTo>
                    <a:pt x="1311" y="981"/>
                  </a:lnTo>
                  <a:lnTo>
                    <a:pt x="1306" y="981"/>
                  </a:lnTo>
                  <a:lnTo>
                    <a:pt x="1306" y="981"/>
                  </a:lnTo>
                  <a:lnTo>
                    <a:pt x="1304" y="981"/>
                  </a:lnTo>
                  <a:lnTo>
                    <a:pt x="1304" y="981"/>
                  </a:lnTo>
                  <a:lnTo>
                    <a:pt x="1304" y="981"/>
                  </a:lnTo>
                  <a:lnTo>
                    <a:pt x="1304" y="981"/>
                  </a:lnTo>
                  <a:lnTo>
                    <a:pt x="1304" y="981"/>
                  </a:lnTo>
                  <a:lnTo>
                    <a:pt x="1304" y="979"/>
                  </a:lnTo>
                  <a:lnTo>
                    <a:pt x="1304" y="979"/>
                  </a:lnTo>
                  <a:lnTo>
                    <a:pt x="1304" y="979"/>
                  </a:lnTo>
                  <a:lnTo>
                    <a:pt x="1304" y="977"/>
                  </a:lnTo>
                  <a:lnTo>
                    <a:pt x="1304" y="977"/>
                  </a:lnTo>
                  <a:lnTo>
                    <a:pt x="1306" y="979"/>
                  </a:lnTo>
                  <a:lnTo>
                    <a:pt x="1313" y="977"/>
                  </a:lnTo>
                  <a:lnTo>
                    <a:pt x="1318" y="977"/>
                  </a:lnTo>
                  <a:lnTo>
                    <a:pt x="1321" y="974"/>
                  </a:lnTo>
                  <a:lnTo>
                    <a:pt x="1323" y="974"/>
                  </a:lnTo>
                  <a:lnTo>
                    <a:pt x="1325" y="974"/>
                  </a:lnTo>
                  <a:lnTo>
                    <a:pt x="1325" y="974"/>
                  </a:lnTo>
                  <a:lnTo>
                    <a:pt x="1325" y="974"/>
                  </a:lnTo>
                  <a:lnTo>
                    <a:pt x="1325" y="974"/>
                  </a:lnTo>
                  <a:lnTo>
                    <a:pt x="1328" y="977"/>
                  </a:lnTo>
                  <a:lnTo>
                    <a:pt x="1328" y="977"/>
                  </a:lnTo>
                  <a:lnTo>
                    <a:pt x="1330" y="977"/>
                  </a:lnTo>
                  <a:lnTo>
                    <a:pt x="1330" y="977"/>
                  </a:lnTo>
                  <a:lnTo>
                    <a:pt x="1330" y="977"/>
                  </a:lnTo>
                  <a:lnTo>
                    <a:pt x="1340" y="979"/>
                  </a:lnTo>
                  <a:lnTo>
                    <a:pt x="1342" y="979"/>
                  </a:lnTo>
                  <a:lnTo>
                    <a:pt x="1344" y="979"/>
                  </a:lnTo>
                  <a:lnTo>
                    <a:pt x="1347" y="979"/>
                  </a:lnTo>
                  <a:lnTo>
                    <a:pt x="1351" y="979"/>
                  </a:lnTo>
                  <a:lnTo>
                    <a:pt x="1351" y="977"/>
                  </a:lnTo>
                  <a:lnTo>
                    <a:pt x="1354" y="977"/>
                  </a:lnTo>
                  <a:lnTo>
                    <a:pt x="1354" y="974"/>
                  </a:lnTo>
                  <a:lnTo>
                    <a:pt x="1354" y="972"/>
                  </a:lnTo>
                  <a:lnTo>
                    <a:pt x="1356" y="970"/>
                  </a:lnTo>
                  <a:lnTo>
                    <a:pt x="1356" y="967"/>
                  </a:lnTo>
                  <a:lnTo>
                    <a:pt x="1358" y="965"/>
                  </a:lnTo>
                  <a:lnTo>
                    <a:pt x="1358" y="962"/>
                  </a:lnTo>
                  <a:lnTo>
                    <a:pt x="1361" y="960"/>
                  </a:lnTo>
                  <a:lnTo>
                    <a:pt x="1361" y="958"/>
                  </a:lnTo>
                  <a:lnTo>
                    <a:pt x="1361" y="958"/>
                  </a:lnTo>
                  <a:lnTo>
                    <a:pt x="1361" y="958"/>
                  </a:lnTo>
                  <a:lnTo>
                    <a:pt x="1361" y="955"/>
                  </a:lnTo>
                  <a:lnTo>
                    <a:pt x="1361" y="955"/>
                  </a:lnTo>
                  <a:lnTo>
                    <a:pt x="1361" y="955"/>
                  </a:lnTo>
                  <a:lnTo>
                    <a:pt x="1361" y="953"/>
                  </a:lnTo>
                  <a:lnTo>
                    <a:pt x="1363" y="951"/>
                  </a:lnTo>
                  <a:lnTo>
                    <a:pt x="1363" y="951"/>
                  </a:lnTo>
                  <a:lnTo>
                    <a:pt x="1363" y="948"/>
                  </a:lnTo>
                  <a:lnTo>
                    <a:pt x="1363" y="948"/>
                  </a:lnTo>
                  <a:lnTo>
                    <a:pt x="1366" y="941"/>
                  </a:lnTo>
                  <a:lnTo>
                    <a:pt x="1366" y="941"/>
                  </a:lnTo>
                  <a:lnTo>
                    <a:pt x="1358" y="941"/>
                  </a:lnTo>
                  <a:lnTo>
                    <a:pt x="1361" y="939"/>
                  </a:lnTo>
                  <a:lnTo>
                    <a:pt x="1363" y="939"/>
                  </a:lnTo>
                  <a:lnTo>
                    <a:pt x="1366" y="939"/>
                  </a:lnTo>
                  <a:lnTo>
                    <a:pt x="1366" y="939"/>
                  </a:lnTo>
                  <a:lnTo>
                    <a:pt x="1366" y="939"/>
                  </a:lnTo>
                  <a:lnTo>
                    <a:pt x="1368" y="936"/>
                  </a:lnTo>
                  <a:lnTo>
                    <a:pt x="1368" y="936"/>
                  </a:lnTo>
                  <a:lnTo>
                    <a:pt x="1368" y="934"/>
                  </a:lnTo>
                  <a:lnTo>
                    <a:pt x="1368" y="932"/>
                  </a:lnTo>
                  <a:lnTo>
                    <a:pt x="1368" y="929"/>
                  </a:lnTo>
                  <a:lnTo>
                    <a:pt x="1370" y="929"/>
                  </a:lnTo>
                  <a:lnTo>
                    <a:pt x="1370" y="927"/>
                  </a:lnTo>
                  <a:lnTo>
                    <a:pt x="1370" y="927"/>
                  </a:lnTo>
                  <a:lnTo>
                    <a:pt x="1370" y="927"/>
                  </a:lnTo>
                  <a:lnTo>
                    <a:pt x="1370" y="925"/>
                  </a:lnTo>
                  <a:lnTo>
                    <a:pt x="1370" y="925"/>
                  </a:lnTo>
                  <a:lnTo>
                    <a:pt x="1370" y="925"/>
                  </a:lnTo>
                  <a:lnTo>
                    <a:pt x="1370" y="925"/>
                  </a:lnTo>
                  <a:lnTo>
                    <a:pt x="1370" y="925"/>
                  </a:lnTo>
                  <a:lnTo>
                    <a:pt x="1370" y="925"/>
                  </a:lnTo>
                  <a:lnTo>
                    <a:pt x="1370" y="925"/>
                  </a:lnTo>
                  <a:lnTo>
                    <a:pt x="1370" y="922"/>
                  </a:lnTo>
                  <a:lnTo>
                    <a:pt x="1373" y="920"/>
                  </a:lnTo>
                  <a:lnTo>
                    <a:pt x="1373" y="920"/>
                  </a:lnTo>
                  <a:lnTo>
                    <a:pt x="1373" y="917"/>
                  </a:lnTo>
                  <a:lnTo>
                    <a:pt x="1370" y="915"/>
                  </a:lnTo>
                  <a:lnTo>
                    <a:pt x="1373" y="915"/>
                  </a:lnTo>
                  <a:lnTo>
                    <a:pt x="1373" y="915"/>
                  </a:lnTo>
                  <a:lnTo>
                    <a:pt x="1373" y="915"/>
                  </a:lnTo>
                  <a:lnTo>
                    <a:pt x="1373" y="915"/>
                  </a:lnTo>
                  <a:lnTo>
                    <a:pt x="1375" y="915"/>
                  </a:lnTo>
                  <a:lnTo>
                    <a:pt x="1375" y="915"/>
                  </a:lnTo>
                  <a:lnTo>
                    <a:pt x="1377" y="908"/>
                  </a:lnTo>
                  <a:lnTo>
                    <a:pt x="1380" y="906"/>
                  </a:lnTo>
                  <a:lnTo>
                    <a:pt x="1380" y="903"/>
                  </a:lnTo>
                  <a:lnTo>
                    <a:pt x="1382" y="901"/>
                  </a:lnTo>
                  <a:lnTo>
                    <a:pt x="1382" y="899"/>
                  </a:lnTo>
                  <a:lnTo>
                    <a:pt x="1382" y="896"/>
                  </a:lnTo>
                  <a:lnTo>
                    <a:pt x="1382" y="894"/>
                  </a:lnTo>
                  <a:lnTo>
                    <a:pt x="1382" y="894"/>
                  </a:lnTo>
                  <a:lnTo>
                    <a:pt x="1382" y="891"/>
                  </a:lnTo>
                  <a:lnTo>
                    <a:pt x="1382" y="891"/>
                  </a:lnTo>
                  <a:lnTo>
                    <a:pt x="1382" y="891"/>
                  </a:lnTo>
                  <a:lnTo>
                    <a:pt x="1382" y="889"/>
                  </a:lnTo>
                  <a:close/>
                  <a:moveTo>
                    <a:pt x="1396" y="835"/>
                  </a:moveTo>
                  <a:lnTo>
                    <a:pt x="1399" y="835"/>
                  </a:lnTo>
                  <a:lnTo>
                    <a:pt x="1399" y="835"/>
                  </a:lnTo>
                  <a:lnTo>
                    <a:pt x="1399" y="832"/>
                  </a:lnTo>
                  <a:lnTo>
                    <a:pt x="1399" y="832"/>
                  </a:lnTo>
                  <a:lnTo>
                    <a:pt x="1399" y="832"/>
                  </a:lnTo>
                  <a:lnTo>
                    <a:pt x="1401" y="832"/>
                  </a:lnTo>
                  <a:lnTo>
                    <a:pt x="1401" y="832"/>
                  </a:lnTo>
                  <a:lnTo>
                    <a:pt x="1403" y="830"/>
                  </a:lnTo>
                  <a:lnTo>
                    <a:pt x="1403" y="830"/>
                  </a:lnTo>
                  <a:lnTo>
                    <a:pt x="1403" y="828"/>
                  </a:lnTo>
                  <a:lnTo>
                    <a:pt x="1403" y="825"/>
                  </a:lnTo>
                  <a:lnTo>
                    <a:pt x="1403" y="825"/>
                  </a:lnTo>
                  <a:lnTo>
                    <a:pt x="1403" y="823"/>
                  </a:lnTo>
                  <a:lnTo>
                    <a:pt x="1401" y="823"/>
                  </a:lnTo>
                  <a:lnTo>
                    <a:pt x="1399" y="820"/>
                  </a:lnTo>
                  <a:lnTo>
                    <a:pt x="1399" y="818"/>
                  </a:lnTo>
                  <a:lnTo>
                    <a:pt x="1399" y="818"/>
                  </a:lnTo>
                  <a:lnTo>
                    <a:pt x="1401" y="820"/>
                  </a:lnTo>
                  <a:lnTo>
                    <a:pt x="1403" y="820"/>
                  </a:lnTo>
                  <a:lnTo>
                    <a:pt x="1403" y="823"/>
                  </a:lnTo>
                  <a:lnTo>
                    <a:pt x="1403" y="820"/>
                  </a:lnTo>
                  <a:lnTo>
                    <a:pt x="1403" y="820"/>
                  </a:lnTo>
                  <a:lnTo>
                    <a:pt x="1403" y="816"/>
                  </a:lnTo>
                  <a:lnTo>
                    <a:pt x="1403" y="816"/>
                  </a:lnTo>
                  <a:lnTo>
                    <a:pt x="1403" y="816"/>
                  </a:lnTo>
                  <a:lnTo>
                    <a:pt x="1403" y="813"/>
                  </a:lnTo>
                  <a:lnTo>
                    <a:pt x="1401" y="813"/>
                  </a:lnTo>
                  <a:lnTo>
                    <a:pt x="1403" y="813"/>
                  </a:lnTo>
                  <a:lnTo>
                    <a:pt x="1403" y="813"/>
                  </a:lnTo>
                  <a:lnTo>
                    <a:pt x="1406" y="816"/>
                  </a:lnTo>
                  <a:lnTo>
                    <a:pt x="1406" y="816"/>
                  </a:lnTo>
                  <a:lnTo>
                    <a:pt x="1406" y="818"/>
                  </a:lnTo>
                  <a:lnTo>
                    <a:pt x="1406" y="818"/>
                  </a:lnTo>
                  <a:lnTo>
                    <a:pt x="1406" y="818"/>
                  </a:lnTo>
                  <a:lnTo>
                    <a:pt x="1406" y="820"/>
                  </a:lnTo>
                  <a:lnTo>
                    <a:pt x="1406" y="820"/>
                  </a:lnTo>
                  <a:lnTo>
                    <a:pt x="1406" y="820"/>
                  </a:lnTo>
                  <a:lnTo>
                    <a:pt x="1406" y="820"/>
                  </a:lnTo>
                  <a:lnTo>
                    <a:pt x="1406" y="820"/>
                  </a:lnTo>
                  <a:lnTo>
                    <a:pt x="1408" y="823"/>
                  </a:lnTo>
                  <a:lnTo>
                    <a:pt x="1408" y="823"/>
                  </a:lnTo>
                  <a:lnTo>
                    <a:pt x="1408" y="823"/>
                  </a:lnTo>
                  <a:lnTo>
                    <a:pt x="1408" y="825"/>
                  </a:lnTo>
                  <a:lnTo>
                    <a:pt x="1408" y="825"/>
                  </a:lnTo>
                  <a:lnTo>
                    <a:pt x="1408" y="825"/>
                  </a:lnTo>
                  <a:lnTo>
                    <a:pt x="1408" y="825"/>
                  </a:lnTo>
                  <a:lnTo>
                    <a:pt x="1408" y="825"/>
                  </a:lnTo>
                  <a:lnTo>
                    <a:pt x="1408" y="825"/>
                  </a:lnTo>
                  <a:lnTo>
                    <a:pt x="1408" y="825"/>
                  </a:lnTo>
                  <a:lnTo>
                    <a:pt x="1408" y="823"/>
                  </a:lnTo>
                  <a:lnTo>
                    <a:pt x="1411" y="820"/>
                  </a:lnTo>
                  <a:lnTo>
                    <a:pt x="1411" y="820"/>
                  </a:lnTo>
                  <a:lnTo>
                    <a:pt x="1411" y="818"/>
                  </a:lnTo>
                  <a:lnTo>
                    <a:pt x="1411" y="818"/>
                  </a:lnTo>
                  <a:lnTo>
                    <a:pt x="1411" y="816"/>
                  </a:lnTo>
                  <a:lnTo>
                    <a:pt x="1411" y="816"/>
                  </a:lnTo>
                  <a:lnTo>
                    <a:pt x="1411" y="816"/>
                  </a:lnTo>
                  <a:lnTo>
                    <a:pt x="1411" y="816"/>
                  </a:lnTo>
                  <a:lnTo>
                    <a:pt x="1411" y="813"/>
                  </a:lnTo>
                  <a:lnTo>
                    <a:pt x="1411" y="813"/>
                  </a:lnTo>
                  <a:lnTo>
                    <a:pt x="1411" y="813"/>
                  </a:lnTo>
                  <a:lnTo>
                    <a:pt x="1411" y="813"/>
                  </a:lnTo>
                  <a:lnTo>
                    <a:pt x="1411" y="813"/>
                  </a:lnTo>
                  <a:lnTo>
                    <a:pt x="1411" y="811"/>
                  </a:lnTo>
                  <a:lnTo>
                    <a:pt x="1411" y="811"/>
                  </a:lnTo>
                  <a:lnTo>
                    <a:pt x="1411" y="811"/>
                  </a:lnTo>
                  <a:lnTo>
                    <a:pt x="1413" y="811"/>
                  </a:lnTo>
                  <a:lnTo>
                    <a:pt x="1413" y="811"/>
                  </a:lnTo>
                  <a:lnTo>
                    <a:pt x="1413" y="811"/>
                  </a:lnTo>
                  <a:lnTo>
                    <a:pt x="1413" y="813"/>
                  </a:lnTo>
                  <a:lnTo>
                    <a:pt x="1413" y="811"/>
                  </a:lnTo>
                  <a:lnTo>
                    <a:pt x="1413" y="811"/>
                  </a:lnTo>
                  <a:lnTo>
                    <a:pt x="1413" y="811"/>
                  </a:lnTo>
                  <a:lnTo>
                    <a:pt x="1413" y="809"/>
                  </a:lnTo>
                  <a:lnTo>
                    <a:pt x="1413" y="806"/>
                  </a:lnTo>
                  <a:lnTo>
                    <a:pt x="1413" y="806"/>
                  </a:lnTo>
                  <a:lnTo>
                    <a:pt x="1413" y="806"/>
                  </a:lnTo>
                  <a:lnTo>
                    <a:pt x="1413" y="806"/>
                  </a:lnTo>
                  <a:lnTo>
                    <a:pt x="1415" y="811"/>
                  </a:lnTo>
                  <a:lnTo>
                    <a:pt x="1415" y="811"/>
                  </a:lnTo>
                  <a:lnTo>
                    <a:pt x="1415" y="811"/>
                  </a:lnTo>
                  <a:lnTo>
                    <a:pt x="1415" y="813"/>
                  </a:lnTo>
                  <a:lnTo>
                    <a:pt x="1415" y="813"/>
                  </a:lnTo>
                  <a:lnTo>
                    <a:pt x="1415" y="816"/>
                  </a:lnTo>
                  <a:lnTo>
                    <a:pt x="1415" y="816"/>
                  </a:lnTo>
                  <a:lnTo>
                    <a:pt x="1415" y="816"/>
                  </a:lnTo>
                  <a:lnTo>
                    <a:pt x="1415" y="816"/>
                  </a:lnTo>
                  <a:lnTo>
                    <a:pt x="1418" y="816"/>
                  </a:lnTo>
                  <a:lnTo>
                    <a:pt x="1420" y="816"/>
                  </a:lnTo>
                  <a:lnTo>
                    <a:pt x="1420" y="816"/>
                  </a:lnTo>
                  <a:lnTo>
                    <a:pt x="1415" y="816"/>
                  </a:lnTo>
                  <a:lnTo>
                    <a:pt x="1418" y="818"/>
                  </a:lnTo>
                  <a:lnTo>
                    <a:pt x="1418" y="818"/>
                  </a:lnTo>
                  <a:lnTo>
                    <a:pt x="1418" y="818"/>
                  </a:lnTo>
                  <a:lnTo>
                    <a:pt x="1418" y="818"/>
                  </a:lnTo>
                  <a:lnTo>
                    <a:pt x="1418" y="820"/>
                  </a:lnTo>
                  <a:lnTo>
                    <a:pt x="1418" y="820"/>
                  </a:lnTo>
                  <a:lnTo>
                    <a:pt x="1418" y="820"/>
                  </a:lnTo>
                  <a:lnTo>
                    <a:pt x="1418" y="820"/>
                  </a:lnTo>
                  <a:lnTo>
                    <a:pt x="1418" y="823"/>
                  </a:lnTo>
                  <a:lnTo>
                    <a:pt x="1418" y="823"/>
                  </a:lnTo>
                  <a:lnTo>
                    <a:pt x="1415" y="825"/>
                  </a:lnTo>
                  <a:lnTo>
                    <a:pt x="1415" y="828"/>
                  </a:lnTo>
                  <a:lnTo>
                    <a:pt x="1415" y="828"/>
                  </a:lnTo>
                  <a:lnTo>
                    <a:pt x="1415" y="828"/>
                  </a:lnTo>
                  <a:lnTo>
                    <a:pt x="1415" y="828"/>
                  </a:lnTo>
                  <a:lnTo>
                    <a:pt x="1415" y="832"/>
                  </a:lnTo>
                  <a:lnTo>
                    <a:pt x="1415" y="832"/>
                  </a:lnTo>
                  <a:lnTo>
                    <a:pt x="1415" y="832"/>
                  </a:lnTo>
                  <a:lnTo>
                    <a:pt x="1415" y="835"/>
                  </a:lnTo>
                  <a:lnTo>
                    <a:pt x="1415" y="837"/>
                  </a:lnTo>
                  <a:lnTo>
                    <a:pt x="1415" y="837"/>
                  </a:lnTo>
                  <a:lnTo>
                    <a:pt x="1418" y="837"/>
                  </a:lnTo>
                  <a:lnTo>
                    <a:pt x="1422" y="839"/>
                  </a:lnTo>
                  <a:lnTo>
                    <a:pt x="1422" y="837"/>
                  </a:lnTo>
                  <a:lnTo>
                    <a:pt x="1425" y="837"/>
                  </a:lnTo>
                  <a:lnTo>
                    <a:pt x="1425" y="837"/>
                  </a:lnTo>
                  <a:lnTo>
                    <a:pt x="1425" y="837"/>
                  </a:lnTo>
                  <a:lnTo>
                    <a:pt x="1425" y="837"/>
                  </a:lnTo>
                  <a:lnTo>
                    <a:pt x="1425" y="837"/>
                  </a:lnTo>
                  <a:lnTo>
                    <a:pt x="1427" y="839"/>
                  </a:lnTo>
                  <a:lnTo>
                    <a:pt x="1429" y="837"/>
                  </a:lnTo>
                  <a:lnTo>
                    <a:pt x="1432" y="837"/>
                  </a:lnTo>
                  <a:lnTo>
                    <a:pt x="1432" y="835"/>
                  </a:lnTo>
                  <a:lnTo>
                    <a:pt x="1432" y="835"/>
                  </a:lnTo>
                  <a:lnTo>
                    <a:pt x="1432" y="835"/>
                  </a:lnTo>
                  <a:lnTo>
                    <a:pt x="1432" y="837"/>
                  </a:lnTo>
                  <a:lnTo>
                    <a:pt x="1432" y="837"/>
                  </a:lnTo>
                  <a:lnTo>
                    <a:pt x="1434" y="837"/>
                  </a:lnTo>
                  <a:lnTo>
                    <a:pt x="1434" y="839"/>
                  </a:lnTo>
                  <a:lnTo>
                    <a:pt x="1434" y="839"/>
                  </a:lnTo>
                  <a:lnTo>
                    <a:pt x="1437" y="837"/>
                  </a:lnTo>
                  <a:lnTo>
                    <a:pt x="1437" y="837"/>
                  </a:lnTo>
                  <a:lnTo>
                    <a:pt x="1439" y="837"/>
                  </a:lnTo>
                  <a:lnTo>
                    <a:pt x="1439" y="837"/>
                  </a:lnTo>
                  <a:lnTo>
                    <a:pt x="1439" y="835"/>
                  </a:lnTo>
                  <a:lnTo>
                    <a:pt x="1439" y="835"/>
                  </a:lnTo>
                  <a:lnTo>
                    <a:pt x="1439" y="835"/>
                  </a:lnTo>
                  <a:lnTo>
                    <a:pt x="1439" y="832"/>
                  </a:lnTo>
                  <a:lnTo>
                    <a:pt x="1441" y="832"/>
                  </a:lnTo>
                  <a:lnTo>
                    <a:pt x="1441" y="832"/>
                  </a:lnTo>
                  <a:lnTo>
                    <a:pt x="1441" y="832"/>
                  </a:lnTo>
                  <a:lnTo>
                    <a:pt x="1441" y="832"/>
                  </a:lnTo>
                  <a:lnTo>
                    <a:pt x="1441" y="832"/>
                  </a:lnTo>
                  <a:lnTo>
                    <a:pt x="1441" y="837"/>
                  </a:lnTo>
                  <a:lnTo>
                    <a:pt x="1444" y="837"/>
                  </a:lnTo>
                  <a:lnTo>
                    <a:pt x="1446" y="837"/>
                  </a:lnTo>
                  <a:lnTo>
                    <a:pt x="1446" y="837"/>
                  </a:lnTo>
                  <a:lnTo>
                    <a:pt x="1446" y="837"/>
                  </a:lnTo>
                  <a:lnTo>
                    <a:pt x="1448" y="837"/>
                  </a:lnTo>
                  <a:lnTo>
                    <a:pt x="1448" y="835"/>
                  </a:lnTo>
                  <a:lnTo>
                    <a:pt x="1448" y="835"/>
                  </a:lnTo>
                  <a:lnTo>
                    <a:pt x="1448" y="835"/>
                  </a:lnTo>
                  <a:lnTo>
                    <a:pt x="1448" y="835"/>
                  </a:lnTo>
                  <a:lnTo>
                    <a:pt x="1448" y="835"/>
                  </a:lnTo>
                  <a:lnTo>
                    <a:pt x="1448" y="832"/>
                  </a:lnTo>
                  <a:lnTo>
                    <a:pt x="1448" y="832"/>
                  </a:lnTo>
                  <a:lnTo>
                    <a:pt x="1448" y="835"/>
                  </a:lnTo>
                  <a:lnTo>
                    <a:pt x="1448" y="835"/>
                  </a:lnTo>
                  <a:lnTo>
                    <a:pt x="1451" y="837"/>
                  </a:lnTo>
                  <a:lnTo>
                    <a:pt x="1451" y="837"/>
                  </a:lnTo>
                  <a:lnTo>
                    <a:pt x="1455" y="835"/>
                  </a:lnTo>
                  <a:lnTo>
                    <a:pt x="1455" y="835"/>
                  </a:lnTo>
                  <a:lnTo>
                    <a:pt x="1455" y="835"/>
                  </a:lnTo>
                  <a:lnTo>
                    <a:pt x="1453" y="832"/>
                  </a:lnTo>
                  <a:lnTo>
                    <a:pt x="1453" y="830"/>
                  </a:lnTo>
                  <a:lnTo>
                    <a:pt x="1451" y="830"/>
                  </a:lnTo>
                  <a:lnTo>
                    <a:pt x="1451" y="828"/>
                  </a:lnTo>
                  <a:lnTo>
                    <a:pt x="1451" y="825"/>
                  </a:lnTo>
                  <a:lnTo>
                    <a:pt x="1451" y="825"/>
                  </a:lnTo>
                  <a:lnTo>
                    <a:pt x="1451" y="825"/>
                  </a:lnTo>
                  <a:lnTo>
                    <a:pt x="1451" y="825"/>
                  </a:lnTo>
                  <a:lnTo>
                    <a:pt x="1451" y="825"/>
                  </a:lnTo>
                  <a:lnTo>
                    <a:pt x="1453" y="825"/>
                  </a:lnTo>
                  <a:lnTo>
                    <a:pt x="1453" y="825"/>
                  </a:lnTo>
                  <a:lnTo>
                    <a:pt x="1453" y="825"/>
                  </a:lnTo>
                  <a:lnTo>
                    <a:pt x="1453" y="828"/>
                  </a:lnTo>
                  <a:lnTo>
                    <a:pt x="1453" y="828"/>
                  </a:lnTo>
                  <a:lnTo>
                    <a:pt x="1453" y="828"/>
                  </a:lnTo>
                  <a:lnTo>
                    <a:pt x="1453" y="830"/>
                  </a:lnTo>
                  <a:lnTo>
                    <a:pt x="1455" y="830"/>
                  </a:lnTo>
                  <a:lnTo>
                    <a:pt x="1460" y="835"/>
                  </a:lnTo>
                  <a:lnTo>
                    <a:pt x="1460" y="835"/>
                  </a:lnTo>
                  <a:lnTo>
                    <a:pt x="1463" y="832"/>
                  </a:lnTo>
                  <a:lnTo>
                    <a:pt x="1463" y="832"/>
                  </a:lnTo>
                  <a:lnTo>
                    <a:pt x="1463" y="830"/>
                  </a:lnTo>
                  <a:lnTo>
                    <a:pt x="1463" y="828"/>
                  </a:lnTo>
                  <a:lnTo>
                    <a:pt x="1463" y="825"/>
                  </a:lnTo>
                  <a:lnTo>
                    <a:pt x="1463" y="825"/>
                  </a:lnTo>
                  <a:lnTo>
                    <a:pt x="1463" y="823"/>
                  </a:lnTo>
                  <a:lnTo>
                    <a:pt x="1463" y="823"/>
                  </a:lnTo>
                  <a:lnTo>
                    <a:pt x="1465" y="823"/>
                  </a:lnTo>
                  <a:lnTo>
                    <a:pt x="1465" y="823"/>
                  </a:lnTo>
                  <a:lnTo>
                    <a:pt x="1465" y="823"/>
                  </a:lnTo>
                  <a:lnTo>
                    <a:pt x="1465" y="825"/>
                  </a:lnTo>
                  <a:lnTo>
                    <a:pt x="1465" y="825"/>
                  </a:lnTo>
                  <a:lnTo>
                    <a:pt x="1465" y="825"/>
                  </a:lnTo>
                  <a:lnTo>
                    <a:pt x="1465" y="828"/>
                  </a:lnTo>
                  <a:lnTo>
                    <a:pt x="1467" y="828"/>
                  </a:lnTo>
                  <a:lnTo>
                    <a:pt x="1467" y="830"/>
                  </a:lnTo>
                  <a:lnTo>
                    <a:pt x="1467" y="832"/>
                  </a:lnTo>
                  <a:lnTo>
                    <a:pt x="1472" y="832"/>
                  </a:lnTo>
                  <a:lnTo>
                    <a:pt x="1477" y="830"/>
                  </a:lnTo>
                  <a:lnTo>
                    <a:pt x="1477" y="830"/>
                  </a:lnTo>
                  <a:lnTo>
                    <a:pt x="1479" y="830"/>
                  </a:lnTo>
                  <a:lnTo>
                    <a:pt x="1479" y="828"/>
                  </a:lnTo>
                  <a:lnTo>
                    <a:pt x="1479" y="828"/>
                  </a:lnTo>
                  <a:lnTo>
                    <a:pt x="1479" y="825"/>
                  </a:lnTo>
                  <a:lnTo>
                    <a:pt x="1477" y="823"/>
                  </a:lnTo>
                  <a:lnTo>
                    <a:pt x="1477" y="820"/>
                  </a:lnTo>
                  <a:lnTo>
                    <a:pt x="1477" y="820"/>
                  </a:lnTo>
                  <a:lnTo>
                    <a:pt x="1477" y="818"/>
                  </a:lnTo>
                  <a:lnTo>
                    <a:pt x="1477" y="818"/>
                  </a:lnTo>
                  <a:lnTo>
                    <a:pt x="1477" y="818"/>
                  </a:lnTo>
                  <a:lnTo>
                    <a:pt x="1477" y="818"/>
                  </a:lnTo>
                  <a:lnTo>
                    <a:pt x="1477" y="818"/>
                  </a:lnTo>
                  <a:lnTo>
                    <a:pt x="1477" y="818"/>
                  </a:lnTo>
                  <a:lnTo>
                    <a:pt x="1477" y="816"/>
                  </a:lnTo>
                  <a:lnTo>
                    <a:pt x="1477" y="816"/>
                  </a:lnTo>
                  <a:lnTo>
                    <a:pt x="1477" y="816"/>
                  </a:lnTo>
                  <a:lnTo>
                    <a:pt x="1477" y="816"/>
                  </a:lnTo>
                  <a:lnTo>
                    <a:pt x="1477" y="816"/>
                  </a:lnTo>
                  <a:lnTo>
                    <a:pt x="1479" y="818"/>
                  </a:lnTo>
                  <a:lnTo>
                    <a:pt x="1479" y="823"/>
                  </a:lnTo>
                  <a:lnTo>
                    <a:pt x="1479" y="823"/>
                  </a:lnTo>
                  <a:lnTo>
                    <a:pt x="1481" y="825"/>
                  </a:lnTo>
                  <a:lnTo>
                    <a:pt x="1481" y="825"/>
                  </a:lnTo>
                  <a:lnTo>
                    <a:pt x="1481" y="828"/>
                  </a:lnTo>
                  <a:lnTo>
                    <a:pt x="1481" y="828"/>
                  </a:lnTo>
                  <a:lnTo>
                    <a:pt x="1481" y="828"/>
                  </a:lnTo>
                  <a:lnTo>
                    <a:pt x="1481" y="830"/>
                  </a:lnTo>
                  <a:lnTo>
                    <a:pt x="1481" y="830"/>
                  </a:lnTo>
                  <a:lnTo>
                    <a:pt x="1486" y="830"/>
                  </a:lnTo>
                  <a:lnTo>
                    <a:pt x="1486" y="830"/>
                  </a:lnTo>
                  <a:lnTo>
                    <a:pt x="1489" y="828"/>
                  </a:lnTo>
                  <a:lnTo>
                    <a:pt x="1489" y="825"/>
                  </a:lnTo>
                  <a:lnTo>
                    <a:pt x="1489" y="825"/>
                  </a:lnTo>
                  <a:lnTo>
                    <a:pt x="1489" y="825"/>
                  </a:lnTo>
                  <a:lnTo>
                    <a:pt x="1489" y="825"/>
                  </a:lnTo>
                  <a:lnTo>
                    <a:pt x="1489" y="823"/>
                  </a:lnTo>
                  <a:lnTo>
                    <a:pt x="1489" y="823"/>
                  </a:lnTo>
                  <a:lnTo>
                    <a:pt x="1489" y="823"/>
                  </a:lnTo>
                  <a:lnTo>
                    <a:pt x="1486" y="823"/>
                  </a:lnTo>
                  <a:lnTo>
                    <a:pt x="1486" y="823"/>
                  </a:lnTo>
                  <a:lnTo>
                    <a:pt x="1486" y="820"/>
                  </a:lnTo>
                  <a:lnTo>
                    <a:pt x="1486" y="820"/>
                  </a:lnTo>
                  <a:lnTo>
                    <a:pt x="1486" y="818"/>
                  </a:lnTo>
                  <a:lnTo>
                    <a:pt x="1486" y="818"/>
                  </a:lnTo>
                  <a:lnTo>
                    <a:pt x="1486" y="816"/>
                  </a:lnTo>
                  <a:lnTo>
                    <a:pt x="1486" y="816"/>
                  </a:lnTo>
                  <a:lnTo>
                    <a:pt x="1489" y="816"/>
                  </a:lnTo>
                  <a:lnTo>
                    <a:pt x="1486" y="813"/>
                  </a:lnTo>
                  <a:lnTo>
                    <a:pt x="1489" y="813"/>
                  </a:lnTo>
                  <a:lnTo>
                    <a:pt x="1489" y="816"/>
                  </a:lnTo>
                  <a:lnTo>
                    <a:pt x="1489" y="816"/>
                  </a:lnTo>
                  <a:lnTo>
                    <a:pt x="1489" y="818"/>
                  </a:lnTo>
                  <a:lnTo>
                    <a:pt x="1489" y="820"/>
                  </a:lnTo>
                  <a:lnTo>
                    <a:pt x="1489" y="820"/>
                  </a:lnTo>
                  <a:lnTo>
                    <a:pt x="1489" y="820"/>
                  </a:lnTo>
                  <a:lnTo>
                    <a:pt x="1489" y="823"/>
                  </a:lnTo>
                  <a:lnTo>
                    <a:pt x="1489" y="823"/>
                  </a:lnTo>
                  <a:lnTo>
                    <a:pt x="1489" y="823"/>
                  </a:lnTo>
                  <a:lnTo>
                    <a:pt x="1489" y="823"/>
                  </a:lnTo>
                  <a:lnTo>
                    <a:pt x="1491" y="825"/>
                  </a:lnTo>
                  <a:lnTo>
                    <a:pt x="1491" y="825"/>
                  </a:lnTo>
                  <a:lnTo>
                    <a:pt x="1491" y="828"/>
                  </a:lnTo>
                  <a:lnTo>
                    <a:pt x="1491" y="828"/>
                  </a:lnTo>
                  <a:lnTo>
                    <a:pt x="1491" y="828"/>
                  </a:lnTo>
                  <a:lnTo>
                    <a:pt x="1493" y="828"/>
                  </a:lnTo>
                  <a:lnTo>
                    <a:pt x="1493" y="825"/>
                  </a:lnTo>
                  <a:lnTo>
                    <a:pt x="1496" y="825"/>
                  </a:lnTo>
                  <a:lnTo>
                    <a:pt x="1496" y="825"/>
                  </a:lnTo>
                  <a:lnTo>
                    <a:pt x="1496" y="828"/>
                  </a:lnTo>
                  <a:lnTo>
                    <a:pt x="1496" y="828"/>
                  </a:lnTo>
                  <a:lnTo>
                    <a:pt x="1498" y="828"/>
                  </a:lnTo>
                  <a:lnTo>
                    <a:pt x="1500" y="828"/>
                  </a:lnTo>
                  <a:lnTo>
                    <a:pt x="1505" y="825"/>
                  </a:lnTo>
                  <a:lnTo>
                    <a:pt x="1508" y="825"/>
                  </a:lnTo>
                  <a:lnTo>
                    <a:pt x="1508" y="823"/>
                  </a:lnTo>
                  <a:lnTo>
                    <a:pt x="1517" y="820"/>
                  </a:lnTo>
                  <a:lnTo>
                    <a:pt x="1517" y="820"/>
                  </a:lnTo>
                  <a:lnTo>
                    <a:pt x="1517" y="820"/>
                  </a:lnTo>
                  <a:lnTo>
                    <a:pt x="1517" y="820"/>
                  </a:lnTo>
                  <a:lnTo>
                    <a:pt x="1519" y="820"/>
                  </a:lnTo>
                  <a:lnTo>
                    <a:pt x="1519" y="818"/>
                  </a:lnTo>
                  <a:lnTo>
                    <a:pt x="1519" y="818"/>
                  </a:lnTo>
                  <a:lnTo>
                    <a:pt x="1519" y="818"/>
                  </a:lnTo>
                  <a:lnTo>
                    <a:pt x="1519" y="816"/>
                  </a:lnTo>
                  <a:lnTo>
                    <a:pt x="1519" y="813"/>
                  </a:lnTo>
                  <a:lnTo>
                    <a:pt x="1519" y="811"/>
                  </a:lnTo>
                  <a:lnTo>
                    <a:pt x="1519" y="811"/>
                  </a:lnTo>
                  <a:lnTo>
                    <a:pt x="1519" y="811"/>
                  </a:lnTo>
                  <a:lnTo>
                    <a:pt x="1519" y="811"/>
                  </a:lnTo>
                  <a:lnTo>
                    <a:pt x="1519" y="809"/>
                  </a:lnTo>
                  <a:lnTo>
                    <a:pt x="1519" y="809"/>
                  </a:lnTo>
                  <a:lnTo>
                    <a:pt x="1522" y="804"/>
                  </a:lnTo>
                  <a:lnTo>
                    <a:pt x="1522" y="804"/>
                  </a:lnTo>
                  <a:lnTo>
                    <a:pt x="1519" y="802"/>
                  </a:lnTo>
                  <a:lnTo>
                    <a:pt x="1519" y="802"/>
                  </a:lnTo>
                  <a:lnTo>
                    <a:pt x="1519" y="802"/>
                  </a:lnTo>
                  <a:lnTo>
                    <a:pt x="1517" y="799"/>
                  </a:lnTo>
                  <a:lnTo>
                    <a:pt x="1517" y="799"/>
                  </a:lnTo>
                  <a:lnTo>
                    <a:pt x="1515" y="797"/>
                  </a:lnTo>
                  <a:lnTo>
                    <a:pt x="1515" y="794"/>
                  </a:lnTo>
                  <a:lnTo>
                    <a:pt x="1515" y="794"/>
                  </a:lnTo>
                  <a:lnTo>
                    <a:pt x="1515" y="794"/>
                  </a:lnTo>
                  <a:lnTo>
                    <a:pt x="1515" y="794"/>
                  </a:lnTo>
                  <a:lnTo>
                    <a:pt x="1515" y="792"/>
                  </a:lnTo>
                  <a:lnTo>
                    <a:pt x="1517" y="794"/>
                  </a:lnTo>
                  <a:lnTo>
                    <a:pt x="1519" y="797"/>
                  </a:lnTo>
                  <a:lnTo>
                    <a:pt x="1522" y="799"/>
                  </a:lnTo>
                  <a:lnTo>
                    <a:pt x="1524" y="797"/>
                  </a:lnTo>
                  <a:lnTo>
                    <a:pt x="1524" y="797"/>
                  </a:lnTo>
                  <a:lnTo>
                    <a:pt x="1524" y="799"/>
                  </a:lnTo>
                  <a:lnTo>
                    <a:pt x="1526" y="802"/>
                  </a:lnTo>
                  <a:lnTo>
                    <a:pt x="1526" y="802"/>
                  </a:lnTo>
                  <a:lnTo>
                    <a:pt x="1526" y="802"/>
                  </a:lnTo>
                  <a:lnTo>
                    <a:pt x="1526" y="802"/>
                  </a:lnTo>
                  <a:lnTo>
                    <a:pt x="1526" y="804"/>
                  </a:lnTo>
                  <a:lnTo>
                    <a:pt x="1526" y="804"/>
                  </a:lnTo>
                  <a:lnTo>
                    <a:pt x="1526" y="804"/>
                  </a:lnTo>
                  <a:lnTo>
                    <a:pt x="1526" y="806"/>
                  </a:lnTo>
                  <a:lnTo>
                    <a:pt x="1526" y="806"/>
                  </a:lnTo>
                  <a:lnTo>
                    <a:pt x="1526" y="811"/>
                  </a:lnTo>
                  <a:lnTo>
                    <a:pt x="1526" y="813"/>
                  </a:lnTo>
                  <a:lnTo>
                    <a:pt x="1531" y="818"/>
                  </a:lnTo>
                  <a:lnTo>
                    <a:pt x="1531" y="818"/>
                  </a:lnTo>
                  <a:lnTo>
                    <a:pt x="1536" y="820"/>
                  </a:lnTo>
                  <a:lnTo>
                    <a:pt x="1536" y="820"/>
                  </a:lnTo>
                  <a:lnTo>
                    <a:pt x="1536" y="820"/>
                  </a:lnTo>
                  <a:lnTo>
                    <a:pt x="1538" y="820"/>
                  </a:lnTo>
                  <a:lnTo>
                    <a:pt x="1538" y="820"/>
                  </a:lnTo>
                  <a:lnTo>
                    <a:pt x="1538" y="820"/>
                  </a:lnTo>
                  <a:lnTo>
                    <a:pt x="1541" y="818"/>
                  </a:lnTo>
                  <a:lnTo>
                    <a:pt x="1541" y="818"/>
                  </a:lnTo>
                  <a:lnTo>
                    <a:pt x="1541" y="818"/>
                  </a:lnTo>
                  <a:lnTo>
                    <a:pt x="1541" y="818"/>
                  </a:lnTo>
                  <a:lnTo>
                    <a:pt x="1541" y="816"/>
                  </a:lnTo>
                  <a:lnTo>
                    <a:pt x="1541" y="816"/>
                  </a:lnTo>
                  <a:lnTo>
                    <a:pt x="1541" y="816"/>
                  </a:lnTo>
                  <a:lnTo>
                    <a:pt x="1541" y="816"/>
                  </a:lnTo>
                  <a:lnTo>
                    <a:pt x="1543" y="816"/>
                  </a:lnTo>
                  <a:lnTo>
                    <a:pt x="1543" y="818"/>
                  </a:lnTo>
                  <a:lnTo>
                    <a:pt x="1543" y="818"/>
                  </a:lnTo>
                  <a:lnTo>
                    <a:pt x="1543" y="818"/>
                  </a:lnTo>
                  <a:lnTo>
                    <a:pt x="1543" y="820"/>
                  </a:lnTo>
                  <a:lnTo>
                    <a:pt x="1543" y="820"/>
                  </a:lnTo>
                  <a:lnTo>
                    <a:pt x="1545" y="820"/>
                  </a:lnTo>
                  <a:lnTo>
                    <a:pt x="1548" y="820"/>
                  </a:lnTo>
                  <a:lnTo>
                    <a:pt x="1550" y="820"/>
                  </a:lnTo>
                  <a:lnTo>
                    <a:pt x="1552" y="820"/>
                  </a:lnTo>
                  <a:lnTo>
                    <a:pt x="1555" y="823"/>
                  </a:lnTo>
                  <a:lnTo>
                    <a:pt x="1555" y="823"/>
                  </a:lnTo>
                  <a:lnTo>
                    <a:pt x="1555" y="823"/>
                  </a:lnTo>
                  <a:lnTo>
                    <a:pt x="1557" y="820"/>
                  </a:lnTo>
                  <a:lnTo>
                    <a:pt x="1560" y="818"/>
                  </a:lnTo>
                  <a:lnTo>
                    <a:pt x="1560" y="818"/>
                  </a:lnTo>
                  <a:lnTo>
                    <a:pt x="1562" y="816"/>
                  </a:lnTo>
                  <a:lnTo>
                    <a:pt x="1562" y="816"/>
                  </a:lnTo>
                  <a:lnTo>
                    <a:pt x="1564" y="813"/>
                  </a:lnTo>
                  <a:lnTo>
                    <a:pt x="1569" y="811"/>
                  </a:lnTo>
                  <a:lnTo>
                    <a:pt x="1574" y="811"/>
                  </a:lnTo>
                  <a:lnTo>
                    <a:pt x="1581" y="809"/>
                  </a:lnTo>
                  <a:lnTo>
                    <a:pt x="1581" y="809"/>
                  </a:lnTo>
                  <a:lnTo>
                    <a:pt x="1581" y="809"/>
                  </a:lnTo>
                  <a:lnTo>
                    <a:pt x="1581" y="809"/>
                  </a:lnTo>
                  <a:lnTo>
                    <a:pt x="1583" y="806"/>
                  </a:lnTo>
                  <a:lnTo>
                    <a:pt x="1586" y="806"/>
                  </a:lnTo>
                  <a:lnTo>
                    <a:pt x="1586" y="806"/>
                  </a:lnTo>
                  <a:lnTo>
                    <a:pt x="1586" y="806"/>
                  </a:lnTo>
                  <a:lnTo>
                    <a:pt x="1586" y="804"/>
                  </a:lnTo>
                  <a:lnTo>
                    <a:pt x="1588" y="804"/>
                  </a:lnTo>
                  <a:lnTo>
                    <a:pt x="1588" y="802"/>
                  </a:lnTo>
                  <a:lnTo>
                    <a:pt x="1586" y="802"/>
                  </a:lnTo>
                  <a:lnTo>
                    <a:pt x="1586" y="802"/>
                  </a:lnTo>
                  <a:lnTo>
                    <a:pt x="1586" y="802"/>
                  </a:lnTo>
                  <a:lnTo>
                    <a:pt x="1586" y="802"/>
                  </a:lnTo>
                  <a:lnTo>
                    <a:pt x="1586" y="799"/>
                  </a:lnTo>
                  <a:lnTo>
                    <a:pt x="1586" y="799"/>
                  </a:lnTo>
                  <a:lnTo>
                    <a:pt x="1586" y="797"/>
                  </a:lnTo>
                  <a:lnTo>
                    <a:pt x="1586" y="797"/>
                  </a:lnTo>
                  <a:lnTo>
                    <a:pt x="1586" y="797"/>
                  </a:lnTo>
                  <a:lnTo>
                    <a:pt x="1586" y="794"/>
                  </a:lnTo>
                  <a:lnTo>
                    <a:pt x="1583" y="794"/>
                  </a:lnTo>
                  <a:lnTo>
                    <a:pt x="1583" y="792"/>
                  </a:lnTo>
                  <a:lnTo>
                    <a:pt x="1586" y="792"/>
                  </a:lnTo>
                  <a:lnTo>
                    <a:pt x="1586" y="790"/>
                  </a:lnTo>
                  <a:lnTo>
                    <a:pt x="1586" y="790"/>
                  </a:lnTo>
                  <a:lnTo>
                    <a:pt x="1586" y="790"/>
                  </a:lnTo>
                  <a:lnTo>
                    <a:pt x="1586" y="790"/>
                  </a:lnTo>
                  <a:lnTo>
                    <a:pt x="1586" y="787"/>
                  </a:lnTo>
                  <a:lnTo>
                    <a:pt x="1586" y="787"/>
                  </a:lnTo>
                  <a:lnTo>
                    <a:pt x="1586" y="787"/>
                  </a:lnTo>
                  <a:lnTo>
                    <a:pt x="1586" y="787"/>
                  </a:lnTo>
                  <a:lnTo>
                    <a:pt x="1581" y="785"/>
                  </a:lnTo>
                  <a:lnTo>
                    <a:pt x="1579" y="785"/>
                  </a:lnTo>
                  <a:lnTo>
                    <a:pt x="1579" y="783"/>
                  </a:lnTo>
                  <a:lnTo>
                    <a:pt x="1579" y="783"/>
                  </a:lnTo>
                  <a:lnTo>
                    <a:pt x="1579" y="780"/>
                  </a:lnTo>
                  <a:lnTo>
                    <a:pt x="1581" y="780"/>
                  </a:lnTo>
                  <a:lnTo>
                    <a:pt x="1581" y="780"/>
                  </a:lnTo>
                  <a:lnTo>
                    <a:pt x="1581" y="783"/>
                  </a:lnTo>
                  <a:lnTo>
                    <a:pt x="1581" y="783"/>
                  </a:lnTo>
                  <a:lnTo>
                    <a:pt x="1581" y="785"/>
                  </a:lnTo>
                  <a:lnTo>
                    <a:pt x="1581" y="785"/>
                  </a:lnTo>
                  <a:lnTo>
                    <a:pt x="1583" y="783"/>
                  </a:lnTo>
                  <a:lnTo>
                    <a:pt x="1583" y="780"/>
                  </a:lnTo>
                  <a:lnTo>
                    <a:pt x="1581" y="780"/>
                  </a:lnTo>
                  <a:lnTo>
                    <a:pt x="1581" y="778"/>
                  </a:lnTo>
                  <a:lnTo>
                    <a:pt x="1583" y="780"/>
                  </a:lnTo>
                  <a:lnTo>
                    <a:pt x="1583" y="780"/>
                  </a:lnTo>
                  <a:lnTo>
                    <a:pt x="1583" y="783"/>
                  </a:lnTo>
                  <a:lnTo>
                    <a:pt x="1583" y="783"/>
                  </a:lnTo>
                  <a:lnTo>
                    <a:pt x="1583" y="785"/>
                  </a:lnTo>
                  <a:lnTo>
                    <a:pt x="1583" y="785"/>
                  </a:lnTo>
                  <a:lnTo>
                    <a:pt x="1583" y="785"/>
                  </a:lnTo>
                  <a:lnTo>
                    <a:pt x="1583" y="785"/>
                  </a:lnTo>
                  <a:lnTo>
                    <a:pt x="1588" y="787"/>
                  </a:lnTo>
                  <a:lnTo>
                    <a:pt x="1590" y="787"/>
                  </a:lnTo>
                  <a:lnTo>
                    <a:pt x="1590" y="787"/>
                  </a:lnTo>
                  <a:lnTo>
                    <a:pt x="1590" y="785"/>
                  </a:lnTo>
                  <a:lnTo>
                    <a:pt x="1600" y="780"/>
                  </a:lnTo>
                  <a:lnTo>
                    <a:pt x="1600" y="780"/>
                  </a:lnTo>
                  <a:lnTo>
                    <a:pt x="1600" y="778"/>
                  </a:lnTo>
                  <a:lnTo>
                    <a:pt x="1597" y="778"/>
                  </a:lnTo>
                  <a:lnTo>
                    <a:pt x="1595" y="776"/>
                  </a:lnTo>
                  <a:lnTo>
                    <a:pt x="1595" y="773"/>
                  </a:lnTo>
                  <a:lnTo>
                    <a:pt x="1595" y="773"/>
                  </a:lnTo>
                  <a:lnTo>
                    <a:pt x="1595" y="773"/>
                  </a:lnTo>
                  <a:lnTo>
                    <a:pt x="1595" y="773"/>
                  </a:lnTo>
                  <a:lnTo>
                    <a:pt x="1595" y="773"/>
                  </a:lnTo>
                  <a:lnTo>
                    <a:pt x="1593" y="771"/>
                  </a:lnTo>
                  <a:lnTo>
                    <a:pt x="1593" y="771"/>
                  </a:lnTo>
                  <a:lnTo>
                    <a:pt x="1590" y="771"/>
                  </a:lnTo>
                  <a:lnTo>
                    <a:pt x="1588" y="771"/>
                  </a:lnTo>
                  <a:lnTo>
                    <a:pt x="1586" y="776"/>
                  </a:lnTo>
                  <a:lnTo>
                    <a:pt x="1586" y="776"/>
                  </a:lnTo>
                  <a:lnTo>
                    <a:pt x="1586" y="776"/>
                  </a:lnTo>
                  <a:lnTo>
                    <a:pt x="1586" y="778"/>
                  </a:lnTo>
                  <a:lnTo>
                    <a:pt x="1583" y="778"/>
                  </a:lnTo>
                  <a:lnTo>
                    <a:pt x="1583" y="776"/>
                  </a:lnTo>
                  <a:lnTo>
                    <a:pt x="1583" y="776"/>
                  </a:lnTo>
                  <a:lnTo>
                    <a:pt x="1583" y="776"/>
                  </a:lnTo>
                  <a:lnTo>
                    <a:pt x="1581" y="778"/>
                  </a:lnTo>
                  <a:lnTo>
                    <a:pt x="1581" y="778"/>
                  </a:lnTo>
                  <a:lnTo>
                    <a:pt x="1581" y="778"/>
                  </a:lnTo>
                  <a:lnTo>
                    <a:pt x="1581" y="778"/>
                  </a:lnTo>
                  <a:lnTo>
                    <a:pt x="1581" y="776"/>
                  </a:lnTo>
                  <a:lnTo>
                    <a:pt x="1581" y="776"/>
                  </a:lnTo>
                  <a:lnTo>
                    <a:pt x="1581" y="776"/>
                  </a:lnTo>
                  <a:lnTo>
                    <a:pt x="1579" y="776"/>
                  </a:lnTo>
                  <a:lnTo>
                    <a:pt x="1579" y="776"/>
                  </a:lnTo>
                  <a:lnTo>
                    <a:pt x="1579" y="773"/>
                  </a:lnTo>
                  <a:lnTo>
                    <a:pt x="1576" y="773"/>
                  </a:lnTo>
                  <a:lnTo>
                    <a:pt x="1579" y="773"/>
                  </a:lnTo>
                  <a:lnTo>
                    <a:pt x="1579" y="771"/>
                  </a:lnTo>
                  <a:lnTo>
                    <a:pt x="1579" y="771"/>
                  </a:lnTo>
                  <a:lnTo>
                    <a:pt x="1583" y="766"/>
                  </a:lnTo>
                  <a:lnTo>
                    <a:pt x="1583" y="766"/>
                  </a:lnTo>
                  <a:lnTo>
                    <a:pt x="1583" y="766"/>
                  </a:lnTo>
                  <a:lnTo>
                    <a:pt x="1583" y="764"/>
                  </a:lnTo>
                  <a:lnTo>
                    <a:pt x="1583" y="764"/>
                  </a:lnTo>
                  <a:lnTo>
                    <a:pt x="1583" y="764"/>
                  </a:lnTo>
                  <a:lnTo>
                    <a:pt x="1586" y="761"/>
                  </a:lnTo>
                  <a:lnTo>
                    <a:pt x="1586" y="761"/>
                  </a:lnTo>
                  <a:lnTo>
                    <a:pt x="1586" y="761"/>
                  </a:lnTo>
                  <a:lnTo>
                    <a:pt x="1586" y="761"/>
                  </a:lnTo>
                  <a:lnTo>
                    <a:pt x="1586" y="761"/>
                  </a:lnTo>
                  <a:lnTo>
                    <a:pt x="1586" y="759"/>
                  </a:lnTo>
                  <a:lnTo>
                    <a:pt x="1586" y="759"/>
                  </a:lnTo>
                  <a:lnTo>
                    <a:pt x="1586" y="759"/>
                  </a:lnTo>
                  <a:lnTo>
                    <a:pt x="1586" y="759"/>
                  </a:lnTo>
                  <a:lnTo>
                    <a:pt x="1586" y="759"/>
                  </a:lnTo>
                  <a:lnTo>
                    <a:pt x="1588" y="759"/>
                  </a:lnTo>
                  <a:lnTo>
                    <a:pt x="1590" y="759"/>
                  </a:lnTo>
                  <a:lnTo>
                    <a:pt x="1590" y="757"/>
                  </a:lnTo>
                  <a:lnTo>
                    <a:pt x="1590" y="754"/>
                  </a:lnTo>
                  <a:lnTo>
                    <a:pt x="1590" y="752"/>
                  </a:lnTo>
                  <a:lnTo>
                    <a:pt x="1590" y="752"/>
                  </a:lnTo>
                  <a:lnTo>
                    <a:pt x="1593" y="750"/>
                  </a:lnTo>
                  <a:lnTo>
                    <a:pt x="1593" y="750"/>
                  </a:lnTo>
                  <a:lnTo>
                    <a:pt x="1593" y="750"/>
                  </a:lnTo>
                  <a:lnTo>
                    <a:pt x="1588" y="750"/>
                  </a:lnTo>
                  <a:lnTo>
                    <a:pt x="1588" y="750"/>
                  </a:lnTo>
                  <a:lnTo>
                    <a:pt x="1588" y="747"/>
                  </a:lnTo>
                  <a:lnTo>
                    <a:pt x="1590" y="747"/>
                  </a:lnTo>
                  <a:lnTo>
                    <a:pt x="1590" y="745"/>
                  </a:lnTo>
                  <a:lnTo>
                    <a:pt x="1590" y="745"/>
                  </a:lnTo>
                  <a:lnTo>
                    <a:pt x="1590" y="745"/>
                  </a:lnTo>
                  <a:lnTo>
                    <a:pt x="1590" y="745"/>
                  </a:lnTo>
                  <a:lnTo>
                    <a:pt x="1590" y="745"/>
                  </a:lnTo>
                  <a:lnTo>
                    <a:pt x="1590" y="745"/>
                  </a:lnTo>
                  <a:lnTo>
                    <a:pt x="1590" y="742"/>
                  </a:lnTo>
                  <a:lnTo>
                    <a:pt x="1590" y="742"/>
                  </a:lnTo>
                  <a:lnTo>
                    <a:pt x="1590" y="742"/>
                  </a:lnTo>
                  <a:lnTo>
                    <a:pt x="1588" y="740"/>
                  </a:lnTo>
                  <a:lnTo>
                    <a:pt x="1588" y="742"/>
                  </a:lnTo>
                  <a:lnTo>
                    <a:pt x="1588" y="740"/>
                  </a:lnTo>
                  <a:lnTo>
                    <a:pt x="1586" y="740"/>
                  </a:lnTo>
                  <a:lnTo>
                    <a:pt x="1586" y="738"/>
                  </a:lnTo>
                  <a:lnTo>
                    <a:pt x="1586" y="738"/>
                  </a:lnTo>
                  <a:lnTo>
                    <a:pt x="1586" y="738"/>
                  </a:lnTo>
                  <a:lnTo>
                    <a:pt x="1588" y="738"/>
                  </a:lnTo>
                  <a:lnTo>
                    <a:pt x="1586" y="735"/>
                  </a:lnTo>
                  <a:lnTo>
                    <a:pt x="1586" y="735"/>
                  </a:lnTo>
                  <a:lnTo>
                    <a:pt x="1579" y="738"/>
                  </a:lnTo>
                  <a:lnTo>
                    <a:pt x="1571" y="738"/>
                  </a:lnTo>
                  <a:lnTo>
                    <a:pt x="1571" y="738"/>
                  </a:lnTo>
                  <a:lnTo>
                    <a:pt x="1579" y="733"/>
                  </a:lnTo>
                  <a:lnTo>
                    <a:pt x="1579" y="731"/>
                  </a:lnTo>
                  <a:lnTo>
                    <a:pt x="1579" y="731"/>
                  </a:lnTo>
                  <a:lnTo>
                    <a:pt x="1576" y="731"/>
                  </a:lnTo>
                  <a:lnTo>
                    <a:pt x="1576" y="731"/>
                  </a:lnTo>
                  <a:lnTo>
                    <a:pt x="1576" y="731"/>
                  </a:lnTo>
                  <a:lnTo>
                    <a:pt x="1576" y="731"/>
                  </a:lnTo>
                  <a:lnTo>
                    <a:pt x="1576" y="731"/>
                  </a:lnTo>
                  <a:lnTo>
                    <a:pt x="1576" y="731"/>
                  </a:lnTo>
                  <a:lnTo>
                    <a:pt x="1576" y="728"/>
                  </a:lnTo>
                  <a:lnTo>
                    <a:pt x="1574" y="728"/>
                  </a:lnTo>
                  <a:lnTo>
                    <a:pt x="1574" y="728"/>
                  </a:lnTo>
                  <a:lnTo>
                    <a:pt x="1571" y="726"/>
                  </a:lnTo>
                  <a:lnTo>
                    <a:pt x="1569" y="726"/>
                  </a:lnTo>
                  <a:lnTo>
                    <a:pt x="1567" y="726"/>
                  </a:lnTo>
                  <a:lnTo>
                    <a:pt x="1567" y="726"/>
                  </a:lnTo>
                  <a:lnTo>
                    <a:pt x="1567" y="726"/>
                  </a:lnTo>
                  <a:lnTo>
                    <a:pt x="1567" y="723"/>
                  </a:lnTo>
                  <a:lnTo>
                    <a:pt x="1567" y="723"/>
                  </a:lnTo>
                  <a:lnTo>
                    <a:pt x="1567" y="723"/>
                  </a:lnTo>
                  <a:lnTo>
                    <a:pt x="1562" y="726"/>
                  </a:lnTo>
                  <a:lnTo>
                    <a:pt x="1555" y="728"/>
                  </a:lnTo>
                  <a:lnTo>
                    <a:pt x="1555" y="728"/>
                  </a:lnTo>
                  <a:lnTo>
                    <a:pt x="1552" y="726"/>
                  </a:lnTo>
                  <a:lnTo>
                    <a:pt x="1552" y="726"/>
                  </a:lnTo>
                  <a:lnTo>
                    <a:pt x="1550" y="726"/>
                  </a:lnTo>
                  <a:lnTo>
                    <a:pt x="1550" y="726"/>
                  </a:lnTo>
                  <a:lnTo>
                    <a:pt x="1550" y="723"/>
                  </a:lnTo>
                  <a:lnTo>
                    <a:pt x="1552" y="721"/>
                  </a:lnTo>
                  <a:lnTo>
                    <a:pt x="1552" y="721"/>
                  </a:lnTo>
                  <a:lnTo>
                    <a:pt x="1552" y="719"/>
                  </a:lnTo>
                  <a:lnTo>
                    <a:pt x="1552" y="719"/>
                  </a:lnTo>
                  <a:lnTo>
                    <a:pt x="1552" y="719"/>
                  </a:lnTo>
                  <a:lnTo>
                    <a:pt x="1552" y="719"/>
                  </a:lnTo>
                  <a:lnTo>
                    <a:pt x="1552" y="716"/>
                  </a:lnTo>
                  <a:lnTo>
                    <a:pt x="1552" y="716"/>
                  </a:lnTo>
                  <a:lnTo>
                    <a:pt x="1543" y="716"/>
                  </a:lnTo>
                  <a:lnTo>
                    <a:pt x="1536" y="716"/>
                  </a:lnTo>
                  <a:lnTo>
                    <a:pt x="1526" y="716"/>
                  </a:lnTo>
                  <a:lnTo>
                    <a:pt x="1526" y="716"/>
                  </a:lnTo>
                  <a:lnTo>
                    <a:pt x="1524" y="716"/>
                  </a:lnTo>
                  <a:lnTo>
                    <a:pt x="1524" y="719"/>
                  </a:lnTo>
                  <a:lnTo>
                    <a:pt x="1522" y="719"/>
                  </a:lnTo>
                  <a:lnTo>
                    <a:pt x="1515" y="726"/>
                  </a:lnTo>
                  <a:lnTo>
                    <a:pt x="1512" y="726"/>
                  </a:lnTo>
                  <a:lnTo>
                    <a:pt x="1512" y="726"/>
                  </a:lnTo>
                  <a:lnTo>
                    <a:pt x="1512" y="726"/>
                  </a:lnTo>
                  <a:lnTo>
                    <a:pt x="1510" y="726"/>
                  </a:lnTo>
                  <a:lnTo>
                    <a:pt x="1508" y="726"/>
                  </a:lnTo>
                  <a:lnTo>
                    <a:pt x="1508" y="726"/>
                  </a:lnTo>
                  <a:lnTo>
                    <a:pt x="1505" y="723"/>
                  </a:lnTo>
                  <a:lnTo>
                    <a:pt x="1500" y="723"/>
                  </a:lnTo>
                  <a:lnTo>
                    <a:pt x="1500" y="723"/>
                  </a:lnTo>
                  <a:lnTo>
                    <a:pt x="1500" y="721"/>
                  </a:lnTo>
                  <a:lnTo>
                    <a:pt x="1500" y="721"/>
                  </a:lnTo>
                  <a:lnTo>
                    <a:pt x="1500" y="721"/>
                  </a:lnTo>
                  <a:lnTo>
                    <a:pt x="1498" y="721"/>
                  </a:lnTo>
                  <a:lnTo>
                    <a:pt x="1496" y="721"/>
                  </a:lnTo>
                  <a:lnTo>
                    <a:pt x="1496" y="721"/>
                  </a:lnTo>
                  <a:lnTo>
                    <a:pt x="1496" y="723"/>
                  </a:lnTo>
                  <a:lnTo>
                    <a:pt x="1496" y="723"/>
                  </a:lnTo>
                  <a:lnTo>
                    <a:pt x="1496" y="726"/>
                  </a:lnTo>
                  <a:lnTo>
                    <a:pt x="1491" y="728"/>
                  </a:lnTo>
                  <a:lnTo>
                    <a:pt x="1491" y="728"/>
                  </a:lnTo>
                  <a:lnTo>
                    <a:pt x="1491" y="731"/>
                  </a:lnTo>
                  <a:lnTo>
                    <a:pt x="1484" y="735"/>
                  </a:lnTo>
                  <a:lnTo>
                    <a:pt x="1484" y="735"/>
                  </a:lnTo>
                  <a:lnTo>
                    <a:pt x="1484" y="738"/>
                  </a:lnTo>
                  <a:lnTo>
                    <a:pt x="1484" y="738"/>
                  </a:lnTo>
                  <a:lnTo>
                    <a:pt x="1484" y="738"/>
                  </a:lnTo>
                  <a:lnTo>
                    <a:pt x="1486" y="738"/>
                  </a:lnTo>
                  <a:lnTo>
                    <a:pt x="1486" y="738"/>
                  </a:lnTo>
                  <a:lnTo>
                    <a:pt x="1486" y="740"/>
                  </a:lnTo>
                  <a:lnTo>
                    <a:pt x="1481" y="738"/>
                  </a:lnTo>
                  <a:lnTo>
                    <a:pt x="1477" y="738"/>
                  </a:lnTo>
                  <a:lnTo>
                    <a:pt x="1477" y="738"/>
                  </a:lnTo>
                  <a:lnTo>
                    <a:pt x="1477" y="738"/>
                  </a:lnTo>
                  <a:lnTo>
                    <a:pt x="1477" y="740"/>
                  </a:lnTo>
                  <a:lnTo>
                    <a:pt x="1477" y="740"/>
                  </a:lnTo>
                  <a:lnTo>
                    <a:pt x="1477" y="740"/>
                  </a:lnTo>
                  <a:lnTo>
                    <a:pt x="1474" y="740"/>
                  </a:lnTo>
                  <a:lnTo>
                    <a:pt x="1474" y="740"/>
                  </a:lnTo>
                  <a:lnTo>
                    <a:pt x="1474" y="740"/>
                  </a:lnTo>
                  <a:lnTo>
                    <a:pt x="1474" y="742"/>
                  </a:lnTo>
                  <a:lnTo>
                    <a:pt x="1474" y="742"/>
                  </a:lnTo>
                  <a:lnTo>
                    <a:pt x="1474" y="742"/>
                  </a:lnTo>
                  <a:lnTo>
                    <a:pt x="1474" y="742"/>
                  </a:lnTo>
                  <a:lnTo>
                    <a:pt x="1472" y="742"/>
                  </a:lnTo>
                  <a:lnTo>
                    <a:pt x="1472" y="745"/>
                  </a:lnTo>
                  <a:lnTo>
                    <a:pt x="1472" y="745"/>
                  </a:lnTo>
                  <a:lnTo>
                    <a:pt x="1472" y="745"/>
                  </a:lnTo>
                  <a:lnTo>
                    <a:pt x="1472" y="745"/>
                  </a:lnTo>
                  <a:lnTo>
                    <a:pt x="1472" y="745"/>
                  </a:lnTo>
                  <a:lnTo>
                    <a:pt x="1472" y="745"/>
                  </a:lnTo>
                  <a:lnTo>
                    <a:pt x="1472" y="745"/>
                  </a:lnTo>
                  <a:lnTo>
                    <a:pt x="1472" y="745"/>
                  </a:lnTo>
                  <a:lnTo>
                    <a:pt x="1472" y="745"/>
                  </a:lnTo>
                  <a:lnTo>
                    <a:pt x="1474" y="745"/>
                  </a:lnTo>
                  <a:lnTo>
                    <a:pt x="1474" y="747"/>
                  </a:lnTo>
                  <a:lnTo>
                    <a:pt x="1470" y="745"/>
                  </a:lnTo>
                  <a:lnTo>
                    <a:pt x="1470" y="747"/>
                  </a:lnTo>
                  <a:lnTo>
                    <a:pt x="1467" y="747"/>
                  </a:lnTo>
                  <a:lnTo>
                    <a:pt x="1467" y="747"/>
                  </a:lnTo>
                  <a:lnTo>
                    <a:pt x="1467" y="745"/>
                  </a:lnTo>
                  <a:lnTo>
                    <a:pt x="1467" y="745"/>
                  </a:lnTo>
                  <a:lnTo>
                    <a:pt x="1465" y="745"/>
                  </a:lnTo>
                  <a:lnTo>
                    <a:pt x="1465" y="747"/>
                  </a:lnTo>
                  <a:lnTo>
                    <a:pt x="1458" y="750"/>
                  </a:lnTo>
                  <a:lnTo>
                    <a:pt x="1458" y="752"/>
                  </a:lnTo>
                  <a:lnTo>
                    <a:pt x="1455" y="752"/>
                  </a:lnTo>
                  <a:lnTo>
                    <a:pt x="1455" y="752"/>
                  </a:lnTo>
                  <a:lnTo>
                    <a:pt x="1455" y="754"/>
                  </a:lnTo>
                  <a:lnTo>
                    <a:pt x="1455" y="754"/>
                  </a:lnTo>
                  <a:lnTo>
                    <a:pt x="1458" y="754"/>
                  </a:lnTo>
                  <a:lnTo>
                    <a:pt x="1460" y="757"/>
                  </a:lnTo>
                  <a:lnTo>
                    <a:pt x="1463" y="757"/>
                  </a:lnTo>
                  <a:lnTo>
                    <a:pt x="1463" y="759"/>
                  </a:lnTo>
                  <a:lnTo>
                    <a:pt x="1467" y="759"/>
                  </a:lnTo>
                  <a:lnTo>
                    <a:pt x="1470" y="759"/>
                  </a:lnTo>
                  <a:lnTo>
                    <a:pt x="1470" y="759"/>
                  </a:lnTo>
                  <a:lnTo>
                    <a:pt x="1470" y="759"/>
                  </a:lnTo>
                  <a:lnTo>
                    <a:pt x="1470" y="759"/>
                  </a:lnTo>
                  <a:lnTo>
                    <a:pt x="1470" y="759"/>
                  </a:lnTo>
                  <a:lnTo>
                    <a:pt x="1463" y="759"/>
                  </a:lnTo>
                  <a:lnTo>
                    <a:pt x="1460" y="759"/>
                  </a:lnTo>
                  <a:lnTo>
                    <a:pt x="1455" y="761"/>
                  </a:lnTo>
                  <a:lnTo>
                    <a:pt x="1453" y="764"/>
                  </a:lnTo>
                  <a:lnTo>
                    <a:pt x="1448" y="766"/>
                  </a:lnTo>
                  <a:lnTo>
                    <a:pt x="1451" y="761"/>
                  </a:lnTo>
                  <a:lnTo>
                    <a:pt x="1451" y="761"/>
                  </a:lnTo>
                  <a:lnTo>
                    <a:pt x="1453" y="759"/>
                  </a:lnTo>
                  <a:lnTo>
                    <a:pt x="1451" y="759"/>
                  </a:lnTo>
                  <a:lnTo>
                    <a:pt x="1448" y="757"/>
                  </a:lnTo>
                  <a:lnTo>
                    <a:pt x="1448" y="757"/>
                  </a:lnTo>
                  <a:lnTo>
                    <a:pt x="1444" y="757"/>
                  </a:lnTo>
                  <a:lnTo>
                    <a:pt x="1437" y="752"/>
                  </a:lnTo>
                  <a:lnTo>
                    <a:pt x="1437" y="752"/>
                  </a:lnTo>
                  <a:lnTo>
                    <a:pt x="1437" y="750"/>
                  </a:lnTo>
                  <a:lnTo>
                    <a:pt x="1437" y="750"/>
                  </a:lnTo>
                  <a:lnTo>
                    <a:pt x="1437" y="750"/>
                  </a:lnTo>
                  <a:lnTo>
                    <a:pt x="1437" y="750"/>
                  </a:lnTo>
                  <a:lnTo>
                    <a:pt x="1432" y="747"/>
                  </a:lnTo>
                  <a:lnTo>
                    <a:pt x="1429" y="747"/>
                  </a:lnTo>
                  <a:lnTo>
                    <a:pt x="1429" y="747"/>
                  </a:lnTo>
                  <a:lnTo>
                    <a:pt x="1429" y="750"/>
                  </a:lnTo>
                  <a:lnTo>
                    <a:pt x="1429" y="750"/>
                  </a:lnTo>
                  <a:lnTo>
                    <a:pt x="1429" y="750"/>
                  </a:lnTo>
                  <a:lnTo>
                    <a:pt x="1429" y="750"/>
                  </a:lnTo>
                  <a:lnTo>
                    <a:pt x="1429" y="752"/>
                  </a:lnTo>
                  <a:lnTo>
                    <a:pt x="1429" y="752"/>
                  </a:lnTo>
                  <a:lnTo>
                    <a:pt x="1427" y="752"/>
                  </a:lnTo>
                  <a:lnTo>
                    <a:pt x="1427" y="752"/>
                  </a:lnTo>
                  <a:lnTo>
                    <a:pt x="1429" y="754"/>
                  </a:lnTo>
                  <a:lnTo>
                    <a:pt x="1429" y="754"/>
                  </a:lnTo>
                  <a:lnTo>
                    <a:pt x="1429" y="754"/>
                  </a:lnTo>
                  <a:lnTo>
                    <a:pt x="1429" y="757"/>
                  </a:lnTo>
                  <a:lnTo>
                    <a:pt x="1429" y="759"/>
                  </a:lnTo>
                  <a:lnTo>
                    <a:pt x="1429" y="761"/>
                  </a:lnTo>
                  <a:lnTo>
                    <a:pt x="1429" y="761"/>
                  </a:lnTo>
                  <a:lnTo>
                    <a:pt x="1427" y="761"/>
                  </a:lnTo>
                  <a:lnTo>
                    <a:pt x="1427" y="761"/>
                  </a:lnTo>
                  <a:lnTo>
                    <a:pt x="1427" y="761"/>
                  </a:lnTo>
                  <a:lnTo>
                    <a:pt x="1429" y="759"/>
                  </a:lnTo>
                  <a:lnTo>
                    <a:pt x="1429" y="759"/>
                  </a:lnTo>
                  <a:lnTo>
                    <a:pt x="1429" y="757"/>
                  </a:lnTo>
                  <a:lnTo>
                    <a:pt x="1429" y="757"/>
                  </a:lnTo>
                  <a:lnTo>
                    <a:pt x="1427" y="754"/>
                  </a:lnTo>
                  <a:lnTo>
                    <a:pt x="1427" y="754"/>
                  </a:lnTo>
                  <a:lnTo>
                    <a:pt x="1425" y="752"/>
                  </a:lnTo>
                  <a:lnTo>
                    <a:pt x="1425" y="752"/>
                  </a:lnTo>
                  <a:lnTo>
                    <a:pt x="1422" y="752"/>
                  </a:lnTo>
                  <a:lnTo>
                    <a:pt x="1420" y="754"/>
                  </a:lnTo>
                  <a:lnTo>
                    <a:pt x="1420" y="754"/>
                  </a:lnTo>
                  <a:lnTo>
                    <a:pt x="1420" y="754"/>
                  </a:lnTo>
                  <a:lnTo>
                    <a:pt x="1420" y="754"/>
                  </a:lnTo>
                  <a:lnTo>
                    <a:pt x="1418" y="754"/>
                  </a:lnTo>
                  <a:lnTo>
                    <a:pt x="1418" y="754"/>
                  </a:lnTo>
                  <a:lnTo>
                    <a:pt x="1418" y="754"/>
                  </a:lnTo>
                  <a:lnTo>
                    <a:pt x="1415" y="759"/>
                  </a:lnTo>
                  <a:lnTo>
                    <a:pt x="1415" y="759"/>
                  </a:lnTo>
                  <a:lnTo>
                    <a:pt x="1415" y="761"/>
                  </a:lnTo>
                  <a:lnTo>
                    <a:pt x="1415" y="761"/>
                  </a:lnTo>
                  <a:lnTo>
                    <a:pt x="1415" y="759"/>
                  </a:lnTo>
                  <a:lnTo>
                    <a:pt x="1415" y="761"/>
                  </a:lnTo>
                  <a:lnTo>
                    <a:pt x="1415" y="761"/>
                  </a:lnTo>
                  <a:lnTo>
                    <a:pt x="1413" y="759"/>
                  </a:lnTo>
                  <a:lnTo>
                    <a:pt x="1413" y="759"/>
                  </a:lnTo>
                  <a:lnTo>
                    <a:pt x="1413" y="759"/>
                  </a:lnTo>
                  <a:lnTo>
                    <a:pt x="1413" y="757"/>
                  </a:lnTo>
                  <a:lnTo>
                    <a:pt x="1415" y="757"/>
                  </a:lnTo>
                  <a:lnTo>
                    <a:pt x="1415" y="757"/>
                  </a:lnTo>
                  <a:lnTo>
                    <a:pt x="1415" y="757"/>
                  </a:lnTo>
                  <a:lnTo>
                    <a:pt x="1413" y="754"/>
                  </a:lnTo>
                  <a:lnTo>
                    <a:pt x="1413" y="754"/>
                  </a:lnTo>
                  <a:lnTo>
                    <a:pt x="1408" y="750"/>
                  </a:lnTo>
                  <a:lnTo>
                    <a:pt x="1406" y="747"/>
                  </a:lnTo>
                  <a:lnTo>
                    <a:pt x="1406" y="747"/>
                  </a:lnTo>
                  <a:lnTo>
                    <a:pt x="1403" y="745"/>
                  </a:lnTo>
                  <a:lnTo>
                    <a:pt x="1403" y="745"/>
                  </a:lnTo>
                  <a:lnTo>
                    <a:pt x="1403" y="745"/>
                  </a:lnTo>
                  <a:lnTo>
                    <a:pt x="1403" y="747"/>
                  </a:lnTo>
                  <a:lnTo>
                    <a:pt x="1401" y="750"/>
                  </a:lnTo>
                  <a:lnTo>
                    <a:pt x="1401" y="752"/>
                  </a:lnTo>
                  <a:lnTo>
                    <a:pt x="1401" y="757"/>
                  </a:lnTo>
                  <a:lnTo>
                    <a:pt x="1403" y="757"/>
                  </a:lnTo>
                  <a:lnTo>
                    <a:pt x="1403" y="761"/>
                  </a:lnTo>
                  <a:lnTo>
                    <a:pt x="1403" y="761"/>
                  </a:lnTo>
                  <a:lnTo>
                    <a:pt x="1403" y="764"/>
                  </a:lnTo>
                  <a:lnTo>
                    <a:pt x="1403" y="764"/>
                  </a:lnTo>
                  <a:lnTo>
                    <a:pt x="1401" y="766"/>
                  </a:lnTo>
                  <a:lnTo>
                    <a:pt x="1401" y="766"/>
                  </a:lnTo>
                  <a:lnTo>
                    <a:pt x="1401" y="766"/>
                  </a:lnTo>
                  <a:lnTo>
                    <a:pt x="1399" y="764"/>
                  </a:lnTo>
                  <a:lnTo>
                    <a:pt x="1399" y="764"/>
                  </a:lnTo>
                  <a:lnTo>
                    <a:pt x="1399" y="761"/>
                  </a:lnTo>
                  <a:lnTo>
                    <a:pt x="1399" y="761"/>
                  </a:lnTo>
                  <a:lnTo>
                    <a:pt x="1396" y="761"/>
                  </a:lnTo>
                  <a:lnTo>
                    <a:pt x="1396" y="761"/>
                  </a:lnTo>
                  <a:lnTo>
                    <a:pt x="1396" y="759"/>
                  </a:lnTo>
                  <a:lnTo>
                    <a:pt x="1396" y="759"/>
                  </a:lnTo>
                  <a:lnTo>
                    <a:pt x="1396" y="759"/>
                  </a:lnTo>
                  <a:lnTo>
                    <a:pt x="1396" y="759"/>
                  </a:lnTo>
                  <a:lnTo>
                    <a:pt x="1394" y="754"/>
                  </a:lnTo>
                  <a:lnTo>
                    <a:pt x="1394" y="754"/>
                  </a:lnTo>
                  <a:lnTo>
                    <a:pt x="1394" y="754"/>
                  </a:lnTo>
                  <a:lnTo>
                    <a:pt x="1389" y="754"/>
                  </a:lnTo>
                  <a:lnTo>
                    <a:pt x="1389" y="754"/>
                  </a:lnTo>
                  <a:lnTo>
                    <a:pt x="1389" y="757"/>
                  </a:lnTo>
                  <a:lnTo>
                    <a:pt x="1387" y="757"/>
                  </a:lnTo>
                  <a:lnTo>
                    <a:pt x="1384" y="757"/>
                  </a:lnTo>
                  <a:lnTo>
                    <a:pt x="1384" y="757"/>
                  </a:lnTo>
                  <a:lnTo>
                    <a:pt x="1384" y="757"/>
                  </a:lnTo>
                  <a:lnTo>
                    <a:pt x="1387" y="757"/>
                  </a:lnTo>
                  <a:lnTo>
                    <a:pt x="1387" y="754"/>
                  </a:lnTo>
                  <a:lnTo>
                    <a:pt x="1387" y="754"/>
                  </a:lnTo>
                  <a:lnTo>
                    <a:pt x="1384" y="757"/>
                  </a:lnTo>
                  <a:lnTo>
                    <a:pt x="1382" y="754"/>
                  </a:lnTo>
                  <a:lnTo>
                    <a:pt x="1384" y="754"/>
                  </a:lnTo>
                  <a:lnTo>
                    <a:pt x="1384" y="754"/>
                  </a:lnTo>
                  <a:lnTo>
                    <a:pt x="1384" y="752"/>
                  </a:lnTo>
                  <a:lnTo>
                    <a:pt x="1384" y="752"/>
                  </a:lnTo>
                  <a:lnTo>
                    <a:pt x="1389" y="752"/>
                  </a:lnTo>
                  <a:lnTo>
                    <a:pt x="1392" y="750"/>
                  </a:lnTo>
                  <a:lnTo>
                    <a:pt x="1392" y="750"/>
                  </a:lnTo>
                  <a:lnTo>
                    <a:pt x="1392" y="750"/>
                  </a:lnTo>
                  <a:lnTo>
                    <a:pt x="1392" y="750"/>
                  </a:lnTo>
                  <a:lnTo>
                    <a:pt x="1394" y="747"/>
                  </a:lnTo>
                  <a:lnTo>
                    <a:pt x="1394" y="742"/>
                  </a:lnTo>
                  <a:lnTo>
                    <a:pt x="1394" y="742"/>
                  </a:lnTo>
                  <a:lnTo>
                    <a:pt x="1394" y="740"/>
                  </a:lnTo>
                  <a:lnTo>
                    <a:pt x="1394" y="740"/>
                  </a:lnTo>
                  <a:lnTo>
                    <a:pt x="1394" y="738"/>
                  </a:lnTo>
                  <a:lnTo>
                    <a:pt x="1392" y="738"/>
                  </a:lnTo>
                  <a:lnTo>
                    <a:pt x="1389" y="735"/>
                  </a:lnTo>
                  <a:lnTo>
                    <a:pt x="1387" y="733"/>
                  </a:lnTo>
                  <a:lnTo>
                    <a:pt x="1387" y="733"/>
                  </a:lnTo>
                  <a:lnTo>
                    <a:pt x="1384" y="733"/>
                  </a:lnTo>
                  <a:lnTo>
                    <a:pt x="1384" y="733"/>
                  </a:lnTo>
                  <a:lnTo>
                    <a:pt x="1384" y="733"/>
                  </a:lnTo>
                  <a:lnTo>
                    <a:pt x="1384" y="733"/>
                  </a:lnTo>
                  <a:lnTo>
                    <a:pt x="1384" y="733"/>
                  </a:lnTo>
                  <a:lnTo>
                    <a:pt x="1384" y="733"/>
                  </a:lnTo>
                  <a:lnTo>
                    <a:pt x="1384" y="733"/>
                  </a:lnTo>
                  <a:lnTo>
                    <a:pt x="1384" y="733"/>
                  </a:lnTo>
                  <a:lnTo>
                    <a:pt x="1384" y="733"/>
                  </a:lnTo>
                  <a:lnTo>
                    <a:pt x="1384" y="733"/>
                  </a:lnTo>
                  <a:lnTo>
                    <a:pt x="1382" y="735"/>
                  </a:lnTo>
                  <a:lnTo>
                    <a:pt x="1382" y="735"/>
                  </a:lnTo>
                  <a:lnTo>
                    <a:pt x="1382" y="738"/>
                  </a:lnTo>
                  <a:lnTo>
                    <a:pt x="1382" y="738"/>
                  </a:lnTo>
                  <a:lnTo>
                    <a:pt x="1382" y="738"/>
                  </a:lnTo>
                  <a:lnTo>
                    <a:pt x="1382" y="738"/>
                  </a:lnTo>
                  <a:lnTo>
                    <a:pt x="1382" y="738"/>
                  </a:lnTo>
                  <a:lnTo>
                    <a:pt x="1382" y="738"/>
                  </a:lnTo>
                  <a:lnTo>
                    <a:pt x="1382" y="738"/>
                  </a:lnTo>
                  <a:lnTo>
                    <a:pt x="1382" y="738"/>
                  </a:lnTo>
                  <a:lnTo>
                    <a:pt x="1382" y="735"/>
                  </a:lnTo>
                  <a:lnTo>
                    <a:pt x="1380" y="735"/>
                  </a:lnTo>
                  <a:lnTo>
                    <a:pt x="1380" y="733"/>
                  </a:lnTo>
                  <a:lnTo>
                    <a:pt x="1382" y="731"/>
                  </a:lnTo>
                  <a:lnTo>
                    <a:pt x="1382" y="728"/>
                  </a:lnTo>
                  <a:lnTo>
                    <a:pt x="1380" y="728"/>
                  </a:lnTo>
                  <a:lnTo>
                    <a:pt x="1380" y="726"/>
                  </a:lnTo>
                  <a:lnTo>
                    <a:pt x="1380" y="726"/>
                  </a:lnTo>
                  <a:lnTo>
                    <a:pt x="1380" y="726"/>
                  </a:lnTo>
                  <a:lnTo>
                    <a:pt x="1380" y="723"/>
                  </a:lnTo>
                  <a:lnTo>
                    <a:pt x="1377" y="723"/>
                  </a:lnTo>
                  <a:lnTo>
                    <a:pt x="1377" y="723"/>
                  </a:lnTo>
                  <a:lnTo>
                    <a:pt x="1377" y="723"/>
                  </a:lnTo>
                  <a:lnTo>
                    <a:pt x="1375" y="723"/>
                  </a:lnTo>
                  <a:lnTo>
                    <a:pt x="1377" y="721"/>
                  </a:lnTo>
                  <a:lnTo>
                    <a:pt x="1377" y="721"/>
                  </a:lnTo>
                  <a:lnTo>
                    <a:pt x="1375" y="721"/>
                  </a:lnTo>
                  <a:lnTo>
                    <a:pt x="1375" y="721"/>
                  </a:lnTo>
                  <a:lnTo>
                    <a:pt x="1375" y="721"/>
                  </a:lnTo>
                  <a:lnTo>
                    <a:pt x="1373" y="723"/>
                  </a:lnTo>
                  <a:lnTo>
                    <a:pt x="1373" y="723"/>
                  </a:lnTo>
                  <a:lnTo>
                    <a:pt x="1373" y="726"/>
                  </a:lnTo>
                  <a:lnTo>
                    <a:pt x="1373" y="726"/>
                  </a:lnTo>
                  <a:lnTo>
                    <a:pt x="1373" y="726"/>
                  </a:lnTo>
                  <a:lnTo>
                    <a:pt x="1373" y="726"/>
                  </a:lnTo>
                  <a:lnTo>
                    <a:pt x="1370" y="726"/>
                  </a:lnTo>
                  <a:lnTo>
                    <a:pt x="1370" y="723"/>
                  </a:lnTo>
                  <a:lnTo>
                    <a:pt x="1370" y="723"/>
                  </a:lnTo>
                  <a:lnTo>
                    <a:pt x="1368" y="726"/>
                  </a:lnTo>
                  <a:lnTo>
                    <a:pt x="1368" y="726"/>
                  </a:lnTo>
                  <a:lnTo>
                    <a:pt x="1368" y="726"/>
                  </a:lnTo>
                  <a:lnTo>
                    <a:pt x="1368" y="728"/>
                  </a:lnTo>
                  <a:lnTo>
                    <a:pt x="1366" y="731"/>
                  </a:lnTo>
                  <a:lnTo>
                    <a:pt x="1366" y="731"/>
                  </a:lnTo>
                  <a:lnTo>
                    <a:pt x="1366" y="728"/>
                  </a:lnTo>
                  <a:lnTo>
                    <a:pt x="1366" y="728"/>
                  </a:lnTo>
                  <a:lnTo>
                    <a:pt x="1366" y="726"/>
                  </a:lnTo>
                  <a:lnTo>
                    <a:pt x="1366" y="726"/>
                  </a:lnTo>
                  <a:lnTo>
                    <a:pt x="1368" y="726"/>
                  </a:lnTo>
                  <a:lnTo>
                    <a:pt x="1366" y="723"/>
                  </a:lnTo>
                  <a:lnTo>
                    <a:pt x="1366" y="723"/>
                  </a:lnTo>
                  <a:lnTo>
                    <a:pt x="1366" y="723"/>
                  </a:lnTo>
                  <a:lnTo>
                    <a:pt x="1363" y="726"/>
                  </a:lnTo>
                  <a:lnTo>
                    <a:pt x="1361" y="726"/>
                  </a:lnTo>
                  <a:lnTo>
                    <a:pt x="1361" y="726"/>
                  </a:lnTo>
                  <a:lnTo>
                    <a:pt x="1361" y="726"/>
                  </a:lnTo>
                  <a:lnTo>
                    <a:pt x="1361" y="726"/>
                  </a:lnTo>
                  <a:lnTo>
                    <a:pt x="1363" y="723"/>
                  </a:lnTo>
                  <a:lnTo>
                    <a:pt x="1361" y="723"/>
                  </a:lnTo>
                  <a:lnTo>
                    <a:pt x="1361" y="723"/>
                  </a:lnTo>
                  <a:lnTo>
                    <a:pt x="1361" y="723"/>
                  </a:lnTo>
                  <a:lnTo>
                    <a:pt x="1358" y="723"/>
                  </a:lnTo>
                  <a:lnTo>
                    <a:pt x="1358" y="723"/>
                  </a:lnTo>
                  <a:lnTo>
                    <a:pt x="1358" y="726"/>
                  </a:lnTo>
                  <a:lnTo>
                    <a:pt x="1358" y="726"/>
                  </a:lnTo>
                  <a:lnTo>
                    <a:pt x="1358" y="731"/>
                  </a:lnTo>
                  <a:lnTo>
                    <a:pt x="1356" y="731"/>
                  </a:lnTo>
                  <a:lnTo>
                    <a:pt x="1356" y="733"/>
                  </a:lnTo>
                  <a:lnTo>
                    <a:pt x="1356" y="733"/>
                  </a:lnTo>
                  <a:lnTo>
                    <a:pt x="1356" y="733"/>
                  </a:lnTo>
                  <a:lnTo>
                    <a:pt x="1356" y="733"/>
                  </a:lnTo>
                  <a:lnTo>
                    <a:pt x="1354" y="735"/>
                  </a:lnTo>
                  <a:lnTo>
                    <a:pt x="1354" y="735"/>
                  </a:lnTo>
                  <a:lnTo>
                    <a:pt x="1354" y="735"/>
                  </a:lnTo>
                  <a:lnTo>
                    <a:pt x="1354" y="738"/>
                  </a:lnTo>
                  <a:lnTo>
                    <a:pt x="1354" y="735"/>
                  </a:lnTo>
                  <a:lnTo>
                    <a:pt x="1354" y="735"/>
                  </a:lnTo>
                  <a:lnTo>
                    <a:pt x="1354" y="733"/>
                  </a:lnTo>
                  <a:lnTo>
                    <a:pt x="1354" y="733"/>
                  </a:lnTo>
                  <a:lnTo>
                    <a:pt x="1354" y="731"/>
                  </a:lnTo>
                  <a:lnTo>
                    <a:pt x="1354" y="731"/>
                  </a:lnTo>
                  <a:lnTo>
                    <a:pt x="1356" y="728"/>
                  </a:lnTo>
                  <a:lnTo>
                    <a:pt x="1356" y="728"/>
                  </a:lnTo>
                  <a:lnTo>
                    <a:pt x="1356" y="728"/>
                  </a:lnTo>
                  <a:lnTo>
                    <a:pt x="1356" y="726"/>
                  </a:lnTo>
                  <a:lnTo>
                    <a:pt x="1356" y="726"/>
                  </a:lnTo>
                  <a:lnTo>
                    <a:pt x="1356" y="726"/>
                  </a:lnTo>
                  <a:lnTo>
                    <a:pt x="1356" y="726"/>
                  </a:lnTo>
                  <a:lnTo>
                    <a:pt x="1354" y="726"/>
                  </a:lnTo>
                  <a:lnTo>
                    <a:pt x="1354" y="723"/>
                  </a:lnTo>
                  <a:lnTo>
                    <a:pt x="1354" y="723"/>
                  </a:lnTo>
                  <a:lnTo>
                    <a:pt x="1356" y="723"/>
                  </a:lnTo>
                  <a:lnTo>
                    <a:pt x="1356" y="723"/>
                  </a:lnTo>
                  <a:lnTo>
                    <a:pt x="1356" y="721"/>
                  </a:lnTo>
                  <a:lnTo>
                    <a:pt x="1354" y="723"/>
                  </a:lnTo>
                  <a:lnTo>
                    <a:pt x="1351" y="721"/>
                  </a:lnTo>
                  <a:lnTo>
                    <a:pt x="1354" y="721"/>
                  </a:lnTo>
                  <a:lnTo>
                    <a:pt x="1361" y="721"/>
                  </a:lnTo>
                  <a:lnTo>
                    <a:pt x="1370" y="719"/>
                  </a:lnTo>
                  <a:lnTo>
                    <a:pt x="1370" y="719"/>
                  </a:lnTo>
                  <a:lnTo>
                    <a:pt x="1370" y="716"/>
                  </a:lnTo>
                  <a:lnTo>
                    <a:pt x="1363" y="714"/>
                  </a:lnTo>
                  <a:lnTo>
                    <a:pt x="1363" y="716"/>
                  </a:lnTo>
                  <a:lnTo>
                    <a:pt x="1361" y="716"/>
                  </a:lnTo>
                  <a:lnTo>
                    <a:pt x="1361" y="719"/>
                  </a:lnTo>
                  <a:lnTo>
                    <a:pt x="1361" y="719"/>
                  </a:lnTo>
                  <a:lnTo>
                    <a:pt x="1358" y="719"/>
                  </a:lnTo>
                  <a:lnTo>
                    <a:pt x="1358" y="716"/>
                  </a:lnTo>
                  <a:lnTo>
                    <a:pt x="1358" y="716"/>
                  </a:lnTo>
                  <a:lnTo>
                    <a:pt x="1358" y="716"/>
                  </a:lnTo>
                  <a:lnTo>
                    <a:pt x="1361" y="716"/>
                  </a:lnTo>
                  <a:lnTo>
                    <a:pt x="1361" y="716"/>
                  </a:lnTo>
                  <a:lnTo>
                    <a:pt x="1361" y="714"/>
                  </a:lnTo>
                  <a:lnTo>
                    <a:pt x="1361" y="714"/>
                  </a:lnTo>
                  <a:lnTo>
                    <a:pt x="1361" y="714"/>
                  </a:lnTo>
                  <a:lnTo>
                    <a:pt x="1361" y="714"/>
                  </a:lnTo>
                  <a:lnTo>
                    <a:pt x="1361" y="714"/>
                  </a:lnTo>
                  <a:lnTo>
                    <a:pt x="1361" y="714"/>
                  </a:lnTo>
                  <a:lnTo>
                    <a:pt x="1361" y="714"/>
                  </a:lnTo>
                  <a:lnTo>
                    <a:pt x="1361" y="714"/>
                  </a:lnTo>
                  <a:lnTo>
                    <a:pt x="1358" y="712"/>
                  </a:lnTo>
                  <a:lnTo>
                    <a:pt x="1349" y="709"/>
                  </a:lnTo>
                  <a:lnTo>
                    <a:pt x="1347" y="712"/>
                  </a:lnTo>
                  <a:lnTo>
                    <a:pt x="1347" y="712"/>
                  </a:lnTo>
                  <a:lnTo>
                    <a:pt x="1347" y="712"/>
                  </a:lnTo>
                  <a:lnTo>
                    <a:pt x="1347" y="709"/>
                  </a:lnTo>
                  <a:lnTo>
                    <a:pt x="1347" y="709"/>
                  </a:lnTo>
                  <a:lnTo>
                    <a:pt x="1349" y="709"/>
                  </a:lnTo>
                  <a:lnTo>
                    <a:pt x="1349" y="707"/>
                  </a:lnTo>
                  <a:lnTo>
                    <a:pt x="1349" y="707"/>
                  </a:lnTo>
                  <a:lnTo>
                    <a:pt x="1344" y="705"/>
                  </a:lnTo>
                  <a:lnTo>
                    <a:pt x="1344" y="705"/>
                  </a:lnTo>
                  <a:lnTo>
                    <a:pt x="1344" y="705"/>
                  </a:lnTo>
                  <a:lnTo>
                    <a:pt x="1342" y="705"/>
                  </a:lnTo>
                  <a:lnTo>
                    <a:pt x="1342" y="702"/>
                  </a:lnTo>
                  <a:lnTo>
                    <a:pt x="1349" y="705"/>
                  </a:lnTo>
                  <a:lnTo>
                    <a:pt x="1351" y="707"/>
                  </a:lnTo>
                  <a:lnTo>
                    <a:pt x="1361" y="709"/>
                  </a:lnTo>
                  <a:lnTo>
                    <a:pt x="1370" y="709"/>
                  </a:lnTo>
                  <a:lnTo>
                    <a:pt x="1373" y="712"/>
                  </a:lnTo>
                  <a:lnTo>
                    <a:pt x="1373" y="712"/>
                  </a:lnTo>
                  <a:lnTo>
                    <a:pt x="1373" y="712"/>
                  </a:lnTo>
                  <a:lnTo>
                    <a:pt x="1373" y="709"/>
                  </a:lnTo>
                  <a:lnTo>
                    <a:pt x="1366" y="709"/>
                  </a:lnTo>
                  <a:lnTo>
                    <a:pt x="1366" y="707"/>
                  </a:lnTo>
                  <a:lnTo>
                    <a:pt x="1373" y="707"/>
                  </a:lnTo>
                  <a:lnTo>
                    <a:pt x="1380" y="707"/>
                  </a:lnTo>
                  <a:lnTo>
                    <a:pt x="1387" y="705"/>
                  </a:lnTo>
                  <a:lnTo>
                    <a:pt x="1387" y="705"/>
                  </a:lnTo>
                  <a:lnTo>
                    <a:pt x="1387" y="705"/>
                  </a:lnTo>
                  <a:lnTo>
                    <a:pt x="1387" y="702"/>
                  </a:lnTo>
                  <a:lnTo>
                    <a:pt x="1387" y="702"/>
                  </a:lnTo>
                  <a:lnTo>
                    <a:pt x="1387" y="702"/>
                  </a:lnTo>
                  <a:lnTo>
                    <a:pt x="1389" y="702"/>
                  </a:lnTo>
                  <a:lnTo>
                    <a:pt x="1389" y="702"/>
                  </a:lnTo>
                  <a:lnTo>
                    <a:pt x="1389" y="702"/>
                  </a:lnTo>
                  <a:lnTo>
                    <a:pt x="1389" y="700"/>
                  </a:lnTo>
                  <a:lnTo>
                    <a:pt x="1389" y="697"/>
                  </a:lnTo>
                  <a:lnTo>
                    <a:pt x="1387" y="697"/>
                  </a:lnTo>
                  <a:lnTo>
                    <a:pt x="1387" y="697"/>
                  </a:lnTo>
                  <a:lnTo>
                    <a:pt x="1387" y="695"/>
                  </a:lnTo>
                  <a:lnTo>
                    <a:pt x="1387" y="695"/>
                  </a:lnTo>
                  <a:lnTo>
                    <a:pt x="1380" y="693"/>
                  </a:lnTo>
                  <a:lnTo>
                    <a:pt x="1370" y="690"/>
                  </a:lnTo>
                  <a:lnTo>
                    <a:pt x="1363" y="688"/>
                  </a:lnTo>
                  <a:lnTo>
                    <a:pt x="1363" y="690"/>
                  </a:lnTo>
                  <a:lnTo>
                    <a:pt x="1361" y="690"/>
                  </a:lnTo>
                  <a:lnTo>
                    <a:pt x="1361" y="690"/>
                  </a:lnTo>
                  <a:lnTo>
                    <a:pt x="1361" y="688"/>
                  </a:lnTo>
                  <a:lnTo>
                    <a:pt x="1358" y="688"/>
                  </a:lnTo>
                  <a:lnTo>
                    <a:pt x="1356" y="688"/>
                  </a:lnTo>
                  <a:lnTo>
                    <a:pt x="1354" y="688"/>
                  </a:lnTo>
                  <a:lnTo>
                    <a:pt x="1354" y="688"/>
                  </a:lnTo>
                  <a:lnTo>
                    <a:pt x="1354" y="686"/>
                  </a:lnTo>
                  <a:lnTo>
                    <a:pt x="1344" y="686"/>
                  </a:lnTo>
                  <a:lnTo>
                    <a:pt x="1344" y="686"/>
                  </a:lnTo>
                  <a:lnTo>
                    <a:pt x="1344" y="686"/>
                  </a:lnTo>
                  <a:lnTo>
                    <a:pt x="1344" y="683"/>
                  </a:lnTo>
                  <a:lnTo>
                    <a:pt x="1342" y="683"/>
                  </a:lnTo>
                  <a:lnTo>
                    <a:pt x="1342" y="683"/>
                  </a:lnTo>
                  <a:lnTo>
                    <a:pt x="1342" y="683"/>
                  </a:lnTo>
                  <a:lnTo>
                    <a:pt x="1344" y="681"/>
                  </a:lnTo>
                  <a:lnTo>
                    <a:pt x="1349" y="683"/>
                  </a:lnTo>
                  <a:lnTo>
                    <a:pt x="1351" y="683"/>
                  </a:lnTo>
                  <a:lnTo>
                    <a:pt x="1351" y="683"/>
                  </a:lnTo>
                  <a:lnTo>
                    <a:pt x="1351" y="683"/>
                  </a:lnTo>
                  <a:lnTo>
                    <a:pt x="1351" y="683"/>
                  </a:lnTo>
                  <a:lnTo>
                    <a:pt x="1351" y="681"/>
                  </a:lnTo>
                  <a:lnTo>
                    <a:pt x="1354" y="681"/>
                  </a:lnTo>
                  <a:lnTo>
                    <a:pt x="1354" y="683"/>
                  </a:lnTo>
                  <a:lnTo>
                    <a:pt x="1354" y="683"/>
                  </a:lnTo>
                  <a:lnTo>
                    <a:pt x="1358" y="686"/>
                  </a:lnTo>
                  <a:lnTo>
                    <a:pt x="1363" y="683"/>
                  </a:lnTo>
                  <a:lnTo>
                    <a:pt x="1363" y="683"/>
                  </a:lnTo>
                  <a:lnTo>
                    <a:pt x="1361" y="683"/>
                  </a:lnTo>
                  <a:lnTo>
                    <a:pt x="1361" y="681"/>
                  </a:lnTo>
                  <a:lnTo>
                    <a:pt x="1361" y="681"/>
                  </a:lnTo>
                  <a:lnTo>
                    <a:pt x="1361" y="681"/>
                  </a:lnTo>
                  <a:lnTo>
                    <a:pt x="1361" y="681"/>
                  </a:lnTo>
                  <a:lnTo>
                    <a:pt x="1361" y="681"/>
                  </a:lnTo>
                  <a:lnTo>
                    <a:pt x="1361" y="679"/>
                  </a:lnTo>
                  <a:lnTo>
                    <a:pt x="1361" y="679"/>
                  </a:lnTo>
                  <a:lnTo>
                    <a:pt x="1361" y="676"/>
                  </a:lnTo>
                  <a:lnTo>
                    <a:pt x="1356" y="674"/>
                  </a:lnTo>
                  <a:lnTo>
                    <a:pt x="1354" y="674"/>
                  </a:lnTo>
                  <a:lnTo>
                    <a:pt x="1354" y="671"/>
                  </a:lnTo>
                  <a:lnTo>
                    <a:pt x="1354" y="671"/>
                  </a:lnTo>
                  <a:lnTo>
                    <a:pt x="1351" y="669"/>
                  </a:lnTo>
                  <a:lnTo>
                    <a:pt x="1349" y="669"/>
                  </a:lnTo>
                  <a:lnTo>
                    <a:pt x="1349" y="669"/>
                  </a:lnTo>
                  <a:lnTo>
                    <a:pt x="1342" y="667"/>
                  </a:lnTo>
                  <a:lnTo>
                    <a:pt x="1337" y="669"/>
                  </a:lnTo>
                  <a:lnTo>
                    <a:pt x="1332" y="671"/>
                  </a:lnTo>
                  <a:lnTo>
                    <a:pt x="1332" y="671"/>
                  </a:lnTo>
                  <a:lnTo>
                    <a:pt x="1330" y="674"/>
                  </a:lnTo>
                  <a:lnTo>
                    <a:pt x="1328" y="674"/>
                  </a:lnTo>
                  <a:lnTo>
                    <a:pt x="1325" y="676"/>
                  </a:lnTo>
                  <a:lnTo>
                    <a:pt x="1325" y="676"/>
                  </a:lnTo>
                  <a:lnTo>
                    <a:pt x="1325" y="676"/>
                  </a:lnTo>
                  <a:lnTo>
                    <a:pt x="1323" y="674"/>
                  </a:lnTo>
                  <a:lnTo>
                    <a:pt x="1323" y="674"/>
                  </a:lnTo>
                  <a:lnTo>
                    <a:pt x="1318" y="676"/>
                  </a:lnTo>
                  <a:lnTo>
                    <a:pt x="1318" y="676"/>
                  </a:lnTo>
                  <a:lnTo>
                    <a:pt x="1316" y="676"/>
                  </a:lnTo>
                  <a:lnTo>
                    <a:pt x="1313" y="676"/>
                  </a:lnTo>
                  <a:lnTo>
                    <a:pt x="1313" y="674"/>
                  </a:lnTo>
                  <a:lnTo>
                    <a:pt x="1311" y="674"/>
                  </a:lnTo>
                  <a:lnTo>
                    <a:pt x="1311" y="676"/>
                  </a:lnTo>
                  <a:lnTo>
                    <a:pt x="1311" y="676"/>
                  </a:lnTo>
                  <a:lnTo>
                    <a:pt x="1311" y="679"/>
                  </a:lnTo>
                  <a:lnTo>
                    <a:pt x="1311" y="681"/>
                  </a:lnTo>
                  <a:lnTo>
                    <a:pt x="1309" y="681"/>
                  </a:lnTo>
                  <a:lnTo>
                    <a:pt x="1309" y="681"/>
                  </a:lnTo>
                  <a:lnTo>
                    <a:pt x="1309" y="681"/>
                  </a:lnTo>
                  <a:lnTo>
                    <a:pt x="1309" y="683"/>
                  </a:lnTo>
                  <a:lnTo>
                    <a:pt x="1309" y="683"/>
                  </a:lnTo>
                  <a:lnTo>
                    <a:pt x="1309" y="683"/>
                  </a:lnTo>
                  <a:lnTo>
                    <a:pt x="1306" y="686"/>
                  </a:lnTo>
                  <a:lnTo>
                    <a:pt x="1306" y="686"/>
                  </a:lnTo>
                  <a:lnTo>
                    <a:pt x="1306" y="688"/>
                  </a:lnTo>
                  <a:lnTo>
                    <a:pt x="1306" y="688"/>
                  </a:lnTo>
                  <a:lnTo>
                    <a:pt x="1306" y="688"/>
                  </a:lnTo>
                  <a:lnTo>
                    <a:pt x="1304" y="690"/>
                  </a:lnTo>
                  <a:lnTo>
                    <a:pt x="1302" y="693"/>
                  </a:lnTo>
                  <a:lnTo>
                    <a:pt x="1304" y="693"/>
                  </a:lnTo>
                  <a:lnTo>
                    <a:pt x="1304" y="693"/>
                  </a:lnTo>
                  <a:lnTo>
                    <a:pt x="1306" y="693"/>
                  </a:lnTo>
                  <a:lnTo>
                    <a:pt x="1304" y="695"/>
                  </a:lnTo>
                  <a:lnTo>
                    <a:pt x="1304" y="695"/>
                  </a:lnTo>
                  <a:lnTo>
                    <a:pt x="1302" y="693"/>
                  </a:lnTo>
                  <a:lnTo>
                    <a:pt x="1302" y="690"/>
                  </a:lnTo>
                  <a:lnTo>
                    <a:pt x="1302" y="690"/>
                  </a:lnTo>
                  <a:lnTo>
                    <a:pt x="1304" y="688"/>
                  </a:lnTo>
                  <a:lnTo>
                    <a:pt x="1304" y="688"/>
                  </a:lnTo>
                  <a:lnTo>
                    <a:pt x="1304" y="686"/>
                  </a:lnTo>
                  <a:lnTo>
                    <a:pt x="1304" y="686"/>
                  </a:lnTo>
                  <a:lnTo>
                    <a:pt x="1306" y="686"/>
                  </a:lnTo>
                  <a:lnTo>
                    <a:pt x="1306" y="683"/>
                  </a:lnTo>
                  <a:lnTo>
                    <a:pt x="1309" y="681"/>
                  </a:lnTo>
                  <a:lnTo>
                    <a:pt x="1306" y="681"/>
                  </a:lnTo>
                  <a:lnTo>
                    <a:pt x="1306" y="679"/>
                  </a:lnTo>
                  <a:lnTo>
                    <a:pt x="1309" y="679"/>
                  </a:lnTo>
                  <a:lnTo>
                    <a:pt x="1309" y="679"/>
                  </a:lnTo>
                  <a:lnTo>
                    <a:pt x="1309" y="676"/>
                  </a:lnTo>
                  <a:lnTo>
                    <a:pt x="1309" y="676"/>
                  </a:lnTo>
                  <a:lnTo>
                    <a:pt x="1309" y="676"/>
                  </a:lnTo>
                  <a:lnTo>
                    <a:pt x="1309" y="671"/>
                  </a:lnTo>
                  <a:lnTo>
                    <a:pt x="1309" y="671"/>
                  </a:lnTo>
                  <a:lnTo>
                    <a:pt x="1309" y="667"/>
                  </a:lnTo>
                  <a:lnTo>
                    <a:pt x="1309" y="667"/>
                  </a:lnTo>
                  <a:lnTo>
                    <a:pt x="1309" y="664"/>
                  </a:lnTo>
                  <a:lnTo>
                    <a:pt x="1309" y="664"/>
                  </a:lnTo>
                  <a:lnTo>
                    <a:pt x="1309" y="664"/>
                  </a:lnTo>
                  <a:lnTo>
                    <a:pt x="1306" y="664"/>
                  </a:lnTo>
                  <a:lnTo>
                    <a:pt x="1306" y="664"/>
                  </a:lnTo>
                  <a:lnTo>
                    <a:pt x="1306" y="664"/>
                  </a:lnTo>
                  <a:lnTo>
                    <a:pt x="1306" y="662"/>
                  </a:lnTo>
                  <a:lnTo>
                    <a:pt x="1306" y="662"/>
                  </a:lnTo>
                  <a:lnTo>
                    <a:pt x="1306" y="662"/>
                  </a:lnTo>
                  <a:lnTo>
                    <a:pt x="1304" y="660"/>
                  </a:lnTo>
                  <a:lnTo>
                    <a:pt x="1304" y="660"/>
                  </a:lnTo>
                  <a:lnTo>
                    <a:pt x="1304" y="660"/>
                  </a:lnTo>
                  <a:lnTo>
                    <a:pt x="1304" y="660"/>
                  </a:lnTo>
                  <a:lnTo>
                    <a:pt x="1304" y="660"/>
                  </a:lnTo>
                  <a:lnTo>
                    <a:pt x="1304" y="660"/>
                  </a:lnTo>
                  <a:lnTo>
                    <a:pt x="1302" y="657"/>
                  </a:lnTo>
                  <a:lnTo>
                    <a:pt x="1302" y="655"/>
                  </a:lnTo>
                  <a:lnTo>
                    <a:pt x="1299" y="655"/>
                  </a:lnTo>
                  <a:lnTo>
                    <a:pt x="1299" y="653"/>
                  </a:lnTo>
                  <a:lnTo>
                    <a:pt x="1299" y="653"/>
                  </a:lnTo>
                  <a:lnTo>
                    <a:pt x="1297" y="650"/>
                  </a:lnTo>
                  <a:lnTo>
                    <a:pt x="1297" y="650"/>
                  </a:lnTo>
                  <a:lnTo>
                    <a:pt x="1295" y="650"/>
                  </a:lnTo>
                  <a:lnTo>
                    <a:pt x="1292" y="650"/>
                  </a:lnTo>
                  <a:lnTo>
                    <a:pt x="1292" y="650"/>
                  </a:lnTo>
                  <a:lnTo>
                    <a:pt x="1292" y="650"/>
                  </a:lnTo>
                  <a:lnTo>
                    <a:pt x="1292" y="653"/>
                  </a:lnTo>
                  <a:lnTo>
                    <a:pt x="1290" y="655"/>
                  </a:lnTo>
                  <a:lnTo>
                    <a:pt x="1287" y="655"/>
                  </a:lnTo>
                  <a:lnTo>
                    <a:pt x="1287" y="655"/>
                  </a:lnTo>
                  <a:lnTo>
                    <a:pt x="1287" y="653"/>
                  </a:lnTo>
                  <a:lnTo>
                    <a:pt x="1287" y="653"/>
                  </a:lnTo>
                  <a:lnTo>
                    <a:pt x="1287" y="653"/>
                  </a:lnTo>
                  <a:lnTo>
                    <a:pt x="1287" y="653"/>
                  </a:lnTo>
                  <a:lnTo>
                    <a:pt x="1287" y="653"/>
                  </a:lnTo>
                  <a:lnTo>
                    <a:pt x="1285" y="653"/>
                  </a:lnTo>
                  <a:lnTo>
                    <a:pt x="1283" y="653"/>
                  </a:lnTo>
                  <a:lnTo>
                    <a:pt x="1283" y="650"/>
                  </a:lnTo>
                  <a:lnTo>
                    <a:pt x="1283" y="650"/>
                  </a:lnTo>
                  <a:lnTo>
                    <a:pt x="1283" y="650"/>
                  </a:lnTo>
                  <a:lnTo>
                    <a:pt x="1283" y="650"/>
                  </a:lnTo>
                  <a:lnTo>
                    <a:pt x="1283" y="650"/>
                  </a:lnTo>
                  <a:lnTo>
                    <a:pt x="1283" y="648"/>
                  </a:lnTo>
                  <a:lnTo>
                    <a:pt x="1283" y="648"/>
                  </a:lnTo>
                  <a:lnTo>
                    <a:pt x="1283" y="648"/>
                  </a:lnTo>
                  <a:lnTo>
                    <a:pt x="1276" y="648"/>
                  </a:lnTo>
                  <a:lnTo>
                    <a:pt x="1273" y="648"/>
                  </a:lnTo>
                  <a:lnTo>
                    <a:pt x="1273" y="645"/>
                  </a:lnTo>
                  <a:lnTo>
                    <a:pt x="1269" y="645"/>
                  </a:lnTo>
                  <a:lnTo>
                    <a:pt x="1269" y="645"/>
                  </a:lnTo>
                  <a:lnTo>
                    <a:pt x="1266" y="643"/>
                  </a:lnTo>
                  <a:lnTo>
                    <a:pt x="1266" y="643"/>
                  </a:lnTo>
                  <a:lnTo>
                    <a:pt x="1266" y="641"/>
                  </a:lnTo>
                  <a:lnTo>
                    <a:pt x="1264" y="641"/>
                  </a:lnTo>
                  <a:lnTo>
                    <a:pt x="1259" y="641"/>
                  </a:lnTo>
                  <a:lnTo>
                    <a:pt x="1259" y="641"/>
                  </a:lnTo>
                  <a:lnTo>
                    <a:pt x="1257" y="641"/>
                  </a:lnTo>
                  <a:lnTo>
                    <a:pt x="1254" y="643"/>
                  </a:lnTo>
                  <a:lnTo>
                    <a:pt x="1247" y="643"/>
                  </a:lnTo>
                  <a:lnTo>
                    <a:pt x="1247" y="645"/>
                  </a:lnTo>
                  <a:lnTo>
                    <a:pt x="1247" y="645"/>
                  </a:lnTo>
                  <a:lnTo>
                    <a:pt x="1247" y="645"/>
                  </a:lnTo>
                  <a:lnTo>
                    <a:pt x="1247" y="645"/>
                  </a:lnTo>
                  <a:lnTo>
                    <a:pt x="1247" y="645"/>
                  </a:lnTo>
                  <a:lnTo>
                    <a:pt x="1250" y="645"/>
                  </a:lnTo>
                  <a:lnTo>
                    <a:pt x="1250" y="648"/>
                  </a:lnTo>
                  <a:lnTo>
                    <a:pt x="1247" y="648"/>
                  </a:lnTo>
                  <a:lnTo>
                    <a:pt x="1247" y="648"/>
                  </a:lnTo>
                  <a:lnTo>
                    <a:pt x="1247" y="648"/>
                  </a:lnTo>
                  <a:lnTo>
                    <a:pt x="1247" y="648"/>
                  </a:lnTo>
                  <a:lnTo>
                    <a:pt x="1245" y="650"/>
                  </a:lnTo>
                  <a:lnTo>
                    <a:pt x="1245" y="650"/>
                  </a:lnTo>
                  <a:lnTo>
                    <a:pt x="1245" y="650"/>
                  </a:lnTo>
                  <a:lnTo>
                    <a:pt x="1245" y="650"/>
                  </a:lnTo>
                  <a:lnTo>
                    <a:pt x="1245" y="650"/>
                  </a:lnTo>
                  <a:lnTo>
                    <a:pt x="1245" y="650"/>
                  </a:lnTo>
                  <a:lnTo>
                    <a:pt x="1240" y="648"/>
                  </a:lnTo>
                  <a:lnTo>
                    <a:pt x="1240" y="648"/>
                  </a:lnTo>
                  <a:lnTo>
                    <a:pt x="1240" y="648"/>
                  </a:lnTo>
                  <a:lnTo>
                    <a:pt x="1238" y="648"/>
                  </a:lnTo>
                  <a:lnTo>
                    <a:pt x="1238" y="650"/>
                  </a:lnTo>
                  <a:lnTo>
                    <a:pt x="1240" y="650"/>
                  </a:lnTo>
                  <a:lnTo>
                    <a:pt x="1240" y="650"/>
                  </a:lnTo>
                  <a:lnTo>
                    <a:pt x="1242" y="650"/>
                  </a:lnTo>
                  <a:lnTo>
                    <a:pt x="1240" y="653"/>
                  </a:lnTo>
                  <a:lnTo>
                    <a:pt x="1240" y="653"/>
                  </a:lnTo>
                  <a:lnTo>
                    <a:pt x="1238" y="653"/>
                  </a:lnTo>
                  <a:lnTo>
                    <a:pt x="1238" y="655"/>
                  </a:lnTo>
                  <a:lnTo>
                    <a:pt x="1238" y="657"/>
                  </a:lnTo>
                  <a:lnTo>
                    <a:pt x="1238" y="657"/>
                  </a:lnTo>
                  <a:lnTo>
                    <a:pt x="1240" y="657"/>
                  </a:lnTo>
                  <a:lnTo>
                    <a:pt x="1240" y="657"/>
                  </a:lnTo>
                  <a:lnTo>
                    <a:pt x="1242" y="657"/>
                  </a:lnTo>
                  <a:lnTo>
                    <a:pt x="1242" y="660"/>
                  </a:lnTo>
                  <a:lnTo>
                    <a:pt x="1242" y="660"/>
                  </a:lnTo>
                  <a:lnTo>
                    <a:pt x="1250" y="662"/>
                  </a:lnTo>
                  <a:lnTo>
                    <a:pt x="1247" y="664"/>
                  </a:lnTo>
                  <a:lnTo>
                    <a:pt x="1247" y="664"/>
                  </a:lnTo>
                  <a:lnTo>
                    <a:pt x="1245" y="664"/>
                  </a:lnTo>
                  <a:lnTo>
                    <a:pt x="1245" y="662"/>
                  </a:lnTo>
                  <a:lnTo>
                    <a:pt x="1245" y="662"/>
                  </a:lnTo>
                  <a:lnTo>
                    <a:pt x="1245" y="662"/>
                  </a:lnTo>
                  <a:lnTo>
                    <a:pt x="1245" y="662"/>
                  </a:lnTo>
                  <a:lnTo>
                    <a:pt x="1245" y="664"/>
                  </a:lnTo>
                  <a:lnTo>
                    <a:pt x="1245" y="664"/>
                  </a:lnTo>
                  <a:lnTo>
                    <a:pt x="1245" y="664"/>
                  </a:lnTo>
                  <a:lnTo>
                    <a:pt x="1245" y="664"/>
                  </a:lnTo>
                  <a:lnTo>
                    <a:pt x="1242" y="664"/>
                  </a:lnTo>
                  <a:lnTo>
                    <a:pt x="1245" y="667"/>
                  </a:lnTo>
                  <a:lnTo>
                    <a:pt x="1245" y="667"/>
                  </a:lnTo>
                  <a:lnTo>
                    <a:pt x="1245" y="664"/>
                  </a:lnTo>
                  <a:lnTo>
                    <a:pt x="1245" y="664"/>
                  </a:lnTo>
                  <a:lnTo>
                    <a:pt x="1247" y="667"/>
                  </a:lnTo>
                  <a:lnTo>
                    <a:pt x="1247" y="667"/>
                  </a:lnTo>
                  <a:lnTo>
                    <a:pt x="1247" y="667"/>
                  </a:lnTo>
                  <a:lnTo>
                    <a:pt x="1250" y="667"/>
                  </a:lnTo>
                  <a:lnTo>
                    <a:pt x="1250" y="667"/>
                  </a:lnTo>
                  <a:lnTo>
                    <a:pt x="1247" y="669"/>
                  </a:lnTo>
                  <a:lnTo>
                    <a:pt x="1247" y="669"/>
                  </a:lnTo>
                  <a:lnTo>
                    <a:pt x="1245" y="667"/>
                  </a:lnTo>
                  <a:lnTo>
                    <a:pt x="1245" y="667"/>
                  </a:lnTo>
                  <a:lnTo>
                    <a:pt x="1245" y="667"/>
                  </a:lnTo>
                  <a:lnTo>
                    <a:pt x="1245" y="667"/>
                  </a:lnTo>
                  <a:lnTo>
                    <a:pt x="1242" y="667"/>
                  </a:lnTo>
                  <a:lnTo>
                    <a:pt x="1242" y="667"/>
                  </a:lnTo>
                  <a:lnTo>
                    <a:pt x="1242" y="667"/>
                  </a:lnTo>
                  <a:lnTo>
                    <a:pt x="1242" y="667"/>
                  </a:lnTo>
                  <a:lnTo>
                    <a:pt x="1242" y="667"/>
                  </a:lnTo>
                  <a:lnTo>
                    <a:pt x="1240" y="664"/>
                  </a:lnTo>
                  <a:lnTo>
                    <a:pt x="1240" y="664"/>
                  </a:lnTo>
                  <a:lnTo>
                    <a:pt x="1240" y="664"/>
                  </a:lnTo>
                  <a:lnTo>
                    <a:pt x="1240" y="664"/>
                  </a:lnTo>
                  <a:lnTo>
                    <a:pt x="1240" y="664"/>
                  </a:lnTo>
                  <a:lnTo>
                    <a:pt x="1240" y="664"/>
                  </a:lnTo>
                  <a:lnTo>
                    <a:pt x="1238" y="662"/>
                  </a:lnTo>
                  <a:lnTo>
                    <a:pt x="1238" y="662"/>
                  </a:lnTo>
                  <a:lnTo>
                    <a:pt x="1238" y="664"/>
                  </a:lnTo>
                  <a:lnTo>
                    <a:pt x="1238" y="664"/>
                  </a:lnTo>
                  <a:lnTo>
                    <a:pt x="1238" y="667"/>
                  </a:lnTo>
                  <a:lnTo>
                    <a:pt x="1238" y="667"/>
                  </a:lnTo>
                  <a:lnTo>
                    <a:pt x="1238" y="667"/>
                  </a:lnTo>
                  <a:lnTo>
                    <a:pt x="1238" y="667"/>
                  </a:lnTo>
                  <a:lnTo>
                    <a:pt x="1238" y="669"/>
                  </a:lnTo>
                  <a:lnTo>
                    <a:pt x="1238" y="669"/>
                  </a:lnTo>
                  <a:lnTo>
                    <a:pt x="1235" y="669"/>
                  </a:lnTo>
                  <a:lnTo>
                    <a:pt x="1238" y="671"/>
                  </a:lnTo>
                  <a:lnTo>
                    <a:pt x="1238" y="671"/>
                  </a:lnTo>
                  <a:lnTo>
                    <a:pt x="1240" y="671"/>
                  </a:lnTo>
                  <a:lnTo>
                    <a:pt x="1242" y="671"/>
                  </a:lnTo>
                  <a:lnTo>
                    <a:pt x="1245" y="671"/>
                  </a:lnTo>
                  <a:lnTo>
                    <a:pt x="1245" y="674"/>
                  </a:lnTo>
                  <a:lnTo>
                    <a:pt x="1247" y="674"/>
                  </a:lnTo>
                  <a:lnTo>
                    <a:pt x="1247" y="674"/>
                  </a:lnTo>
                  <a:lnTo>
                    <a:pt x="1247" y="676"/>
                  </a:lnTo>
                  <a:lnTo>
                    <a:pt x="1247" y="676"/>
                  </a:lnTo>
                  <a:lnTo>
                    <a:pt x="1247" y="676"/>
                  </a:lnTo>
                  <a:lnTo>
                    <a:pt x="1252" y="676"/>
                  </a:lnTo>
                  <a:lnTo>
                    <a:pt x="1250" y="679"/>
                  </a:lnTo>
                  <a:lnTo>
                    <a:pt x="1250" y="679"/>
                  </a:lnTo>
                  <a:lnTo>
                    <a:pt x="1252" y="679"/>
                  </a:lnTo>
                  <a:lnTo>
                    <a:pt x="1252" y="679"/>
                  </a:lnTo>
                  <a:lnTo>
                    <a:pt x="1252" y="681"/>
                  </a:lnTo>
                  <a:lnTo>
                    <a:pt x="1252" y="681"/>
                  </a:lnTo>
                  <a:lnTo>
                    <a:pt x="1252" y="681"/>
                  </a:lnTo>
                  <a:lnTo>
                    <a:pt x="1254" y="681"/>
                  </a:lnTo>
                  <a:lnTo>
                    <a:pt x="1254" y="681"/>
                  </a:lnTo>
                  <a:lnTo>
                    <a:pt x="1257" y="681"/>
                  </a:lnTo>
                  <a:lnTo>
                    <a:pt x="1254" y="681"/>
                  </a:lnTo>
                  <a:lnTo>
                    <a:pt x="1254" y="683"/>
                  </a:lnTo>
                  <a:lnTo>
                    <a:pt x="1254" y="683"/>
                  </a:lnTo>
                  <a:lnTo>
                    <a:pt x="1254" y="683"/>
                  </a:lnTo>
                  <a:lnTo>
                    <a:pt x="1257" y="683"/>
                  </a:lnTo>
                  <a:lnTo>
                    <a:pt x="1259" y="683"/>
                  </a:lnTo>
                  <a:lnTo>
                    <a:pt x="1259" y="683"/>
                  </a:lnTo>
                  <a:lnTo>
                    <a:pt x="1259" y="683"/>
                  </a:lnTo>
                  <a:lnTo>
                    <a:pt x="1259" y="683"/>
                  </a:lnTo>
                  <a:lnTo>
                    <a:pt x="1261" y="683"/>
                  </a:lnTo>
                  <a:lnTo>
                    <a:pt x="1261" y="679"/>
                  </a:lnTo>
                  <a:lnTo>
                    <a:pt x="1264" y="679"/>
                  </a:lnTo>
                  <a:lnTo>
                    <a:pt x="1264" y="679"/>
                  </a:lnTo>
                  <a:lnTo>
                    <a:pt x="1264" y="681"/>
                  </a:lnTo>
                  <a:lnTo>
                    <a:pt x="1261" y="686"/>
                  </a:lnTo>
                  <a:lnTo>
                    <a:pt x="1261" y="686"/>
                  </a:lnTo>
                  <a:lnTo>
                    <a:pt x="1259" y="686"/>
                  </a:lnTo>
                  <a:lnTo>
                    <a:pt x="1254" y="686"/>
                  </a:lnTo>
                  <a:lnTo>
                    <a:pt x="1254" y="686"/>
                  </a:lnTo>
                  <a:lnTo>
                    <a:pt x="1254" y="688"/>
                  </a:lnTo>
                  <a:lnTo>
                    <a:pt x="1254" y="690"/>
                  </a:lnTo>
                  <a:lnTo>
                    <a:pt x="1257" y="693"/>
                  </a:lnTo>
                  <a:lnTo>
                    <a:pt x="1259" y="695"/>
                  </a:lnTo>
                  <a:lnTo>
                    <a:pt x="1259" y="695"/>
                  </a:lnTo>
                  <a:lnTo>
                    <a:pt x="1259" y="697"/>
                  </a:lnTo>
                  <a:lnTo>
                    <a:pt x="1264" y="697"/>
                  </a:lnTo>
                  <a:lnTo>
                    <a:pt x="1266" y="695"/>
                  </a:lnTo>
                  <a:lnTo>
                    <a:pt x="1269" y="695"/>
                  </a:lnTo>
                  <a:lnTo>
                    <a:pt x="1269" y="697"/>
                  </a:lnTo>
                  <a:lnTo>
                    <a:pt x="1266" y="697"/>
                  </a:lnTo>
                  <a:lnTo>
                    <a:pt x="1266" y="697"/>
                  </a:lnTo>
                  <a:lnTo>
                    <a:pt x="1266" y="697"/>
                  </a:lnTo>
                  <a:lnTo>
                    <a:pt x="1266" y="700"/>
                  </a:lnTo>
                  <a:lnTo>
                    <a:pt x="1269" y="700"/>
                  </a:lnTo>
                  <a:lnTo>
                    <a:pt x="1269" y="700"/>
                  </a:lnTo>
                  <a:lnTo>
                    <a:pt x="1269" y="697"/>
                  </a:lnTo>
                  <a:lnTo>
                    <a:pt x="1269" y="697"/>
                  </a:lnTo>
                  <a:lnTo>
                    <a:pt x="1271" y="697"/>
                  </a:lnTo>
                  <a:lnTo>
                    <a:pt x="1271" y="697"/>
                  </a:lnTo>
                  <a:lnTo>
                    <a:pt x="1271" y="697"/>
                  </a:lnTo>
                  <a:lnTo>
                    <a:pt x="1271" y="700"/>
                  </a:lnTo>
                  <a:lnTo>
                    <a:pt x="1273" y="700"/>
                  </a:lnTo>
                  <a:lnTo>
                    <a:pt x="1273" y="700"/>
                  </a:lnTo>
                  <a:lnTo>
                    <a:pt x="1273" y="697"/>
                  </a:lnTo>
                  <a:lnTo>
                    <a:pt x="1278" y="700"/>
                  </a:lnTo>
                  <a:lnTo>
                    <a:pt x="1280" y="702"/>
                  </a:lnTo>
                  <a:lnTo>
                    <a:pt x="1280" y="702"/>
                  </a:lnTo>
                  <a:lnTo>
                    <a:pt x="1278" y="702"/>
                  </a:lnTo>
                  <a:lnTo>
                    <a:pt x="1278" y="702"/>
                  </a:lnTo>
                  <a:lnTo>
                    <a:pt x="1278" y="702"/>
                  </a:lnTo>
                  <a:lnTo>
                    <a:pt x="1278" y="702"/>
                  </a:lnTo>
                  <a:lnTo>
                    <a:pt x="1278" y="702"/>
                  </a:lnTo>
                  <a:lnTo>
                    <a:pt x="1278" y="702"/>
                  </a:lnTo>
                  <a:lnTo>
                    <a:pt x="1278" y="700"/>
                  </a:lnTo>
                  <a:lnTo>
                    <a:pt x="1276" y="702"/>
                  </a:lnTo>
                  <a:lnTo>
                    <a:pt x="1273" y="702"/>
                  </a:lnTo>
                  <a:lnTo>
                    <a:pt x="1273" y="702"/>
                  </a:lnTo>
                  <a:lnTo>
                    <a:pt x="1273" y="702"/>
                  </a:lnTo>
                  <a:lnTo>
                    <a:pt x="1273" y="702"/>
                  </a:lnTo>
                  <a:lnTo>
                    <a:pt x="1273" y="702"/>
                  </a:lnTo>
                  <a:lnTo>
                    <a:pt x="1271" y="705"/>
                  </a:lnTo>
                  <a:lnTo>
                    <a:pt x="1269" y="705"/>
                  </a:lnTo>
                  <a:lnTo>
                    <a:pt x="1269" y="705"/>
                  </a:lnTo>
                  <a:lnTo>
                    <a:pt x="1269" y="705"/>
                  </a:lnTo>
                  <a:lnTo>
                    <a:pt x="1269" y="707"/>
                  </a:lnTo>
                  <a:lnTo>
                    <a:pt x="1269" y="707"/>
                  </a:lnTo>
                  <a:lnTo>
                    <a:pt x="1269" y="707"/>
                  </a:lnTo>
                  <a:lnTo>
                    <a:pt x="1269" y="709"/>
                  </a:lnTo>
                  <a:lnTo>
                    <a:pt x="1269" y="709"/>
                  </a:lnTo>
                  <a:lnTo>
                    <a:pt x="1273" y="709"/>
                  </a:lnTo>
                  <a:lnTo>
                    <a:pt x="1273" y="709"/>
                  </a:lnTo>
                  <a:lnTo>
                    <a:pt x="1276" y="709"/>
                  </a:lnTo>
                  <a:lnTo>
                    <a:pt x="1276" y="709"/>
                  </a:lnTo>
                  <a:lnTo>
                    <a:pt x="1276" y="709"/>
                  </a:lnTo>
                  <a:lnTo>
                    <a:pt x="1276" y="707"/>
                  </a:lnTo>
                  <a:lnTo>
                    <a:pt x="1278" y="707"/>
                  </a:lnTo>
                  <a:lnTo>
                    <a:pt x="1280" y="705"/>
                  </a:lnTo>
                  <a:lnTo>
                    <a:pt x="1280" y="702"/>
                  </a:lnTo>
                  <a:lnTo>
                    <a:pt x="1280" y="702"/>
                  </a:lnTo>
                  <a:lnTo>
                    <a:pt x="1283" y="702"/>
                  </a:lnTo>
                  <a:lnTo>
                    <a:pt x="1283" y="702"/>
                  </a:lnTo>
                  <a:lnTo>
                    <a:pt x="1283" y="702"/>
                  </a:lnTo>
                  <a:lnTo>
                    <a:pt x="1283" y="705"/>
                  </a:lnTo>
                  <a:lnTo>
                    <a:pt x="1283" y="705"/>
                  </a:lnTo>
                  <a:lnTo>
                    <a:pt x="1283" y="705"/>
                  </a:lnTo>
                  <a:lnTo>
                    <a:pt x="1283" y="705"/>
                  </a:lnTo>
                  <a:lnTo>
                    <a:pt x="1292" y="705"/>
                  </a:lnTo>
                  <a:lnTo>
                    <a:pt x="1295" y="707"/>
                  </a:lnTo>
                  <a:lnTo>
                    <a:pt x="1295" y="707"/>
                  </a:lnTo>
                  <a:lnTo>
                    <a:pt x="1297" y="707"/>
                  </a:lnTo>
                  <a:lnTo>
                    <a:pt x="1299" y="705"/>
                  </a:lnTo>
                  <a:lnTo>
                    <a:pt x="1302" y="707"/>
                  </a:lnTo>
                  <a:lnTo>
                    <a:pt x="1302" y="707"/>
                  </a:lnTo>
                  <a:lnTo>
                    <a:pt x="1302" y="705"/>
                  </a:lnTo>
                  <a:lnTo>
                    <a:pt x="1302" y="705"/>
                  </a:lnTo>
                  <a:lnTo>
                    <a:pt x="1299" y="705"/>
                  </a:lnTo>
                  <a:lnTo>
                    <a:pt x="1299" y="702"/>
                  </a:lnTo>
                  <a:lnTo>
                    <a:pt x="1302" y="702"/>
                  </a:lnTo>
                  <a:lnTo>
                    <a:pt x="1302" y="700"/>
                  </a:lnTo>
                  <a:lnTo>
                    <a:pt x="1302" y="700"/>
                  </a:lnTo>
                  <a:lnTo>
                    <a:pt x="1302" y="700"/>
                  </a:lnTo>
                  <a:lnTo>
                    <a:pt x="1302" y="702"/>
                  </a:lnTo>
                  <a:lnTo>
                    <a:pt x="1302" y="702"/>
                  </a:lnTo>
                  <a:lnTo>
                    <a:pt x="1302" y="702"/>
                  </a:lnTo>
                  <a:lnTo>
                    <a:pt x="1302" y="702"/>
                  </a:lnTo>
                  <a:lnTo>
                    <a:pt x="1304" y="702"/>
                  </a:lnTo>
                  <a:lnTo>
                    <a:pt x="1309" y="697"/>
                  </a:lnTo>
                  <a:lnTo>
                    <a:pt x="1311" y="695"/>
                  </a:lnTo>
                  <a:lnTo>
                    <a:pt x="1311" y="695"/>
                  </a:lnTo>
                  <a:lnTo>
                    <a:pt x="1313" y="697"/>
                  </a:lnTo>
                  <a:lnTo>
                    <a:pt x="1313" y="697"/>
                  </a:lnTo>
                  <a:lnTo>
                    <a:pt x="1313" y="697"/>
                  </a:lnTo>
                  <a:lnTo>
                    <a:pt x="1313" y="697"/>
                  </a:lnTo>
                  <a:lnTo>
                    <a:pt x="1313" y="697"/>
                  </a:lnTo>
                  <a:lnTo>
                    <a:pt x="1313" y="700"/>
                  </a:lnTo>
                  <a:lnTo>
                    <a:pt x="1313" y="700"/>
                  </a:lnTo>
                  <a:lnTo>
                    <a:pt x="1313" y="700"/>
                  </a:lnTo>
                  <a:lnTo>
                    <a:pt x="1313" y="702"/>
                  </a:lnTo>
                  <a:lnTo>
                    <a:pt x="1313" y="702"/>
                  </a:lnTo>
                  <a:lnTo>
                    <a:pt x="1316" y="705"/>
                  </a:lnTo>
                  <a:lnTo>
                    <a:pt x="1316" y="707"/>
                  </a:lnTo>
                  <a:lnTo>
                    <a:pt x="1318" y="707"/>
                  </a:lnTo>
                  <a:lnTo>
                    <a:pt x="1318" y="709"/>
                  </a:lnTo>
                  <a:lnTo>
                    <a:pt x="1318" y="709"/>
                  </a:lnTo>
                  <a:lnTo>
                    <a:pt x="1321" y="712"/>
                  </a:lnTo>
                  <a:lnTo>
                    <a:pt x="1321" y="712"/>
                  </a:lnTo>
                  <a:lnTo>
                    <a:pt x="1321" y="714"/>
                  </a:lnTo>
                  <a:lnTo>
                    <a:pt x="1321" y="714"/>
                  </a:lnTo>
                  <a:lnTo>
                    <a:pt x="1323" y="714"/>
                  </a:lnTo>
                  <a:lnTo>
                    <a:pt x="1323" y="716"/>
                  </a:lnTo>
                  <a:lnTo>
                    <a:pt x="1323" y="716"/>
                  </a:lnTo>
                  <a:lnTo>
                    <a:pt x="1323" y="719"/>
                  </a:lnTo>
                  <a:lnTo>
                    <a:pt x="1323" y="719"/>
                  </a:lnTo>
                  <a:lnTo>
                    <a:pt x="1323" y="719"/>
                  </a:lnTo>
                  <a:lnTo>
                    <a:pt x="1323" y="719"/>
                  </a:lnTo>
                  <a:lnTo>
                    <a:pt x="1323" y="721"/>
                  </a:lnTo>
                  <a:lnTo>
                    <a:pt x="1323" y="721"/>
                  </a:lnTo>
                  <a:lnTo>
                    <a:pt x="1323" y="723"/>
                  </a:lnTo>
                  <a:lnTo>
                    <a:pt x="1323" y="723"/>
                  </a:lnTo>
                  <a:lnTo>
                    <a:pt x="1325" y="726"/>
                  </a:lnTo>
                  <a:lnTo>
                    <a:pt x="1325" y="726"/>
                  </a:lnTo>
                  <a:lnTo>
                    <a:pt x="1325" y="726"/>
                  </a:lnTo>
                  <a:lnTo>
                    <a:pt x="1325" y="726"/>
                  </a:lnTo>
                  <a:lnTo>
                    <a:pt x="1325" y="728"/>
                  </a:lnTo>
                  <a:lnTo>
                    <a:pt x="1325" y="728"/>
                  </a:lnTo>
                  <a:lnTo>
                    <a:pt x="1325" y="728"/>
                  </a:lnTo>
                  <a:lnTo>
                    <a:pt x="1328" y="728"/>
                  </a:lnTo>
                  <a:lnTo>
                    <a:pt x="1328" y="728"/>
                  </a:lnTo>
                  <a:lnTo>
                    <a:pt x="1328" y="728"/>
                  </a:lnTo>
                  <a:lnTo>
                    <a:pt x="1328" y="731"/>
                  </a:lnTo>
                  <a:lnTo>
                    <a:pt x="1328" y="731"/>
                  </a:lnTo>
                  <a:lnTo>
                    <a:pt x="1332" y="733"/>
                  </a:lnTo>
                  <a:lnTo>
                    <a:pt x="1332" y="733"/>
                  </a:lnTo>
                  <a:lnTo>
                    <a:pt x="1335" y="735"/>
                  </a:lnTo>
                  <a:lnTo>
                    <a:pt x="1335" y="735"/>
                  </a:lnTo>
                  <a:lnTo>
                    <a:pt x="1335" y="735"/>
                  </a:lnTo>
                  <a:lnTo>
                    <a:pt x="1335" y="740"/>
                  </a:lnTo>
                  <a:lnTo>
                    <a:pt x="1335" y="740"/>
                  </a:lnTo>
                  <a:lnTo>
                    <a:pt x="1335" y="740"/>
                  </a:lnTo>
                  <a:lnTo>
                    <a:pt x="1335" y="742"/>
                  </a:lnTo>
                  <a:lnTo>
                    <a:pt x="1335" y="745"/>
                  </a:lnTo>
                  <a:lnTo>
                    <a:pt x="1335" y="745"/>
                  </a:lnTo>
                  <a:lnTo>
                    <a:pt x="1335" y="747"/>
                  </a:lnTo>
                  <a:lnTo>
                    <a:pt x="1337" y="750"/>
                  </a:lnTo>
                  <a:lnTo>
                    <a:pt x="1337" y="752"/>
                  </a:lnTo>
                  <a:lnTo>
                    <a:pt x="1337" y="752"/>
                  </a:lnTo>
                  <a:lnTo>
                    <a:pt x="1337" y="752"/>
                  </a:lnTo>
                  <a:lnTo>
                    <a:pt x="1337" y="754"/>
                  </a:lnTo>
                  <a:lnTo>
                    <a:pt x="1337" y="754"/>
                  </a:lnTo>
                  <a:lnTo>
                    <a:pt x="1337" y="757"/>
                  </a:lnTo>
                  <a:lnTo>
                    <a:pt x="1337" y="757"/>
                  </a:lnTo>
                  <a:lnTo>
                    <a:pt x="1337" y="757"/>
                  </a:lnTo>
                  <a:lnTo>
                    <a:pt x="1337" y="759"/>
                  </a:lnTo>
                  <a:lnTo>
                    <a:pt x="1337" y="759"/>
                  </a:lnTo>
                  <a:lnTo>
                    <a:pt x="1335" y="761"/>
                  </a:lnTo>
                  <a:lnTo>
                    <a:pt x="1335" y="761"/>
                  </a:lnTo>
                  <a:lnTo>
                    <a:pt x="1335" y="764"/>
                  </a:lnTo>
                  <a:lnTo>
                    <a:pt x="1332" y="764"/>
                  </a:lnTo>
                  <a:lnTo>
                    <a:pt x="1332" y="764"/>
                  </a:lnTo>
                  <a:lnTo>
                    <a:pt x="1332" y="768"/>
                  </a:lnTo>
                  <a:lnTo>
                    <a:pt x="1330" y="776"/>
                  </a:lnTo>
                  <a:lnTo>
                    <a:pt x="1330" y="776"/>
                  </a:lnTo>
                  <a:lnTo>
                    <a:pt x="1332" y="776"/>
                  </a:lnTo>
                  <a:lnTo>
                    <a:pt x="1332" y="776"/>
                  </a:lnTo>
                  <a:lnTo>
                    <a:pt x="1332" y="776"/>
                  </a:lnTo>
                  <a:lnTo>
                    <a:pt x="1332" y="778"/>
                  </a:lnTo>
                  <a:lnTo>
                    <a:pt x="1330" y="778"/>
                  </a:lnTo>
                  <a:lnTo>
                    <a:pt x="1330" y="780"/>
                  </a:lnTo>
                  <a:lnTo>
                    <a:pt x="1330" y="783"/>
                  </a:lnTo>
                  <a:lnTo>
                    <a:pt x="1330" y="783"/>
                  </a:lnTo>
                  <a:lnTo>
                    <a:pt x="1330" y="785"/>
                  </a:lnTo>
                  <a:lnTo>
                    <a:pt x="1330" y="785"/>
                  </a:lnTo>
                  <a:lnTo>
                    <a:pt x="1330" y="787"/>
                  </a:lnTo>
                  <a:lnTo>
                    <a:pt x="1330" y="787"/>
                  </a:lnTo>
                  <a:lnTo>
                    <a:pt x="1330" y="787"/>
                  </a:lnTo>
                  <a:lnTo>
                    <a:pt x="1330" y="790"/>
                  </a:lnTo>
                  <a:lnTo>
                    <a:pt x="1332" y="790"/>
                  </a:lnTo>
                  <a:lnTo>
                    <a:pt x="1332" y="790"/>
                  </a:lnTo>
                  <a:lnTo>
                    <a:pt x="1332" y="792"/>
                  </a:lnTo>
                  <a:lnTo>
                    <a:pt x="1332" y="792"/>
                  </a:lnTo>
                  <a:lnTo>
                    <a:pt x="1332" y="792"/>
                  </a:lnTo>
                  <a:lnTo>
                    <a:pt x="1335" y="792"/>
                  </a:lnTo>
                  <a:lnTo>
                    <a:pt x="1335" y="792"/>
                  </a:lnTo>
                  <a:lnTo>
                    <a:pt x="1335" y="794"/>
                  </a:lnTo>
                  <a:lnTo>
                    <a:pt x="1335" y="794"/>
                  </a:lnTo>
                  <a:lnTo>
                    <a:pt x="1337" y="794"/>
                  </a:lnTo>
                  <a:lnTo>
                    <a:pt x="1340" y="792"/>
                  </a:lnTo>
                  <a:lnTo>
                    <a:pt x="1340" y="792"/>
                  </a:lnTo>
                  <a:lnTo>
                    <a:pt x="1340" y="794"/>
                  </a:lnTo>
                  <a:lnTo>
                    <a:pt x="1340" y="794"/>
                  </a:lnTo>
                  <a:lnTo>
                    <a:pt x="1340" y="794"/>
                  </a:lnTo>
                  <a:lnTo>
                    <a:pt x="1342" y="797"/>
                  </a:lnTo>
                  <a:lnTo>
                    <a:pt x="1340" y="799"/>
                  </a:lnTo>
                  <a:lnTo>
                    <a:pt x="1337" y="797"/>
                  </a:lnTo>
                  <a:lnTo>
                    <a:pt x="1337" y="799"/>
                  </a:lnTo>
                  <a:lnTo>
                    <a:pt x="1337" y="799"/>
                  </a:lnTo>
                  <a:lnTo>
                    <a:pt x="1337" y="799"/>
                  </a:lnTo>
                  <a:lnTo>
                    <a:pt x="1337" y="799"/>
                  </a:lnTo>
                  <a:lnTo>
                    <a:pt x="1337" y="799"/>
                  </a:lnTo>
                  <a:lnTo>
                    <a:pt x="1337" y="799"/>
                  </a:lnTo>
                  <a:lnTo>
                    <a:pt x="1337" y="799"/>
                  </a:lnTo>
                  <a:lnTo>
                    <a:pt x="1337" y="802"/>
                  </a:lnTo>
                  <a:lnTo>
                    <a:pt x="1337" y="802"/>
                  </a:lnTo>
                  <a:lnTo>
                    <a:pt x="1337" y="802"/>
                  </a:lnTo>
                  <a:lnTo>
                    <a:pt x="1337" y="802"/>
                  </a:lnTo>
                  <a:lnTo>
                    <a:pt x="1337" y="802"/>
                  </a:lnTo>
                  <a:lnTo>
                    <a:pt x="1337" y="804"/>
                  </a:lnTo>
                  <a:lnTo>
                    <a:pt x="1340" y="809"/>
                  </a:lnTo>
                  <a:lnTo>
                    <a:pt x="1342" y="809"/>
                  </a:lnTo>
                  <a:lnTo>
                    <a:pt x="1340" y="811"/>
                  </a:lnTo>
                  <a:lnTo>
                    <a:pt x="1342" y="811"/>
                  </a:lnTo>
                  <a:lnTo>
                    <a:pt x="1342" y="811"/>
                  </a:lnTo>
                  <a:lnTo>
                    <a:pt x="1342" y="811"/>
                  </a:lnTo>
                  <a:lnTo>
                    <a:pt x="1342" y="813"/>
                  </a:lnTo>
                  <a:lnTo>
                    <a:pt x="1342" y="813"/>
                  </a:lnTo>
                  <a:lnTo>
                    <a:pt x="1342" y="813"/>
                  </a:lnTo>
                  <a:lnTo>
                    <a:pt x="1342" y="813"/>
                  </a:lnTo>
                  <a:lnTo>
                    <a:pt x="1342" y="813"/>
                  </a:lnTo>
                  <a:lnTo>
                    <a:pt x="1342" y="816"/>
                  </a:lnTo>
                  <a:lnTo>
                    <a:pt x="1342" y="816"/>
                  </a:lnTo>
                  <a:lnTo>
                    <a:pt x="1342" y="816"/>
                  </a:lnTo>
                  <a:lnTo>
                    <a:pt x="1342" y="816"/>
                  </a:lnTo>
                  <a:lnTo>
                    <a:pt x="1342" y="816"/>
                  </a:lnTo>
                  <a:lnTo>
                    <a:pt x="1342" y="816"/>
                  </a:lnTo>
                  <a:lnTo>
                    <a:pt x="1342" y="818"/>
                  </a:lnTo>
                  <a:lnTo>
                    <a:pt x="1342" y="820"/>
                  </a:lnTo>
                  <a:lnTo>
                    <a:pt x="1342" y="820"/>
                  </a:lnTo>
                  <a:lnTo>
                    <a:pt x="1342" y="823"/>
                  </a:lnTo>
                  <a:lnTo>
                    <a:pt x="1344" y="823"/>
                  </a:lnTo>
                  <a:lnTo>
                    <a:pt x="1347" y="825"/>
                  </a:lnTo>
                  <a:lnTo>
                    <a:pt x="1347" y="825"/>
                  </a:lnTo>
                  <a:lnTo>
                    <a:pt x="1347" y="825"/>
                  </a:lnTo>
                  <a:lnTo>
                    <a:pt x="1347" y="825"/>
                  </a:lnTo>
                  <a:lnTo>
                    <a:pt x="1347" y="828"/>
                  </a:lnTo>
                  <a:lnTo>
                    <a:pt x="1347" y="828"/>
                  </a:lnTo>
                  <a:lnTo>
                    <a:pt x="1347" y="828"/>
                  </a:lnTo>
                  <a:lnTo>
                    <a:pt x="1347" y="828"/>
                  </a:lnTo>
                  <a:lnTo>
                    <a:pt x="1347" y="825"/>
                  </a:lnTo>
                  <a:lnTo>
                    <a:pt x="1349" y="825"/>
                  </a:lnTo>
                  <a:lnTo>
                    <a:pt x="1349" y="825"/>
                  </a:lnTo>
                  <a:lnTo>
                    <a:pt x="1351" y="828"/>
                  </a:lnTo>
                  <a:lnTo>
                    <a:pt x="1351" y="828"/>
                  </a:lnTo>
                  <a:lnTo>
                    <a:pt x="1351" y="828"/>
                  </a:lnTo>
                  <a:lnTo>
                    <a:pt x="1349" y="830"/>
                  </a:lnTo>
                  <a:lnTo>
                    <a:pt x="1351" y="830"/>
                  </a:lnTo>
                  <a:lnTo>
                    <a:pt x="1354" y="832"/>
                  </a:lnTo>
                  <a:lnTo>
                    <a:pt x="1356" y="832"/>
                  </a:lnTo>
                  <a:lnTo>
                    <a:pt x="1356" y="832"/>
                  </a:lnTo>
                  <a:lnTo>
                    <a:pt x="1356" y="830"/>
                  </a:lnTo>
                  <a:lnTo>
                    <a:pt x="1356" y="830"/>
                  </a:lnTo>
                  <a:lnTo>
                    <a:pt x="1356" y="828"/>
                  </a:lnTo>
                  <a:lnTo>
                    <a:pt x="1356" y="828"/>
                  </a:lnTo>
                  <a:lnTo>
                    <a:pt x="1356" y="828"/>
                  </a:lnTo>
                  <a:lnTo>
                    <a:pt x="1356" y="825"/>
                  </a:lnTo>
                  <a:lnTo>
                    <a:pt x="1358" y="828"/>
                  </a:lnTo>
                  <a:lnTo>
                    <a:pt x="1358" y="830"/>
                  </a:lnTo>
                  <a:lnTo>
                    <a:pt x="1358" y="830"/>
                  </a:lnTo>
                  <a:lnTo>
                    <a:pt x="1358" y="832"/>
                  </a:lnTo>
                  <a:lnTo>
                    <a:pt x="1358" y="832"/>
                  </a:lnTo>
                  <a:lnTo>
                    <a:pt x="1363" y="832"/>
                  </a:lnTo>
                  <a:lnTo>
                    <a:pt x="1361" y="830"/>
                  </a:lnTo>
                  <a:lnTo>
                    <a:pt x="1361" y="828"/>
                  </a:lnTo>
                  <a:lnTo>
                    <a:pt x="1361" y="828"/>
                  </a:lnTo>
                  <a:lnTo>
                    <a:pt x="1361" y="825"/>
                  </a:lnTo>
                  <a:lnTo>
                    <a:pt x="1358" y="825"/>
                  </a:lnTo>
                  <a:lnTo>
                    <a:pt x="1358" y="825"/>
                  </a:lnTo>
                  <a:lnTo>
                    <a:pt x="1358" y="825"/>
                  </a:lnTo>
                  <a:lnTo>
                    <a:pt x="1358" y="823"/>
                  </a:lnTo>
                  <a:lnTo>
                    <a:pt x="1361" y="823"/>
                  </a:lnTo>
                  <a:lnTo>
                    <a:pt x="1361" y="823"/>
                  </a:lnTo>
                  <a:lnTo>
                    <a:pt x="1361" y="823"/>
                  </a:lnTo>
                  <a:lnTo>
                    <a:pt x="1361" y="823"/>
                  </a:lnTo>
                  <a:lnTo>
                    <a:pt x="1361" y="823"/>
                  </a:lnTo>
                  <a:lnTo>
                    <a:pt x="1361" y="823"/>
                  </a:lnTo>
                  <a:lnTo>
                    <a:pt x="1366" y="816"/>
                  </a:lnTo>
                  <a:lnTo>
                    <a:pt x="1366" y="813"/>
                  </a:lnTo>
                  <a:lnTo>
                    <a:pt x="1366" y="813"/>
                  </a:lnTo>
                  <a:lnTo>
                    <a:pt x="1366" y="811"/>
                  </a:lnTo>
                  <a:lnTo>
                    <a:pt x="1366" y="811"/>
                  </a:lnTo>
                  <a:lnTo>
                    <a:pt x="1368" y="811"/>
                  </a:lnTo>
                  <a:lnTo>
                    <a:pt x="1368" y="811"/>
                  </a:lnTo>
                  <a:lnTo>
                    <a:pt x="1368" y="811"/>
                  </a:lnTo>
                  <a:lnTo>
                    <a:pt x="1368" y="813"/>
                  </a:lnTo>
                  <a:lnTo>
                    <a:pt x="1368" y="813"/>
                  </a:lnTo>
                  <a:lnTo>
                    <a:pt x="1368" y="816"/>
                  </a:lnTo>
                  <a:lnTo>
                    <a:pt x="1368" y="816"/>
                  </a:lnTo>
                  <a:lnTo>
                    <a:pt x="1368" y="816"/>
                  </a:lnTo>
                  <a:lnTo>
                    <a:pt x="1368" y="816"/>
                  </a:lnTo>
                  <a:lnTo>
                    <a:pt x="1368" y="818"/>
                  </a:lnTo>
                  <a:lnTo>
                    <a:pt x="1366" y="820"/>
                  </a:lnTo>
                  <a:lnTo>
                    <a:pt x="1366" y="823"/>
                  </a:lnTo>
                  <a:lnTo>
                    <a:pt x="1363" y="823"/>
                  </a:lnTo>
                  <a:lnTo>
                    <a:pt x="1363" y="828"/>
                  </a:lnTo>
                  <a:lnTo>
                    <a:pt x="1366" y="828"/>
                  </a:lnTo>
                  <a:lnTo>
                    <a:pt x="1366" y="828"/>
                  </a:lnTo>
                  <a:lnTo>
                    <a:pt x="1366" y="828"/>
                  </a:lnTo>
                  <a:lnTo>
                    <a:pt x="1366" y="825"/>
                  </a:lnTo>
                  <a:lnTo>
                    <a:pt x="1368" y="825"/>
                  </a:lnTo>
                  <a:lnTo>
                    <a:pt x="1368" y="825"/>
                  </a:lnTo>
                  <a:lnTo>
                    <a:pt x="1368" y="825"/>
                  </a:lnTo>
                  <a:lnTo>
                    <a:pt x="1368" y="825"/>
                  </a:lnTo>
                  <a:lnTo>
                    <a:pt x="1368" y="823"/>
                  </a:lnTo>
                  <a:lnTo>
                    <a:pt x="1368" y="823"/>
                  </a:lnTo>
                  <a:lnTo>
                    <a:pt x="1370" y="823"/>
                  </a:lnTo>
                  <a:lnTo>
                    <a:pt x="1370" y="823"/>
                  </a:lnTo>
                  <a:lnTo>
                    <a:pt x="1370" y="823"/>
                  </a:lnTo>
                  <a:lnTo>
                    <a:pt x="1370" y="825"/>
                  </a:lnTo>
                  <a:lnTo>
                    <a:pt x="1370" y="825"/>
                  </a:lnTo>
                  <a:lnTo>
                    <a:pt x="1368" y="825"/>
                  </a:lnTo>
                  <a:lnTo>
                    <a:pt x="1370" y="825"/>
                  </a:lnTo>
                  <a:lnTo>
                    <a:pt x="1370" y="828"/>
                  </a:lnTo>
                  <a:lnTo>
                    <a:pt x="1370" y="828"/>
                  </a:lnTo>
                  <a:lnTo>
                    <a:pt x="1370" y="830"/>
                  </a:lnTo>
                  <a:lnTo>
                    <a:pt x="1370" y="830"/>
                  </a:lnTo>
                  <a:lnTo>
                    <a:pt x="1373" y="832"/>
                  </a:lnTo>
                  <a:lnTo>
                    <a:pt x="1375" y="832"/>
                  </a:lnTo>
                  <a:lnTo>
                    <a:pt x="1380" y="832"/>
                  </a:lnTo>
                  <a:lnTo>
                    <a:pt x="1377" y="832"/>
                  </a:lnTo>
                  <a:lnTo>
                    <a:pt x="1377" y="832"/>
                  </a:lnTo>
                  <a:lnTo>
                    <a:pt x="1384" y="837"/>
                  </a:lnTo>
                  <a:lnTo>
                    <a:pt x="1384" y="837"/>
                  </a:lnTo>
                  <a:lnTo>
                    <a:pt x="1384" y="835"/>
                  </a:lnTo>
                  <a:lnTo>
                    <a:pt x="1384" y="835"/>
                  </a:lnTo>
                  <a:lnTo>
                    <a:pt x="1384" y="835"/>
                  </a:lnTo>
                  <a:lnTo>
                    <a:pt x="1387" y="835"/>
                  </a:lnTo>
                  <a:lnTo>
                    <a:pt x="1387" y="835"/>
                  </a:lnTo>
                  <a:lnTo>
                    <a:pt x="1387" y="837"/>
                  </a:lnTo>
                  <a:lnTo>
                    <a:pt x="1387" y="837"/>
                  </a:lnTo>
                  <a:lnTo>
                    <a:pt x="1387" y="839"/>
                  </a:lnTo>
                  <a:lnTo>
                    <a:pt x="1389" y="837"/>
                  </a:lnTo>
                  <a:lnTo>
                    <a:pt x="1392" y="837"/>
                  </a:lnTo>
                  <a:lnTo>
                    <a:pt x="1392" y="837"/>
                  </a:lnTo>
                  <a:lnTo>
                    <a:pt x="1394" y="835"/>
                  </a:lnTo>
                  <a:lnTo>
                    <a:pt x="1394" y="835"/>
                  </a:lnTo>
                  <a:lnTo>
                    <a:pt x="1394" y="835"/>
                  </a:lnTo>
                  <a:lnTo>
                    <a:pt x="1394" y="837"/>
                  </a:lnTo>
                  <a:lnTo>
                    <a:pt x="1396" y="835"/>
                  </a:lnTo>
                  <a:close/>
                  <a:moveTo>
                    <a:pt x="1415" y="1216"/>
                  </a:moveTo>
                  <a:lnTo>
                    <a:pt x="1415" y="1216"/>
                  </a:lnTo>
                  <a:lnTo>
                    <a:pt x="1415" y="1216"/>
                  </a:lnTo>
                  <a:lnTo>
                    <a:pt x="1415" y="1216"/>
                  </a:lnTo>
                  <a:lnTo>
                    <a:pt x="1415" y="1213"/>
                  </a:lnTo>
                  <a:lnTo>
                    <a:pt x="1415" y="1213"/>
                  </a:lnTo>
                  <a:lnTo>
                    <a:pt x="1415" y="1213"/>
                  </a:lnTo>
                  <a:lnTo>
                    <a:pt x="1415" y="1211"/>
                  </a:lnTo>
                  <a:lnTo>
                    <a:pt x="1415" y="1211"/>
                  </a:lnTo>
                  <a:lnTo>
                    <a:pt x="1415" y="1213"/>
                  </a:lnTo>
                  <a:lnTo>
                    <a:pt x="1415" y="1211"/>
                  </a:lnTo>
                  <a:lnTo>
                    <a:pt x="1415" y="1211"/>
                  </a:lnTo>
                  <a:lnTo>
                    <a:pt x="1415" y="1211"/>
                  </a:lnTo>
                  <a:lnTo>
                    <a:pt x="1415" y="1208"/>
                  </a:lnTo>
                  <a:lnTo>
                    <a:pt x="1415" y="1208"/>
                  </a:lnTo>
                  <a:lnTo>
                    <a:pt x="1415" y="1208"/>
                  </a:lnTo>
                  <a:lnTo>
                    <a:pt x="1415" y="1208"/>
                  </a:lnTo>
                  <a:lnTo>
                    <a:pt x="1415" y="1208"/>
                  </a:lnTo>
                  <a:lnTo>
                    <a:pt x="1415" y="1208"/>
                  </a:lnTo>
                  <a:lnTo>
                    <a:pt x="1413" y="1208"/>
                  </a:lnTo>
                  <a:lnTo>
                    <a:pt x="1413" y="1208"/>
                  </a:lnTo>
                  <a:lnTo>
                    <a:pt x="1415" y="1211"/>
                  </a:lnTo>
                  <a:lnTo>
                    <a:pt x="1415" y="1211"/>
                  </a:lnTo>
                  <a:lnTo>
                    <a:pt x="1413" y="1211"/>
                  </a:lnTo>
                  <a:lnTo>
                    <a:pt x="1413" y="1211"/>
                  </a:lnTo>
                  <a:lnTo>
                    <a:pt x="1413" y="1211"/>
                  </a:lnTo>
                  <a:lnTo>
                    <a:pt x="1413" y="1211"/>
                  </a:lnTo>
                  <a:lnTo>
                    <a:pt x="1413" y="1211"/>
                  </a:lnTo>
                  <a:lnTo>
                    <a:pt x="1413" y="1211"/>
                  </a:lnTo>
                  <a:lnTo>
                    <a:pt x="1413" y="1211"/>
                  </a:lnTo>
                  <a:lnTo>
                    <a:pt x="1413" y="1208"/>
                  </a:lnTo>
                  <a:lnTo>
                    <a:pt x="1413" y="1208"/>
                  </a:lnTo>
                  <a:lnTo>
                    <a:pt x="1413" y="1208"/>
                  </a:lnTo>
                  <a:lnTo>
                    <a:pt x="1413" y="1208"/>
                  </a:lnTo>
                  <a:lnTo>
                    <a:pt x="1413" y="1208"/>
                  </a:lnTo>
                  <a:lnTo>
                    <a:pt x="1411" y="1208"/>
                  </a:lnTo>
                  <a:lnTo>
                    <a:pt x="1411" y="1208"/>
                  </a:lnTo>
                  <a:lnTo>
                    <a:pt x="1411" y="1211"/>
                  </a:lnTo>
                  <a:lnTo>
                    <a:pt x="1411" y="1211"/>
                  </a:lnTo>
                  <a:lnTo>
                    <a:pt x="1411" y="1211"/>
                  </a:lnTo>
                  <a:lnTo>
                    <a:pt x="1408" y="1213"/>
                  </a:lnTo>
                  <a:lnTo>
                    <a:pt x="1408" y="1213"/>
                  </a:lnTo>
                  <a:lnTo>
                    <a:pt x="1408" y="1216"/>
                  </a:lnTo>
                  <a:lnTo>
                    <a:pt x="1408" y="1216"/>
                  </a:lnTo>
                  <a:lnTo>
                    <a:pt x="1408" y="1216"/>
                  </a:lnTo>
                  <a:lnTo>
                    <a:pt x="1408" y="1216"/>
                  </a:lnTo>
                  <a:lnTo>
                    <a:pt x="1408" y="1218"/>
                  </a:lnTo>
                  <a:lnTo>
                    <a:pt x="1411" y="1218"/>
                  </a:lnTo>
                  <a:lnTo>
                    <a:pt x="1411" y="1218"/>
                  </a:lnTo>
                  <a:lnTo>
                    <a:pt x="1411" y="1218"/>
                  </a:lnTo>
                  <a:lnTo>
                    <a:pt x="1411" y="1218"/>
                  </a:lnTo>
                  <a:lnTo>
                    <a:pt x="1411" y="1220"/>
                  </a:lnTo>
                  <a:lnTo>
                    <a:pt x="1411" y="1220"/>
                  </a:lnTo>
                  <a:lnTo>
                    <a:pt x="1413" y="1223"/>
                  </a:lnTo>
                  <a:lnTo>
                    <a:pt x="1413" y="1223"/>
                  </a:lnTo>
                  <a:lnTo>
                    <a:pt x="1413" y="1220"/>
                  </a:lnTo>
                  <a:lnTo>
                    <a:pt x="1413" y="1220"/>
                  </a:lnTo>
                  <a:lnTo>
                    <a:pt x="1413" y="1220"/>
                  </a:lnTo>
                  <a:lnTo>
                    <a:pt x="1413" y="1220"/>
                  </a:lnTo>
                  <a:lnTo>
                    <a:pt x="1415" y="1220"/>
                  </a:lnTo>
                  <a:lnTo>
                    <a:pt x="1415" y="1218"/>
                  </a:lnTo>
                  <a:lnTo>
                    <a:pt x="1415" y="1218"/>
                  </a:lnTo>
                  <a:lnTo>
                    <a:pt x="1415" y="1216"/>
                  </a:lnTo>
                  <a:close/>
                  <a:moveTo>
                    <a:pt x="1588" y="1161"/>
                  </a:moveTo>
                  <a:lnTo>
                    <a:pt x="1588" y="1161"/>
                  </a:lnTo>
                  <a:lnTo>
                    <a:pt x="1588" y="1163"/>
                  </a:lnTo>
                  <a:lnTo>
                    <a:pt x="1588" y="1163"/>
                  </a:lnTo>
                  <a:lnTo>
                    <a:pt x="1590" y="1163"/>
                  </a:lnTo>
                  <a:lnTo>
                    <a:pt x="1595" y="1166"/>
                  </a:lnTo>
                  <a:lnTo>
                    <a:pt x="1595" y="1163"/>
                  </a:lnTo>
                  <a:lnTo>
                    <a:pt x="1595" y="1161"/>
                  </a:lnTo>
                  <a:lnTo>
                    <a:pt x="1590" y="1159"/>
                  </a:lnTo>
                  <a:lnTo>
                    <a:pt x="1588" y="1161"/>
                  </a:lnTo>
                  <a:close/>
                  <a:moveTo>
                    <a:pt x="1252" y="1014"/>
                  </a:moveTo>
                  <a:lnTo>
                    <a:pt x="1252" y="1014"/>
                  </a:lnTo>
                  <a:lnTo>
                    <a:pt x="1257" y="1010"/>
                  </a:lnTo>
                  <a:lnTo>
                    <a:pt x="1257" y="1010"/>
                  </a:lnTo>
                  <a:lnTo>
                    <a:pt x="1257" y="1010"/>
                  </a:lnTo>
                  <a:lnTo>
                    <a:pt x="1257" y="1010"/>
                  </a:lnTo>
                  <a:lnTo>
                    <a:pt x="1257" y="1010"/>
                  </a:lnTo>
                  <a:lnTo>
                    <a:pt x="1257" y="1010"/>
                  </a:lnTo>
                  <a:lnTo>
                    <a:pt x="1257" y="1010"/>
                  </a:lnTo>
                  <a:lnTo>
                    <a:pt x="1257" y="1010"/>
                  </a:lnTo>
                  <a:lnTo>
                    <a:pt x="1257" y="1007"/>
                  </a:lnTo>
                  <a:lnTo>
                    <a:pt x="1259" y="1007"/>
                  </a:lnTo>
                  <a:lnTo>
                    <a:pt x="1259" y="1007"/>
                  </a:lnTo>
                  <a:lnTo>
                    <a:pt x="1259" y="1007"/>
                  </a:lnTo>
                  <a:lnTo>
                    <a:pt x="1259" y="1007"/>
                  </a:lnTo>
                  <a:lnTo>
                    <a:pt x="1259" y="1007"/>
                  </a:lnTo>
                  <a:lnTo>
                    <a:pt x="1259" y="1007"/>
                  </a:lnTo>
                  <a:lnTo>
                    <a:pt x="1259" y="1007"/>
                  </a:lnTo>
                  <a:lnTo>
                    <a:pt x="1261" y="1005"/>
                  </a:lnTo>
                  <a:lnTo>
                    <a:pt x="1261" y="1005"/>
                  </a:lnTo>
                  <a:lnTo>
                    <a:pt x="1259" y="1003"/>
                  </a:lnTo>
                  <a:lnTo>
                    <a:pt x="1259" y="1003"/>
                  </a:lnTo>
                  <a:lnTo>
                    <a:pt x="1259" y="1000"/>
                  </a:lnTo>
                  <a:lnTo>
                    <a:pt x="1259" y="1000"/>
                  </a:lnTo>
                  <a:lnTo>
                    <a:pt x="1259" y="998"/>
                  </a:lnTo>
                  <a:lnTo>
                    <a:pt x="1259" y="998"/>
                  </a:lnTo>
                  <a:lnTo>
                    <a:pt x="1259" y="998"/>
                  </a:lnTo>
                  <a:lnTo>
                    <a:pt x="1259" y="998"/>
                  </a:lnTo>
                  <a:lnTo>
                    <a:pt x="1259" y="998"/>
                  </a:lnTo>
                  <a:lnTo>
                    <a:pt x="1259" y="998"/>
                  </a:lnTo>
                  <a:lnTo>
                    <a:pt x="1257" y="998"/>
                  </a:lnTo>
                  <a:lnTo>
                    <a:pt x="1257" y="998"/>
                  </a:lnTo>
                  <a:lnTo>
                    <a:pt x="1257" y="996"/>
                  </a:lnTo>
                  <a:lnTo>
                    <a:pt x="1257" y="996"/>
                  </a:lnTo>
                  <a:lnTo>
                    <a:pt x="1257" y="996"/>
                  </a:lnTo>
                  <a:lnTo>
                    <a:pt x="1257" y="996"/>
                  </a:lnTo>
                  <a:lnTo>
                    <a:pt x="1257" y="993"/>
                  </a:lnTo>
                  <a:lnTo>
                    <a:pt x="1257" y="991"/>
                  </a:lnTo>
                  <a:lnTo>
                    <a:pt x="1257" y="988"/>
                  </a:lnTo>
                  <a:lnTo>
                    <a:pt x="1254" y="986"/>
                  </a:lnTo>
                  <a:lnTo>
                    <a:pt x="1254" y="986"/>
                  </a:lnTo>
                  <a:lnTo>
                    <a:pt x="1254" y="986"/>
                  </a:lnTo>
                  <a:lnTo>
                    <a:pt x="1254" y="984"/>
                  </a:lnTo>
                  <a:lnTo>
                    <a:pt x="1254" y="984"/>
                  </a:lnTo>
                  <a:lnTo>
                    <a:pt x="1254" y="984"/>
                  </a:lnTo>
                  <a:lnTo>
                    <a:pt x="1254" y="981"/>
                  </a:lnTo>
                  <a:lnTo>
                    <a:pt x="1254" y="981"/>
                  </a:lnTo>
                  <a:lnTo>
                    <a:pt x="1252" y="981"/>
                  </a:lnTo>
                  <a:lnTo>
                    <a:pt x="1254" y="981"/>
                  </a:lnTo>
                  <a:lnTo>
                    <a:pt x="1252" y="984"/>
                  </a:lnTo>
                  <a:lnTo>
                    <a:pt x="1252" y="984"/>
                  </a:lnTo>
                  <a:lnTo>
                    <a:pt x="1252" y="984"/>
                  </a:lnTo>
                  <a:lnTo>
                    <a:pt x="1250" y="984"/>
                  </a:lnTo>
                  <a:lnTo>
                    <a:pt x="1245" y="988"/>
                  </a:lnTo>
                  <a:lnTo>
                    <a:pt x="1242" y="993"/>
                  </a:lnTo>
                  <a:lnTo>
                    <a:pt x="1242" y="993"/>
                  </a:lnTo>
                  <a:lnTo>
                    <a:pt x="1240" y="993"/>
                  </a:lnTo>
                  <a:lnTo>
                    <a:pt x="1240" y="993"/>
                  </a:lnTo>
                  <a:lnTo>
                    <a:pt x="1240" y="991"/>
                  </a:lnTo>
                  <a:lnTo>
                    <a:pt x="1240" y="991"/>
                  </a:lnTo>
                  <a:lnTo>
                    <a:pt x="1240" y="991"/>
                  </a:lnTo>
                  <a:lnTo>
                    <a:pt x="1240" y="991"/>
                  </a:lnTo>
                  <a:lnTo>
                    <a:pt x="1240" y="991"/>
                  </a:lnTo>
                  <a:lnTo>
                    <a:pt x="1240" y="988"/>
                  </a:lnTo>
                  <a:lnTo>
                    <a:pt x="1240" y="988"/>
                  </a:lnTo>
                  <a:lnTo>
                    <a:pt x="1240" y="988"/>
                  </a:lnTo>
                  <a:lnTo>
                    <a:pt x="1242" y="986"/>
                  </a:lnTo>
                  <a:lnTo>
                    <a:pt x="1242" y="986"/>
                  </a:lnTo>
                  <a:lnTo>
                    <a:pt x="1242" y="984"/>
                  </a:lnTo>
                  <a:lnTo>
                    <a:pt x="1245" y="984"/>
                  </a:lnTo>
                  <a:lnTo>
                    <a:pt x="1242" y="984"/>
                  </a:lnTo>
                  <a:lnTo>
                    <a:pt x="1242" y="979"/>
                  </a:lnTo>
                  <a:lnTo>
                    <a:pt x="1242" y="979"/>
                  </a:lnTo>
                  <a:lnTo>
                    <a:pt x="1242" y="979"/>
                  </a:lnTo>
                  <a:lnTo>
                    <a:pt x="1240" y="979"/>
                  </a:lnTo>
                  <a:lnTo>
                    <a:pt x="1240" y="979"/>
                  </a:lnTo>
                  <a:lnTo>
                    <a:pt x="1240" y="979"/>
                  </a:lnTo>
                  <a:lnTo>
                    <a:pt x="1240" y="977"/>
                  </a:lnTo>
                  <a:lnTo>
                    <a:pt x="1240" y="977"/>
                  </a:lnTo>
                  <a:lnTo>
                    <a:pt x="1240" y="974"/>
                  </a:lnTo>
                  <a:lnTo>
                    <a:pt x="1238" y="974"/>
                  </a:lnTo>
                  <a:lnTo>
                    <a:pt x="1235" y="974"/>
                  </a:lnTo>
                  <a:lnTo>
                    <a:pt x="1235" y="974"/>
                  </a:lnTo>
                  <a:lnTo>
                    <a:pt x="1238" y="972"/>
                  </a:lnTo>
                  <a:lnTo>
                    <a:pt x="1238" y="972"/>
                  </a:lnTo>
                  <a:lnTo>
                    <a:pt x="1238" y="972"/>
                  </a:lnTo>
                  <a:lnTo>
                    <a:pt x="1238" y="970"/>
                  </a:lnTo>
                  <a:lnTo>
                    <a:pt x="1238" y="970"/>
                  </a:lnTo>
                  <a:lnTo>
                    <a:pt x="1238" y="970"/>
                  </a:lnTo>
                  <a:lnTo>
                    <a:pt x="1238" y="967"/>
                  </a:lnTo>
                  <a:lnTo>
                    <a:pt x="1240" y="967"/>
                  </a:lnTo>
                  <a:lnTo>
                    <a:pt x="1238" y="967"/>
                  </a:lnTo>
                  <a:lnTo>
                    <a:pt x="1228" y="960"/>
                  </a:lnTo>
                  <a:lnTo>
                    <a:pt x="1226" y="960"/>
                  </a:lnTo>
                  <a:lnTo>
                    <a:pt x="1224" y="960"/>
                  </a:lnTo>
                  <a:lnTo>
                    <a:pt x="1221" y="960"/>
                  </a:lnTo>
                  <a:lnTo>
                    <a:pt x="1221" y="960"/>
                  </a:lnTo>
                  <a:lnTo>
                    <a:pt x="1221" y="962"/>
                  </a:lnTo>
                  <a:lnTo>
                    <a:pt x="1221" y="962"/>
                  </a:lnTo>
                  <a:lnTo>
                    <a:pt x="1219" y="962"/>
                  </a:lnTo>
                  <a:lnTo>
                    <a:pt x="1219" y="962"/>
                  </a:lnTo>
                  <a:lnTo>
                    <a:pt x="1216" y="965"/>
                  </a:lnTo>
                  <a:lnTo>
                    <a:pt x="1216" y="965"/>
                  </a:lnTo>
                  <a:lnTo>
                    <a:pt x="1214" y="967"/>
                  </a:lnTo>
                  <a:lnTo>
                    <a:pt x="1214" y="970"/>
                  </a:lnTo>
                  <a:lnTo>
                    <a:pt x="1214" y="972"/>
                  </a:lnTo>
                  <a:lnTo>
                    <a:pt x="1214" y="972"/>
                  </a:lnTo>
                  <a:lnTo>
                    <a:pt x="1214" y="972"/>
                  </a:lnTo>
                  <a:lnTo>
                    <a:pt x="1214" y="974"/>
                  </a:lnTo>
                  <a:lnTo>
                    <a:pt x="1214" y="974"/>
                  </a:lnTo>
                  <a:lnTo>
                    <a:pt x="1212" y="974"/>
                  </a:lnTo>
                  <a:lnTo>
                    <a:pt x="1212" y="974"/>
                  </a:lnTo>
                  <a:lnTo>
                    <a:pt x="1212" y="972"/>
                  </a:lnTo>
                  <a:lnTo>
                    <a:pt x="1212" y="970"/>
                  </a:lnTo>
                  <a:lnTo>
                    <a:pt x="1212" y="970"/>
                  </a:lnTo>
                  <a:lnTo>
                    <a:pt x="1212" y="970"/>
                  </a:lnTo>
                  <a:lnTo>
                    <a:pt x="1212" y="967"/>
                  </a:lnTo>
                  <a:lnTo>
                    <a:pt x="1212" y="967"/>
                  </a:lnTo>
                  <a:lnTo>
                    <a:pt x="1212" y="967"/>
                  </a:lnTo>
                  <a:lnTo>
                    <a:pt x="1212" y="965"/>
                  </a:lnTo>
                  <a:lnTo>
                    <a:pt x="1212" y="965"/>
                  </a:lnTo>
                  <a:lnTo>
                    <a:pt x="1212" y="965"/>
                  </a:lnTo>
                  <a:lnTo>
                    <a:pt x="1212" y="965"/>
                  </a:lnTo>
                  <a:lnTo>
                    <a:pt x="1212" y="965"/>
                  </a:lnTo>
                  <a:lnTo>
                    <a:pt x="1212" y="962"/>
                  </a:lnTo>
                  <a:lnTo>
                    <a:pt x="1214" y="962"/>
                  </a:lnTo>
                  <a:lnTo>
                    <a:pt x="1214" y="960"/>
                  </a:lnTo>
                  <a:lnTo>
                    <a:pt x="1216" y="958"/>
                  </a:lnTo>
                  <a:lnTo>
                    <a:pt x="1219" y="955"/>
                  </a:lnTo>
                  <a:lnTo>
                    <a:pt x="1224" y="946"/>
                  </a:lnTo>
                  <a:lnTo>
                    <a:pt x="1224" y="946"/>
                  </a:lnTo>
                  <a:lnTo>
                    <a:pt x="1224" y="946"/>
                  </a:lnTo>
                  <a:lnTo>
                    <a:pt x="1226" y="943"/>
                  </a:lnTo>
                  <a:lnTo>
                    <a:pt x="1226" y="943"/>
                  </a:lnTo>
                  <a:lnTo>
                    <a:pt x="1226" y="943"/>
                  </a:lnTo>
                  <a:lnTo>
                    <a:pt x="1228" y="941"/>
                  </a:lnTo>
                  <a:lnTo>
                    <a:pt x="1228" y="941"/>
                  </a:lnTo>
                  <a:lnTo>
                    <a:pt x="1228" y="941"/>
                  </a:lnTo>
                  <a:lnTo>
                    <a:pt x="1228" y="939"/>
                  </a:lnTo>
                  <a:lnTo>
                    <a:pt x="1231" y="939"/>
                  </a:lnTo>
                  <a:lnTo>
                    <a:pt x="1238" y="936"/>
                  </a:lnTo>
                  <a:lnTo>
                    <a:pt x="1238" y="936"/>
                  </a:lnTo>
                  <a:lnTo>
                    <a:pt x="1238" y="936"/>
                  </a:lnTo>
                  <a:lnTo>
                    <a:pt x="1238" y="936"/>
                  </a:lnTo>
                  <a:lnTo>
                    <a:pt x="1240" y="936"/>
                  </a:lnTo>
                  <a:lnTo>
                    <a:pt x="1240" y="936"/>
                  </a:lnTo>
                  <a:lnTo>
                    <a:pt x="1240" y="934"/>
                  </a:lnTo>
                  <a:lnTo>
                    <a:pt x="1240" y="934"/>
                  </a:lnTo>
                  <a:lnTo>
                    <a:pt x="1240" y="934"/>
                  </a:lnTo>
                  <a:lnTo>
                    <a:pt x="1240" y="934"/>
                  </a:lnTo>
                  <a:lnTo>
                    <a:pt x="1240" y="932"/>
                  </a:lnTo>
                  <a:lnTo>
                    <a:pt x="1240" y="932"/>
                  </a:lnTo>
                  <a:lnTo>
                    <a:pt x="1240" y="932"/>
                  </a:lnTo>
                  <a:lnTo>
                    <a:pt x="1238" y="932"/>
                  </a:lnTo>
                  <a:lnTo>
                    <a:pt x="1238" y="932"/>
                  </a:lnTo>
                  <a:lnTo>
                    <a:pt x="1238" y="929"/>
                  </a:lnTo>
                  <a:lnTo>
                    <a:pt x="1240" y="929"/>
                  </a:lnTo>
                  <a:lnTo>
                    <a:pt x="1238" y="927"/>
                  </a:lnTo>
                  <a:lnTo>
                    <a:pt x="1238" y="927"/>
                  </a:lnTo>
                  <a:lnTo>
                    <a:pt x="1235" y="929"/>
                  </a:lnTo>
                  <a:lnTo>
                    <a:pt x="1235" y="927"/>
                  </a:lnTo>
                  <a:lnTo>
                    <a:pt x="1233" y="927"/>
                  </a:lnTo>
                  <a:lnTo>
                    <a:pt x="1235" y="927"/>
                  </a:lnTo>
                  <a:lnTo>
                    <a:pt x="1233" y="927"/>
                  </a:lnTo>
                  <a:lnTo>
                    <a:pt x="1233" y="927"/>
                  </a:lnTo>
                  <a:lnTo>
                    <a:pt x="1231" y="929"/>
                  </a:lnTo>
                  <a:lnTo>
                    <a:pt x="1231" y="929"/>
                  </a:lnTo>
                  <a:lnTo>
                    <a:pt x="1231" y="929"/>
                  </a:lnTo>
                  <a:lnTo>
                    <a:pt x="1228" y="929"/>
                  </a:lnTo>
                  <a:lnTo>
                    <a:pt x="1228" y="929"/>
                  </a:lnTo>
                  <a:lnTo>
                    <a:pt x="1228" y="929"/>
                  </a:lnTo>
                  <a:lnTo>
                    <a:pt x="1228" y="927"/>
                  </a:lnTo>
                  <a:lnTo>
                    <a:pt x="1228" y="927"/>
                  </a:lnTo>
                  <a:lnTo>
                    <a:pt x="1228" y="927"/>
                  </a:lnTo>
                  <a:lnTo>
                    <a:pt x="1228" y="927"/>
                  </a:lnTo>
                  <a:lnTo>
                    <a:pt x="1228" y="925"/>
                  </a:lnTo>
                  <a:lnTo>
                    <a:pt x="1228" y="925"/>
                  </a:lnTo>
                  <a:lnTo>
                    <a:pt x="1228" y="925"/>
                  </a:lnTo>
                  <a:lnTo>
                    <a:pt x="1228" y="922"/>
                  </a:lnTo>
                  <a:lnTo>
                    <a:pt x="1231" y="922"/>
                  </a:lnTo>
                  <a:lnTo>
                    <a:pt x="1233" y="925"/>
                  </a:lnTo>
                  <a:lnTo>
                    <a:pt x="1233" y="925"/>
                  </a:lnTo>
                  <a:lnTo>
                    <a:pt x="1233" y="922"/>
                  </a:lnTo>
                  <a:lnTo>
                    <a:pt x="1233" y="922"/>
                  </a:lnTo>
                  <a:lnTo>
                    <a:pt x="1233" y="920"/>
                  </a:lnTo>
                  <a:lnTo>
                    <a:pt x="1233" y="920"/>
                  </a:lnTo>
                  <a:lnTo>
                    <a:pt x="1233" y="920"/>
                  </a:lnTo>
                  <a:lnTo>
                    <a:pt x="1238" y="922"/>
                  </a:lnTo>
                  <a:lnTo>
                    <a:pt x="1238" y="922"/>
                  </a:lnTo>
                  <a:lnTo>
                    <a:pt x="1238" y="920"/>
                  </a:lnTo>
                  <a:lnTo>
                    <a:pt x="1238" y="920"/>
                  </a:lnTo>
                  <a:lnTo>
                    <a:pt x="1242" y="917"/>
                  </a:lnTo>
                  <a:lnTo>
                    <a:pt x="1242" y="915"/>
                  </a:lnTo>
                  <a:lnTo>
                    <a:pt x="1242" y="913"/>
                  </a:lnTo>
                  <a:lnTo>
                    <a:pt x="1245" y="913"/>
                  </a:lnTo>
                  <a:lnTo>
                    <a:pt x="1242" y="910"/>
                  </a:lnTo>
                  <a:lnTo>
                    <a:pt x="1242" y="910"/>
                  </a:lnTo>
                  <a:lnTo>
                    <a:pt x="1242" y="908"/>
                  </a:lnTo>
                  <a:lnTo>
                    <a:pt x="1242" y="908"/>
                  </a:lnTo>
                  <a:lnTo>
                    <a:pt x="1242" y="906"/>
                  </a:lnTo>
                  <a:lnTo>
                    <a:pt x="1240" y="906"/>
                  </a:lnTo>
                  <a:lnTo>
                    <a:pt x="1238" y="901"/>
                  </a:lnTo>
                  <a:lnTo>
                    <a:pt x="1238" y="899"/>
                  </a:lnTo>
                  <a:lnTo>
                    <a:pt x="1235" y="899"/>
                  </a:lnTo>
                  <a:lnTo>
                    <a:pt x="1233" y="899"/>
                  </a:lnTo>
                  <a:lnTo>
                    <a:pt x="1231" y="896"/>
                  </a:lnTo>
                  <a:lnTo>
                    <a:pt x="1228" y="896"/>
                  </a:lnTo>
                  <a:lnTo>
                    <a:pt x="1228" y="896"/>
                  </a:lnTo>
                  <a:lnTo>
                    <a:pt x="1226" y="899"/>
                  </a:lnTo>
                  <a:lnTo>
                    <a:pt x="1226" y="899"/>
                  </a:lnTo>
                  <a:lnTo>
                    <a:pt x="1224" y="899"/>
                  </a:lnTo>
                  <a:lnTo>
                    <a:pt x="1224" y="896"/>
                  </a:lnTo>
                  <a:lnTo>
                    <a:pt x="1226" y="896"/>
                  </a:lnTo>
                  <a:lnTo>
                    <a:pt x="1226" y="896"/>
                  </a:lnTo>
                  <a:lnTo>
                    <a:pt x="1226" y="894"/>
                  </a:lnTo>
                  <a:lnTo>
                    <a:pt x="1224" y="896"/>
                  </a:lnTo>
                  <a:lnTo>
                    <a:pt x="1224" y="896"/>
                  </a:lnTo>
                  <a:lnTo>
                    <a:pt x="1221" y="896"/>
                  </a:lnTo>
                  <a:lnTo>
                    <a:pt x="1221" y="899"/>
                  </a:lnTo>
                  <a:lnTo>
                    <a:pt x="1221" y="901"/>
                  </a:lnTo>
                  <a:lnTo>
                    <a:pt x="1219" y="901"/>
                  </a:lnTo>
                  <a:lnTo>
                    <a:pt x="1219" y="903"/>
                  </a:lnTo>
                  <a:lnTo>
                    <a:pt x="1209" y="903"/>
                  </a:lnTo>
                  <a:lnTo>
                    <a:pt x="1207" y="906"/>
                  </a:lnTo>
                  <a:lnTo>
                    <a:pt x="1207" y="906"/>
                  </a:lnTo>
                  <a:lnTo>
                    <a:pt x="1207" y="906"/>
                  </a:lnTo>
                  <a:lnTo>
                    <a:pt x="1207" y="906"/>
                  </a:lnTo>
                  <a:lnTo>
                    <a:pt x="1205" y="906"/>
                  </a:lnTo>
                  <a:lnTo>
                    <a:pt x="1205" y="906"/>
                  </a:lnTo>
                  <a:lnTo>
                    <a:pt x="1205" y="908"/>
                  </a:lnTo>
                  <a:lnTo>
                    <a:pt x="1205" y="908"/>
                  </a:lnTo>
                  <a:lnTo>
                    <a:pt x="1205" y="908"/>
                  </a:lnTo>
                  <a:lnTo>
                    <a:pt x="1202" y="906"/>
                  </a:lnTo>
                  <a:lnTo>
                    <a:pt x="1202" y="906"/>
                  </a:lnTo>
                  <a:lnTo>
                    <a:pt x="1198" y="908"/>
                  </a:lnTo>
                  <a:lnTo>
                    <a:pt x="1198" y="908"/>
                  </a:lnTo>
                  <a:lnTo>
                    <a:pt x="1198" y="908"/>
                  </a:lnTo>
                  <a:lnTo>
                    <a:pt x="1198" y="908"/>
                  </a:lnTo>
                  <a:lnTo>
                    <a:pt x="1195" y="910"/>
                  </a:lnTo>
                  <a:lnTo>
                    <a:pt x="1195" y="910"/>
                  </a:lnTo>
                  <a:lnTo>
                    <a:pt x="1195" y="913"/>
                  </a:lnTo>
                  <a:lnTo>
                    <a:pt x="1195" y="913"/>
                  </a:lnTo>
                  <a:lnTo>
                    <a:pt x="1195" y="913"/>
                  </a:lnTo>
                  <a:lnTo>
                    <a:pt x="1195" y="913"/>
                  </a:lnTo>
                  <a:lnTo>
                    <a:pt x="1195" y="913"/>
                  </a:lnTo>
                  <a:lnTo>
                    <a:pt x="1195" y="910"/>
                  </a:lnTo>
                  <a:lnTo>
                    <a:pt x="1195" y="910"/>
                  </a:lnTo>
                  <a:lnTo>
                    <a:pt x="1195" y="910"/>
                  </a:lnTo>
                  <a:lnTo>
                    <a:pt x="1195" y="908"/>
                  </a:lnTo>
                  <a:lnTo>
                    <a:pt x="1195" y="908"/>
                  </a:lnTo>
                  <a:lnTo>
                    <a:pt x="1193" y="906"/>
                  </a:lnTo>
                  <a:lnTo>
                    <a:pt x="1190" y="903"/>
                  </a:lnTo>
                  <a:lnTo>
                    <a:pt x="1190" y="903"/>
                  </a:lnTo>
                  <a:lnTo>
                    <a:pt x="1190" y="903"/>
                  </a:lnTo>
                  <a:lnTo>
                    <a:pt x="1190" y="903"/>
                  </a:lnTo>
                  <a:lnTo>
                    <a:pt x="1190" y="903"/>
                  </a:lnTo>
                  <a:lnTo>
                    <a:pt x="1188" y="901"/>
                  </a:lnTo>
                  <a:lnTo>
                    <a:pt x="1188" y="901"/>
                  </a:lnTo>
                  <a:lnTo>
                    <a:pt x="1186" y="901"/>
                  </a:lnTo>
                  <a:lnTo>
                    <a:pt x="1183" y="901"/>
                  </a:lnTo>
                  <a:lnTo>
                    <a:pt x="1183" y="899"/>
                  </a:lnTo>
                  <a:lnTo>
                    <a:pt x="1183" y="899"/>
                  </a:lnTo>
                  <a:lnTo>
                    <a:pt x="1183" y="899"/>
                  </a:lnTo>
                  <a:lnTo>
                    <a:pt x="1183" y="899"/>
                  </a:lnTo>
                  <a:lnTo>
                    <a:pt x="1181" y="896"/>
                  </a:lnTo>
                  <a:lnTo>
                    <a:pt x="1181" y="896"/>
                  </a:lnTo>
                  <a:lnTo>
                    <a:pt x="1181" y="896"/>
                  </a:lnTo>
                  <a:lnTo>
                    <a:pt x="1181" y="894"/>
                  </a:lnTo>
                  <a:lnTo>
                    <a:pt x="1183" y="894"/>
                  </a:lnTo>
                  <a:lnTo>
                    <a:pt x="1183" y="894"/>
                  </a:lnTo>
                  <a:lnTo>
                    <a:pt x="1179" y="891"/>
                  </a:lnTo>
                  <a:lnTo>
                    <a:pt x="1179" y="894"/>
                  </a:lnTo>
                  <a:lnTo>
                    <a:pt x="1176" y="894"/>
                  </a:lnTo>
                  <a:lnTo>
                    <a:pt x="1176" y="894"/>
                  </a:lnTo>
                  <a:lnTo>
                    <a:pt x="1174" y="894"/>
                  </a:lnTo>
                  <a:lnTo>
                    <a:pt x="1174" y="894"/>
                  </a:lnTo>
                  <a:lnTo>
                    <a:pt x="1174" y="896"/>
                  </a:lnTo>
                  <a:lnTo>
                    <a:pt x="1171" y="896"/>
                  </a:lnTo>
                  <a:lnTo>
                    <a:pt x="1171" y="899"/>
                  </a:lnTo>
                  <a:lnTo>
                    <a:pt x="1171" y="899"/>
                  </a:lnTo>
                  <a:lnTo>
                    <a:pt x="1174" y="899"/>
                  </a:lnTo>
                  <a:lnTo>
                    <a:pt x="1174" y="901"/>
                  </a:lnTo>
                  <a:lnTo>
                    <a:pt x="1174" y="901"/>
                  </a:lnTo>
                  <a:lnTo>
                    <a:pt x="1174" y="901"/>
                  </a:lnTo>
                  <a:lnTo>
                    <a:pt x="1174" y="901"/>
                  </a:lnTo>
                  <a:lnTo>
                    <a:pt x="1174" y="901"/>
                  </a:lnTo>
                  <a:lnTo>
                    <a:pt x="1176" y="901"/>
                  </a:lnTo>
                  <a:lnTo>
                    <a:pt x="1179" y="901"/>
                  </a:lnTo>
                  <a:lnTo>
                    <a:pt x="1179" y="899"/>
                  </a:lnTo>
                  <a:lnTo>
                    <a:pt x="1181" y="896"/>
                  </a:lnTo>
                  <a:lnTo>
                    <a:pt x="1181" y="899"/>
                  </a:lnTo>
                  <a:lnTo>
                    <a:pt x="1181" y="896"/>
                  </a:lnTo>
                  <a:lnTo>
                    <a:pt x="1181" y="896"/>
                  </a:lnTo>
                  <a:lnTo>
                    <a:pt x="1181" y="896"/>
                  </a:lnTo>
                  <a:lnTo>
                    <a:pt x="1181" y="896"/>
                  </a:lnTo>
                  <a:lnTo>
                    <a:pt x="1181" y="899"/>
                  </a:lnTo>
                  <a:lnTo>
                    <a:pt x="1181" y="899"/>
                  </a:lnTo>
                  <a:lnTo>
                    <a:pt x="1181" y="901"/>
                  </a:lnTo>
                  <a:lnTo>
                    <a:pt x="1181" y="901"/>
                  </a:lnTo>
                  <a:lnTo>
                    <a:pt x="1179" y="903"/>
                  </a:lnTo>
                  <a:lnTo>
                    <a:pt x="1179" y="903"/>
                  </a:lnTo>
                  <a:lnTo>
                    <a:pt x="1179" y="903"/>
                  </a:lnTo>
                  <a:lnTo>
                    <a:pt x="1179" y="903"/>
                  </a:lnTo>
                  <a:lnTo>
                    <a:pt x="1179" y="903"/>
                  </a:lnTo>
                  <a:lnTo>
                    <a:pt x="1179" y="903"/>
                  </a:lnTo>
                  <a:lnTo>
                    <a:pt x="1179" y="903"/>
                  </a:lnTo>
                  <a:lnTo>
                    <a:pt x="1179" y="906"/>
                  </a:lnTo>
                  <a:lnTo>
                    <a:pt x="1179" y="906"/>
                  </a:lnTo>
                  <a:lnTo>
                    <a:pt x="1179" y="906"/>
                  </a:lnTo>
                  <a:lnTo>
                    <a:pt x="1179" y="906"/>
                  </a:lnTo>
                  <a:lnTo>
                    <a:pt x="1179" y="908"/>
                  </a:lnTo>
                  <a:lnTo>
                    <a:pt x="1179" y="908"/>
                  </a:lnTo>
                  <a:lnTo>
                    <a:pt x="1179" y="908"/>
                  </a:lnTo>
                  <a:lnTo>
                    <a:pt x="1176" y="908"/>
                  </a:lnTo>
                  <a:lnTo>
                    <a:pt x="1176" y="908"/>
                  </a:lnTo>
                  <a:lnTo>
                    <a:pt x="1176" y="908"/>
                  </a:lnTo>
                  <a:lnTo>
                    <a:pt x="1176" y="906"/>
                  </a:lnTo>
                  <a:lnTo>
                    <a:pt x="1176" y="906"/>
                  </a:lnTo>
                  <a:lnTo>
                    <a:pt x="1174" y="903"/>
                  </a:lnTo>
                  <a:lnTo>
                    <a:pt x="1171" y="903"/>
                  </a:lnTo>
                  <a:lnTo>
                    <a:pt x="1169" y="901"/>
                  </a:lnTo>
                  <a:lnTo>
                    <a:pt x="1164" y="901"/>
                  </a:lnTo>
                  <a:lnTo>
                    <a:pt x="1164" y="901"/>
                  </a:lnTo>
                  <a:lnTo>
                    <a:pt x="1164" y="901"/>
                  </a:lnTo>
                  <a:lnTo>
                    <a:pt x="1162" y="903"/>
                  </a:lnTo>
                  <a:lnTo>
                    <a:pt x="1162" y="903"/>
                  </a:lnTo>
                  <a:lnTo>
                    <a:pt x="1160" y="903"/>
                  </a:lnTo>
                  <a:lnTo>
                    <a:pt x="1162" y="903"/>
                  </a:lnTo>
                  <a:lnTo>
                    <a:pt x="1160" y="901"/>
                  </a:lnTo>
                  <a:lnTo>
                    <a:pt x="1160" y="901"/>
                  </a:lnTo>
                  <a:lnTo>
                    <a:pt x="1160" y="903"/>
                  </a:lnTo>
                  <a:lnTo>
                    <a:pt x="1157" y="903"/>
                  </a:lnTo>
                  <a:lnTo>
                    <a:pt x="1157" y="903"/>
                  </a:lnTo>
                  <a:lnTo>
                    <a:pt x="1157" y="906"/>
                  </a:lnTo>
                  <a:lnTo>
                    <a:pt x="1157" y="906"/>
                  </a:lnTo>
                  <a:lnTo>
                    <a:pt x="1157" y="906"/>
                  </a:lnTo>
                  <a:lnTo>
                    <a:pt x="1157" y="906"/>
                  </a:lnTo>
                  <a:lnTo>
                    <a:pt x="1157" y="908"/>
                  </a:lnTo>
                  <a:lnTo>
                    <a:pt x="1155" y="908"/>
                  </a:lnTo>
                  <a:lnTo>
                    <a:pt x="1155" y="910"/>
                  </a:lnTo>
                  <a:lnTo>
                    <a:pt x="1155" y="910"/>
                  </a:lnTo>
                  <a:lnTo>
                    <a:pt x="1155" y="908"/>
                  </a:lnTo>
                  <a:lnTo>
                    <a:pt x="1155" y="910"/>
                  </a:lnTo>
                  <a:lnTo>
                    <a:pt x="1157" y="910"/>
                  </a:lnTo>
                  <a:lnTo>
                    <a:pt x="1157" y="910"/>
                  </a:lnTo>
                  <a:lnTo>
                    <a:pt x="1157" y="910"/>
                  </a:lnTo>
                  <a:lnTo>
                    <a:pt x="1155" y="910"/>
                  </a:lnTo>
                  <a:lnTo>
                    <a:pt x="1155" y="913"/>
                  </a:lnTo>
                  <a:lnTo>
                    <a:pt x="1155" y="913"/>
                  </a:lnTo>
                  <a:lnTo>
                    <a:pt x="1157" y="913"/>
                  </a:lnTo>
                  <a:lnTo>
                    <a:pt x="1157" y="913"/>
                  </a:lnTo>
                  <a:lnTo>
                    <a:pt x="1160" y="913"/>
                  </a:lnTo>
                  <a:lnTo>
                    <a:pt x="1160" y="913"/>
                  </a:lnTo>
                  <a:lnTo>
                    <a:pt x="1160" y="915"/>
                  </a:lnTo>
                  <a:lnTo>
                    <a:pt x="1160" y="915"/>
                  </a:lnTo>
                  <a:lnTo>
                    <a:pt x="1160" y="915"/>
                  </a:lnTo>
                  <a:lnTo>
                    <a:pt x="1160" y="917"/>
                  </a:lnTo>
                  <a:lnTo>
                    <a:pt x="1160" y="917"/>
                  </a:lnTo>
                  <a:lnTo>
                    <a:pt x="1160" y="917"/>
                  </a:lnTo>
                  <a:lnTo>
                    <a:pt x="1160" y="917"/>
                  </a:lnTo>
                  <a:lnTo>
                    <a:pt x="1162" y="917"/>
                  </a:lnTo>
                  <a:lnTo>
                    <a:pt x="1162" y="917"/>
                  </a:lnTo>
                  <a:lnTo>
                    <a:pt x="1162" y="920"/>
                  </a:lnTo>
                  <a:lnTo>
                    <a:pt x="1162" y="917"/>
                  </a:lnTo>
                  <a:lnTo>
                    <a:pt x="1162" y="917"/>
                  </a:lnTo>
                  <a:lnTo>
                    <a:pt x="1162" y="917"/>
                  </a:lnTo>
                  <a:lnTo>
                    <a:pt x="1164" y="917"/>
                  </a:lnTo>
                  <a:lnTo>
                    <a:pt x="1164" y="917"/>
                  </a:lnTo>
                  <a:lnTo>
                    <a:pt x="1164" y="920"/>
                  </a:lnTo>
                  <a:lnTo>
                    <a:pt x="1164" y="920"/>
                  </a:lnTo>
                  <a:lnTo>
                    <a:pt x="1167" y="920"/>
                  </a:lnTo>
                  <a:lnTo>
                    <a:pt x="1167" y="920"/>
                  </a:lnTo>
                  <a:lnTo>
                    <a:pt x="1167" y="920"/>
                  </a:lnTo>
                  <a:lnTo>
                    <a:pt x="1167" y="920"/>
                  </a:lnTo>
                  <a:lnTo>
                    <a:pt x="1167" y="922"/>
                  </a:lnTo>
                  <a:lnTo>
                    <a:pt x="1167" y="922"/>
                  </a:lnTo>
                  <a:lnTo>
                    <a:pt x="1167" y="925"/>
                  </a:lnTo>
                  <a:lnTo>
                    <a:pt x="1167" y="925"/>
                  </a:lnTo>
                  <a:lnTo>
                    <a:pt x="1164" y="925"/>
                  </a:lnTo>
                  <a:lnTo>
                    <a:pt x="1164" y="927"/>
                  </a:lnTo>
                  <a:lnTo>
                    <a:pt x="1164" y="927"/>
                  </a:lnTo>
                  <a:lnTo>
                    <a:pt x="1167" y="929"/>
                  </a:lnTo>
                  <a:lnTo>
                    <a:pt x="1169" y="932"/>
                  </a:lnTo>
                  <a:lnTo>
                    <a:pt x="1169" y="932"/>
                  </a:lnTo>
                  <a:lnTo>
                    <a:pt x="1169" y="934"/>
                  </a:lnTo>
                  <a:lnTo>
                    <a:pt x="1167" y="934"/>
                  </a:lnTo>
                  <a:lnTo>
                    <a:pt x="1167" y="932"/>
                  </a:lnTo>
                  <a:lnTo>
                    <a:pt x="1167" y="932"/>
                  </a:lnTo>
                  <a:lnTo>
                    <a:pt x="1167" y="929"/>
                  </a:lnTo>
                  <a:lnTo>
                    <a:pt x="1164" y="929"/>
                  </a:lnTo>
                  <a:lnTo>
                    <a:pt x="1164" y="929"/>
                  </a:lnTo>
                  <a:lnTo>
                    <a:pt x="1162" y="927"/>
                  </a:lnTo>
                  <a:lnTo>
                    <a:pt x="1162" y="927"/>
                  </a:lnTo>
                  <a:lnTo>
                    <a:pt x="1162" y="925"/>
                  </a:lnTo>
                  <a:lnTo>
                    <a:pt x="1162" y="922"/>
                  </a:lnTo>
                  <a:lnTo>
                    <a:pt x="1160" y="922"/>
                  </a:lnTo>
                  <a:lnTo>
                    <a:pt x="1160" y="922"/>
                  </a:lnTo>
                  <a:lnTo>
                    <a:pt x="1160" y="920"/>
                  </a:lnTo>
                  <a:lnTo>
                    <a:pt x="1160" y="920"/>
                  </a:lnTo>
                  <a:lnTo>
                    <a:pt x="1160" y="920"/>
                  </a:lnTo>
                  <a:lnTo>
                    <a:pt x="1157" y="920"/>
                  </a:lnTo>
                  <a:lnTo>
                    <a:pt x="1153" y="917"/>
                  </a:lnTo>
                  <a:lnTo>
                    <a:pt x="1150" y="920"/>
                  </a:lnTo>
                  <a:lnTo>
                    <a:pt x="1150" y="922"/>
                  </a:lnTo>
                  <a:lnTo>
                    <a:pt x="1150" y="922"/>
                  </a:lnTo>
                  <a:lnTo>
                    <a:pt x="1148" y="922"/>
                  </a:lnTo>
                  <a:lnTo>
                    <a:pt x="1148" y="922"/>
                  </a:lnTo>
                  <a:lnTo>
                    <a:pt x="1148" y="922"/>
                  </a:lnTo>
                  <a:lnTo>
                    <a:pt x="1148" y="922"/>
                  </a:lnTo>
                  <a:lnTo>
                    <a:pt x="1148" y="925"/>
                  </a:lnTo>
                  <a:lnTo>
                    <a:pt x="1145" y="927"/>
                  </a:lnTo>
                  <a:lnTo>
                    <a:pt x="1145" y="927"/>
                  </a:lnTo>
                  <a:lnTo>
                    <a:pt x="1145" y="927"/>
                  </a:lnTo>
                  <a:lnTo>
                    <a:pt x="1145" y="927"/>
                  </a:lnTo>
                  <a:lnTo>
                    <a:pt x="1145" y="927"/>
                  </a:lnTo>
                  <a:lnTo>
                    <a:pt x="1143" y="927"/>
                  </a:lnTo>
                  <a:lnTo>
                    <a:pt x="1143" y="927"/>
                  </a:lnTo>
                  <a:lnTo>
                    <a:pt x="1143" y="927"/>
                  </a:lnTo>
                  <a:lnTo>
                    <a:pt x="1145" y="929"/>
                  </a:lnTo>
                  <a:lnTo>
                    <a:pt x="1145" y="929"/>
                  </a:lnTo>
                  <a:lnTo>
                    <a:pt x="1145" y="929"/>
                  </a:lnTo>
                  <a:lnTo>
                    <a:pt x="1145" y="929"/>
                  </a:lnTo>
                  <a:lnTo>
                    <a:pt x="1145" y="929"/>
                  </a:lnTo>
                  <a:lnTo>
                    <a:pt x="1143" y="929"/>
                  </a:lnTo>
                  <a:lnTo>
                    <a:pt x="1145" y="929"/>
                  </a:lnTo>
                  <a:lnTo>
                    <a:pt x="1145" y="932"/>
                  </a:lnTo>
                  <a:lnTo>
                    <a:pt x="1145" y="932"/>
                  </a:lnTo>
                  <a:lnTo>
                    <a:pt x="1148" y="932"/>
                  </a:lnTo>
                  <a:lnTo>
                    <a:pt x="1148" y="934"/>
                  </a:lnTo>
                  <a:lnTo>
                    <a:pt x="1150" y="934"/>
                  </a:lnTo>
                  <a:lnTo>
                    <a:pt x="1150" y="934"/>
                  </a:lnTo>
                  <a:lnTo>
                    <a:pt x="1150" y="936"/>
                  </a:lnTo>
                  <a:lnTo>
                    <a:pt x="1150" y="936"/>
                  </a:lnTo>
                  <a:lnTo>
                    <a:pt x="1155" y="939"/>
                  </a:lnTo>
                  <a:lnTo>
                    <a:pt x="1155" y="939"/>
                  </a:lnTo>
                  <a:lnTo>
                    <a:pt x="1155" y="941"/>
                  </a:lnTo>
                  <a:lnTo>
                    <a:pt x="1155" y="941"/>
                  </a:lnTo>
                  <a:lnTo>
                    <a:pt x="1155" y="941"/>
                  </a:lnTo>
                  <a:lnTo>
                    <a:pt x="1157" y="943"/>
                  </a:lnTo>
                  <a:lnTo>
                    <a:pt x="1160" y="943"/>
                  </a:lnTo>
                  <a:lnTo>
                    <a:pt x="1164" y="943"/>
                  </a:lnTo>
                  <a:lnTo>
                    <a:pt x="1167" y="941"/>
                  </a:lnTo>
                  <a:lnTo>
                    <a:pt x="1171" y="939"/>
                  </a:lnTo>
                  <a:lnTo>
                    <a:pt x="1171" y="939"/>
                  </a:lnTo>
                  <a:lnTo>
                    <a:pt x="1169" y="939"/>
                  </a:lnTo>
                  <a:lnTo>
                    <a:pt x="1169" y="939"/>
                  </a:lnTo>
                  <a:lnTo>
                    <a:pt x="1169" y="939"/>
                  </a:lnTo>
                  <a:lnTo>
                    <a:pt x="1169" y="936"/>
                  </a:lnTo>
                  <a:lnTo>
                    <a:pt x="1169" y="936"/>
                  </a:lnTo>
                  <a:lnTo>
                    <a:pt x="1169" y="936"/>
                  </a:lnTo>
                  <a:lnTo>
                    <a:pt x="1169" y="934"/>
                  </a:lnTo>
                  <a:lnTo>
                    <a:pt x="1169" y="934"/>
                  </a:lnTo>
                  <a:lnTo>
                    <a:pt x="1171" y="934"/>
                  </a:lnTo>
                  <a:lnTo>
                    <a:pt x="1171" y="934"/>
                  </a:lnTo>
                  <a:lnTo>
                    <a:pt x="1171" y="936"/>
                  </a:lnTo>
                  <a:lnTo>
                    <a:pt x="1171" y="939"/>
                  </a:lnTo>
                  <a:lnTo>
                    <a:pt x="1174" y="939"/>
                  </a:lnTo>
                  <a:lnTo>
                    <a:pt x="1174" y="939"/>
                  </a:lnTo>
                  <a:lnTo>
                    <a:pt x="1174" y="941"/>
                  </a:lnTo>
                  <a:lnTo>
                    <a:pt x="1174" y="943"/>
                  </a:lnTo>
                  <a:lnTo>
                    <a:pt x="1176" y="943"/>
                  </a:lnTo>
                  <a:lnTo>
                    <a:pt x="1176" y="946"/>
                  </a:lnTo>
                  <a:lnTo>
                    <a:pt x="1179" y="946"/>
                  </a:lnTo>
                  <a:lnTo>
                    <a:pt x="1181" y="948"/>
                  </a:lnTo>
                  <a:lnTo>
                    <a:pt x="1183" y="948"/>
                  </a:lnTo>
                  <a:lnTo>
                    <a:pt x="1183" y="948"/>
                  </a:lnTo>
                  <a:lnTo>
                    <a:pt x="1183" y="951"/>
                  </a:lnTo>
                  <a:lnTo>
                    <a:pt x="1179" y="951"/>
                  </a:lnTo>
                  <a:lnTo>
                    <a:pt x="1179" y="951"/>
                  </a:lnTo>
                  <a:lnTo>
                    <a:pt x="1176" y="948"/>
                  </a:lnTo>
                  <a:lnTo>
                    <a:pt x="1176" y="946"/>
                  </a:lnTo>
                  <a:lnTo>
                    <a:pt x="1176" y="946"/>
                  </a:lnTo>
                  <a:lnTo>
                    <a:pt x="1174" y="946"/>
                  </a:lnTo>
                  <a:lnTo>
                    <a:pt x="1174" y="946"/>
                  </a:lnTo>
                  <a:lnTo>
                    <a:pt x="1174" y="946"/>
                  </a:lnTo>
                  <a:lnTo>
                    <a:pt x="1174" y="943"/>
                  </a:lnTo>
                  <a:lnTo>
                    <a:pt x="1171" y="943"/>
                  </a:lnTo>
                  <a:lnTo>
                    <a:pt x="1171" y="943"/>
                  </a:lnTo>
                  <a:lnTo>
                    <a:pt x="1171" y="943"/>
                  </a:lnTo>
                  <a:lnTo>
                    <a:pt x="1171" y="943"/>
                  </a:lnTo>
                  <a:lnTo>
                    <a:pt x="1171" y="943"/>
                  </a:lnTo>
                  <a:lnTo>
                    <a:pt x="1171" y="943"/>
                  </a:lnTo>
                  <a:lnTo>
                    <a:pt x="1171" y="943"/>
                  </a:lnTo>
                  <a:lnTo>
                    <a:pt x="1169" y="943"/>
                  </a:lnTo>
                  <a:lnTo>
                    <a:pt x="1169" y="943"/>
                  </a:lnTo>
                  <a:lnTo>
                    <a:pt x="1169" y="946"/>
                  </a:lnTo>
                  <a:lnTo>
                    <a:pt x="1169" y="946"/>
                  </a:lnTo>
                  <a:lnTo>
                    <a:pt x="1169" y="946"/>
                  </a:lnTo>
                  <a:lnTo>
                    <a:pt x="1169" y="946"/>
                  </a:lnTo>
                  <a:lnTo>
                    <a:pt x="1169" y="946"/>
                  </a:lnTo>
                  <a:lnTo>
                    <a:pt x="1167" y="946"/>
                  </a:lnTo>
                  <a:lnTo>
                    <a:pt x="1167" y="948"/>
                  </a:lnTo>
                  <a:lnTo>
                    <a:pt x="1167" y="948"/>
                  </a:lnTo>
                  <a:lnTo>
                    <a:pt x="1167" y="948"/>
                  </a:lnTo>
                  <a:lnTo>
                    <a:pt x="1167" y="948"/>
                  </a:lnTo>
                  <a:lnTo>
                    <a:pt x="1169" y="948"/>
                  </a:lnTo>
                  <a:lnTo>
                    <a:pt x="1167" y="951"/>
                  </a:lnTo>
                  <a:lnTo>
                    <a:pt x="1167" y="951"/>
                  </a:lnTo>
                  <a:lnTo>
                    <a:pt x="1167" y="951"/>
                  </a:lnTo>
                  <a:lnTo>
                    <a:pt x="1167" y="951"/>
                  </a:lnTo>
                  <a:lnTo>
                    <a:pt x="1167" y="951"/>
                  </a:lnTo>
                  <a:lnTo>
                    <a:pt x="1164" y="951"/>
                  </a:lnTo>
                  <a:lnTo>
                    <a:pt x="1164" y="953"/>
                  </a:lnTo>
                  <a:lnTo>
                    <a:pt x="1164" y="953"/>
                  </a:lnTo>
                  <a:lnTo>
                    <a:pt x="1167" y="955"/>
                  </a:lnTo>
                  <a:lnTo>
                    <a:pt x="1167" y="955"/>
                  </a:lnTo>
                  <a:lnTo>
                    <a:pt x="1167" y="958"/>
                  </a:lnTo>
                  <a:lnTo>
                    <a:pt x="1167" y="958"/>
                  </a:lnTo>
                  <a:lnTo>
                    <a:pt x="1169" y="958"/>
                  </a:lnTo>
                  <a:lnTo>
                    <a:pt x="1169" y="958"/>
                  </a:lnTo>
                  <a:lnTo>
                    <a:pt x="1169" y="958"/>
                  </a:lnTo>
                  <a:lnTo>
                    <a:pt x="1169" y="955"/>
                  </a:lnTo>
                  <a:lnTo>
                    <a:pt x="1169" y="955"/>
                  </a:lnTo>
                  <a:lnTo>
                    <a:pt x="1171" y="955"/>
                  </a:lnTo>
                  <a:lnTo>
                    <a:pt x="1171" y="953"/>
                  </a:lnTo>
                  <a:lnTo>
                    <a:pt x="1171" y="953"/>
                  </a:lnTo>
                  <a:lnTo>
                    <a:pt x="1174" y="955"/>
                  </a:lnTo>
                  <a:lnTo>
                    <a:pt x="1174" y="955"/>
                  </a:lnTo>
                  <a:lnTo>
                    <a:pt x="1171" y="955"/>
                  </a:lnTo>
                  <a:lnTo>
                    <a:pt x="1171" y="955"/>
                  </a:lnTo>
                  <a:lnTo>
                    <a:pt x="1171" y="955"/>
                  </a:lnTo>
                  <a:lnTo>
                    <a:pt x="1171" y="955"/>
                  </a:lnTo>
                  <a:lnTo>
                    <a:pt x="1171" y="955"/>
                  </a:lnTo>
                  <a:lnTo>
                    <a:pt x="1171" y="958"/>
                  </a:lnTo>
                  <a:lnTo>
                    <a:pt x="1171" y="958"/>
                  </a:lnTo>
                  <a:lnTo>
                    <a:pt x="1174" y="958"/>
                  </a:lnTo>
                  <a:lnTo>
                    <a:pt x="1174" y="958"/>
                  </a:lnTo>
                  <a:lnTo>
                    <a:pt x="1174" y="960"/>
                  </a:lnTo>
                  <a:lnTo>
                    <a:pt x="1174" y="960"/>
                  </a:lnTo>
                  <a:lnTo>
                    <a:pt x="1174" y="960"/>
                  </a:lnTo>
                  <a:lnTo>
                    <a:pt x="1174" y="960"/>
                  </a:lnTo>
                  <a:lnTo>
                    <a:pt x="1176" y="960"/>
                  </a:lnTo>
                  <a:lnTo>
                    <a:pt x="1176" y="962"/>
                  </a:lnTo>
                  <a:lnTo>
                    <a:pt x="1174" y="962"/>
                  </a:lnTo>
                  <a:lnTo>
                    <a:pt x="1176" y="962"/>
                  </a:lnTo>
                  <a:lnTo>
                    <a:pt x="1176" y="962"/>
                  </a:lnTo>
                  <a:lnTo>
                    <a:pt x="1176" y="962"/>
                  </a:lnTo>
                  <a:lnTo>
                    <a:pt x="1176" y="965"/>
                  </a:lnTo>
                  <a:lnTo>
                    <a:pt x="1176" y="965"/>
                  </a:lnTo>
                  <a:lnTo>
                    <a:pt x="1174" y="965"/>
                  </a:lnTo>
                  <a:lnTo>
                    <a:pt x="1174" y="965"/>
                  </a:lnTo>
                  <a:lnTo>
                    <a:pt x="1174" y="965"/>
                  </a:lnTo>
                  <a:lnTo>
                    <a:pt x="1176" y="967"/>
                  </a:lnTo>
                  <a:lnTo>
                    <a:pt x="1176" y="967"/>
                  </a:lnTo>
                  <a:lnTo>
                    <a:pt x="1176" y="967"/>
                  </a:lnTo>
                  <a:lnTo>
                    <a:pt x="1176" y="967"/>
                  </a:lnTo>
                  <a:lnTo>
                    <a:pt x="1179" y="970"/>
                  </a:lnTo>
                  <a:lnTo>
                    <a:pt x="1179" y="970"/>
                  </a:lnTo>
                  <a:lnTo>
                    <a:pt x="1176" y="970"/>
                  </a:lnTo>
                  <a:lnTo>
                    <a:pt x="1176" y="970"/>
                  </a:lnTo>
                  <a:lnTo>
                    <a:pt x="1176" y="970"/>
                  </a:lnTo>
                  <a:lnTo>
                    <a:pt x="1176" y="970"/>
                  </a:lnTo>
                  <a:lnTo>
                    <a:pt x="1176" y="970"/>
                  </a:lnTo>
                  <a:lnTo>
                    <a:pt x="1176" y="972"/>
                  </a:lnTo>
                  <a:lnTo>
                    <a:pt x="1176" y="972"/>
                  </a:lnTo>
                  <a:lnTo>
                    <a:pt x="1176" y="972"/>
                  </a:lnTo>
                  <a:lnTo>
                    <a:pt x="1176" y="972"/>
                  </a:lnTo>
                  <a:lnTo>
                    <a:pt x="1176" y="972"/>
                  </a:lnTo>
                  <a:lnTo>
                    <a:pt x="1176" y="972"/>
                  </a:lnTo>
                  <a:lnTo>
                    <a:pt x="1176" y="972"/>
                  </a:lnTo>
                  <a:lnTo>
                    <a:pt x="1176" y="972"/>
                  </a:lnTo>
                  <a:lnTo>
                    <a:pt x="1174" y="974"/>
                  </a:lnTo>
                  <a:lnTo>
                    <a:pt x="1171" y="974"/>
                  </a:lnTo>
                  <a:lnTo>
                    <a:pt x="1171" y="974"/>
                  </a:lnTo>
                  <a:lnTo>
                    <a:pt x="1171" y="972"/>
                  </a:lnTo>
                  <a:lnTo>
                    <a:pt x="1171" y="972"/>
                  </a:lnTo>
                  <a:lnTo>
                    <a:pt x="1171" y="972"/>
                  </a:lnTo>
                  <a:lnTo>
                    <a:pt x="1171" y="970"/>
                  </a:lnTo>
                  <a:lnTo>
                    <a:pt x="1171" y="970"/>
                  </a:lnTo>
                  <a:lnTo>
                    <a:pt x="1171" y="970"/>
                  </a:lnTo>
                  <a:lnTo>
                    <a:pt x="1171" y="967"/>
                  </a:lnTo>
                  <a:lnTo>
                    <a:pt x="1171" y="967"/>
                  </a:lnTo>
                  <a:lnTo>
                    <a:pt x="1171" y="967"/>
                  </a:lnTo>
                  <a:lnTo>
                    <a:pt x="1171" y="970"/>
                  </a:lnTo>
                  <a:lnTo>
                    <a:pt x="1171" y="970"/>
                  </a:lnTo>
                  <a:lnTo>
                    <a:pt x="1171" y="970"/>
                  </a:lnTo>
                  <a:lnTo>
                    <a:pt x="1169" y="967"/>
                  </a:lnTo>
                  <a:lnTo>
                    <a:pt x="1169" y="967"/>
                  </a:lnTo>
                  <a:lnTo>
                    <a:pt x="1169" y="965"/>
                  </a:lnTo>
                  <a:lnTo>
                    <a:pt x="1169" y="965"/>
                  </a:lnTo>
                  <a:lnTo>
                    <a:pt x="1169" y="962"/>
                  </a:lnTo>
                  <a:lnTo>
                    <a:pt x="1169" y="962"/>
                  </a:lnTo>
                  <a:lnTo>
                    <a:pt x="1169" y="962"/>
                  </a:lnTo>
                  <a:lnTo>
                    <a:pt x="1169" y="962"/>
                  </a:lnTo>
                  <a:lnTo>
                    <a:pt x="1169" y="962"/>
                  </a:lnTo>
                  <a:lnTo>
                    <a:pt x="1169" y="962"/>
                  </a:lnTo>
                  <a:lnTo>
                    <a:pt x="1169" y="962"/>
                  </a:lnTo>
                  <a:lnTo>
                    <a:pt x="1169" y="962"/>
                  </a:lnTo>
                  <a:lnTo>
                    <a:pt x="1169" y="962"/>
                  </a:lnTo>
                  <a:lnTo>
                    <a:pt x="1169" y="962"/>
                  </a:lnTo>
                  <a:lnTo>
                    <a:pt x="1169" y="962"/>
                  </a:lnTo>
                  <a:lnTo>
                    <a:pt x="1169" y="962"/>
                  </a:lnTo>
                  <a:lnTo>
                    <a:pt x="1169" y="962"/>
                  </a:lnTo>
                  <a:lnTo>
                    <a:pt x="1169" y="962"/>
                  </a:lnTo>
                  <a:lnTo>
                    <a:pt x="1169" y="962"/>
                  </a:lnTo>
                  <a:lnTo>
                    <a:pt x="1169" y="962"/>
                  </a:lnTo>
                  <a:lnTo>
                    <a:pt x="1171" y="962"/>
                  </a:lnTo>
                  <a:lnTo>
                    <a:pt x="1171" y="962"/>
                  </a:lnTo>
                  <a:lnTo>
                    <a:pt x="1171" y="962"/>
                  </a:lnTo>
                  <a:lnTo>
                    <a:pt x="1171" y="962"/>
                  </a:lnTo>
                  <a:lnTo>
                    <a:pt x="1171" y="962"/>
                  </a:lnTo>
                  <a:lnTo>
                    <a:pt x="1171" y="960"/>
                  </a:lnTo>
                  <a:lnTo>
                    <a:pt x="1171" y="960"/>
                  </a:lnTo>
                  <a:lnTo>
                    <a:pt x="1171" y="960"/>
                  </a:lnTo>
                  <a:lnTo>
                    <a:pt x="1171" y="960"/>
                  </a:lnTo>
                  <a:lnTo>
                    <a:pt x="1169" y="960"/>
                  </a:lnTo>
                  <a:lnTo>
                    <a:pt x="1169" y="960"/>
                  </a:lnTo>
                  <a:lnTo>
                    <a:pt x="1169" y="962"/>
                  </a:lnTo>
                  <a:lnTo>
                    <a:pt x="1169" y="962"/>
                  </a:lnTo>
                  <a:lnTo>
                    <a:pt x="1169" y="962"/>
                  </a:lnTo>
                  <a:lnTo>
                    <a:pt x="1169" y="962"/>
                  </a:lnTo>
                  <a:lnTo>
                    <a:pt x="1169" y="962"/>
                  </a:lnTo>
                  <a:lnTo>
                    <a:pt x="1169" y="962"/>
                  </a:lnTo>
                  <a:lnTo>
                    <a:pt x="1169" y="962"/>
                  </a:lnTo>
                  <a:lnTo>
                    <a:pt x="1169" y="962"/>
                  </a:lnTo>
                  <a:lnTo>
                    <a:pt x="1169" y="962"/>
                  </a:lnTo>
                  <a:lnTo>
                    <a:pt x="1169" y="962"/>
                  </a:lnTo>
                  <a:lnTo>
                    <a:pt x="1169" y="962"/>
                  </a:lnTo>
                  <a:lnTo>
                    <a:pt x="1169" y="962"/>
                  </a:lnTo>
                  <a:lnTo>
                    <a:pt x="1169" y="965"/>
                  </a:lnTo>
                  <a:lnTo>
                    <a:pt x="1169" y="965"/>
                  </a:lnTo>
                  <a:lnTo>
                    <a:pt x="1167" y="967"/>
                  </a:lnTo>
                  <a:lnTo>
                    <a:pt x="1167" y="967"/>
                  </a:lnTo>
                  <a:lnTo>
                    <a:pt x="1169" y="967"/>
                  </a:lnTo>
                  <a:lnTo>
                    <a:pt x="1169" y="967"/>
                  </a:lnTo>
                  <a:lnTo>
                    <a:pt x="1169" y="970"/>
                  </a:lnTo>
                  <a:lnTo>
                    <a:pt x="1169" y="970"/>
                  </a:lnTo>
                  <a:lnTo>
                    <a:pt x="1169" y="972"/>
                  </a:lnTo>
                  <a:lnTo>
                    <a:pt x="1169" y="972"/>
                  </a:lnTo>
                  <a:lnTo>
                    <a:pt x="1169" y="974"/>
                  </a:lnTo>
                  <a:lnTo>
                    <a:pt x="1169" y="974"/>
                  </a:lnTo>
                  <a:lnTo>
                    <a:pt x="1171" y="974"/>
                  </a:lnTo>
                  <a:lnTo>
                    <a:pt x="1171" y="977"/>
                  </a:lnTo>
                  <a:lnTo>
                    <a:pt x="1171" y="977"/>
                  </a:lnTo>
                  <a:lnTo>
                    <a:pt x="1171" y="979"/>
                  </a:lnTo>
                  <a:lnTo>
                    <a:pt x="1171" y="979"/>
                  </a:lnTo>
                  <a:lnTo>
                    <a:pt x="1171" y="981"/>
                  </a:lnTo>
                  <a:lnTo>
                    <a:pt x="1169" y="981"/>
                  </a:lnTo>
                  <a:lnTo>
                    <a:pt x="1169" y="984"/>
                  </a:lnTo>
                  <a:lnTo>
                    <a:pt x="1169" y="984"/>
                  </a:lnTo>
                  <a:lnTo>
                    <a:pt x="1169" y="984"/>
                  </a:lnTo>
                  <a:lnTo>
                    <a:pt x="1169" y="984"/>
                  </a:lnTo>
                  <a:lnTo>
                    <a:pt x="1169" y="984"/>
                  </a:lnTo>
                  <a:lnTo>
                    <a:pt x="1167" y="984"/>
                  </a:lnTo>
                  <a:lnTo>
                    <a:pt x="1167" y="984"/>
                  </a:lnTo>
                  <a:lnTo>
                    <a:pt x="1167" y="984"/>
                  </a:lnTo>
                  <a:lnTo>
                    <a:pt x="1167" y="984"/>
                  </a:lnTo>
                  <a:lnTo>
                    <a:pt x="1167" y="984"/>
                  </a:lnTo>
                  <a:lnTo>
                    <a:pt x="1167" y="984"/>
                  </a:lnTo>
                  <a:lnTo>
                    <a:pt x="1167" y="984"/>
                  </a:lnTo>
                  <a:lnTo>
                    <a:pt x="1164" y="981"/>
                  </a:lnTo>
                  <a:lnTo>
                    <a:pt x="1162" y="984"/>
                  </a:lnTo>
                  <a:lnTo>
                    <a:pt x="1160" y="981"/>
                  </a:lnTo>
                  <a:lnTo>
                    <a:pt x="1160" y="981"/>
                  </a:lnTo>
                  <a:lnTo>
                    <a:pt x="1160" y="981"/>
                  </a:lnTo>
                  <a:lnTo>
                    <a:pt x="1160" y="981"/>
                  </a:lnTo>
                  <a:lnTo>
                    <a:pt x="1160" y="981"/>
                  </a:lnTo>
                  <a:lnTo>
                    <a:pt x="1160" y="981"/>
                  </a:lnTo>
                  <a:lnTo>
                    <a:pt x="1160" y="984"/>
                  </a:lnTo>
                  <a:lnTo>
                    <a:pt x="1160" y="984"/>
                  </a:lnTo>
                  <a:lnTo>
                    <a:pt x="1160" y="984"/>
                  </a:lnTo>
                  <a:lnTo>
                    <a:pt x="1160" y="984"/>
                  </a:lnTo>
                  <a:lnTo>
                    <a:pt x="1160" y="984"/>
                  </a:lnTo>
                  <a:lnTo>
                    <a:pt x="1160" y="984"/>
                  </a:lnTo>
                  <a:lnTo>
                    <a:pt x="1160" y="984"/>
                  </a:lnTo>
                  <a:lnTo>
                    <a:pt x="1160" y="986"/>
                  </a:lnTo>
                  <a:lnTo>
                    <a:pt x="1160" y="986"/>
                  </a:lnTo>
                  <a:lnTo>
                    <a:pt x="1157" y="986"/>
                  </a:lnTo>
                  <a:lnTo>
                    <a:pt x="1157" y="988"/>
                  </a:lnTo>
                  <a:lnTo>
                    <a:pt x="1157" y="986"/>
                  </a:lnTo>
                  <a:lnTo>
                    <a:pt x="1157" y="986"/>
                  </a:lnTo>
                  <a:lnTo>
                    <a:pt x="1157" y="986"/>
                  </a:lnTo>
                  <a:lnTo>
                    <a:pt x="1155" y="986"/>
                  </a:lnTo>
                  <a:lnTo>
                    <a:pt x="1155" y="986"/>
                  </a:lnTo>
                  <a:lnTo>
                    <a:pt x="1155" y="986"/>
                  </a:lnTo>
                  <a:lnTo>
                    <a:pt x="1155" y="986"/>
                  </a:lnTo>
                  <a:lnTo>
                    <a:pt x="1153" y="986"/>
                  </a:lnTo>
                  <a:lnTo>
                    <a:pt x="1150" y="986"/>
                  </a:lnTo>
                  <a:lnTo>
                    <a:pt x="1148" y="984"/>
                  </a:lnTo>
                  <a:lnTo>
                    <a:pt x="1148" y="984"/>
                  </a:lnTo>
                  <a:lnTo>
                    <a:pt x="1148" y="984"/>
                  </a:lnTo>
                  <a:lnTo>
                    <a:pt x="1148" y="981"/>
                  </a:lnTo>
                  <a:lnTo>
                    <a:pt x="1148" y="981"/>
                  </a:lnTo>
                  <a:lnTo>
                    <a:pt x="1148" y="984"/>
                  </a:lnTo>
                  <a:lnTo>
                    <a:pt x="1148" y="984"/>
                  </a:lnTo>
                  <a:lnTo>
                    <a:pt x="1150" y="984"/>
                  </a:lnTo>
                  <a:lnTo>
                    <a:pt x="1150" y="981"/>
                  </a:lnTo>
                  <a:lnTo>
                    <a:pt x="1150" y="981"/>
                  </a:lnTo>
                  <a:lnTo>
                    <a:pt x="1150" y="981"/>
                  </a:lnTo>
                  <a:lnTo>
                    <a:pt x="1150" y="979"/>
                  </a:lnTo>
                  <a:lnTo>
                    <a:pt x="1150" y="979"/>
                  </a:lnTo>
                  <a:lnTo>
                    <a:pt x="1148" y="979"/>
                  </a:lnTo>
                  <a:lnTo>
                    <a:pt x="1148" y="979"/>
                  </a:lnTo>
                  <a:lnTo>
                    <a:pt x="1148" y="979"/>
                  </a:lnTo>
                  <a:lnTo>
                    <a:pt x="1148" y="979"/>
                  </a:lnTo>
                  <a:lnTo>
                    <a:pt x="1150" y="979"/>
                  </a:lnTo>
                  <a:lnTo>
                    <a:pt x="1148" y="981"/>
                  </a:lnTo>
                  <a:lnTo>
                    <a:pt x="1148" y="981"/>
                  </a:lnTo>
                  <a:lnTo>
                    <a:pt x="1145" y="979"/>
                  </a:lnTo>
                  <a:lnTo>
                    <a:pt x="1145" y="979"/>
                  </a:lnTo>
                  <a:lnTo>
                    <a:pt x="1145" y="977"/>
                  </a:lnTo>
                  <a:lnTo>
                    <a:pt x="1145" y="977"/>
                  </a:lnTo>
                  <a:lnTo>
                    <a:pt x="1145" y="974"/>
                  </a:lnTo>
                  <a:lnTo>
                    <a:pt x="1145" y="972"/>
                  </a:lnTo>
                  <a:lnTo>
                    <a:pt x="1145" y="972"/>
                  </a:lnTo>
                  <a:lnTo>
                    <a:pt x="1143" y="972"/>
                  </a:lnTo>
                  <a:lnTo>
                    <a:pt x="1143" y="972"/>
                  </a:lnTo>
                  <a:lnTo>
                    <a:pt x="1143" y="970"/>
                  </a:lnTo>
                  <a:lnTo>
                    <a:pt x="1143" y="970"/>
                  </a:lnTo>
                  <a:lnTo>
                    <a:pt x="1143" y="970"/>
                  </a:lnTo>
                  <a:lnTo>
                    <a:pt x="1145" y="970"/>
                  </a:lnTo>
                  <a:lnTo>
                    <a:pt x="1143" y="970"/>
                  </a:lnTo>
                  <a:lnTo>
                    <a:pt x="1143" y="970"/>
                  </a:lnTo>
                  <a:lnTo>
                    <a:pt x="1143" y="970"/>
                  </a:lnTo>
                  <a:lnTo>
                    <a:pt x="1143" y="972"/>
                  </a:lnTo>
                  <a:lnTo>
                    <a:pt x="1143" y="972"/>
                  </a:lnTo>
                  <a:lnTo>
                    <a:pt x="1143" y="972"/>
                  </a:lnTo>
                  <a:lnTo>
                    <a:pt x="1141" y="970"/>
                  </a:lnTo>
                  <a:lnTo>
                    <a:pt x="1141" y="970"/>
                  </a:lnTo>
                  <a:lnTo>
                    <a:pt x="1138" y="967"/>
                  </a:lnTo>
                  <a:lnTo>
                    <a:pt x="1138" y="965"/>
                  </a:lnTo>
                  <a:lnTo>
                    <a:pt x="1141" y="967"/>
                  </a:lnTo>
                  <a:lnTo>
                    <a:pt x="1141" y="965"/>
                  </a:lnTo>
                  <a:lnTo>
                    <a:pt x="1141" y="965"/>
                  </a:lnTo>
                  <a:lnTo>
                    <a:pt x="1138" y="965"/>
                  </a:lnTo>
                  <a:lnTo>
                    <a:pt x="1138" y="965"/>
                  </a:lnTo>
                  <a:lnTo>
                    <a:pt x="1138" y="965"/>
                  </a:lnTo>
                  <a:lnTo>
                    <a:pt x="1141" y="962"/>
                  </a:lnTo>
                  <a:lnTo>
                    <a:pt x="1141" y="962"/>
                  </a:lnTo>
                  <a:lnTo>
                    <a:pt x="1138" y="962"/>
                  </a:lnTo>
                  <a:lnTo>
                    <a:pt x="1138" y="962"/>
                  </a:lnTo>
                  <a:lnTo>
                    <a:pt x="1138" y="962"/>
                  </a:lnTo>
                  <a:lnTo>
                    <a:pt x="1138" y="962"/>
                  </a:lnTo>
                  <a:lnTo>
                    <a:pt x="1138" y="962"/>
                  </a:lnTo>
                  <a:lnTo>
                    <a:pt x="1138" y="962"/>
                  </a:lnTo>
                  <a:lnTo>
                    <a:pt x="1136" y="962"/>
                  </a:lnTo>
                  <a:lnTo>
                    <a:pt x="1136" y="960"/>
                  </a:lnTo>
                  <a:lnTo>
                    <a:pt x="1136" y="960"/>
                  </a:lnTo>
                  <a:lnTo>
                    <a:pt x="1136" y="960"/>
                  </a:lnTo>
                  <a:lnTo>
                    <a:pt x="1136" y="960"/>
                  </a:lnTo>
                  <a:lnTo>
                    <a:pt x="1136" y="960"/>
                  </a:lnTo>
                  <a:lnTo>
                    <a:pt x="1136" y="958"/>
                  </a:lnTo>
                  <a:lnTo>
                    <a:pt x="1136" y="958"/>
                  </a:lnTo>
                  <a:lnTo>
                    <a:pt x="1136" y="958"/>
                  </a:lnTo>
                  <a:lnTo>
                    <a:pt x="1134" y="958"/>
                  </a:lnTo>
                  <a:lnTo>
                    <a:pt x="1134" y="958"/>
                  </a:lnTo>
                  <a:lnTo>
                    <a:pt x="1131" y="958"/>
                  </a:lnTo>
                  <a:lnTo>
                    <a:pt x="1131" y="958"/>
                  </a:lnTo>
                  <a:lnTo>
                    <a:pt x="1129" y="958"/>
                  </a:lnTo>
                  <a:lnTo>
                    <a:pt x="1129" y="958"/>
                  </a:lnTo>
                  <a:lnTo>
                    <a:pt x="1129" y="960"/>
                  </a:lnTo>
                  <a:lnTo>
                    <a:pt x="1127" y="958"/>
                  </a:lnTo>
                  <a:lnTo>
                    <a:pt x="1127" y="958"/>
                  </a:lnTo>
                  <a:lnTo>
                    <a:pt x="1127" y="960"/>
                  </a:lnTo>
                  <a:lnTo>
                    <a:pt x="1127" y="960"/>
                  </a:lnTo>
                  <a:lnTo>
                    <a:pt x="1127" y="960"/>
                  </a:lnTo>
                  <a:lnTo>
                    <a:pt x="1124" y="960"/>
                  </a:lnTo>
                  <a:lnTo>
                    <a:pt x="1124" y="962"/>
                  </a:lnTo>
                  <a:lnTo>
                    <a:pt x="1124" y="962"/>
                  </a:lnTo>
                  <a:lnTo>
                    <a:pt x="1122" y="962"/>
                  </a:lnTo>
                  <a:lnTo>
                    <a:pt x="1122" y="965"/>
                  </a:lnTo>
                  <a:lnTo>
                    <a:pt x="1122" y="965"/>
                  </a:lnTo>
                  <a:lnTo>
                    <a:pt x="1122" y="967"/>
                  </a:lnTo>
                  <a:lnTo>
                    <a:pt x="1122" y="967"/>
                  </a:lnTo>
                  <a:lnTo>
                    <a:pt x="1122" y="967"/>
                  </a:lnTo>
                  <a:lnTo>
                    <a:pt x="1122" y="970"/>
                  </a:lnTo>
                  <a:lnTo>
                    <a:pt x="1122" y="970"/>
                  </a:lnTo>
                  <a:lnTo>
                    <a:pt x="1122" y="970"/>
                  </a:lnTo>
                  <a:lnTo>
                    <a:pt x="1119" y="974"/>
                  </a:lnTo>
                  <a:lnTo>
                    <a:pt x="1119" y="977"/>
                  </a:lnTo>
                  <a:lnTo>
                    <a:pt x="1117" y="977"/>
                  </a:lnTo>
                  <a:lnTo>
                    <a:pt x="1117" y="979"/>
                  </a:lnTo>
                  <a:lnTo>
                    <a:pt x="1117" y="979"/>
                  </a:lnTo>
                  <a:lnTo>
                    <a:pt x="1117" y="979"/>
                  </a:lnTo>
                  <a:lnTo>
                    <a:pt x="1117" y="979"/>
                  </a:lnTo>
                  <a:lnTo>
                    <a:pt x="1117" y="981"/>
                  </a:lnTo>
                  <a:lnTo>
                    <a:pt x="1117" y="981"/>
                  </a:lnTo>
                  <a:lnTo>
                    <a:pt x="1117" y="981"/>
                  </a:lnTo>
                  <a:lnTo>
                    <a:pt x="1119" y="981"/>
                  </a:lnTo>
                  <a:lnTo>
                    <a:pt x="1117" y="984"/>
                  </a:lnTo>
                  <a:lnTo>
                    <a:pt x="1117" y="984"/>
                  </a:lnTo>
                  <a:lnTo>
                    <a:pt x="1117" y="984"/>
                  </a:lnTo>
                  <a:lnTo>
                    <a:pt x="1117" y="984"/>
                  </a:lnTo>
                  <a:lnTo>
                    <a:pt x="1119" y="986"/>
                  </a:lnTo>
                  <a:lnTo>
                    <a:pt x="1119" y="988"/>
                  </a:lnTo>
                  <a:lnTo>
                    <a:pt x="1119" y="988"/>
                  </a:lnTo>
                  <a:lnTo>
                    <a:pt x="1124" y="993"/>
                  </a:lnTo>
                  <a:lnTo>
                    <a:pt x="1124" y="993"/>
                  </a:lnTo>
                  <a:lnTo>
                    <a:pt x="1124" y="993"/>
                  </a:lnTo>
                  <a:lnTo>
                    <a:pt x="1124" y="996"/>
                  </a:lnTo>
                  <a:lnTo>
                    <a:pt x="1124" y="996"/>
                  </a:lnTo>
                  <a:lnTo>
                    <a:pt x="1127" y="996"/>
                  </a:lnTo>
                  <a:lnTo>
                    <a:pt x="1127" y="996"/>
                  </a:lnTo>
                  <a:lnTo>
                    <a:pt x="1129" y="998"/>
                  </a:lnTo>
                  <a:lnTo>
                    <a:pt x="1129" y="998"/>
                  </a:lnTo>
                  <a:lnTo>
                    <a:pt x="1129" y="998"/>
                  </a:lnTo>
                  <a:lnTo>
                    <a:pt x="1129" y="998"/>
                  </a:lnTo>
                  <a:lnTo>
                    <a:pt x="1129" y="998"/>
                  </a:lnTo>
                  <a:lnTo>
                    <a:pt x="1129" y="998"/>
                  </a:lnTo>
                  <a:lnTo>
                    <a:pt x="1129" y="998"/>
                  </a:lnTo>
                  <a:lnTo>
                    <a:pt x="1129" y="998"/>
                  </a:lnTo>
                  <a:lnTo>
                    <a:pt x="1131" y="998"/>
                  </a:lnTo>
                  <a:lnTo>
                    <a:pt x="1131" y="998"/>
                  </a:lnTo>
                  <a:lnTo>
                    <a:pt x="1131" y="998"/>
                  </a:lnTo>
                  <a:lnTo>
                    <a:pt x="1131" y="998"/>
                  </a:lnTo>
                  <a:lnTo>
                    <a:pt x="1134" y="1000"/>
                  </a:lnTo>
                  <a:lnTo>
                    <a:pt x="1134" y="1000"/>
                  </a:lnTo>
                  <a:lnTo>
                    <a:pt x="1134" y="1000"/>
                  </a:lnTo>
                  <a:lnTo>
                    <a:pt x="1134" y="1000"/>
                  </a:lnTo>
                  <a:lnTo>
                    <a:pt x="1136" y="1003"/>
                  </a:lnTo>
                  <a:lnTo>
                    <a:pt x="1136" y="1003"/>
                  </a:lnTo>
                  <a:lnTo>
                    <a:pt x="1134" y="1003"/>
                  </a:lnTo>
                  <a:lnTo>
                    <a:pt x="1136" y="1005"/>
                  </a:lnTo>
                  <a:lnTo>
                    <a:pt x="1136" y="1005"/>
                  </a:lnTo>
                  <a:lnTo>
                    <a:pt x="1136" y="1007"/>
                  </a:lnTo>
                  <a:lnTo>
                    <a:pt x="1136" y="1007"/>
                  </a:lnTo>
                  <a:lnTo>
                    <a:pt x="1136" y="1007"/>
                  </a:lnTo>
                  <a:lnTo>
                    <a:pt x="1136" y="1007"/>
                  </a:lnTo>
                  <a:lnTo>
                    <a:pt x="1138" y="1007"/>
                  </a:lnTo>
                  <a:lnTo>
                    <a:pt x="1138" y="1007"/>
                  </a:lnTo>
                  <a:lnTo>
                    <a:pt x="1138" y="1010"/>
                  </a:lnTo>
                  <a:lnTo>
                    <a:pt x="1138" y="1010"/>
                  </a:lnTo>
                  <a:lnTo>
                    <a:pt x="1136" y="1007"/>
                  </a:lnTo>
                  <a:lnTo>
                    <a:pt x="1136" y="1010"/>
                  </a:lnTo>
                  <a:lnTo>
                    <a:pt x="1136" y="1010"/>
                  </a:lnTo>
                  <a:lnTo>
                    <a:pt x="1136" y="1010"/>
                  </a:lnTo>
                  <a:lnTo>
                    <a:pt x="1136" y="1010"/>
                  </a:lnTo>
                  <a:lnTo>
                    <a:pt x="1136" y="1010"/>
                  </a:lnTo>
                  <a:lnTo>
                    <a:pt x="1136" y="1010"/>
                  </a:lnTo>
                  <a:lnTo>
                    <a:pt x="1136" y="1010"/>
                  </a:lnTo>
                  <a:lnTo>
                    <a:pt x="1136" y="1012"/>
                  </a:lnTo>
                  <a:lnTo>
                    <a:pt x="1136" y="1012"/>
                  </a:lnTo>
                  <a:lnTo>
                    <a:pt x="1136" y="1012"/>
                  </a:lnTo>
                  <a:lnTo>
                    <a:pt x="1136" y="1012"/>
                  </a:lnTo>
                  <a:lnTo>
                    <a:pt x="1136" y="1012"/>
                  </a:lnTo>
                  <a:lnTo>
                    <a:pt x="1136" y="1014"/>
                  </a:lnTo>
                  <a:lnTo>
                    <a:pt x="1138" y="1014"/>
                  </a:lnTo>
                  <a:lnTo>
                    <a:pt x="1138" y="1014"/>
                  </a:lnTo>
                  <a:lnTo>
                    <a:pt x="1138" y="1014"/>
                  </a:lnTo>
                  <a:lnTo>
                    <a:pt x="1138" y="1014"/>
                  </a:lnTo>
                  <a:lnTo>
                    <a:pt x="1141" y="1014"/>
                  </a:lnTo>
                  <a:lnTo>
                    <a:pt x="1141" y="1014"/>
                  </a:lnTo>
                  <a:lnTo>
                    <a:pt x="1141" y="1014"/>
                  </a:lnTo>
                  <a:lnTo>
                    <a:pt x="1141" y="1014"/>
                  </a:lnTo>
                  <a:lnTo>
                    <a:pt x="1141" y="1017"/>
                  </a:lnTo>
                  <a:lnTo>
                    <a:pt x="1141" y="1017"/>
                  </a:lnTo>
                  <a:lnTo>
                    <a:pt x="1141" y="1017"/>
                  </a:lnTo>
                  <a:lnTo>
                    <a:pt x="1141" y="1014"/>
                  </a:lnTo>
                  <a:lnTo>
                    <a:pt x="1141" y="1014"/>
                  </a:lnTo>
                  <a:lnTo>
                    <a:pt x="1143" y="1014"/>
                  </a:lnTo>
                  <a:lnTo>
                    <a:pt x="1143" y="1017"/>
                  </a:lnTo>
                  <a:lnTo>
                    <a:pt x="1145" y="1017"/>
                  </a:lnTo>
                  <a:lnTo>
                    <a:pt x="1145" y="1017"/>
                  </a:lnTo>
                  <a:lnTo>
                    <a:pt x="1145" y="1017"/>
                  </a:lnTo>
                  <a:lnTo>
                    <a:pt x="1145" y="1019"/>
                  </a:lnTo>
                  <a:lnTo>
                    <a:pt x="1145" y="1019"/>
                  </a:lnTo>
                  <a:lnTo>
                    <a:pt x="1145" y="1019"/>
                  </a:lnTo>
                  <a:lnTo>
                    <a:pt x="1145" y="1019"/>
                  </a:lnTo>
                  <a:lnTo>
                    <a:pt x="1145" y="1019"/>
                  </a:lnTo>
                  <a:lnTo>
                    <a:pt x="1145" y="1019"/>
                  </a:lnTo>
                  <a:lnTo>
                    <a:pt x="1145" y="1019"/>
                  </a:lnTo>
                  <a:lnTo>
                    <a:pt x="1145" y="1019"/>
                  </a:lnTo>
                  <a:lnTo>
                    <a:pt x="1148" y="1019"/>
                  </a:lnTo>
                  <a:lnTo>
                    <a:pt x="1148" y="1017"/>
                  </a:lnTo>
                  <a:lnTo>
                    <a:pt x="1148" y="1014"/>
                  </a:lnTo>
                  <a:lnTo>
                    <a:pt x="1150" y="1014"/>
                  </a:lnTo>
                  <a:lnTo>
                    <a:pt x="1150" y="1014"/>
                  </a:lnTo>
                  <a:lnTo>
                    <a:pt x="1150" y="1014"/>
                  </a:lnTo>
                  <a:lnTo>
                    <a:pt x="1153" y="1014"/>
                  </a:lnTo>
                  <a:lnTo>
                    <a:pt x="1153" y="1014"/>
                  </a:lnTo>
                  <a:lnTo>
                    <a:pt x="1153" y="1017"/>
                  </a:lnTo>
                  <a:lnTo>
                    <a:pt x="1155" y="1017"/>
                  </a:lnTo>
                  <a:lnTo>
                    <a:pt x="1155" y="1017"/>
                  </a:lnTo>
                  <a:lnTo>
                    <a:pt x="1155" y="1017"/>
                  </a:lnTo>
                  <a:lnTo>
                    <a:pt x="1155" y="1017"/>
                  </a:lnTo>
                  <a:lnTo>
                    <a:pt x="1155" y="1019"/>
                  </a:lnTo>
                  <a:lnTo>
                    <a:pt x="1155" y="1019"/>
                  </a:lnTo>
                  <a:lnTo>
                    <a:pt x="1155" y="1019"/>
                  </a:lnTo>
                  <a:lnTo>
                    <a:pt x="1155" y="1019"/>
                  </a:lnTo>
                  <a:lnTo>
                    <a:pt x="1155" y="1019"/>
                  </a:lnTo>
                  <a:lnTo>
                    <a:pt x="1155" y="1019"/>
                  </a:lnTo>
                  <a:lnTo>
                    <a:pt x="1155" y="1022"/>
                  </a:lnTo>
                  <a:lnTo>
                    <a:pt x="1155" y="1022"/>
                  </a:lnTo>
                  <a:lnTo>
                    <a:pt x="1155" y="1022"/>
                  </a:lnTo>
                  <a:lnTo>
                    <a:pt x="1155" y="1022"/>
                  </a:lnTo>
                  <a:lnTo>
                    <a:pt x="1155" y="1024"/>
                  </a:lnTo>
                  <a:lnTo>
                    <a:pt x="1157" y="1024"/>
                  </a:lnTo>
                  <a:lnTo>
                    <a:pt x="1157" y="1024"/>
                  </a:lnTo>
                  <a:lnTo>
                    <a:pt x="1157" y="1024"/>
                  </a:lnTo>
                  <a:lnTo>
                    <a:pt x="1157" y="1024"/>
                  </a:lnTo>
                  <a:lnTo>
                    <a:pt x="1157" y="1024"/>
                  </a:lnTo>
                  <a:lnTo>
                    <a:pt x="1157" y="1024"/>
                  </a:lnTo>
                  <a:lnTo>
                    <a:pt x="1157" y="1024"/>
                  </a:lnTo>
                  <a:lnTo>
                    <a:pt x="1157" y="1024"/>
                  </a:lnTo>
                  <a:lnTo>
                    <a:pt x="1157" y="1022"/>
                  </a:lnTo>
                  <a:lnTo>
                    <a:pt x="1157" y="1022"/>
                  </a:lnTo>
                  <a:lnTo>
                    <a:pt x="1160" y="1024"/>
                  </a:lnTo>
                  <a:lnTo>
                    <a:pt x="1160" y="1024"/>
                  </a:lnTo>
                  <a:lnTo>
                    <a:pt x="1160" y="1024"/>
                  </a:lnTo>
                  <a:lnTo>
                    <a:pt x="1160" y="1024"/>
                  </a:lnTo>
                  <a:lnTo>
                    <a:pt x="1160" y="1024"/>
                  </a:lnTo>
                  <a:lnTo>
                    <a:pt x="1160" y="1022"/>
                  </a:lnTo>
                  <a:lnTo>
                    <a:pt x="1164" y="1024"/>
                  </a:lnTo>
                  <a:lnTo>
                    <a:pt x="1164" y="1026"/>
                  </a:lnTo>
                  <a:lnTo>
                    <a:pt x="1164" y="1026"/>
                  </a:lnTo>
                  <a:lnTo>
                    <a:pt x="1164" y="1026"/>
                  </a:lnTo>
                  <a:lnTo>
                    <a:pt x="1164" y="1026"/>
                  </a:lnTo>
                  <a:lnTo>
                    <a:pt x="1167" y="1029"/>
                  </a:lnTo>
                  <a:lnTo>
                    <a:pt x="1167" y="1029"/>
                  </a:lnTo>
                  <a:lnTo>
                    <a:pt x="1167" y="1029"/>
                  </a:lnTo>
                  <a:lnTo>
                    <a:pt x="1167" y="1029"/>
                  </a:lnTo>
                  <a:lnTo>
                    <a:pt x="1167" y="1029"/>
                  </a:lnTo>
                  <a:lnTo>
                    <a:pt x="1167" y="1031"/>
                  </a:lnTo>
                  <a:lnTo>
                    <a:pt x="1167" y="1031"/>
                  </a:lnTo>
                  <a:lnTo>
                    <a:pt x="1169" y="1031"/>
                  </a:lnTo>
                  <a:lnTo>
                    <a:pt x="1169" y="1031"/>
                  </a:lnTo>
                  <a:lnTo>
                    <a:pt x="1169" y="1031"/>
                  </a:lnTo>
                  <a:lnTo>
                    <a:pt x="1169" y="1033"/>
                  </a:lnTo>
                  <a:lnTo>
                    <a:pt x="1169" y="1033"/>
                  </a:lnTo>
                  <a:lnTo>
                    <a:pt x="1169" y="1033"/>
                  </a:lnTo>
                  <a:lnTo>
                    <a:pt x="1169" y="1036"/>
                  </a:lnTo>
                  <a:lnTo>
                    <a:pt x="1169" y="1036"/>
                  </a:lnTo>
                  <a:lnTo>
                    <a:pt x="1169" y="1036"/>
                  </a:lnTo>
                  <a:lnTo>
                    <a:pt x="1169" y="1036"/>
                  </a:lnTo>
                  <a:lnTo>
                    <a:pt x="1171" y="1038"/>
                  </a:lnTo>
                  <a:lnTo>
                    <a:pt x="1171" y="1040"/>
                  </a:lnTo>
                  <a:lnTo>
                    <a:pt x="1174" y="1043"/>
                  </a:lnTo>
                  <a:lnTo>
                    <a:pt x="1174" y="1043"/>
                  </a:lnTo>
                  <a:lnTo>
                    <a:pt x="1176" y="1045"/>
                  </a:lnTo>
                  <a:lnTo>
                    <a:pt x="1176" y="1045"/>
                  </a:lnTo>
                  <a:lnTo>
                    <a:pt x="1176" y="1048"/>
                  </a:lnTo>
                  <a:lnTo>
                    <a:pt x="1179" y="1048"/>
                  </a:lnTo>
                  <a:lnTo>
                    <a:pt x="1181" y="1048"/>
                  </a:lnTo>
                  <a:lnTo>
                    <a:pt x="1181" y="1050"/>
                  </a:lnTo>
                  <a:lnTo>
                    <a:pt x="1181" y="1052"/>
                  </a:lnTo>
                  <a:lnTo>
                    <a:pt x="1183" y="1052"/>
                  </a:lnTo>
                  <a:lnTo>
                    <a:pt x="1183" y="1052"/>
                  </a:lnTo>
                  <a:lnTo>
                    <a:pt x="1183" y="1052"/>
                  </a:lnTo>
                  <a:lnTo>
                    <a:pt x="1183" y="1055"/>
                  </a:lnTo>
                  <a:lnTo>
                    <a:pt x="1183" y="1055"/>
                  </a:lnTo>
                  <a:lnTo>
                    <a:pt x="1186" y="1055"/>
                  </a:lnTo>
                  <a:lnTo>
                    <a:pt x="1186" y="1055"/>
                  </a:lnTo>
                  <a:lnTo>
                    <a:pt x="1186" y="1055"/>
                  </a:lnTo>
                  <a:lnTo>
                    <a:pt x="1186" y="1057"/>
                  </a:lnTo>
                  <a:lnTo>
                    <a:pt x="1186" y="1057"/>
                  </a:lnTo>
                  <a:lnTo>
                    <a:pt x="1186" y="1057"/>
                  </a:lnTo>
                  <a:lnTo>
                    <a:pt x="1186" y="1057"/>
                  </a:lnTo>
                  <a:lnTo>
                    <a:pt x="1186" y="1057"/>
                  </a:lnTo>
                  <a:lnTo>
                    <a:pt x="1186" y="1059"/>
                  </a:lnTo>
                  <a:lnTo>
                    <a:pt x="1186" y="1059"/>
                  </a:lnTo>
                  <a:lnTo>
                    <a:pt x="1186" y="1059"/>
                  </a:lnTo>
                  <a:lnTo>
                    <a:pt x="1188" y="1059"/>
                  </a:lnTo>
                  <a:lnTo>
                    <a:pt x="1188" y="1059"/>
                  </a:lnTo>
                  <a:lnTo>
                    <a:pt x="1188" y="1062"/>
                  </a:lnTo>
                  <a:lnTo>
                    <a:pt x="1188" y="1062"/>
                  </a:lnTo>
                  <a:lnTo>
                    <a:pt x="1188" y="1064"/>
                  </a:lnTo>
                  <a:lnTo>
                    <a:pt x="1188" y="1066"/>
                  </a:lnTo>
                  <a:lnTo>
                    <a:pt x="1190" y="1066"/>
                  </a:lnTo>
                  <a:lnTo>
                    <a:pt x="1193" y="1069"/>
                  </a:lnTo>
                  <a:lnTo>
                    <a:pt x="1193" y="1069"/>
                  </a:lnTo>
                  <a:lnTo>
                    <a:pt x="1193" y="1069"/>
                  </a:lnTo>
                  <a:lnTo>
                    <a:pt x="1193" y="1071"/>
                  </a:lnTo>
                  <a:lnTo>
                    <a:pt x="1193" y="1071"/>
                  </a:lnTo>
                  <a:lnTo>
                    <a:pt x="1193" y="1071"/>
                  </a:lnTo>
                  <a:lnTo>
                    <a:pt x="1193" y="1074"/>
                  </a:lnTo>
                  <a:lnTo>
                    <a:pt x="1193" y="1076"/>
                  </a:lnTo>
                  <a:lnTo>
                    <a:pt x="1193" y="1076"/>
                  </a:lnTo>
                  <a:lnTo>
                    <a:pt x="1193" y="1078"/>
                  </a:lnTo>
                  <a:lnTo>
                    <a:pt x="1195" y="1078"/>
                  </a:lnTo>
                  <a:lnTo>
                    <a:pt x="1195" y="1081"/>
                  </a:lnTo>
                  <a:lnTo>
                    <a:pt x="1195" y="1081"/>
                  </a:lnTo>
                  <a:lnTo>
                    <a:pt x="1195" y="1081"/>
                  </a:lnTo>
                  <a:lnTo>
                    <a:pt x="1195" y="1083"/>
                  </a:lnTo>
                  <a:lnTo>
                    <a:pt x="1195" y="1083"/>
                  </a:lnTo>
                  <a:lnTo>
                    <a:pt x="1195" y="1083"/>
                  </a:lnTo>
                  <a:lnTo>
                    <a:pt x="1195" y="1085"/>
                  </a:lnTo>
                  <a:lnTo>
                    <a:pt x="1195" y="1085"/>
                  </a:lnTo>
                  <a:lnTo>
                    <a:pt x="1195" y="1085"/>
                  </a:lnTo>
                  <a:lnTo>
                    <a:pt x="1198" y="1085"/>
                  </a:lnTo>
                  <a:lnTo>
                    <a:pt x="1200" y="1085"/>
                  </a:lnTo>
                  <a:lnTo>
                    <a:pt x="1200" y="1083"/>
                  </a:lnTo>
                  <a:lnTo>
                    <a:pt x="1202" y="1083"/>
                  </a:lnTo>
                  <a:lnTo>
                    <a:pt x="1202" y="1083"/>
                  </a:lnTo>
                  <a:lnTo>
                    <a:pt x="1202" y="1083"/>
                  </a:lnTo>
                  <a:lnTo>
                    <a:pt x="1205" y="1088"/>
                  </a:lnTo>
                  <a:lnTo>
                    <a:pt x="1207" y="1090"/>
                  </a:lnTo>
                  <a:lnTo>
                    <a:pt x="1207" y="1090"/>
                  </a:lnTo>
                  <a:lnTo>
                    <a:pt x="1207" y="1090"/>
                  </a:lnTo>
                  <a:lnTo>
                    <a:pt x="1207" y="1090"/>
                  </a:lnTo>
                  <a:lnTo>
                    <a:pt x="1209" y="1090"/>
                  </a:lnTo>
                  <a:lnTo>
                    <a:pt x="1209" y="1090"/>
                  </a:lnTo>
                  <a:lnTo>
                    <a:pt x="1209" y="1090"/>
                  </a:lnTo>
                  <a:lnTo>
                    <a:pt x="1207" y="1088"/>
                  </a:lnTo>
                  <a:lnTo>
                    <a:pt x="1209" y="1088"/>
                  </a:lnTo>
                  <a:lnTo>
                    <a:pt x="1212" y="1088"/>
                  </a:lnTo>
                  <a:lnTo>
                    <a:pt x="1212" y="1088"/>
                  </a:lnTo>
                  <a:lnTo>
                    <a:pt x="1214" y="1085"/>
                  </a:lnTo>
                  <a:lnTo>
                    <a:pt x="1214" y="1085"/>
                  </a:lnTo>
                  <a:lnTo>
                    <a:pt x="1214" y="1085"/>
                  </a:lnTo>
                  <a:lnTo>
                    <a:pt x="1216" y="1083"/>
                  </a:lnTo>
                  <a:lnTo>
                    <a:pt x="1219" y="1081"/>
                  </a:lnTo>
                  <a:lnTo>
                    <a:pt x="1219" y="1078"/>
                  </a:lnTo>
                  <a:lnTo>
                    <a:pt x="1221" y="1078"/>
                  </a:lnTo>
                  <a:lnTo>
                    <a:pt x="1221" y="1076"/>
                  </a:lnTo>
                  <a:lnTo>
                    <a:pt x="1221" y="1074"/>
                  </a:lnTo>
                  <a:lnTo>
                    <a:pt x="1224" y="1071"/>
                  </a:lnTo>
                  <a:lnTo>
                    <a:pt x="1224" y="1071"/>
                  </a:lnTo>
                  <a:lnTo>
                    <a:pt x="1224" y="1071"/>
                  </a:lnTo>
                  <a:lnTo>
                    <a:pt x="1221" y="1071"/>
                  </a:lnTo>
                  <a:lnTo>
                    <a:pt x="1221" y="1071"/>
                  </a:lnTo>
                  <a:lnTo>
                    <a:pt x="1221" y="1071"/>
                  </a:lnTo>
                  <a:lnTo>
                    <a:pt x="1221" y="1071"/>
                  </a:lnTo>
                  <a:lnTo>
                    <a:pt x="1221" y="1071"/>
                  </a:lnTo>
                  <a:lnTo>
                    <a:pt x="1221" y="1069"/>
                  </a:lnTo>
                  <a:lnTo>
                    <a:pt x="1221" y="1069"/>
                  </a:lnTo>
                  <a:lnTo>
                    <a:pt x="1219" y="1066"/>
                  </a:lnTo>
                  <a:lnTo>
                    <a:pt x="1219" y="1066"/>
                  </a:lnTo>
                  <a:lnTo>
                    <a:pt x="1219" y="1066"/>
                  </a:lnTo>
                  <a:lnTo>
                    <a:pt x="1219" y="1066"/>
                  </a:lnTo>
                  <a:lnTo>
                    <a:pt x="1219" y="1066"/>
                  </a:lnTo>
                  <a:lnTo>
                    <a:pt x="1216" y="1066"/>
                  </a:lnTo>
                  <a:lnTo>
                    <a:pt x="1216" y="1066"/>
                  </a:lnTo>
                  <a:lnTo>
                    <a:pt x="1216" y="1066"/>
                  </a:lnTo>
                  <a:lnTo>
                    <a:pt x="1216" y="1064"/>
                  </a:lnTo>
                  <a:lnTo>
                    <a:pt x="1216" y="1064"/>
                  </a:lnTo>
                  <a:lnTo>
                    <a:pt x="1216" y="1064"/>
                  </a:lnTo>
                  <a:lnTo>
                    <a:pt x="1216" y="1064"/>
                  </a:lnTo>
                  <a:lnTo>
                    <a:pt x="1214" y="1062"/>
                  </a:lnTo>
                  <a:lnTo>
                    <a:pt x="1214" y="1062"/>
                  </a:lnTo>
                  <a:lnTo>
                    <a:pt x="1214" y="1062"/>
                  </a:lnTo>
                  <a:lnTo>
                    <a:pt x="1214" y="1059"/>
                  </a:lnTo>
                  <a:lnTo>
                    <a:pt x="1214" y="1059"/>
                  </a:lnTo>
                  <a:lnTo>
                    <a:pt x="1214" y="1059"/>
                  </a:lnTo>
                  <a:lnTo>
                    <a:pt x="1214" y="1059"/>
                  </a:lnTo>
                  <a:lnTo>
                    <a:pt x="1214" y="1057"/>
                  </a:lnTo>
                  <a:lnTo>
                    <a:pt x="1214" y="1057"/>
                  </a:lnTo>
                  <a:lnTo>
                    <a:pt x="1214" y="1057"/>
                  </a:lnTo>
                  <a:lnTo>
                    <a:pt x="1212" y="1057"/>
                  </a:lnTo>
                  <a:lnTo>
                    <a:pt x="1212" y="1057"/>
                  </a:lnTo>
                  <a:lnTo>
                    <a:pt x="1212" y="1057"/>
                  </a:lnTo>
                  <a:lnTo>
                    <a:pt x="1212" y="1057"/>
                  </a:lnTo>
                  <a:lnTo>
                    <a:pt x="1212" y="1055"/>
                  </a:lnTo>
                  <a:lnTo>
                    <a:pt x="1214" y="1052"/>
                  </a:lnTo>
                  <a:lnTo>
                    <a:pt x="1216" y="1048"/>
                  </a:lnTo>
                  <a:lnTo>
                    <a:pt x="1216" y="1048"/>
                  </a:lnTo>
                  <a:lnTo>
                    <a:pt x="1216" y="1048"/>
                  </a:lnTo>
                  <a:lnTo>
                    <a:pt x="1216" y="1048"/>
                  </a:lnTo>
                  <a:lnTo>
                    <a:pt x="1216" y="1048"/>
                  </a:lnTo>
                  <a:lnTo>
                    <a:pt x="1216" y="1048"/>
                  </a:lnTo>
                  <a:lnTo>
                    <a:pt x="1216" y="1045"/>
                  </a:lnTo>
                  <a:lnTo>
                    <a:pt x="1219" y="1045"/>
                  </a:lnTo>
                  <a:lnTo>
                    <a:pt x="1216" y="1045"/>
                  </a:lnTo>
                  <a:lnTo>
                    <a:pt x="1216" y="1045"/>
                  </a:lnTo>
                  <a:lnTo>
                    <a:pt x="1216" y="1045"/>
                  </a:lnTo>
                  <a:lnTo>
                    <a:pt x="1216" y="1045"/>
                  </a:lnTo>
                  <a:lnTo>
                    <a:pt x="1219" y="1045"/>
                  </a:lnTo>
                  <a:lnTo>
                    <a:pt x="1219" y="1045"/>
                  </a:lnTo>
                  <a:lnTo>
                    <a:pt x="1219" y="1045"/>
                  </a:lnTo>
                  <a:lnTo>
                    <a:pt x="1219" y="1045"/>
                  </a:lnTo>
                  <a:lnTo>
                    <a:pt x="1219" y="1048"/>
                  </a:lnTo>
                  <a:lnTo>
                    <a:pt x="1216" y="1052"/>
                  </a:lnTo>
                  <a:lnTo>
                    <a:pt x="1216" y="1052"/>
                  </a:lnTo>
                  <a:lnTo>
                    <a:pt x="1216" y="1057"/>
                  </a:lnTo>
                  <a:lnTo>
                    <a:pt x="1216" y="1057"/>
                  </a:lnTo>
                  <a:lnTo>
                    <a:pt x="1216" y="1057"/>
                  </a:lnTo>
                  <a:lnTo>
                    <a:pt x="1216" y="1057"/>
                  </a:lnTo>
                  <a:lnTo>
                    <a:pt x="1216" y="1059"/>
                  </a:lnTo>
                  <a:lnTo>
                    <a:pt x="1219" y="1062"/>
                  </a:lnTo>
                  <a:lnTo>
                    <a:pt x="1219" y="1062"/>
                  </a:lnTo>
                  <a:lnTo>
                    <a:pt x="1221" y="1064"/>
                  </a:lnTo>
                  <a:lnTo>
                    <a:pt x="1221" y="1064"/>
                  </a:lnTo>
                  <a:lnTo>
                    <a:pt x="1224" y="1062"/>
                  </a:lnTo>
                  <a:lnTo>
                    <a:pt x="1226" y="1062"/>
                  </a:lnTo>
                  <a:lnTo>
                    <a:pt x="1226" y="1062"/>
                  </a:lnTo>
                  <a:lnTo>
                    <a:pt x="1228" y="1064"/>
                  </a:lnTo>
                  <a:lnTo>
                    <a:pt x="1231" y="1064"/>
                  </a:lnTo>
                  <a:lnTo>
                    <a:pt x="1231" y="1064"/>
                  </a:lnTo>
                  <a:lnTo>
                    <a:pt x="1231" y="1064"/>
                  </a:lnTo>
                  <a:lnTo>
                    <a:pt x="1235" y="1064"/>
                  </a:lnTo>
                  <a:lnTo>
                    <a:pt x="1235" y="1064"/>
                  </a:lnTo>
                  <a:lnTo>
                    <a:pt x="1240" y="1062"/>
                  </a:lnTo>
                  <a:lnTo>
                    <a:pt x="1242" y="1062"/>
                  </a:lnTo>
                  <a:lnTo>
                    <a:pt x="1245" y="1059"/>
                  </a:lnTo>
                  <a:lnTo>
                    <a:pt x="1245" y="1057"/>
                  </a:lnTo>
                  <a:lnTo>
                    <a:pt x="1245" y="1057"/>
                  </a:lnTo>
                  <a:lnTo>
                    <a:pt x="1245" y="1055"/>
                  </a:lnTo>
                  <a:lnTo>
                    <a:pt x="1247" y="1052"/>
                  </a:lnTo>
                  <a:lnTo>
                    <a:pt x="1247" y="1050"/>
                  </a:lnTo>
                  <a:lnTo>
                    <a:pt x="1247" y="1050"/>
                  </a:lnTo>
                  <a:lnTo>
                    <a:pt x="1250" y="1050"/>
                  </a:lnTo>
                  <a:lnTo>
                    <a:pt x="1250" y="1050"/>
                  </a:lnTo>
                  <a:lnTo>
                    <a:pt x="1250" y="1050"/>
                  </a:lnTo>
                  <a:lnTo>
                    <a:pt x="1252" y="1048"/>
                  </a:lnTo>
                  <a:lnTo>
                    <a:pt x="1252" y="1048"/>
                  </a:lnTo>
                  <a:lnTo>
                    <a:pt x="1252" y="1048"/>
                  </a:lnTo>
                  <a:lnTo>
                    <a:pt x="1254" y="1048"/>
                  </a:lnTo>
                  <a:lnTo>
                    <a:pt x="1252" y="1050"/>
                  </a:lnTo>
                  <a:lnTo>
                    <a:pt x="1252" y="1050"/>
                  </a:lnTo>
                  <a:lnTo>
                    <a:pt x="1252" y="1050"/>
                  </a:lnTo>
                  <a:lnTo>
                    <a:pt x="1252" y="1052"/>
                  </a:lnTo>
                  <a:lnTo>
                    <a:pt x="1252" y="1052"/>
                  </a:lnTo>
                  <a:lnTo>
                    <a:pt x="1254" y="1050"/>
                  </a:lnTo>
                  <a:lnTo>
                    <a:pt x="1254" y="1050"/>
                  </a:lnTo>
                  <a:lnTo>
                    <a:pt x="1257" y="1048"/>
                  </a:lnTo>
                  <a:lnTo>
                    <a:pt x="1257" y="1043"/>
                  </a:lnTo>
                  <a:lnTo>
                    <a:pt x="1257" y="1043"/>
                  </a:lnTo>
                  <a:lnTo>
                    <a:pt x="1257" y="1040"/>
                  </a:lnTo>
                  <a:lnTo>
                    <a:pt x="1257" y="1040"/>
                  </a:lnTo>
                  <a:lnTo>
                    <a:pt x="1254" y="1043"/>
                  </a:lnTo>
                  <a:lnTo>
                    <a:pt x="1254" y="1043"/>
                  </a:lnTo>
                  <a:lnTo>
                    <a:pt x="1252" y="1043"/>
                  </a:lnTo>
                  <a:lnTo>
                    <a:pt x="1252" y="1043"/>
                  </a:lnTo>
                  <a:lnTo>
                    <a:pt x="1252" y="1043"/>
                  </a:lnTo>
                  <a:lnTo>
                    <a:pt x="1252" y="1040"/>
                  </a:lnTo>
                  <a:lnTo>
                    <a:pt x="1254" y="1040"/>
                  </a:lnTo>
                  <a:lnTo>
                    <a:pt x="1254" y="1040"/>
                  </a:lnTo>
                  <a:lnTo>
                    <a:pt x="1254" y="1040"/>
                  </a:lnTo>
                  <a:lnTo>
                    <a:pt x="1254" y="1040"/>
                  </a:lnTo>
                  <a:lnTo>
                    <a:pt x="1254" y="1040"/>
                  </a:lnTo>
                  <a:lnTo>
                    <a:pt x="1254" y="1040"/>
                  </a:lnTo>
                  <a:lnTo>
                    <a:pt x="1257" y="1040"/>
                  </a:lnTo>
                  <a:lnTo>
                    <a:pt x="1257" y="1038"/>
                  </a:lnTo>
                  <a:lnTo>
                    <a:pt x="1257" y="1038"/>
                  </a:lnTo>
                  <a:lnTo>
                    <a:pt x="1257" y="1036"/>
                  </a:lnTo>
                  <a:lnTo>
                    <a:pt x="1257" y="1033"/>
                  </a:lnTo>
                  <a:lnTo>
                    <a:pt x="1254" y="1036"/>
                  </a:lnTo>
                  <a:lnTo>
                    <a:pt x="1252" y="1036"/>
                  </a:lnTo>
                  <a:lnTo>
                    <a:pt x="1252" y="1033"/>
                  </a:lnTo>
                  <a:lnTo>
                    <a:pt x="1250" y="1033"/>
                  </a:lnTo>
                  <a:lnTo>
                    <a:pt x="1250" y="1033"/>
                  </a:lnTo>
                  <a:lnTo>
                    <a:pt x="1250" y="1033"/>
                  </a:lnTo>
                  <a:lnTo>
                    <a:pt x="1250" y="1033"/>
                  </a:lnTo>
                  <a:lnTo>
                    <a:pt x="1257" y="1031"/>
                  </a:lnTo>
                  <a:lnTo>
                    <a:pt x="1257" y="1031"/>
                  </a:lnTo>
                  <a:lnTo>
                    <a:pt x="1257" y="1029"/>
                  </a:lnTo>
                  <a:lnTo>
                    <a:pt x="1257" y="1026"/>
                  </a:lnTo>
                  <a:lnTo>
                    <a:pt x="1257" y="1026"/>
                  </a:lnTo>
                  <a:lnTo>
                    <a:pt x="1257" y="1026"/>
                  </a:lnTo>
                  <a:lnTo>
                    <a:pt x="1257" y="1026"/>
                  </a:lnTo>
                  <a:lnTo>
                    <a:pt x="1257" y="1024"/>
                  </a:lnTo>
                  <a:lnTo>
                    <a:pt x="1257" y="1022"/>
                  </a:lnTo>
                  <a:lnTo>
                    <a:pt x="1257" y="1022"/>
                  </a:lnTo>
                  <a:lnTo>
                    <a:pt x="1257" y="1019"/>
                  </a:lnTo>
                  <a:lnTo>
                    <a:pt x="1254" y="1019"/>
                  </a:lnTo>
                  <a:lnTo>
                    <a:pt x="1254" y="1019"/>
                  </a:lnTo>
                  <a:lnTo>
                    <a:pt x="1254" y="1019"/>
                  </a:lnTo>
                  <a:lnTo>
                    <a:pt x="1254" y="1019"/>
                  </a:lnTo>
                  <a:lnTo>
                    <a:pt x="1254" y="1017"/>
                  </a:lnTo>
                  <a:lnTo>
                    <a:pt x="1254" y="1017"/>
                  </a:lnTo>
                  <a:lnTo>
                    <a:pt x="1254" y="1017"/>
                  </a:lnTo>
                  <a:lnTo>
                    <a:pt x="1254" y="1017"/>
                  </a:lnTo>
                  <a:lnTo>
                    <a:pt x="1254" y="1017"/>
                  </a:lnTo>
                  <a:lnTo>
                    <a:pt x="1254" y="1017"/>
                  </a:lnTo>
                  <a:lnTo>
                    <a:pt x="1254" y="1017"/>
                  </a:lnTo>
                  <a:lnTo>
                    <a:pt x="1252" y="1017"/>
                  </a:lnTo>
                  <a:lnTo>
                    <a:pt x="1252" y="1014"/>
                  </a:lnTo>
                  <a:lnTo>
                    <a:pt x="1250" y="1014"/>
                  </a:lnTo>
                  <a:lnTo>
                    <a:pt x="1247" y="1012"/>
                  </a:lnTo>
                  <a:lnTo>
                    <a:pt x="1252" y="1012"/>
                  </a:lnTo>
                  <a:lnTo>
                    <a:pt x="1252" y="1014"/>
                  </a:lnTo>
                  <a:close/>
                  <a:moveTo>
                    <a:pt x="1508" y="1298"/>
                  </a:moveTo>
                  <a:lnTo>
                    <a:pt x="1508" y="1298"/>
                  </a:lnTo>
                  <a:lnTo>
                    <a:pt x="1508" y="1298"/>
                  </a:lnTo>
                  <a:lnTo>
                    <a:pt x="1508" y="1298"/>
                  </a:lnTo>
                  <a:lnTo>
                    <a:pt x="1508" y="1301"/>
                  </a:lnTo>
                  <a:lnTo>
                    <a:pt x="1505" y="1301"/>
                  </a:lnTo>
                  <a:lnTo>
                    <a:pt x="1505" y="1301"/>
                  </a:lnTo>
                  <a:lnTo>
                    <a:pt x="1505" y="1301"/>
                  </a:lnTo>
                  <a:lnTo>
                    <a:pt x="1505" y="1301"/>
                  </a:lnTo>
                  <a:lnTo>
                    <a:pt x="1505" y="1301"/>
                  </a:lnTo>
                  <a:lnTo>
                    <a:pt x="1505" y="1301"/>
                  </a:lnTo>
                  <a:lnTo>
                    <a:pt x="1505" y="1301"/>
                  </a:lnTo>
                  <a:lnTo>
                    <a:pt x="1505" y="1301"/>
                  </a:lnTo>
                  <a:lnTo>
                    <a:pt x="1505" y="1301"/>
                  </a:lnTo>
                  <a:lnTo>
                    <a:pt x="1505" y="1303"/>
                  </a:lnTo>
                  <a:lnTo>
                    <a:pt x="1505" y="1303"/>
                  </a:lnTo>
                  <a:lnTo>
                    <a:pt x="1505" y="1303"/>
                  </a:lnTo>
                  <a:lnTo>
                    <a:pt x="1505" y="1303"/>
                  </a:lnTo>
                  <a:lnTo>
                    <a:pt x="1505" y="1303"/>
                  </a:lnTo>
                  <a:lnTo>
                    <a:pt x="1505" y="1305"/>
                  </a:lnTo>
                  <a:lnTo>
                    <a:pt x="1505" y="1305"/>
                  </a:lnTo>
                  <a:lnTo>
                    <a:pt x="1505" y="1305"/>
                  </a:lnTo>
                  <a:lnTo>
                    <a:pt x="1508" y="1308"/>
                  </a:lnTo>
                  <a:lnTo>
                    <a:pt x="1508" y="1310"/>
                  </a:lnTo>
                  <a:lnTo>
                    <a:pt x="1508" y="1310"/>
                  </a:lnTo>
                  <a:lnTo>
                    <a:pt x="1510" y="1310"/>
                  </a:lnTo>
                  <a:lnTo>
                    <a:pt x="1512" y="1313"/>
                  </a:lnTo>
                  <a:lnTo>
                    <a:pt x="1512" y="1313"/>
                  </a:lnTo>
                  <a:lnTo>
                    <a:pt x="1512" y="1313"/>
                  </a:lnTo>
                  <a:lnTo>
                    <a:pt x="1512" y="1315"/>
                  </a:lnTo>
                  <a:lnTo>
                    <a:pt x="1515" y="1315"/>
                  </a:lnTo>
                  <a:lnTo>
                    <a:pt x="1515" y="1315"/>
                  </a:lnTo>
                  <a:lnTo>
                    <a:pt x="1517" y="1313"/>
                  </a:lnTo>
                  <a:lnTo>
                    <a:pt x="1517" y="1310"/>
                  </a:lnTo>
                  <a:lnTo>
                    <a:pt x="1517" y="1310"/>
                  </a:lnTo>
                  <a:lnTo>
                    <a:pt x="1517" y="1310"/>
                  </a:lnTo>
                  <a:lnTo>
                    <a:pt x="1519" y="1305"/>
                  </a:lnTo>
                  <a:lnTo>
                    <a:pt x="1519" y="1301"/>
                  </a:lnTo>
                  <a:lnTo>
                    <a:pt x="1519" y="1298"/>
                  </a:lnTo>
                  <a:lnTo>
                    <a:pt x="1519" y="1298"/>
                  </a:lnTo>
                  <a:lnTo>
                    <a:pt x="1517" y="1294"/>
                  </a:lnTo>
                  <a:lnTo>
                    <a:pt x="1517" y="1294"/>
                  </a:lnTo>
                  <a:lnTo>
                    <a:pt x="1517" y="1291"/>
                  </a:lnTo>
                  <a:lnTo>
                    <a:pt x="1517" y="1291"/>
                  </a:lnTo>
                  <a:lnTo>
                    <a:pt x="1517" y="1289"/>
                  </a:lnTo>
                  <a:lnTo>
                    <a:pt x="1515" y="1286"/>
                  </a:lnTo>
                  <a:lnTo>
                    <a:pt x="1515" y="1284"/>
                  </a:lnTo>
                  <a:lnTo>
                    <a:pt x="1517" y="1282"/>
                  </a:lnTo>
                  <a:lnTo>
                    <a:pt x="1517" y="1282"/>
                  </a:lnTo>
                  <a:lnTo>
                    <a:pt x="1515" y="1282"/>
                  </a:lnTo>
                  <a:lnTo>
                    <a:pt x="1515" y="1282"/>
                  </a:lnTo>
                  <a:lnTo>
                    <a:pt x="1512" y="1279"/>
                  </a:lnTo>
                  <a:lnTo>
                    <a:pt x="1512" y="1277"/>
                  </a:lnTo>
                  <a:lnTo>
                    <a:pt x="1510" y="1275"/>
                  </a:lnTo>
                  <a:lnTo>
                    <a:pt x="1508" y="1275"/>
                  </a:lnTo>
                  <a:lnTo>
                    <a:pt x="1508" y="1277"/>
                  </a:lnTo>
                  <a:lnTo>
                    <a:pt x="1508" y="1277"/>
                  </a:lnTo>
                  <a:lnTo>
                    <a:pt x="1508" y="1279"/>
                  </a:lnTo>
                  <a:lnTo>
                    <a:pt x="1505" y="1279"/>
                  </a:lnTo>
                  <a:lnTo>
                    <a:pt x="1505" y="1282"/>
                  </a:lnTo>
                  <a:lnTo>
                    <a:pt x="1505" y="1284"/>
                  </a:lnTo>
                  <a:lnTo>
                    <a:pt x="1503" y="1286"/>
                  </a:lnTo>
                  <a:lnTo>
                    <a:pt x="1505" y="1286"/>
                  </a:lnTo>
                  <a:lnTo>
                    <a:pt x="1505" y="1289"/>
                  </a:lnTo>
                  <a:lnTo>
                    <a:pt x="1505" y="1289"/>
                  </a:lnTo>
                  <a:lnTo>
                    <a:pt x="1503" y="1289"/>
                  </a:lnTo>
                  <a:lnTo>
                    <a:pt x="1503" y="1289"/>
                  </a:lnTo>
                  <a:lnTo>
                    <a:pt x="1503" y="1291"/>
                  </a:lnTo>
                  <a:lnTo>
                    <a:pt x="1503" y="1294"/>
                  </a:lnTo>
                  <a:lnTo>
                    <a:pt x="1503" y="1294"/>
                  </a:lnTo>
                  <a:lnTo>
                    <a:pt x="1505" y="1294"/>
                  </a:lnTo>
                  <a:lnTo>
                    <a:pt x="1505" y="1294"/>
                  </a:lnTo>
                  <a:lnTo>
                    <a:pt x="1508" y="1296"/>
                  </a:lnTo>
                  <a:lnTo>
                    <a:pt x="1508" y="1298"/>
                  </a:lnTo>
                  <a:lnTo>
                    <a:pt x="1508" y="1298"/>
                  </a:lnTo>
                  <a:lnTo>
                    <a:pt x="1508" y="1298"/>
                  </a:lnTo>
                  <a:close/>
                  <a:moveTo>
                    <a:pt x="1479" y="1154"/>
                  </a:moveTo>
                  <a:lnTo>
                    <a:pt x="1479" y="1154"/>
                  </a:lnTo>
                  <a:lnTo>
                    <a:pt x="1479" y="1154"/>
                  </a:lnTo>
                  <a:lnTo>
                    <a:pt x="1477" y="1154"/>
                  </a:lnTo>
                  <a:lnTo>
                    <a:pt x="1477" y="1156"/>
                  </a:lnTo>
                  <a:lnTo>
                    <a:pt x="1477" y="1156"/>
                  </a:lnTo>
                  <a:lnTo>
                    <a:pt x="1479" y="1156"/>
                  </a:lnTo>
                  <a:lnTo>
                    <a:pt x="1479" y="1159"/>
                  </a:lnTo>
                  <a:lnTo>
                    <a:pt x="1479" y="1159"/>
                  </a:lnTo>
                  <a:lnTo>
                    <a:pt x="1479" y="1159"/>
                  </a:lnTo>
                  <a:lnTo>
                    <a:pt x="1479" y="1161"/>
                  </a:lnTo>
                  <a:lnTo>
                    <a:pt x="1481" y="1161"/>
                  </a:lnTo>
                  <a:lnTo>
                    <a:pt x="1481" y="1161"/>
                  </a:lnTo>
                  <a:lnTo>
                    <a:pt x="1481" y="1161"/>
                  </a:lnTo>
                  <a:lnTo>
                    <a:pt x="1484" y="1163"/>
                  </a:lnTo>
                  <a:lnTo>
                    <a:pt x="1484" y="1163"/>
                  </a:lnTo>
                  <a:lnTo>
                    <a:pt x="1486" y="1163"/>
                  </a:lnTo>
                  <a:lnTo>
                    <a:pt x="1486" y="1161"/>
                  </a:lnTo>
                  <a:lnTo>
                    <a:pt x="1486" y="1161"/>
                  </a:lnTo>
                  <a:lnTo>
                    <a:pt x="1489" y="1163"/>
                  </a:lnTo>
                  <a:lnTo>
                    <a:pt x="1493" y="1163"/>
                  </a:lnTo>
                  <a:lnTo>
                    <a:pt x="1498" y="1161"/>
                  </a:lnTo>
                  <a:lnTo>
                    <a:pt x="1500" y="1161"/>
                  </a:lnTo>
                  <a:lnTo>
                    <a:pt x="1500" y="1159"/>
                  </a:lnTo>
                  <a:lnTo>
                    <a:pt x="1498" y="1159"/>
                  </a:lnTo>
                  <a:lnTo>
                    <a:pt x="1498" y="1159"/>
                  </a:lnTo>
                  <a:lnTo>
                    <a:pt x="1498" y="1159"/>
                  </a:lnTo>
                  <a:lnTo>
                    <a:pt x="1498" y="1156"/>
                  </a:lnTo>
                  <a:lnTo>
                    <a:pt x="1498" y="1156"/>
                  </a:lnTo>
                  <a:lnTo>
                    <a:pt x="1498" y="1156"/>
                  </a:lnTo>
                  <a:lnTo>
                    <a:pt x="1496" y="1154"/>
                  </a:lnTo>
                  <a:lnTo>
                    <a:pt x="1496" y="1154"/>
                  </a:lnTo>
                  <a:lnTo>
                    <a:pt x="1493" y="1152"/>
                  </a:lnTo>
                  <a:lnTo>
                    <a:pt x="1491" y="1154"/>
                  </a:lnTo>
                  <a:lnTo>
                    <a:pt x="1486" y="1154"/>
                  </a:lnTo>
                  <a:lnTo>
                    <a:pt x="1484" y="1152"/>
                  </a:lnTo>
                  <a:lnTo>
                    <a:pt x="1484" y="1152"/>
                  </a:lnTo>
                  <a:lnTo>
                    <a:pt x="1481" y="1152"/>
                  </a:lnTo>
                  <a:lnTo>
                    <a:pt x="1481" y="1152"/>
                  </a:lnTo>
                  <a:lnTo>
                    <a:pt x="1484" y="1154"/>
                  </a:lnTo>
                  <a:lnTo>
                    <a:pt x="1481" y="1154"/>
                  </a:lnTo>
                  <a:lnTo>
                    <a:pt x="1479" y="1154"/>
                  </a:lnTo>
                  <a:close/>
                  <a:moveTo>
                    <a:pt x="1406" y="1223"/>
                  </a:moveTo>
                  <a:lnTo>
                    <a:pt x="1406" y="1223"/>
                  </a:lnTo>
                  <a:lnTo>
                    <a:pt x="1406" y="1225"/>
                  </a:lnTo>
                  <a:lnTo>
                    <a:pt x="1406" y="1225"/>
                  </a:lnTo>
                  <a:lnTo>
                    <a:pt x="1406" y="1225"/>
                  </a:lnTo>
                  <a:lnTo>
                    <a:pt x="1406" y="1225"/>
                  </a:lnTo>
                  <a:lnTo>
                    <a:pt x="1408" y="1225"/>
                  </a:lnTo>
                  <a:lnTo>
                    <a:pt x="1408" y="1225"/>
                  </a:lnTo>
                  <a:lnTo>
                    <a:pt x="1408" y="1225"/>
                  </a:lnTo>
                  <a:lnTo>
                    <a:pt x="1408" y="1225"/>
                  </a:lnTo>
                  <a:lnTo>
                    <a:pt x="1411" y="1223"/>
                  </a:lnTo>
                  <a:lnTo>
                    <a:pt x="1411" y="1223"/>
                  </a:lnTo>
                  <a:lnTo>
                    <a:pt x="1411" y="1223"/>
                  </a:lnTo>
                  <a:lnTo>
                    <a:pt x="1411" y="1223"/>
                  </a:lnTo>
                  <a:lnTo>
                    <a:pt x="1408" y="1223"/>
                  </a:lnTo>
                  <a:lnTo>
                    <a:pt x="1408" y="1223"/>
                  </a:lnTo>
                  <a:lnTo>
                    <a:pt x="1408" y="1223"/>
                  </a:lnTo>
                  <a:lnTo>
                    <a:pt x="1408" y="1223"/>
                  </a:lnTo>
                  <a:lnTo>
                    <a:pt x="1408" y="1223"/>
                  </a:lnTo>
                  <a:lnTo>
                    <a:pt x="1408" y="1220"/>
                  </a:lnTo>
                  <a:lnTo>
                    <a:pt x="1408" y="1220"/>
                  </a:lnTo>
                  <a:lnTo>
                    <a:pt x="1411" y="1220"/>
                  </a:lnTo>
                  <a:lnTo>
                    <a:pt x="1408" y="1220"/>
                  </a:lnTo>
                  <a:lnTo>
                    <a:pt x="1408" y="1220"/>
                  </a:lnTo>
                  <a:lnTo>
                    <a:pt x="1408" y="1220"/>
                  </a:lnTo>
                  <a:lnTo>
                    <a:pt x="1408" y="1218"/>
                  </a:lnTo>
                  <a:lnTo>
                    <a:pt x="1408" y="1218"/>
                  </a:lnTo>
                  <a:lnTo>
                    <a:pt x="1408" y="1216"/>
                  </a:lnTo>
                  <a:lnTo>
                    <a:pt x="1406" y="1216"/>
                  </a:lnTo>
                  <a:lnTo>
                    <a:pt x="1406" y="1216"/>
                  </a:lnTo>
                  <a:lnTo>
                    <a:pt x="1406" y="1213"/>
                  </a:lnTo>
                  <a:lnTo>
                    <a:pt x="1403" y="1213"/>
                  </a:lnTo>
                  <a:lnTo>
                    <a:pt x="1401" y="1216"/>
                  </a:lnTo>
                  <a:lnTo>
                    <a:pt x="1401" y="1216"/>
                  </a:lnTo>
                  <a:lnTo>
                    <a:pt x="1401" y="1216"/>
                  </a:lnTo>
                  <a:lnTo>
                    <a:pt x="1401" y="1218"/>
                  </a:lnTo>
                  <a:lnTo>
                    <a:pt x="1401" y="1220"/>
                  </a:lnTo>
                  <a:lnTo>
                    <a:pt x="1403" y="1220"/>
                  </a:lnTo>
                  <a:lnTo>
                    <a:pt x="1403" y="1218"/>
                  </a:lnTo>
                  <a:lnTo>
                    <a:pt x="1403" y="1216"/>
                  </a:lnTo>
                  <a:lnTo>
                    <a:pt x="1403" y="1216"/>
                  </a:lnTo>
                  <a:lnTo>
                    <a:pt x="1403" y="1216"/>
                  </a:lnTo>
                  <a:lnTo>
                    <a:pt x="1403" y="1216"/>
                  </a:lnTo>
                  <a:lnTo>
                    <a:pt x="1403" y="1218"/>
                  </a:lnTo>
                  <a:lnTo>
                    <a:pt x="1403" y="1218"/>
                  </a:lnTo>
                  <a:lnTo>
                    <a:pt x="1403" y="1218"/>
                  </a:lnTo>
                  <a:lnTo>
                    <a:pt x="1403" y="1220"/>
                  </a:lnTo>
                  <a:lnTo>
                    <a:pt x="1403" y="1220"/>
                  </a:lnTo>
                  <a:lnTo>
                    <a:pt x="1403" y="1220"/>
                  </a:lnTo>
                  <a:lnTo>
                    <a:pt x="1403" y="1220"/>
                  </a:lnTo>
                  <a:lnTo>
                    <a:pt x="1406" y="1220"/>
                  </a:lnTo>
                  <a:lnTo>
                    <a:pt x="1406" y="1220"/>
                  </a:lnTo>
                  <a:lnTo>
                    <a:pt x="1403" y="1223"/>
                  </a:lnTo>
                  <a:lnTo>
                    <a:pt x="1403" y="1223"/>
                  </a:lnTo>
                  <a:lnTo>
                    <a:pt x="1403" y="1223"/>
                  </a:lnTo>
                  <a:lnTo>
                    <a:pt x="1403" y="1223"/>
                  </a:lnTo>
                  <a:lnTo>
                    <a:pt x="1403" y="1223"/>
                  </a:lnTo>
                  <a:lnTo>
                    <a:pt x="1406" y="1223"/>
                  </a:lnTo>
                  <a:lnTo>
                    <a:pt x="1406" y="1223"/>
                  </a:lnTo>
                  <a:lnTo>
                    <a:pt x="1406" y="1223"/>
                  </a:lnTo>
                  <a:lnTo>
                    <a:pt x="1406" y="1223"/>
                  </a:lnTo>
                  <a:lnTo>
                    <a:pt x="1406" y="1223"/>
                  </a:lnTo>
                  <a:lnTo>
                    <a:pt x="1406" y="1223"/>
                  </a:lnTo>
                  <a:close/>
                  <a:moveTo>
                    <a:pt x="1418" y="1234"/>
                  </a:moveTo>
                  <a:lnTo>
                    <a:pt x="1418" y="1234"/>
                  </a:lnTo>
                  <a:lnTo>
                    <a:pt x="1418" y="1234"/>
                  </a:lnTo>
                  <a:lnTo>
                    <a:pt x="1418" y="1234"/>
                  </a:lnTo>
                  <a:lnTo>
                    <a:pt x="1418" y="1232"/>
                  </a:lnTo>
                  <a:lnTo>
                    <a:pt x="1418" y="1232"/>
                  </a:lnTo>
                  <a:lnTo>
                    <a:pt x="1418" y="1230"/>
                  </a:lnTo>
                  <a:lnTo>
                    <a:pt x="1418" y="1230"/>
                  </a:lnTo>
                  <a:lnTo>
                    <a:pt x="1418" y="1230"/>
                  </a:lnTo>
                  <a:lnTo>
                    <a:pt x="1418" y="1230"/>
                  </a:lnTo>
                  <a:lnTo>
                    <a:pt x="1418" y="1230"/>
                  </a:lnTo>
                  <a:lnTo>
                    <a:pt x="1418" y="1230"/>
                  </a:lnTo>
                  <a:lnTo>
                    <a:pt x="1418" y="1230"/>
                  </a:lnTo>
                  <a:lnTo>
                    <a:pt x="1418" y="1230"/>
                  </a:lnTo>
                  <a:lnTo>
                    <a:pt x="1418" y="1230"/>
                  </a:lnTo>
                  <a:lnTo>
                    <a:pt x="1418" y="1230"/>
                  </a:lnTo>
                  <a:lnTo>
                    <a:pt x="1418" y="1230"/>
                  </a:lnTo>
                  <a:lnTo>
                    <a:pt x="1415" y="1230"/>
                  </a:lnTo>
                  <a:lnTo>
                    <a:pt x="1415" y="1230"/>
                  </a:lnTo>
                  <a:lnTo>
                    <a:pt x="1415" y="1230"/>
                  </a:lnTo>
                  <a:lnTo>
                    <a:pt x="1415" y="1230"/>
                  </a:lnTo>
                  <a:lnTo>
                    <a:pt x="1415" y="1230"/>
                  </a:lnTo>
                  <a:lnTo>
                    <a:pt x="1415" y="1227"/>
                  </a:lnTo>
                  <a:lnTo>
                    <a:pt x="1415" y="1230"/>
                  </a:lnTo>
                  <a:lnTo>
                    <a:pt x="1415" y="1230"/>
                  </a:lnTo>
                  <a:lnTo>
                    <a:pt x="1415" y="1232"/>
                  </a:lnTo>
                  <a:lnTo>
                    <a:pt x="1415" y="1232"/>
                  </a:lnTo>
                  <a:lnTo>
                    <a:pt x="1415" y="1234"/>
                  </a:lnTo>
                  <a:lnTo>
                    <a:pt x="1418" y="1234"/>
                  </a:lnTo>
                  <a:lnTo>
                    <a:pt x="1418" y="1232"/>
                  </a:lnTo>
                  <a:lnTo>
                    <a:pt x="1418" y="1234"/>
                  </a:lnTo>
                  <a:lnTo>
                    <a:pt x="1418" y="1234"/>
                  </a:lnTo>
                  <a:close/>
                  <a:moveTo>
                    <a:pt x="1567" y="1168"/>
                  </a:moveTo>
                  <a:lnTo>
                    <a:pt x="1569" y="1168"/>
                  </a:lnTo>
                  <a:lnTo>
                    <a:pt x="1569" y="1166"/>
                  </a:lnTo>
                  <a:lnTo>
                    <a:pt x="1571" y="1166"/>
                  </a:lnTo>
                  <a:lnTo>
                    <a:pt x="1571" y="1166"/>
                  </a:lnTo>
                  <a:lnTo>
                    <a:pt x="1571" y="1166"/>
                  </a:lnTo>
                  <a:lnTo>
                    <a:pt x="1569" y="1163"/>
                  </a:lnTo>
                  <a:lnTo>
                    <a:pt x="1562" y="1163"/>
                  </a:lnTo>
                  <a:lnTo>
                    <a:pt x="1562" y="1166"/>
                  </a:lnTo>
                  <a:lnTo>
                    <a:pt x="1562" y="1166"/>
                  </a:lnTo>
                  <a:lnTo>
                    <a:pt x="1562" y="1168"/>
                  </a:lnTo>
                  <a:lnTo>
                    <a:pt x="1564" y="1168"/>
                  </a:lnTo>
                  <a:lnTo>
                    <a:pt x="1564" y="1168"/>
                  </a:lnTo>
                  <a:lnTo>
                    <a:pt x="1567" y="1171"/>
                  </a:lnTo>
                  <a:lnTo>
                    <a:pt x="1567" y="1171"/>
                  </a:lnTo>
                  <a:lnTo>
                    <a:pt x="1569" y="1171"/>
                  </a:lnTo>
                  <a:lnTo>
                    <a:pt x="1569" y="1168"/>
                  </a:lnTo>
                  <a:lnTo>
                    <a:pt x="1567" y="1168"/>
                  </a:lnTo>
                  <a:lnTo>
                    <a:pt x="1567" y="1168"/>
                  </a:lnTo>
                  <a:lnTo>
                    <a:pt x="1567" y="1168"/>
                  </a:lnTo>
                  <a:lnTo>
                    <a:pt x="1567" y="1168"/>
                  </a:lnTo>
                  <a:close/>
                  <a:moveTo>
                    <a:pt x="1179" y="1253"/>
                  </a:moveTo>
                  <a:lnTo>
                    <a:pt x="1179" y="1253"/>
                  </a:lnTo>
                  <a:lnTo>
                    <a:pt x="1179" y="1251"/>
                  </a:lnTo>
                  <a:lnTo>
                    <a:pt x="1179" y="1249"/>
                  </a:lnTo>
                  <a:lnTo>
                    <a:pt x="1179" y="1246"/>
                  </a:lnTo>
                  <a:lnTo>
                    <a:pt x="1179" y="1246"/>
                  </a:lnTo>
                  <a:lnTo>
                    <a:pt x="1179" y="1246"/>
                  </a:lnTo>
                  <a:lnTo>
                    <a:pt x="1179" y="1244"/>
                  </a:lnTo>
                  <a:lnTo>
                    <a:pt x="1176" y="1244"/>
                  </a:lnTo>
                  <a:lnTo>
                    <a:pt x="1176" y="1242"/>
                  </a:lnTo>
                  <a:lnTo>
                    <a:pt x="1176" y="1242"/>
                  </a:lnTo>
                  <a:lnTo>
                    <a:pt x="1176" y="1242"/>
                  </a:lnTo>
                  <a:lnTo>
                    <a:pt x="1176" y="1242"/>
                  </a:lnTo>
                  <a:lnTo>
                    <a:pt x="1176" y="1239"/>
                  </a:lnTo>
                  <a:lnTo>
                    <a:pt x="1174" y="1239"/>
                  </a:lnTo>
                  <a:lnTo>
                    <a:pt x="1174" y="1239"/>
                  </a:lnTo>
                  <a:lnTo>
                    <a:pt x="1174" y="1239"/>
                  </a:lnTo>
                  <a:lnTo>
                    <a:pt x="1174" y="1239"/>
                  </a:lnTo>
                  <a:lnTo>
                    <a:pt x="1174" y="1242"/>
                  </a:lnTo>
                  <a:lnTo>
                    <a:pt x="1174" y="1242"/>
                  </a:lnTo>
                  <a:lnTo>
                    <a:pt x="1174" y="1242"/>
                  </a:lnTo>
                  <a:lnTo>
                    <a:pt x="1174" y="1242"/>
                  </a:lnTo>
                  <a:lnTo>
                    <a:pt x="1171" y="1244"/>
                  </a:lnTo>
                  <a:lnTo>
                    <a:pt x="1171" y="1244"/>
                  </a:lnTo>
                  <a:lnTo>
                    <a:pt x="1171" y="1246"/>
                  </a:lnTo>
                  <a:lnTo>
                    <a:pt x="1171" y="1246"/>
                  </a:lnTo>
                  <a:lnTo>
                    <a:pt x="1174" y="1249"/>
                  </a:lnTo>
                  <a:lnTo>
                    <a:pt x="1174" y="1251"/>
                  </a:lnTo>
                  <a:lnTo>
                    <a:pt x="1174" y="1251"/>
                  </a:lnTo>
                  <a:lnTo>
                    <a:pt x="1176" y="1253"/>
                  </a:lnTo>
                  <a:lnTo>
                    <a:pt x="1179" y="1253"/>
                  </a:lnTo>
                  <a:close/>
                  <a:moveTo>
                    <a:pt x="1160" y="1159"/>
                  </a:moveTo>
                  <a:lnTo>
                    <a:pt x="1160" y="1159"/>
                  </a:lnTo>
                  <a:lnTo>
                    <a:pt x="1160" y="1159"/>
                  </a:lnTo>
                  <a:lnTo>
                    <a:pt x="1160" y="1156"/>
                  </a:lnTo>
                  <a:lnTo>
                    <a:pt x="1160" y="1156"/>
                  </a:lnTo>
                  <a:lnTo>
                    <a:pt x="1160" y="1156"/>
                  </a:lnTo>
                  <a:lnTo>
                    <a:pt x="1157" y="1156"/>
                  </a:lnTo>
                  <a:lnTo>
                    <a:pt x="1157" y="1159"/>
                  </a:lnTo>
                  <a:lnTo>
                    <a:pt x="1157" y="1159"/>
                  </a:lnTo>
                  <a:lnTo>
                    <a:pt x="1157" y="1159"/>
                  </a:lnTo>
                  <a:lnTo>
                    <a:pt x="1157" y="1159"/>
                  </a:lnTo>
                  <a:lnTo>
                    <a:pt x="1160" y="1161"/>
                  </a:lnTo>
                  <a:lnTo>
                    <a:pt x="1160" y="1161"/>
                  </a:lnTo>
                  <a:lnTo>
                    <a:pt x="1160" y="1161"/>
                  </a:lnTo>
                  <a:lnTo>
                    <a:pt x="1160" y="1161"/>
                  </a:lnTo>
                  <a:lnTo>
                    <a:pt x="1160" y="1161"/>
                  </a:lnTo>
                  <a:lnTo>
                    <a:pt x="1160" y="1161"/>
                  </a:lnTo>
                  <a:lnTo>
                    <a:pt x="1160" y="1161"/>
                  </a:lnTo>
                  <a:lnTo>
                    <a:pt x="1160" y="1159"/>
                  </a:lnTo>
                  <a:lnTo>
                    <a:pt x="1160" y="1159"/>
                  </a:lnTo>
                  <a:close/>
                  <a:moveTo>
                    <a:pt x="1276" y="1213"/>
                  </a:moveTo>
                  <a:lnTo>
                    <a:pt x="1276" y="1213"/>
                  </a:lnTo>
                  <a:lnTo>
                    <a:pt x="1276" y="1213"/>
                  </a:lnTo>
                  <a:lnTo>
                    <a:pt x="1276" y="1216"/>
                  </a:lnTo>
                  <a:lnTo>
                    <a:pt x="1276" y="1216"/>
                  </a:lnTo>
                  <a:lnTo>
                    <a:pt x="1276" y="1216"/>
                  </a:lnTo>
                  <a:lnTo>
                    <a:pt x="1276" y="1216"/>
                  </a:lnTo>
                  <a:lnTo>
                    <a:pt x="1276" y="1218"/>
                  </a:lnTo>
                  <a:lnTo>
                    <a:pt x="1276" y="1218"/>
                  </a:lnTo>
                  <a:lnTo>
                    <a:pt x="1276" y="1220"/>
                  </a:lnTo>
                  <a:lnTo>
                    <a:pt x="1276" y="1220"/>
                  </a:lnTo>
                  <a:lnTo>
                    <a:pt x="1276" y="1220"/>
                  </a:lnTo>
                  <a:lnTo>
                    <a:pt x="1276" y="1223"/>
                  </a:lnTo>
                  <a:lnTo>
                    <a:pt x="1276" y="1223"/>
                  </a:lnTo>
                  <a:lnTo>
                    <a:pt x="1276" y="1223"/>
                  </a:lnTo>
                  <a:lnTo>
                    <a:pt x="1278" y="1223"/>
                  </a:lnTo>
                  <a:lnTo>
                    <a:pt x="1278" y="1223"/>
                  </a:lnTo>
                  <a:lnTo>
                    <a:pt x="1278" y="1223"/>
                  </a:lnTo>
                  <a:lnTo>
                    <a:pt x="1278" y="1223"/>
                  </a:lnTo>
                  <a:lnTo>
                    <a:pt x="1278" y="1223"/>
                  </a:lnTo>
                  <a:lnTo>
                    <a:pt x="1278" y="1223"/>
                  </a:lnTo>
                  <a:lnTo>
                    <a:pt x="1278" y="1223"/>
                  </a:lnTo>
                  <a:lnTo>
                    <a:pt x="1278" y="1223"/>
                  </a:lnTo>
                  <a:lnTo>
                    <a:pt x="1278" y="1220"/>
                  </a:lnTo>
                  <a:lnTo>
                    <a:pt x="1280" y="1216"/>
                  </a:lnTo>
                  <a:lnTo>
                    <a:pt x="1280" y="1213"/>
                  </a:lnTo>
                  <a:lnTo>
                    <a:pt x="1278" y="1213"/>
                  </a:lnTo>
                  <a:lnTo>
                    <a:pt x="1278" y="1208"/>
                  </a:lnTo>
                  <a:lnTo>
                    <a:pt x="1280" y="1208"/>
                  </a:lnTo>
                  <a:lnTo>
                    <a:pt x="1280" y="1208"/>
                  </a:lnTo>
                  <a:lnTo>
                    <a:pt x="1280" y="1208"/>
                  </a:lnTo>
                  <a:lnTo>
                    <a:pt x="1283" y="1211"/>
                  </a:lnTo>
                  <a:lnTo>
                    <a:pt x="1283" y="1211"/>
                  </a:lnTo>
                  <a:lnTo>
                    <a:pt x="1283" y="1211"/>
                  </a:lnTo>
                  <a:lnTo>
                    <a:pt x="1283" y="1213"/>
                  </a:lnTo>
                  <a:lnTo>
                    <a:pt x="1283" y="1213"/>
                  </a:lnTo>
                  <a:lnTo>
                    <a:pt x="1283" y="1213"/>
                  </a:lnTo>
                  <a:lnTo>
                    <a:pt x="1283" y="1213"/>
                  </a:lnTo>
                  <a:lnTo>
                    <a:pt x="1283" y="1213"/>
                  </a:lnTo>
                  <a:lnTo>
                    <a:pt x="1283" y="1216"/>
                  </a:lnTo>
                  <a:lnTo>
                    <a:pt x="1283" y="1218"/>
                  </a:lnTo>
                  <a:lnTo>
                    <a:pt x="1283" y="1220"/>
                  </a:lnTo>
                  <a:lnTo>
                    <a:pt x="1283" y="1220"/>
                  </a:lnTo>
                  <a:lnTo>
                    <a:pt x="1283" y="1220"/>
                  </a:lnTo>
                  <a:lnTo>
                    <a:pt x="1283" y="1223"/>
                  </a:lnTo>
                  <a:lnTo>
                    <a:pt x="1283" y="1223"/>
                  </a:lnTo>
                  <a:lnTo>
                    <a:pt x="1280" y="1223"/>
                  </a:lnTo>
                  <a:lnTo>
                    <a:pt x="1280" y="1223"/>
                  </a:lnTo>
                  <a:lnTo>
                    <a:pt x="1283" y="1225"/>
                  </a:lnTo>
                  <a:lnTo>
                    <a:pt x="1287" y="1225"/>
                  </a:lnTo>
                  <a:lnTo>
                    <a:pt x="1287" y="1225"/>
                  </a:lnTo>
                  <a:lnTo>
                    <a:pt x="1287" y="1223"/>
                  </a:lnTo>
                  <a:lnTo>
                    <a:pt x="1287" y="1220"/>
                  </a:lnTo>
                  <a:lnTo>
                    <a:pt x="1287" y="1220"/>
                  </a:lnTo>
                  <a:lnTo>
                    <a:pt x="1290" y="1220"/>
                  </a:lnTo>
                  <a:lnTo>
                    <a:pt x="1290" y="1220"/>
                  </a:lnTo>
                  <a:lnTo>
                    <a:pt x="1290" y="1218"/>
                  </a:lnTo>
                  <a:lnTo>
                    <a:pt x="1290" y="1216"/>
                  </a:lnTo>
                  <a:lnTo>
                    <a:pt x="1290" y="1216"/>
                  </a:lnTo>
                  <a:lnTo>
                    <a:pt x="1290" y="1213"/>
                  </a:lnTo>
                  <a:lnTo>
                    <a:pt x="1290" y="1213"/>
                  </a:lnTo>
                  <a:lnTo>
                    <a:pt x="1290" y="1211"/>
                  </a:lnTo>
                  <a:lnTo>
                    <a:pt x="1290" y="1211"/>
                  </a:lnTo>
                  <a:lnTo>
                    <a:pt x="1287" y="1208"/>
                  </a:lnTo>
                  <a:lnTo>
                    <a:pt x="1285" y="1206"/>
                  </a:lnTo>
                  <a:lnTo>
                    <a:pt x="1283" y="1206"/>
                  </a:lnTo>
                  <a:lnTo>
                    <a:pt x="1283" y="1204"/>
                  </a:lnTo>
                  <a:lnTo>
                    <a:pt x="1283" y="1204"/>
                  </a:lnTo>
                  <a:lnTo>
                    <a:pt x="1283" y="1204"/>
                  </a:lnTo>
                  <a:lnTo>
                    <a:pt x="1283" y="1206"/>
                  </a:lnTo>
                  <a:lnTo>
                    <a:pt x="1283" y="1206"/>
                  </a:lnTo>
                  <a:lnTo>
                    <a:pt x="1283" y="1206"/>
                  </a:lnTo>
                  <a:lnTo>
                    <a:pt x="1283" y="1206"/>
                  </a:lnTo>
                  <a:lnTo>
                    <a:pt x="1283" y="1204"/>
                  </a:lnTo>
                  <a:lnTo>
                    <a:pt x="1280" y="1204"/>
                  </a:lnTo>
                  <a:lnTo>
                    <a:pt x="1280" y="1204"/>
                  </a:lnTo>
                  <a:lnTo>
                    <a:pt x="1278" y="1204"/>
                  </a:lnTo>
                  <a:lnTo>
                    <a:pt x="1278" y="1206"/>
                  </a:lnTo>
                  <a:lnTo>
                    <a:pt x="1278" y="1206"/>
                  </a:lnTo>
                  <a:lnTo>
                    <a:pt x="1278" y="1206"/>
                  </a:lnTo>
                  <a:lnTo>
                    <a:pt x="1278" y="1206"/>
                  </a:lnTo>
                  <a:lnTo>
                    <a:pt x="1276" y="1206"/>
                  </a:lnTo>
                  <a:lnTo>
                    <a:pt x="1276" y="1206"/>
                  </a:lnTo>
                  <a:lnTo>
                    <a:pt x="1276" y="1211"/>
                  </a:lnTo>
                  <a:lnTo>
                    <a:pt x="1276" y="1211"/>
                  </a:lnTo>
                  <a:lnTo>
                    <a:pt x="1276" y="1211"/>
                  </a:lnTo>
                  <a:lnTo>
                    <a:pt x="1276" y="1213"/>
                  </a:lnTo>
                  <a:lnTo>
                    <a:pt x="1276" y="1213"/>
                  </a:lnTo>
                  <a:close/>
                  <a:moveTo>
                    <a:pt x="1157" y="1197"/>
                  </a:moveTo>
                  <a:lnTo>
                    <a:pt x="1157" y="1197"/>
                  </a:lnTo>
                  <a:lnTo>
                    <a:pt x="1157" y="1194"/>
                  </a:lnTo>
                  <a:lnTo>
                    <a:pt x="1157" y="1194"/>
                  </a:lnTo>
                  <a:lnTo>
                    <a:pt x="1157" y="1189"/>
                  </a:lnTo>
                  <a:lnTo>
                    <a:pt x="1157" y="1187"/>
                  </a:lnTo>
                  <a:lnTo>
                    <a:pt x="1157" y="1187"/>
                  </a:lnTo>
                  <a:lnTo>
                    <a:pt x="1157" y="1187"/>
                  </a:lnTo>
                  <a:lnTo>
                    <a:pt x="1157" y="1187"/>
                  </a:lnTo>
                  <a:lnTo>
                    <a:pt x="1157" y="1187"/>
                  </a:lnTo>
                  <a:lnTo>
                    <a:pt x="1155" y="1187"/>
                  </a:lnTo>
                  <a:lnTo>
                    <a:pt x="1155" y="1185"/>
                  </a:lnTo>
                  <a:lnTo>
                    <a:pt x="1155" y="1185"/>
                  </a:lnTo>
                  <a:lnTo>
                    <a:pt x="1155" y="1185"/>
                  </a:lnTo>
                  <a:lnTo>
                    <a:pt x="1155" y="1182"/>
                  </a:lnTo>
                  <a:lnTo>
                    <a:pt x="1155" y="1182"/>
                  </a:lnTo>
                  <a:lnTo>
                    <a:pt x="1157" y="1182"/>
                  </a:lnTo>
                  <a:lnTo>
                    <a:pt x="1157" y="1180"/>
                  </a:lnTo>
                  <a:lnTo>
                    <a:pt x="1155" y="1180"/>
                  </a:lnTo>
                  <a:lnTo>
                    <a:pt x="1155" y="1180"/>
                  </a:lnTo>
                  <a:lnTo>
                    <a:pt x="1155" y="1180"/>
                  </a:lnTo>
                  <a:lnTo>
                    <a:pt x="1157" y="1180"/>
                  </a:lnTo>
                  <a:lnTo>
                    <a:pt x="1155" y="1178"/>
                  </a:lnTo>
                  <a:lnTo>
                    <a:pt x="1155" y="1175"/>
                  </a:lnTo>
                  <a:lnTo>
                    <a:pt x="1155" y="1173"/>
                  </a:lnTo>
                  <a:lnTo>
                    <a:pt x="1155" y="1173"/>
                  </a:lnTo>
                  <a:lnTo>
                    <a:pt x="1155" y="1171"/>
                  </a:lnTo>
                  <a:lnTo>
                    <a:pt x="1155" y="1171"/>
                  </a:lnTo>
                  <a:lnTo>
                    <a:pt x="1155" y="1168"/>
                  </a:lnTo>
                  <a:lnTo>
                    <a:pt x="1155" y="1168"/>
                  </a:lnTo>
                  <a:lnTo>
                    <a:pt x="1155" y="1168"/>
                  </a:lnTo>
                  <a:lnTo>
                    <a:pt x="1153" y="1166"/>
                  </a:lnTo>
                  <a:lnTo>
                    <a:pt x="1153" y="1166"/>
                  </a:lnTo>
                  <a:lnTo>
                    <a:pt x="1153" y="1166"/>
                  </a:lnTo>
                  <a:lnTo>
                    <a:pt x="1153" y="1168"/>
                  </a:lnTo>
                  <a:lnTo>
                    <a:pt x="1153" y="1168"/>
                  </a:lnTo>
                  <a:lnTo>
                    <a:pt x="1150" y="1168"/>
                  </a:lnTo>
                  <a:lnTo>
                    <a:pt x="1150" y="1168"/>
                  </a:lnTo>
                  <a:lnTo>
                    <a:pt x="1150" y="1171"/>
                  </a:lnTo>
                  <a:lnTo>
                    <a:pt x="1150" y="1171"/>
                  </a:lnTo>
                  <a:lnTo>
                    <a:pt x="1148" y="1171"/>
                  </a:lnTo>
                  <a:lnTo>
                    <a:pt x="1148" y="1171"/>
                  </a:lnTo>
                  <a:lnTo>
                    <a:pt x="1148" y="1168"/>
                  </a:lnTo>
                  <a:lnTo>
                    <a:pt x="1145" y="1168"/>
                  </a:lnTo>
                  <a:lnTo>
                    <a:pt x="1145" y="1171"/>
                  </a:lnTo>
                  <a:lnTo>
                    <a:pt x="1145" y="1171"/>
                  </a:lnTo>
                  <a:lnTo>
                    <a:pt x="1145" y="1171"/>
                  </a:lnTo>
                  <a:lnTo>
                    <a:pt x="1143" y="1171"/>
                  </a:lnTo>
                  <a:lnTo>
                    <a:pt x="1143" y="1171"/>
                  </a:lnTo>
                  <a:lnTo>
                    <a:pt x="1143" y="1171"/>
                  </a:lnTo>
                  <a:lnTo>
                    <a:pt x="1143" y="1173"/>
                  </a:lnTo>
                  <a:lnTo>
                    <a:pt x="1143" y="1173"/>
                  </a:lnTo>
                  <a:lnTo>
                    <a:pt x="1141" y="1171"/>
                  </a:lnTo>
                  <a:lnTo>
                    <a:pt x="1141" y="1171"/>
                  </a:lnTo>
                  <a:lnTo>
                    <a:pt x="1141" y="1168"/>
                  </a:lnTo>
                  <a:lnTo>
                    <a:pt x="1138" y="1168"/>
                  </a:lnTo>
                  <a:lnTo>
                    <a:pt x="1138" y="1166"/>
                  </a:lnTo>
                  <a:lnTo>
                    <a:pt x="1138" y="1163"/>
                  </a:lnTo>
                  <a:lnTo>
                    <a:pt x="1141" y="1163"/>
                  </a:lnTo>
                  <a:lnTo>
                    <a:pt x="1141" y="1161"/>
                  </a:lnTo>
                  <a:lnTo>
                    <a:pt x="1141" y="1161"/>
                  </a:lnTo>
                  <a:lnTo>
                    <a:pt x="1141" y="1161"/>
                  </a:lnTo>
                  <a:lnTo>
                    <a:pt x="1141" y="1161"/>
                  </a:lnTo>
                  <a:lnTo>
                    <a:pt x="1141" y="1161"/>
                  </a:lnTo>
                  <a:lnTo>
                    <a:pt x="1138" y="1159"/>
                  </a:lnTo>
                  <a:lnTo>
                    <a:pt x="1138" y="1159"/>
                  </a:lnTo>
                  <a:lnTo>
                    <a:pt x="1138" y="1159"/>
                  </a:lnTo>
                  <a:lnTo>
                    <a:pt x="1136" y="1159"/>
                  </a:lnTo>
                  <a:lnTo>
                    <a:pt x="1136" y="1159"/>
                  </a:lnTo>
                  <a:lnTo>
                    <a:pt x="1136" y="1161"/>
                  </a:lnTo>
                  <a:lnTo>
                    <a:pt x="1134" y="1161"/>
                  </a:lnTo>
                  <a:lnTo>
                    <a:pt x="1134" y="1161"/>
                  </a:lnTo>
                  <a:lnTo>
                    <a:pt x="1131" y="1161"/>
                  </a:lnTo>
                  <a:lnTo>
                    <a:pt x="1129" y="1159"/>
                  </a:lnTo>
                  <a:lnTo>
                    <a:pt x="1129" y="1156"/>
                  </a:lnTo>
                  <a:lnTo>
                    <a:pt x="1129" y="1156"/>
                  </a:lnTo>
                  <a:lnTo>
                    <a:pt x="1129" y="1156"/>
                  </a:lnTo>
                  <a:lnTo>
                    <a:pt x="1129" y="1156"/>
                  </a:lnTo>
                  <a:lnTo>
                    <a:pt x="1129" y="1156"/>
                  </a:lnTo>
                  <a:lnTo>
                    <a:pt x="1127" y="1156"/>
                  </a:lnTo>
                  <a:lnTo>
                    <a:pt x="1127" y="1156"/>
                  </a:lnTo>
                  <a:lnTo>
                    <a:pt x="1127" y="1156"/>
                  </a:lnTo>
                  <a:lnTo>
                    <a:pt x="1127" y="1156"/>
                  </a:lnTo>
                  <a:lnTo>
                    <a:pt x="1124" y="1154"/>
                  </a:lnTo>
                  <a:lnTo>
                    <a:pt x="1122" y="1149"/>
                  </a:lnTo>
                  <a:lnTo>
                    <a:pt x="1119" y="1149"/>
                  </a:lnTo>
                  <a:lnTo>
                    <a:pt x="1117" y="1147"/>
                  </a:lnTo>
                  <a:lnTo>
                    <a:pt x="1117" y="1147"/>
                  </a:lnTo>
                  <a:lnTo>
                    <a:pt x="1115" y="1145"/>
                  </a:lnTo>
                  <a:lnTo>
                    <a:pt x="1115" y="1145"/>
                  </a:lnTo>
                  <a:lnTo>
                    <a:pt x="1115" y="1145"/>
                  </a:lnTo>
                  <a:lnTo>
                    <a:pt x="1112" y="1142"/>
                  </a:lnTo>
                  <a:lnTo>
                    <a:pt x="1112" y="1142"/>
                  </a:lnTo>
                  <a:lnTo>
                    <a:pt x="1112" y="1140"/>
                  </a:lnTo>
                  <a:lnTo>
                    <a:pt x="1112" y="1140"/>
                  </a:lnTo>
                  <a:lnTo>
                    <a:pt x="1112" y="1137"/>
                  </a:lnTo>
                  <a:lnTo>
                    <a:pt x="1110" y="1137"/>
                  </a:lnTo>
                  <a:lnTo>
                    <a:pt x="1110" y="1137"/>
                  </a:lnTo>
                  <a:lnTo>
                    <a:pt x="1110" y="1135"/>
                  </a:lnTo>
                  <a:lnTo>
                    <a:pt x="1110" y="1135"/>
                  </a:lnTo>
                  <a:lnTo>
                    <a:pt x="1108" y="1133"/>
                  </a:lnTo>
                  <a:lnTo>
                    <a:pt x="1105" y="1133"/>
                  </a:lnTo>
                  <a:lnTo>
                    <a:pt x="1105" y="1130"/>
                  </a:lnTo>
                  <a:lnTo>
                    <a:pt x="1105" y="1133"/>
                  </a:lnTo>
                  <a:lnTo>
                    <a:pt x="1105" y="1133"/>
                  </a:lnTo>
                  <a:lnTo>
                    <a:pt x="1105" y="1135"/>
                  </a:lnTo>
                  <a:lnTo>
                    <a:pt x="1105" y="1135"/>
                  </a:lnTo>
                  <a:lnTo>
                    <a:pt x="1105" y="1137"/>
                  </a:lnTo>
                  <a:lnTo>
                    <a:pt x="1105" y="1140"/>
                  </a:lnTo>
                  <a:lnTo>
                    <a:pt x="1105" y="1140"/>
                  </a:lnTo>
                  <a:lnTo>
                    <a:pt x="1105" y="1140"/>
                  </a:lnTo>
                  <a:lnTo>
                    <a:pt x="1108" y="1140"/>
                  </a:lnTo>
                  <a:lnTo>
                    <a:pt x="1108" y="1142"/>
                  </a:lnTo>
                  <a:lnTo>
                    <a:pt x="1110" y="1142"/>
                  </a:lnTo>
                  <a:lnTo>
                    <a:pt x="1110" y="1142"/>
                  </a:lnTo>
                  <a:lnTo>
                    <a:pt x="1110" y="1145"/>
                  </a:lnTo>
                  <a:lnTo>
                    <a:pt x="1108" y="1145"/>
                  </a:lnTo>
                  <a:lnTo>
                    <a:pt x="1105" y="1145"/>
                  </a:lnTo>
                  <a:lnTo>
                    <a:pt x="1103" y="1142"/>
                  </a:lnTo>
                  <a:lnTo>
                    <a:pt x="1103" y="1140"/>
                  </a:lnTo>
                  <a:lnTo>
                    <a:pt x="1103" y="1140"/>
                  </a:lnTo>
                  <a:lnTo>
                    <a:pt x="1101" y="1137"/>
                  </a:lnTo>
                  <a:lnTo>
                    <a:pt x="1101" y="1137"/>
                  </a:lnTo>
                  <a:lnTo>
                    <a:pt x="1096" y="1137"/>
                  </a:lnTo>
                  <a:lnTo>
                    <a:pt x="1096" y="1137"/>
                  </a:lnTo>
                  <a:lnTo>
                    <a:pt x="1093" y="1135"/>
                  </a:lnTo>
                  <a:lnTo>
                    <a:pt x="1093" y="1133"/>
                  </a:lnTo>
                  <a:lnTo>
                    <a:pt x="1093" y="1133"/>
                  </a:lnTo>
                  <a:lnTo>
                    <a:pt x="1091" y="1130"/>
                  </a:lnTo>
                  <a:lnTo>
                    <a:pt x="1091" y="1130"/>
                  </a:lnTo>
                  <a:lnTo>
                    <a:pt x="1091" y="1128"/>
                  </a:lnTo>
                  <a:lnTo>
                    <a:pt x="1091" y="1128"/>
                  </a:lnTo>
                  <a:lnTo>
                    <a:pt x="1089" y="1126"/>
                  </a:lnTo>
                  <a:lnTo>
                    <a:pt x="1089" y="1126"/>
                  </a:lnTo>
                  <a:lnTo>
                    <a:pt x="1089" y="1126"/>
                  </a:lnTo>
                  <a:lnTo>
                    <a:pt x="1086" y="1126"/>
                  </a:lnTo>
                  <a:lnTo>
                    <a:pt x="1086" y="1126"/>
                  </a:lnTo>
                  <a:lnTo>
                    <a:pt x="1084" y="1126"/>
                  </a:lnTo>
                  <a:lnTo>
                    <a:pt x="1084" y="1123"/>
                  </a:lnTo>
                  <a:lnTo>
                    <a:pt x="1084" y="1116"/>
                  </a:lnTo>
                  <a:lnTo>
                    <a:pt x="1082" y="1114"/>
                  </a:lnTo>
                  <a:lnTo>
                    <a:pt x="1082" y="1111"/>
                  </a:lnTo>
                  <a:lnTo>
                    <a:pt x="1079" y="1111"/>
                  </a:lnTo>
                  <a:lnTo>
                    <a:pt x="1079" y="1109"/>
                  </a:lnTo>
                  <a:lnTo>
                    <a:pt x="1072" y="1102"/>
                  </a:lnTo>
                  <a:lnTo>
                    <a:pt x="1072" y="1102"/>
                  </a:lnTo>
                  <a:lnTo>
                    <a:pt x="1072" y="1100"/>
                  </a:lnTo>
                  <a:lnTo>
                    <a:pt x="1072" y="1100"/>
                  </a:lnTo>
                  <a:lnTo>
                    <a:pt x="1072" y="1100"/>
                  </a:lnTo>
                  <a:lnTo>
                    <a:pt x="1072" y="1097"/>
                  </a:lnTo>
                  <a:lnTo>
                    <a:pt x="1072" y="1097"/>
                  </a:lnTo>
                  <a:lnTo>
                    <a:pt x="1074" y="1097"/>
                  </a:lnTo>
                  <a:lnTo>
                    <a:pt x="1074" y="1095"/>
                  </a:lnTo>
                  <a:lnTo>
                    <a:pt x="1074" y="1093"/>
                  </a:lnTo>
                  <a:lnTo>
                    <a:pt x="1077" y="1090"/>
                  </a:lnTo>
                  <a:lnTo>
                    <a:pt x="1077" y="1088"/>
                  </a:lnTo>
                  <a:lnTo>
                    <a:pt x="1074" y="1085"/>
                  </a:lnTo>
                  <a:lnTo>
                    <a:pt x="1074" y="1085"/>
                  </a:lnTo>
                  <a:lnTo>
                    <a:pt x="1074" y="1083"/>
                  </a:lnTo>
                  <a:lnTo>
                    <a:pt x="1077" y="1083"/>
                  </a:lnTo>
                  <a:lnTo>
                    <a:pt x="1077" y="1081"/>
                  </a:lnTo>
                  <a:lnTo>
                    <a:pt x="1077" y="1081"/>
                  </a:lnTo>
                  <a:lnTo>
                    <a:pt x="1079" y="1083"/>
                  </a:lnTo>
                  <a:lnTo>
                    <a:pt x="1079" y="1083"/>
                  </a:lnTo>
                  <a:lnTo>
                    <a:pt x="1079" y="1083"/>
                  </a:lnTo>
                  <a:lnTo>
                    <a:pt x="1079" y="1081"/>
                  </a:lnTo>
                  <a:lnTo>
                    <a:pt x="1079" y="1078"/>
                  </a:lnTo>
                  <a:lnTo>
                    <a:pt x="1079" y="1078"/>
                  </a:lnTo>
                  <a:lnTo>
                    <a:pt x="1079" y="1076"/>
                  </a:lnTo>
                  <a:lnTo>
                    <a:pt x="1079" y="1074"/>
                  </a:lnTo>
                  <a:lnTo>
                    <a:pt x="1079" y="1074"/>
                  </a:lnTo>
                  <a:lnTo>
                    <a:pt x="1077" y="1074"/>
                  </a:lnTo>
                  <a:lnTo>
                    <a:pt x="1077" y="1071"/>
                  </a:lnTo>
                  <a:lnTo>
                    <a:pt x="1079" y="1069"/>
                  </a:lnTo>
                  <a:lnTo>
                    <a:pt x="1079" y="1066"/>
                  </a:lnTo>
                  <a:lnTo>
                    <a:pt x="1079" y="1064"/>
                  </a:lnTo>
                  <a:lnTo>
                    <a:pt x="1077" y="1059"/>
                  </a:lnTo>
                  <a:lnTo>
                    <a:pt x="1077" y="1059"/>
                  </a:lnTo>
                  <a:lnTo>
                    <a:pt x="1074" y="1057"/>
                  </a:lnTo>
                  <a:lnTo>
                    <a:pt x="1074" y="1057"/>
                  </a:lnTo>
                  <a:lnTo>
                    <a:pt x="1074" y="1057"/>
                  </a:lnTo>
                  <a:lnTo>
                    <a:pt x="1074" y="1055"/>
                  </a:lnTo>
                  <a:lnTo>
                    <a:pt x="1074" y="1052"/>
                  </a:lnTo>
                  <a:lnTo>
                    <a:pt x="1074" y="1052"/>
                  </a:lnTo>
                  <a:lnTo>
                    <a:pt x="1074" y="1052"/>
                  </a:lnTo>
                  <a:lnTo>
                    <a:pt x="1072" y="1052"/>
                  </a:lnTo>
                  <a:lnTo>
                    <a:pt x="1072" y="1050"/>
                  </a:lnTo>
                  <a:lnTo>
                    <a:pt x="1072" y="1050"/>
                  </a:lnTo>
                  <a:lnTo>
                    <a:pt x="1072" y="1050"/>
                  </a:lnTo>
                  <a:lnTo>
                    <a:pt x="1072" y="1048"/>
                  </a:lnTo>
                  <a:lnTo>
                    <a:pt x="1072" y="1048"/>
                  </a:lnTo>
                  <a:lnTo>
                    <a:pt x="1070" y="1048"/>
                  </a:lnTo>
                  <a:lnTo>
                    <a:pt x="1070" y="1048"/>
                  </a:lnTo>
                  <a:lnTo>
                    <a:pt x="1070" y="1045"/>
                  </a:lnTo>
                  <a:lnTo>
                    <a:pt x="1070" y="1043"/>
                  </a:lnTo>
                  <a:lnTo>
                    <a:pt x="1070" y="1043"/>
                  </a:lnTo>
                  <a:lnTo>
                    <a:pt x="1070" y="1040"/>
                  </a:lnTo>
                  <a:lnTo>
                    <a:pt x="1070" y="1040"/>
                  </a:lnTo>
                  <a:lnTo>
                    <a:pt x="1067" y="1036"/>
                  </a:lnTo>
                  <a:lnTo>
                    <a:pt x="1067" y="1033"/>
                  </a:lnTo>
                  <a:lnTo>
                    <a:pt x="1067" y="1033"/>
                  </a:lnTo>
                  <a:lnTo>
                    <a:pt x="1067" y="1033"/>
                  </a:lnTo>
                  <a:lnTo>
                    <a:pt x="1067" y="1031"/>
                  </a:lnTo>
                  <a:lnTo>
                    <a:pt x="1067" y="1031"/>
                  </a:lnTo>
                  <a:lnTo>
                    <a:pt x="1067" y="1031"/>
                  </a:lnTo>
                  <a:lnTo>
                    <a:pt x="1065" y="1031"/>
                  </a:lnTo>
                  <a:lnTo>
                    <a:pt x="1065" y="1031"/>
                  </a:lnTo>
                  <a:lnTo>
                    <a:pt x="1065" y="1029"/>
                  </a:lnTo>
                  <a:lnTo>
                    <a:pt x="1065" y="1029"/>
                  </a:lnTo>
                  <a:lnTo>
                    <a:pt x="1065" y="1029"/>
                  </a:lnTo>
                  <a:lnTo>
                    <a:pt x="1065" y="1026"/>
                  </a:lnTo>
                  <a:lnTo>
                    <a:pt x="1065" y="1026"/>
                  </a:lnTo>
                  <a:lnTo>
                    <a:pt x="1067" y="1024"/>
                  </a:lnTo>
                  <a:lnTo>
                    <a:pt x="1067" y="1024"/>
                  </a:lnTo>
                  <a:lnTo>
                    <a:pt x="1067" y="1022"/>
                  </a:lnTo>
                  <a:lnTo>
                    <a:pt x="1067" y="1022"/>
                  </a:lnTo>
                  <a:lnTo>
                    <a:pt x="1067" y="1022"/>
                  </a:lnTo>
                  <a:lnTo>
                    <a:pt x="1065" y="1019"/>
                  </a:lnTo>
                  <a:lnTo>
                    <a:pt x="1065" y="1019"/>
                  </a:lnTo>
                  <a:lnTo>
                    <a:pt x="1065" y="1017"/>
                  </a:lnTo>
                  <a:lnTo>
                    <a:pt x="1065" y="1017"/>
                  </a:lnTo>
                  <a:lnTo>
                    <a:pt x="1065" y="1014"/>
                  </a:lnTo>
                  <a:lnTo>
                    <a:pt x="1065" y="1012"/>
                  </a:lnTo>
                  <a:lnTo>
                    <a:pt x="1065" y="1012"/>
                  </a:lnTo>
                  <a:lnTo>
                    <a:pt x="1065" y="1012"/>
                  </a:lnTo>
                  <a:lnTo>
                    <a:pt x="1065" y="1010"/>
                  </a:lnTo>
                  <a:lnTo>
                    <a:pt x="1063" y="1010"/>
                  </a:lnTo>
                  <a:lnTo>
                    <a:pt x="1063" y="1010"/>
                  </a:lnTo>
                  <a:lnTo>
                    <a:pt x="1063" y="1007"/>
                  </a:lnTo>
                  <a:lnTo>
                    <a:pt x="1063" y="1005"/>
                  </a:lnTo>
                  <a:lnTo>
                    <a:pt x="1060" y="1003"/>
                  </a:lnTo>
                  <a:lnTo>
                    <a:pt x="1060" y="1003"/>
                  </a:lnTo>
                  <a:lnTo>
                    <a:pt x="1060" y="1000"/>
                  </a:lnTo>
                  <a:lnTo>
                    <a:pt x="1060" y="1003"/>
                  </a:lnTo>
                  <a:lnTo>
                    <a:pt x="1063" y="1003"/>
                  </a:lnTo>
                  <a:lnTo>
                    <a:pt x="1063" y="1003"/>
                  </a:lnTo>
                  <a:lnTo>
                    <a:pt x="1063" y="1003"/>
                  </a:lnTo>
                  <a:lnTo>
                    <a:pt x="1063" y="1003"/>
                  </a:lnTo>
                  <a:lnTo>
                    <a:pt x="1063" y="1000"/>
                  </a:lnTo>
                  <a:lnTo>
                    <a:pt x="1063" y="1000"/>
                  </a:lnTo>
                  <a:lnTo>
                    <a:pt x="1063" y="998"/>
                  </a:lnTo>
                  <a:lnTo>
                    <a:pt x="1063" y="998"/>
                  </a:lnTo>
                  <a:lnTo>
                    <a:pt x="1063" y="998"/>
                  </a:lnTo>
                  <a:lnTo>
                    <a:pt x="1063" y="996"/>
                  </a:lnTo>
                  <a:lnTo>
                    <a:pt x="1063" y="996"/>
                  </a:lnTo>
                  <a:lnTo>
                    <a:pt x="1063" y="996"/>
                  </a:lnTo>
                  <a:lnTo>
                    <a:pt x="1063" y="996"/>
                  </a:lnTo>
                  <a:lnTo>
                    <a:pt x="1063" y="996"/>
                  </a:lnTo>
                  <a:lnTo>
                    <a:pt x="1060" y="993"/>
                  </a:lnTo>
                  <a:lnTo>
                    <a:pt x="1060" y="993"/>
                  </a:lnTo>
                  <a:lnTo>
                    <a:pt x="1060" y="991"/>
                  </a:lnTo>
                  <a:lnTo>
                    <a:pt x="1060" y="991"/>
                  </a:lnTo>
                  <a:lnTo>
                    <a:pt x="1060" y="988"/>
                  </a:lnTo>
                  <a:lnTo>
                    <a:pt x="1060" y="988"/>
                  </a:lnTo>
                  <a:lnTo>
                    <a:pt x="1063" y="988"/>
                  </a:lnTo>
                  <a:lnTo>
                    <a:pt x="1063" y="986"/>
                  </a:lnTo>
                  <a:lnTo>
                    <a:pt x="1060" y="986"/>
                  </a:lnTo>
                  <a:lnTo>
                    <a:pt x="1060" y="986"/>
                  </a:lnTo>
                  <a:lnTo>
                    <a:pt x="1060" y="986"/>
                  </a:lnTo>
                  <a:lnTo>
                    <a:pt x="1058" y="984"/>
                  </a:lnTo>
                  <a:lnTo>
                    <a:pt x="1058" y="984"/>
                  </a:lnTo>
                  <a:lnTo>
                    <a:pt x="1058" y="981"/>
                  </a:lnTo>
                  <a:lnTo>
                    <a:pt x="1058" y="981"/>
                  </a:lnTo>
                  <a:lnTo>
                    <a:pt x="1058" y="981"/>
                  </a:lnTo>
                  <a:lnTo>
                    <a:pt x="1058" y="977"/>
                  </a:lnTo>
                  <a:lnTo>
                    <a:pt x="1058" y="977"/>
                  </a:lnTo>
                  <a:lnTo>
                    <a:pt x="1058" y="979"/>
                  </a:lnTo>
                  <a:lnTo>
                    <a:pt x="1058" y="979"/>
                  </a:lnTo>
                  <a:lnTo>
                    <a:pt x="1060" y="979"/>
                  </a:lnTo>
                  <a:lnTo>
                    <a:pt x="1060" y="981"/>
                  </a:lnTo>
                  <a:lnTo>
                    <a:pt x="1060" y="981"/>
                  </a:lnTo>
                  <a:lnTo>
                    <a:pt x="1060" y="981"/>
                  </a:lnTo>
                  <a:lnTo>
                    <a:pt x="1060" y="981"/>
                  </a:lnTo>
                  <a:lnTo>
                    <a:pt x="1060" y="981"/>
                  </a:lnTo>
                  <a:lnTo>
                    <a:pt x="1060" y="979"/>
                  </a:lnTo>
                  <a:lnTo>
                    <a:pt x="1060" y="979"/>
                  </a:lnTo>
                  <a:lnTo>
                    <a:pt x="1060" y="979"/>
                  </a:lnTo>
                  <a:lnTo>
                    <a:pt x="1060" y="977"/>
                  </a:lnTo>
                  <a:lnTo>
                    <a:pt x="1060" y="977"/>
                  </a:lnTo>
                  <a:lnTo>
                    <a:pt x="1060" y="977"/>
                  </a:lnTo>
                  <a:lnTo>
                    <a:pt x="1060" y="977"/>
                  </a:lnTo>
                  <a:lnTo>
                    <a:pt x="1058" y="974"/>
                  </a:lnTo>
                  <a:lnTo>
                    <a:pt x="1058" y="972"/>
                  </a:lnTo>
                  <a:lnTo>
                    <a:pt x="1058" y="972"/>
                  </a:lnTo>
                  <a:lnTo>
                    <a:pt x="1058" y="972"/>
                  </a:lnTo>
                  <a:lnTo>
                    <a:pt x="1056" y="972"/>
                  </a:lnTo>
                  <a:lnTo>
                    <a:pt x="1056" y="972"/>
                  </a:lnTo>
                  <a:lnTo>
                    <a:pt x="1056" y="972"/>
                  </a:lnTo>
                  <a:lnTo>
                    <a:pt x="1058" y="972"/>
                  </a:lnTo>
                  <a:lnTo>
                    <a:pt x="1058" y="970"/>
                  </a:lnTo>
                  <a:lnTo>
                    <a:pt x="1058" y="970"/>
                  </a:lnTo>
                  <a:lnTo>
                    <a:pt x="1058" y="970"/>
                  </a:lnTo>
                  <a:lnTo>
                    <a:pt x="1056" y="970"/>
                  </a:lnTo>
                  <a:lnTo>
                    <a:pt x="1056" y="970"/>
                  </a:lnTo>
                  <a:lnTo>
                    <a:pt x="1056" y="967"/>
                  </a:lnTo>
                  <a:lnTo>
                    <a:pt x="1056" y="967"/>
                  </a:lnTo>
                  <a:lnTo>
                    <a:pt x="1056" y="967"/>
                  </a:lnTo>
                  <a:lnTo>
                    <a:pt x="1056" y="965"/>
                  </a:lnTo>
                  <a:lnTo>
                    <a:pt x="1056" y="965"/>
                  </a:lnTo>
                  <a:lnTo>
                    <a:pt x="1053" y="962"/>
                  </a:lnTo>
                  <a:lnTo>
                    <a:pt x="1051" y="960"/>
                  </a:lnTo>
                  <a:lnTo>
                    <a:pt x="1051" y="960"/>
                  </a:lnTo>
                  <a:lnTo>
                    <a:pt x="1051" y="960"/>
                  </a:lnTo>
                  <a:lnTo>
                    <a:pt x="1051" y="958"/>
                  </a:lnTo>
                  <a:lnTo>
                    <a:pt x="1051" y="958"/>
                  </a:lnTo>
                  <a:lnTo>
                    <a:pt x="1051" y="955"/>
                  </a:lnTo>
                  <a:lnTo>
                    <a:pt x="1051" y="955"/>
                  </a:lnTo>
                  <a:lnTo>
                    <a:pt x="1048" y="955"/>
                  </a:lnTo>
                  <a:lnTo>
                    <a:pt x="1048" y="955"/>
                  </a:lnTo>
                  <a:lnTo>
                    <a:pt x="1048" y="958"/>
                  </a:lnTo>
                  <a:lnTo>
                    <a:pt x="1048" y="958"/>
                  </a:lnTo>
                  <a:lnTo>
                    <a:pt x="1048" y="958"/>
                  </a:lnTo>
                  <a:lnTo>
                    <a:pt x="1046" y="958"/>
                  </a:lnTo>
                  <a:lnTo>
                    <a:pt x="1044" y="955"/>
                  </a:lnTo>
                  <a:lnTo>
                    <a:pt x="1044" y="953"/>
                  </a:lnTo>
                  <a:lnTo>
                    <a:pt x="1041" y="953"/>
                  </a:lnTo>
                  <a:lnTo>
                    <a:pt x="1041" y="953"/>
                  </a:lnTo>
                  <a:lnTo>
                    <a:pt x="1041" y="953"/>
                  </a:lnTo>
                  <a:lnTo>
                    <a:pt x="1041" y="951"/>
                  </a:lnTo>
                  <a:lnTo>
                    <a:pt x="1041" y="951"/>
                  </a:lnTo>
                  <a:lnTo>
                    <a:pt x="1039" y="948"/>
                  </a:lnTo>
                  <a:lnTo>
                    <a:pt x="1039" y="948"/>
                  </a:lnTo>
                  <a:lnTo>
                    <a:pt x="1039" y="948"/>
                  </a:lnTo>
                  <a:lnTo>
                    <a:pt x="1039" y="946"/>
                  </a:lnTo>
                  <a:lnTo>
                    <a:pt x="1039" y="946"/>
                  </a:lnTo>
                  <a:lnTo>
                    <a:pt x="1037" y="946"/>
                  </a:lnTo>
                  <a:lnTo>
                    <a:pt x="1037" y="943"/>
                  </a:lnTo>
                  <a:lnTo>
                    <a:pt x="1037" y="943"/>
                  </a:lnTo>
                  <a:lnTo>
                    <a:pt x="1037" y="943"/>
                  </a:lnTo>
                  <a:lnTo>
                    <a:pt x="1037" y="943"/>
                  </a:lnTo>
                  <a:lnTo>
                    <a:pt x="1037" y="943"/>
                  </a:lnTo>
                  <a:lnTo>
                    <a:pt x="1037" y="941"/>
                  </a:lnTo>
                  <a:lnTo>
                    <a:pt x="1037" y="943"/>
                  </a:lnTo>
                  <a:lnTo>
                    <a:pt x="1037" y="943"/>
                  </a:lnTo>
                  <a:lnTo>
                    <a:pt x="1037" y="943"/>
                  </a:lnTo>
                  <a:lnTo>
                    <a:pt x="1037" y="943"/>
                  </a:lnTo>
                  <a:lnTo>
                    <a:pt x="1037" y="943"/>
                  </a:lnTo>
                  <a:lnTo>
                    <a:pt x="1034" y="943"/>
                  </a:lnTo>
                  <a:lnTo>
                    <a:pt x="1032" y="941"/>
                  </a:lnTo>
                  <a:lnTo>
                    <a:pt x="1032" y="939"/>
                  </a:lnTo>
                  <a:lnTo>
                    <a:pt x="1032" y="936"/>
                  </a:lnTo>
                  <a:lnTo>
                    <a:pt x="1032" y="936"/>
                  </a:lnTo>
                  <a:lnTo>
                    <a:pt x="1030" y="936"/>
                  </a:lnTo>
                  <a:lnTo>
                    <a:pt x="1030" y="936"/>
                  </a:lnTo>
                  <a:lnTo>
                    <a:pt x="1027" y="936"/>
                  </a:lnTo>
                  <a:lnTo>
                    <a:pt x="1027" y="936"/>
                  </a:lnTo>
                  <a:lnTo>
                    <a:pt x="1027" y="936"/>
                  </a:lnTo>
                  <a:lnTo>
                    <a:pt x="1027" y="936"/>
                  </a:lnTo>
                  <a:lnTo>
                    <a:pt x="1027" y="936"/>
                  </a:lnTo>
                  <a:lnTo>
                    <a:pt x="1025" y="939"/>
                  </a:lnTo>
                  <a:lnTo>
                    <a:pt x="1025" y="939"/>
                  </a:lnTo>
                  <a:lnTo>
                    <a:pt x="1025" y="939"/>
                  </a:lnTo>
                  <a:lnTo>
                    <a:pt x="1025" y="939"/>
                  </a:lnTo>
                  <a:lnTo>
                    <a:pt x="1025" y="941"/>
                  </a:lnTo>
                  <a:lnTo>
                    <a:pt x="1025" y="943"/>
                  </a:lnTo>
                  <a:lnTo>
                    <a:pt x="1027" y="946"/>
                  </a:lnTo>
                  <a:lnTo>
                    <a:pt x="1025" y="946"/>
                  </a:lnTo>
                  <a:lnTo>
                    <a:pt x="1025" y="946"/>
                  </a:lnTo>
                  <a:lnTo>
                    <a:pt x="1022" y="943"/>
                  </a:lnTo>
                  <a:lnTo>
                    <a:pt x="1022" y="943"/>
                  </a:lnTo>
                  <a:lnTo>
                    <a:pt x="1020" y="941"/>
                  </a:lnTo>
                  <a:lnTo>
                    <a:pt x="1020" y="941"/>
                  </a:lnTo>
                  <a:lnTo>
                    <a:pt x="1020" y="941"/>
                  </a:lnTo>
                  <a:lnTo>
                    <a:pt x="1018" y="936"/>
                  </a:lnTo>
                  <a:lnTo>
                    <a:pt x="1015" y="936"/>
                  </a:lnTo>
                  <a:lnTo>
                    <a:pt x="1013" y="934"/>
                  </a:lnTo>
                  <a:lnTo>
                    <a:pt x="1011" y="934"/>
                  </a:lnTo>
                  <a:lnTo>
                    <a:pt x="1006" y="932"/>
                  </a:lnTo>
                  <a:lnTo>
                    <a:pt x="1003" y="932"/>
                  </a:lnTo>
                  <a:lnTo>
                    <a:pt x="1003" y="932"/>
                  </a:lnTo>
                  <a:lnTo>
                    <a:pt x="1006" y="934"/>
                  </a:lnTo>
                  <a:lnTo>
                    <a:pt x="1006" y="934"/>
                  </a:lnTo>
                  <a:lnTo>
                    <a:pt x="1003" y="934"/>
                  </a:lnTo>
                  <a:lnTo>
                    <a:pt x="1001" y="934"/>
                  </a:lnTo>
                  <a:lnTo>
                    <a:pt x="1001" y="934"/>
                  </a:lnTo>
                  <a:lnTo>
                    <a:pt x="1003" y="936"/>
                  </a:lnTo>
                  <a:lnTo>
                    <a:pt x="1003" y="936"/>
                  </a:lnTo>
                  <a:lnTo>
                    <a:pt x="1003" y="936"/>
                  </a:lnTo>
                  <a:lnTo>
                    <a:pt x="1003" y="936"/>
                  </a:lnTo>
                  <a:lnTo>
                    <a:pt x="1003" y="939"/>
                  </a:lnTo>
                  <a:lnTo>
                    <a:pt x="1003" y="939"/>
                  </a:lnTo>
                  <a:lnTo>
                    <a:pt x="1003" y="939"/>
                  </a:lnTo>
                  <a:lnTo>
                    <a:pt x="1003" y="941"/>
                  </a:lnTo>
                  <a:lnTo>
                    <a:pt x="1006" y="941"/>
                  </a:lnTo>
                  <a:lnTo>
                    <a:pt x="1008" y="943"/>
                  </a:lnTo>
                  <a:lnTo>
                    <a:pt x="1003" y="943"/>
                  </a:lnTo>
                  <a:lnTo>
                    <a:pt x="1001" y="943"/>
                  </a:lnTo>
                  <a:lnTo>
                    <a:pt x="999" y="943"/>
                  </a:lnTo>
                  <a:lnTo>
                    <a:pt x="999" y="948"/>
                  </a:lnTo>
                  <a:lnTo>
                    <a:pt x="999" y="951"/>
                  </a:lnTo>
                  <a:lnTo>
                    <a:pt x="1001" y="953"/>
                  </a:lnTo>
                  <a:lnTo>
                    <a:pt x="1001" y="955"/>
                  </a:lnTo>
                  <a:lnTo>
                    <a:pt x="999" y="955"/>
                  </a:lnTo>
                  <a:lnTo>
                    <a:pt x="999" y="955"/>
                  </a:lnTo>
                  <a:lnTo>
                    <a:pt x="999" y="955"/>
                  </a:lnTo>
                  <a:lnTo>
                    <a:pt x="999" y="955"/>
                  </a:lnTo>
                  <a:lnTo>
                    <a:pt x="1001" y="958"/>
                  </a:lnTo>
                  <a:lnTo>
                    <a:pt x="1001" y="960"/>
                  </a:lnTo>
                  <a:lnTo>
                    <a:pt x="1001" y="960"/>
                  </a:lnTo>
                  <a:lnTo>
                    <a:pt x="1001" y="960"/>
                  </a:lnTo>
                  <a:lnTo>
                    <a:pt x="999" y="960"/>
                  </a:lnTo>
                  <a:lnTo>
                    <a:pt x="999" y="962"/>
                  </a:lnTo>
                  <a:lnTo>
                    <a:pt x="1001" y="962"/>
                  </a:lnTo>
                  <a:lnTo>
                    <a:pt x="1001" y="962"/>
                  </a:lnTo>
                  <a:lnTo>
                    <a:pt x="1001" y="965"/>
                  </a:lnTo>
                  <a:lnTo>
                    <a:pt x="1001" y="965"/>
                  </a:lnTo>
                  <a:lnTo>
                    <a:pt x="1001" y="965"/>
                  </a:lnTo>
                  <a:lnTo>
                    <a:pt x="1001" y="967"/>
                  </a:lnTo>
                  <a:lnTo>
                    <a:pt x="1001" y="967"/>
                  </a:lnTo>
                  <a:lnTo>
                    <a:pt x="1001" y="967"/>
                  </a:lnTo>
                  <a:lnTo>
                    <a:pt x="1001" y="970"/>
                  </a:lnTo>
                  <a:lnTo>
                    <a:pt x="1001" y="972"/>
                  </a:lnTo>
                  <a:lnTo>
                    <a:pt x="1001" y="974"/>
                  </a:lnTo>
                  <a:lnTo>
                    <a:pt x="1001" y="974"/>
                  </a:lnTo>
                  <a:lnTo>
                    <a:pt x="1001" y="977"/>
                  </a:lnTo>
                  <a:lnTo>
                    <a:pt x="1001" y="977"/>
                  </a:lnTo>
                  <a:lnTo>
                    <a:pt x="1001" y="977"/>
                  </a:lnTo>
                  <a:lnTo>
                    <a:pt x="1001" y="979"/>
                  </a:lnTo>
                  <a:lnTo>
                    <a:pt x="1001" y="979"/>
                  </a:lnTo>
                  <a:lnTo>
                    <a:pt x="1001" y="979"/>
                  </a:lnTo>
                  <a:lnTo>
                    <a:pt x="1001" y="981"/>
                  </a:lnTo>
                  <a:lnTo>
                    <a:pt x="1001" y="984"/>
                  </a:lnTo>
                  <a:lnTo>
                    <a:pt x="1003" y="984"/>
                  </a:lnTo>
                  <a:lnTo>
                    <a:pt x="1003" y="986"/>
                  </a:lnTo>
                  <a:lnTo>
                    <a:pt x="1001" y="986"/>
                  </a:lnTo>
                  <a:lnTo>
                    <a:pt x="1001" y="986"/>
                  </a:lnTo>
                  <a:lnTo>
                    <a:pt x="1001" y="986"/>
                  </a:lnTo>
                  <a:lnTo>
                    <a:pt x="1003" y="986"/>
                  </a:lnTo>
                  <a:lnTo>
                    <a:pt x="1003" y="988"/>
                  </a:lnTo>
                  <a:lnTo>
                    <a:pt x="1003" y="991"/>
                  </a:lnTo>
                  <a:lnTo>
                    <a:pt x="1003" y="991"/>
                  </a:lnTo>
                  <a:lnTo>
                    <a:pt x="1003" y="991"/>
                  </a:lnTo>
                  <a:lnTo>
                    <a:pt x="1003" y="993"/>
                  </a:lnTo>
                  <a:lnTo>
                    <a:pt x="1003" y="993"/>
                  </a:lnTo>
                  <a:lnTo>
                    <a:pt x="1001" y="993"/>
                  </a:lnTo>
                  <a:lnTo>
                    <a:pt x="1001" y="996"/>
                  </a:lnTo>
                  <a:lnTo>
                    <a:pt x="1003" y="998"/>
                  </a:lnTo>
                  <a:lnTo>
                    <a:pt x="1003" y="998"/>
                  </a:lnTo>
                  <a:lnTo>
                    <a:pt x="1006" y="998"/>
                  </a:lnTo>
                  <a:lnTo>
                    <a:pt x="1006" y="1000"/>
                  </a:lnTo>
                  <a:lnTo>
                    <a:pt x="1003" y="1000"/>
                  </a:lnTo>
                  <a:lnTo>
                    <a:pt x="1003" y="1003"/>
                  </a:lnTo>
                  <a:lnTo>
                    <a:pt x="1003" y="1003"/>
                  </a:lnTo>
                  <a:lnTo>
                    <a:pt x="1003" y="1003"/>
                  </a:lnTo>
                  <a:lnTo>
                    <a:pt x="1006" y="1003"/>
                  </a:lnTo>
                  <a:lnTo>
                    <a:pt x="1006" y="1005"/>
                  </a:lnTo>
                  <a:lnTo>
                    <a:pt x="1003" y="1005"/>
                  </a:lnTo>
                  <a:lnTo>
                    <a:pt x="1003" y="1005"/>
                  </a:lnTo>
                  <a:lnTo>
                    <a:pt x="1003" y="1007"/>
                  </a:lnTo>
                  <a:lnTo>
                    <a:pt x="1006" y="1007"/>
                  </a:lnTo>
                  <a:lnTo>
                    <a:pt x="1006" y="1007"/>
                  </a:lnTo>
                  <a:lnTo>
                    <a:pt x="1006" y="1010"/>
                  </a:lnTo>
                  <a:lnTo>
                    <a:pt x="1006" y="1012"/>
                  </a:lnTo>
                  <a:lnTo>
                    <a:pt x="1006" y="1012"/>
                  </a:lnTo>
                  <a:lnTo>
                    <a:pt x="1006" y="1010"/>
                  </a:lnTo>
                  <a:lnTo>
                    <a:pt x="1003" y="1010"/>
                  </a:lnTo>
                  <a:lnTo>
                    <a:pt x="1003" y="1010"/>
                  </a:lnTo>
                  <a:lnTo>
                    <a:pt x="1003" y="1010"/>
                  </a:lnTo>
                  <a:lnTo>
                    <a:pt x="1003" y="1010"/>
                  </a:lnTo>
                  <a:lnTo>
                    <a:pt x="1003" y="1012"/>
                  </a:lnTo>
                  <a:lnTo>
                    <a:pt x="1003" y="1012"/>
                  </a:lnTo>
                  <a:lnTo>
                    <a:pt x="1003" y="1014"/>
                  </a:lnTo>
                  <a:lnTo>
                    <a:pt x="1003" y="1014"/>
                  </a:lnTo>
                  <a:lnTo>
                    <a:pt x="1003" y="1019"/>
                  </a:lnTo>
                  <a:lnTo>
                    <a:pt x="1003" y="1019"/>
                  </a:lnTo>
                  <a:lnTo>
                    <a:pt x="1003" y="1019"/>
                  </a:lnTo>
                  <a:lnTo>
                    <a:pt x="1003" y="1022"/>
                  </a:lnTo>
                  <a:lnTo>
                    <a:pt x="1003" y="1022"/>
                  </a:lnTo>
                  <a:lnTo>
                    <a:pt x="1008" y="1024"/>
                  </a:lnTo>
                  <a:lnTo>
                    <a:pt x="1006" y="1024"/>
                  </a:lnTo>
                  <a:lnTo>
                    <a:pt x="1006" y="1024"/>
                  </a:lnTo>
                  <a:lnTo>
                    <a:pt x="1006" y="1024"/>
                  </a:lnTo>
                  <a:lnTo>
                    <a:pt x="1008" y="1024"/>
                  </a:lnTo>
                  <a:lnTo>
                    <a:pt x="1008" y="1024"/>
                  </a:lnTo>
                  <a:lnTo>
                    <a:pt x="1008" y="1026"/>
                  </a:lnTo>
                  <a:lnTo>
                    <a:pt x="1006" y="1026"/>
                  </a:lnTo>
                  <a:lnTo>
                    <a:pt x="1006" y="1026"/>
                  </a:lnTo>
                  <a:lnTo>
                    <a:pt x="1006" y="1029"/>
                  </a:lnTo>
                  <a:lnTo>
                    <a:pt x="1006" y="1029"/>
                  </a:lnTo>
                  <a:lnTo>
                    <a:pt x="1006" y="1031"/>
                  </a:lnTo>
                  <a:lnTo>
                    <a:pt x="1008" y="1031"/>
                  </a:lnTo>
                  <a:lnTo>
                    <a:pt x="1008" y="1031"/>
                  </a:lnTo>
                  <a:lnTo>
                    <a:pt x="1011" y="1033"/>
                  </a:lnTo>
                  <a:lnTo>
                    <a:pt x="1011" y="1033"/>
                  </a:lnTo>
                  <a:lnTo>
                    <a:pt x="1011" y="1033"/>
                  </a:lnTo>
                  <a:lnTo>
                    <a:pt x="1011" y="1036"/>
                  </a:lnTo>
                  <a:lnTo>
                    <a:pt x="1011" y="1036"/>
                  </a:lnTo>
                  <a:lnTo>
                    <a:pt x="1011" y="1038"/>
                  </a:lnTo>
                  <a:lnTo>
                    <a:pt x="1011" y="1038"/>
                  </a:lnTo>
                  <a:lnTo>
                    <a:pt x="1013" y="1038"/>
                  </a:lnTo>
                  <a:lnTo>
                    <a:pt x="1015" y="1038"/>
                  </a:lnTo>
                  <a:lnTo>
                    <a:pt x="1015" y="1040"/>
                  </a:lnTo>
                  <a:lnTo>
                    <a:pt x="1015" y="1040"/>
                  </a:lnTo>
                  <a:lnTo>
                    <a:pt x="1013" y="1040"/>
                  </a:lnTo>
                  <a:lnTo>
                    <a:pt x="1013" y="1043"/>
                  </a:lnTo>
                  <a:lnTo>
                    <a:pt x="1011" y="1040"/>
                  </a:lnTo>
                  <a:lnTo>
                    <a:pt x="1011" y="1040"/>
                  </a:lnTo>
                  <a:lnTo>
                    <a:pt x="1011" y="1040"/>
                  </a:lnTo>
                  <a:lnTo>
                    <a:pt x="1011" y="1043"/>
                  </a:lnTo>
                  <a:lnTo>
                    <a:pt x="1011" y="1043"/>
                  </a:lnTo>
                  <a:lnTo>
                    <a:pt x="1011" y="1045"/>
                  </a:lnTo>
                  <a:lnTo>
                    <a:pt x="1011" y="1045"/>
                  </a:lnTo>
                  <a:lnTo>
                    <a:pt x="1013" y="1045"/>
                  </a:lnTo>
                  <a:lnTo>
                    <a:pt x="1013" y="1045"/>
                  </a:lnTo>
                  <a:lnTo>
                    <a:pt x="1015" y="1048"/>
                  </a:lnTo>
                  <a:lnTo>
                    <a:pt x="1008" y="1048"/>
                  </a:lnTo>
                  <a:lnTo>
                    <a:pt x="1006" y="1048"/>
                  </a:lnTo>
                  <a:lnTo>
                    <a:pt x="1006" y="1050"/>
                  </a:lnTo>
                  <a:lnTo>
                    <a:pt x="1006" y="1052"/>
                  </a:lnTo>
                  <a:lnTo>
                    <a:pt x="1003" y="1052"/>
                  </a:lnTo>
                  <a:lnTo>
                    <a:pt x="1003" y="1052"/>
                  </a:lnTo>
                  <a:lnTo>
                    <a:pt x="1003" y="1052"/>
                  </a:lnTo>
                  <a:lnTo>
                    <a:pt x="1001" y="1050"/>
                  </a:lnTo>
                  <a:lnTo>
                    <a:pt x="1001" y="1052"/>
                  </a:lnTo>
                  <a:lnTo>
                    <a:pt x="1001" y="1055"/>
                  </a:lnTo>
                  <a:lnTo>
                    <a:pt x="1001" y="1055"/>
                  </a:lnTo>
                  <a:lnTo>
                    <a:pt x="1001" y="1055"/>
                  </a:lnTo>
                  <a:lnTo>
                    <a:pt x="1001" y="1055"/>
                  </a:lnTo>
                  <a:lnTo>
                    <a:pt x="1001" y="1057"/>
                  </a:lnTo>
                  <a:lnTo>
                    <a:pt x="1003" y="1059"/>
                  </a:lnTo>
                  <a:lnTo>
                    <a:pt x="1001" y="1059"/>
                  </a:lnTo>
                  <a:lnTo>
                    <a:pt x="1001" y="1059"/>
                  </a:lnTo>
                  <a:lnTo>
                    <a:pt x="1001" y="1059"/>
                  </a:lnTo>
                  <a:lnTo>
                    <a:pt x="1001" y="1059"/>
                  </a:lnTo>
                  <a:lnTo>
                    <a:pt x="1001" y="1059"/>
                  </a:lnTo>
                  <a:lnTo>
                    <a:pt x="1001" y="1059"/>
                  </a:lnTo>
                  <a:lnTo>
                    <a:pt x="999" y="1059"/>
                  </a:lnTo>
                  <a:lnTo>
                    <a:pt x="999" y="1059"/>
                  </a:lnTo>
                  <a:lnTo>
                    <a:pt x="996" y="1057"/>
                  </a:lnTo>
                  <a:lnTo>
                    <a:pt x="996" y="1057"/>
                  </a:lnTo>
                  <a:lnTo>
                    <a:pt x="996" y="1055"/>
                  </a:lnTo>
                  <a:lnTo>
                    <a:pt x="996" y="1052"/>
                  </a:lnTo>
                  <a:lnTo>
                    <a:pt x="996" y="1052"/>
                  </a:lnTo>
                  <a:lnTo>
                    <a:pt x="994" y="1052"/>
                  </a:lnTo>
                  <a:lnTo>
                    <a:pt x="992" y="1052"/>
                  </a:lnTo>
                  <a:lnTo>
                    <a:pt x="992" y="1050"/>
                  </a:lnTo>
                  <a:lnTo>
                    <a:pt x="992" y="1050"/>
                  </a:lnTo>
                  <a:lnTo>
                    <a:pt x="994" y="1050"/>
                  </a:lnTo>
                  <a:lnTo>
                    <a:pt x="994" y="1050"/>
                  </a:lnTo>
                  <a:lnTo>
                    <a:pt x="994" y="1050"/>
                  </a:lnTo>
                  <a:lnTo>
                    <a:pt x="994" y="1048"/>
                  </a:lnTo>
                  <a:lnTo>
                    <a:pt x="994" y="1048"/>
                  </a:lnTo>
                  <a:lnTo>
                    <a:pt x="992" y="1048"/>
                  </a:lnTo>
                  <a:lnTo>
                    <a:pt x="992" y="1048"/>
                  </a:lnTo>
                  <a:lnTo>
                    <a:pt x="992" y="1048"/>
                  </a:lnTo>
                  <a:lnTo>
                    <a:pt x="992" y="1045"/>
                  </a:lnTo>
                  <a:lnTo>
                    <a:pt x="992" y="1043"/>
                  </a:lnTo>
                  <a:lnTo>
                    <a:pt x="992" y="1043"/>
                  </a:lnTo>
                  <a:lnTo>
                    <a:pt x="992" y="1043"/>
                  </a:lnTo>
                  <a:lnTo>
                    <a:pt x="992" y="1043"/>
                  </a:lnTo>
                  <a:lnTo>
                    <a:pt x="992" y="1040"/>
                  </a:lnTo>
                  <a:lnTo>
                    <a:pt x="992" y="1040"/>
                  </a:lnTo>
                  <a:lnTo>
                    <a:pt x="992" y="1040"/>
                  </a:lnTo>
                  <a:lnTo>
                    <a:pt x="992" y="1038"/>
                  </a:lnTo>
                  <a:lnTo>
                    <a:pt x="992" y="1038"/>
                  </a:lnTo>
                  <a:lnTo>
                    <a:pt x="994" y="1038"/>
                  </a:lnTo>
                  <a:lnTo>
                    <a:pt x="994" y="1036"/>
                  </a:lnTo>
                  <a:lnTo>
                    <a:pt x="994" y="1033"/>
                  </a:lnTo>
                  <a:lnTo>
                    <a:pt x="994" y="1033"/>
                  </a:lnTo>
                  <a:lnTo>
                    <a:pt x="992" y="1033"/>
                  </a:lnTo>
                  <a:lnTo>
                    <a:pt x="992" y="1036"/>
                  </a:lnTo>
                  <a:lnTo>
                    <a:pt x="989" y="1036"/>
                  </a:lnTo>
                  <a:lnTo>
                    <a:pt x="992" y="1036"/>
                  </a:lnTo>
                  <a:lnTo>
                    <a:pt x="992" y="1033"/>
                  </a:lnTo>
                  <a:lnTo>
                    <a:pt x="992" y="1031"/>
                  </a:lnTo>
                  <a:lnTo>
                    <a:pt x="989" y="1031"/>
                  </a:lnTo>
                  <a:lnTo>
                    <a:pt x="989" y="1031"/>
                  </a:lnTo>
                  <a:lnTo>
                    <a:pt x="989" y="1029"/>
                  </a:lnTo>
                  <a:lnTo>
                    <a:pt x="989" y="1029"/>
                  </a:lnTo>
                  <a:lnTo>
                    <a:pt x="989" y="1026"/>
                  </a:lnTo>
                  <a:lnTo>
                    <a:pt x="989" y="1026"/>
                  </a:lnTo>
                  <a:lnTo>
                    <a:pt x="989" y="1024"/>
                  </a:lnTo>
                  <a:lnTo>
                    <a:pt x="989" y="1024"/>
                  </a:lnTo>
                  <a:lnTo>
                    <a:pt x="989" y="1022"/>
                  </a:lnTo>
                  <a:lnTo>
                    <a:pt x="989" y="1022"/>
                  </a:lnTo>
                  <a:lnTo>
                    <a:pt x="989" y="1022"/>
                  </a:lnTo>
                  <a:lnTo>
                    <a:pt x="989" y="1022"/>
                  </a:lnTo>
                  <a:lnTo>
                    <a:pt x="989" y="1022"/>
                  </a:lnTo>
                  <a:lnTo>
                    <a:pt x="989" y="1022"/>
                  </a:lnTo>
                  <a:lnTo>
                    <a:pt x="989" y="1022"/>
                  </a:lnTo>
                  <a:lnTo>
                    <a:pt x="989" y="1019"/>
                  </a:lnTo>
                  <a:lnTo>
                    <a:pt x="989" y="1019"/>
                  </a:lnTo>
                  <a:lnTo>
                    <a:pt x="989" y="1019"/>
                  </a:lnTo>
                  <a:lnTo>
                    <a:pt x="989" y="1019"/>
                  </a:lnTo>
                  <a:lnTo>
                    <a:pt x="989" y="1019"/>
                  </a:lnTo>
                  <a:lnTo>
                    <a:pt x="989" y="1019"/>
                  </a:lnTo>
                  <a:lnTo>
                    <a:pt x="989" y="1022"/>
                  </a:lnTo>
                  <a:lnTo>
                    <a:pt x="987" y="1019"/>
                  </a:lnTo>
                  <a:lnTo>
                    <a:pt x="987" y="1019"/>
                  </a:lnTo>
                  <a:lnTo>
                    <a:pt x="987" y="1019"/>
                  </a:lnTo>
                  <a:lnTo>
                    <a:pt x="987" y="1019"/>
                  </a:lnTo>
                  <a:lnTo>
                    <a:pt x="987" y="1017"/>
                  </a:lnTo>
                  <a:lnTo>
                    <a:pt x="987" y="1017"/>
                  </a:lnTo>
                  <a:lnTo>
                    <a:pt x="987" y="1010"/>
                  </a:lnTo>
                  <a:lnTo>
                    <a:pt x="987" y="1007"/>
                  </a:lnTo>
                  <a:lnTo>
                    <a:pt x="987" y="1007"/>
                  </a:lnTo>
                  <a:lnTo>
                    <a:pt x="985" y="1005"/>
                  </a:lnTo>
                  <a:lnTo>
                    <a:pt x="985" y="1005"/>
                  </a:lnTo>
                  <a:lnTo>
                    <a:pt x="985" y="1003"/>
                  </a:lnTo>
                  <a:lnTo>
                    <a:pt x="987" y="1003"/>
                  </a:lnTo>
                  <a:lnTo>
                    <a:pt x="987" y="1000"/>
                  </a:lnTo>
                  <a:lnTo>
                    <a:pt x="987" y="998"/>
                  </a:lnTo>
                  <a:lnTo>
                    <a:pt x="987" y="998"/>
                  </a:lnTo>
                  <a:lnTo>
                    <a:pt x="987" y="996"/>
                  </a:lnTo>
                  <a:lnTo>
                    <a:pt x="987" y="996"/>
                  </a:lnTo>
                  <a:lnTo>
                    <a:pt x="987" y="996"/>
                  </a:lnTo>
                  <a:lnTo>
                    <a:pt x="987" y="996"/>
                  </a:lnTo>
                  <a:lnTo>
                    <a:pt x="987" y="993"/>
                  </a:lnTo>
                  <a:lnTo>
                    <a:pt x="987" y="993"/>
                  </a:lnTo>
                  <a:lnTo>
                    <a:pt x="987" y="991"/>
                  </a:lnTo>
                  <a:lnTo>
                    <a:pt x="987" y="991"/>
                  </a:lnTo>
                  <a:lnTo>
                    <a:pt x="987" y="988"/>
                  </a:lnTo>
                  <a:lnTo>
                    <a:pt x="987" y="988"/>
                  </a:lnTo>
                  <a:lnTo>
                    <a:pt x="982" y="986"/>
                  </a:lnTo>
                  <a:lnTo>
                    <a:pt x="982" y="986"/>
                  </a:lnTo>
                  <a:lnTo>
                    <a:pt x="982" y="986"/>
                  </a:lnTo>
                  <a:lnTo>
                    <a:pt x="982" y="988"/>
                  </a:lnTo>
                  <a:lnTo>
                    <a:pt x="982" y="988"/>
                  </a:lnTo>
                  <a:lnTo>
                    <a:pt x="982" y="988"/>
                  </a:lnTo>
                  <a:lnTo>
                    <a:pt x="980" y="988"/>
                  </a:lnTo>
                  <a:lnTo>
                    <a:pt x="980" y="988"/>
                  </a:lnTo>
                  <a:lnTo>
                    <a:pt x="977" y="988"/>
                  </a:lnTo>
                  <a:lnTo>
                    <a:pt x="977" y="988"/>
                  </a:lnTo>
                  <a:lnTo>
                    <a:pt x="980" y="986"/>
                  </a:lnTo>
                  <a:lnTo>
                    <a:pt x="980" y="986"/>
                  </a:lnTo>
                  <a:lnTo>
                    <a:pt x="980" y="986"/>
                  </a:lnTo>
                  <a:lnTo>
                    <a:pt x="977" y="986"/>
                  </a:lnTo>
                  <a:lnTo>
                    <a:pt x="980" y="984"/>
                  </a:lnTo>
                  <a:lnTo>
                    <a:pt x="980" y="984"/>
                  </a:lnTo>
                  <a:lnTo>
                    <a:pt x="980" y="984"/>
                  </a:lnTo>
                  <a:lnTo>
                    <a:pt x="980" y="981"/>
                  </a:lnTo>
                  <a:lnTo>
                    <a:pt x="980" y="981"/>
                  </a:lnTo>
                  <a:lnTo>
                    <a:pt x="982" y="981"/>
                  </a:lnTo>
                  <a:lnTo>
                    <a:pt x="982" y="981"/>
                  </a:lnTo>
                  <a:lnTo>
                    <a:pt x="980" y="979"/>
                  </a:lnTo>
                  <a:lnTo>
                    <a:pt x="977" y="977"/>
                  </a:lnTo>
                  <a:lnTo>
                    <a:pt x="977" y="977"/>
                  </a:lnTo>
                  <a:lnTo>
                    <a:pt x="977" y="977"/>
                  </a:lnTo>
                  <a:lnTo>
                    <a:pt x="977" y="974"/>
                  </a:lnTo>
                  <a:lnTo>
                    <a:pt x="977" y="974"/>
                  </a:lnTo>
                  <a:lnTo>
                    <a:pt x="977" y="974"/>
                  </a:lnTo>
                  <a:lnTo>
                    <a:pt x="977" y="974"/>
                  </a:lnTo>
                  <a:lnTo>
                    <a:pt x="977" y="974"/>
                  </a:lnTo>
                  <a:lnTo>
                    <a:pt x="970" y="974"/>
                  </a:lnTo>
                  <a:lnTo>
                    <a:pt x="973" y="972"/>
                  </a:lnTo>
                  <a:lnTo>
                    <a:pt x="973" y="972"/>
                  </a:lnTo>
                  <a:lnTo>
                    <a:pt x="966" y="965"/>
                  </a:lnTo>
                  <a:lnTo>
                    <a:pt x="966" y="962"/>
                  </a:lnTo>
                  <a:lnTo>
                    <a:pt x="968" y="962"/>
                  </a:lnTo>
                  <a:lnTo>
                    <a:pt x="968" y="962"/>
                  </a:lnTo>
                  <a:lnTo>
                    <a:pt x="966" y="960"/>
                  </a:lnTo>
                  <a:lnTo>
                    <a:pt x="966" y="960"/>
                  </a:lnTo>
                  <a:lnTo>
                    <a:pt x="963" y="960"/>
                  </a:lnTo>
                  <a:lnTo>
                    <a:pt x="963" y="960"/>
                  </a:lnTo>
                  <a:lnTo>
                    <a:pt x="963" y="960"/>
                  </a:lnTo>
                  <a:lnTo>
                    <a:pt x="963" y="960"/>
                  </a:lnTo>
                  <a:lnTo>
                    <a:pt x="963" y="958"/>
                  </a:lnTo>
                  <a:lnTo>
                    <a:pt x="963" y="958"/>
                  </a:lnTo>
                  <a:lnTo>
                    <a:pt x="963" y="958"/>
                  </a:lnTo>
                  <a:lnTo>
                    <a:pt x="961" y="958"/>
                  </a:lnTo>
                  <a:lnTo>
                    <a:pt x="961" y="955"/>
                  </a:lnTo>
                  <a:lnTo>
                    <a:pt x="959" y="955"/>
                  </a:lnTo>
                  <a:lnTo>
                    <a:pt x="951" y="953"/>
                  </a:lnTo>
                  <a:lnTo>
                    <a:pt x="944" y="953"/>
                  </a:lnTo>
                  <a:lnTo>
                    <a:pt x="944" y="953"/>
                  </a:lnTo>
                  <a:lnTo>
                    <a:pt x="944" y="953"/>
                  </a:lnTo>
                  <a:lnTo>
                    <a:pt x="944" y="955"/>
                  </a:lnTo>
                  <a:lnTo>
                    <a:pt x="944" y="958"/>
                  </a:lnTo>
                  <a:lnTo>
                    <a:pt x="944" y="958"/>
                  </a:lnTo>
                  <a:lnTo>
                    <a:pt x="947" y="960"/>
                  </a:lnTo>
                  <a:lnTo>
                    <a:pt x="947" y="960"/>
                  </a:lnTo>
                  <a:lnTo>
                    <a:pt x="947" y="962"/>
                  </a:lnTo>
                  <a:lnTo>
                    <a:pt x="947" y="965"/>
                  </a:lnTo>
                  <a:lnTo>
                    <a:pt x="949" y="965"/>
                  </a:lnTo>
                  <a:lnTo>
                    <a:pt x="954" y="967"/>
                  </a:lnTo>
                  <a:lnTo>
                    <a:pt x="954" y="967"/>
                  </a:lnTo>
                  <a:lnTo>
                    <a:pt x="954" y="970"/>
                  </a:lnTo>
                  <a:lnTo>
                    <a:pt x="954" y="970"/>
                  </a:lnTo>
                  <a:lnTo>
                    <a:pt x="954" y="970"/>
                  </a:lnTo>
                  <a:lnTo>
                    <a:pt x="954" y="972"/>
                  </a:lnTo>
                  <a:lnTo>
                    <a:pt x="954" y="972"/>
                  </a:lnTo>
                  <a:lnTo>
                    <a:pt x="954" y="972"/>
                  </a:lnTo>
                  <a:lnTo>
                    <a:pt x="954" y="972"/>
                  </a:lnTo>
                  <a:lnTo>
                    <a:pt x="951" y="972"/>
                  </a:lnTo>
                  <a:lnTo>
                    <a:pt x="954" y="974"/>
                  </a:lnTo>
                  <a:lnTo>
                    <a:pt x="954" y="974"/>
                  </a:lnTo>
                  <a:lnTo>
                    <a:pt x="954" y="972"/>
                  </a:lnTo>
                  <a:lnTo>
                    <a:pt x="956" y="972"/>
                  </a:lnTo>
                  <a:lnTo>
                    <a:pt x="956" y="972"/>
                  </a:lnTo>
                  <a:lnTo>
                    <a:pt x="959" y="972"/>
                  </a:lnTo>
                  <a:lnTo>
                    <a:pt x="959" y="972"/>
                  </a:lnTo>
                  <a:lnTo>
                    <a:pt x="959" y="972"/>
                  </a:lnTo>
                  <a:lnTo>
                    <a:pt x="959" y="974"/>
                  </a:lnTo>
                  <a:lnTo>
                    <a:pt x="961" y="974"/>
                  </a:lnTo>
                  <a:lnTo>
                    <a:pt x="963" y="974"/>
                  </a:lnTo>
                  <a:lnTo>
                    <a:pt x="963" y="977"/>
                  </a:lnTo>
                  <a:lnTo>
                    <a:pt x="963" y="977"/>
                  </a:lnTo>
                  <a:lnTo>
                    <a:pt x="961" y="977"/>
                  </a:lnTo>
                  <a:lnTo>
                    <a:pt x="961" y="977"/>
                  </a:lnTo>
                  <a:lnTo>
                    <a:pt x="961" y="977"/>
                  </a:lnTo>
                  <a:lnTo>
                    <a:pt x="961" y="979"/>
                  </a:lnTo>
                  <a:lnTo>
                    <a:pt x="961" y="979"/>
                  </a:lnTo>
                  <a:lnTo>
                    <a:pt x="961" y="979"/>
                  </a:lnTo>
                  <a:lnTo>
                    <a:pt x="961" y="979"/>
                  </a:lnTo>
                  <a:lnTo>
                    <a:pt x="961" y="979"/>
                  </a:lnTo>
                  <a:lnTo>
                    <a:pt x="959" y="977"/>
                  </a:lnTo>
                  <a:lnTo>
                    <a:pt x="956" y="974"/>
                  </a:lnTo>
                  <a:lnTo>
                    <a:pt x="956" y="974"/>
                  </a:lnTo>
                  <a:lnTo>
                    <a:pt x="954" y="974"/>
                  </a:lnTo>
                  <a:lnTo>
                    <a:pt x="954" y="974"/>
                  </a:lnTo>
                  <a:lnTo>
                    <a:pt x="954" y="977"/>
                  </a:lnTo>
                  <a:lnTo>
                    <a:pt x="954" y="977"/>
                  </a:lnTo>
                  <a:lnTo>
                    <a:pt x="954" y="977"/>
                  </a:lnTo>
                  <a:lnTo>
                    <a:pt x="951" y="979"/>
                  </a:lnTo>
                  <a:lnTo>
                    <a:pt x="951" y="979"/>
                  </a:lnTo>
                  <a:lnTo>
                    <a:pt x="954" y="979"/>
                  </a:lnTo>
                  <a:lnTo>
                    <a:pt x="954" y="979"/>
                  </a:lnTo>
                  <a:lnTo>
                    <a:pt x="954" y="979"/>
                  </a:lnTo>
                  <a:lnTo>
                    <a:pt x="956" y="979"/>
                  </a:lnTo>
                  <a:lnTo>
                    <a:pt x="956" y="979"/>
                  </a:lnTo>
                  <a:lnTo>
                    <a:pt x="959" y="981"/>
                  </a:lnTo>
                  <a:lnTo>
                    <a:pt x="959" y="984"/>
                  </a:lnTo>
                  <a:lnTo>
                    <a:pt x="959" y="984"/>
                  </a:lnTo>
                  <a:lnTo>
                    <a:pt x="959" y="986"/>
                  </a:lnTo>
                  <a:lnTo>
                    <a:pt x="959" y="986"/>
                  </a:lnTo>
                  <a:lnTo>
                    <a:pt x="961" y="988"/>
                  </a:lnTo>
                  <a:lnTo>
                    <a:pt x="961" y="988"/>
                  </a:lnTo>
                  <a:lnTo>
                    <a:pt x="961" y="988"/>
                  </a:lnTo>
                  <a:lnTo>
                    <a:pt x="961" y="988"/>
                  </a:lnTo>
                  <a:lnTo>
                    <a:pt x="961" y="991"/>
                  </a:lnTo>
                  <a:lnTo>
                    <a:pt x="961" y="991"/>
                  </a:lnTo>
                  <a:lnTo>
                    <a:pt x="961" y="993"/>
                  </a:lnTo>
                  <a:lnTo>
                    <a:pt x="961" y="993"/>
                  </a:lnTo>
                  <a:lnTo>
                    <a:pt x="959" y="993"/>
                  </a:lnTo>
                  <a:lnTo>
                    <a:pt x="956" y="991"/>
                  </a:lnTo>
                  <a:lnTo>
                    <a:pt x="956" y="988"/>
                  </a:lnTo>
                  <a:lnTo>
                    <a:pt x="956" y="986"/>
                  </a:lnTo>
                  <a:lnTo>
                    <a:pt x="954" y="986"/>
                  </a:lnTo>
                  <a:lnTo>
                    <a:pt x="951" y="986"/>
                  </a:lnTo>
                  <a:lnTo>
                    <a:pt x="951" y="986"/>
                  </a:lnTo>
                  <a:lnTo>
                    <a:pt x="956" y="991"/>
                  </a:lnTo>
                  <a:lnTo>
                    <a:pt x="956" y="991"/>
                  </a:lnTo>
                  <a:lnTo>
                    <a:pt x="956" y="993"/>
                  </a:lnTo>
                  <a:lnTo>
                    <a:pt x="961" y="996"/>
                  </a:lnTo>
                  <a:lnTo>
                    <a:pt x="961" y="996"/>
                  </a:lnTo>
                  <a:lnTo>
                    <a:pt x="961" y="998"/>
                  </a:lnTo>
                  <a:lnTo>
                    <a:pt x="961" y="996"/>
                  </a:lnTo>
                  <a:lnTo>
                    <a:pt x="959" y="996"/>
                  </a:lnTo>
                  <a:lnTo>
                    <a:pt x="956" y="993"/>
                  </a:lnTo>
                  <a:lnTo>
                    <a:pt x="956" y="996"/>
                  </a:lnTo>
                  <a:lnTo>
                    <a:pt x="956" y="996"/>
                  </a:lnTo>
                  <a:lnTo>
                    <a:pt x="956" y="996"/>
                  </a:lnTo>
                  <a:lnTo>
                    <a:pt x="956" y="996"/>
                  </a:lnTo>
                  <a:lnTo>
                    <a:pt x="954" y="996"/>
                  </a:lnTo>
                  <a:lnTo>
                    <a:pt x="954" y="993"/>
                  </a:lnTo>
                  <a:lnTo>
                    <a:pt x="954" y="993"/>
                  </a:lnTo>
                  <a:lnTo>
                    <a:pt x="954" y="993"/>
                  </a:lnTo>
                  <a:lnTo>
                    <a:pt x="951" y="988"/>
                  </a:lnTo>
                  <a:lnTo>
                    <a:pt x="951" y="988"/>
                  </a:lnTo>
                  <a:lnTo>
                    <a:pt x="949" y="986"/>
                  </a:lnTo>
                  <a:lnTo>
                    <a:pt x="949" y="986"/>
                  </a:lnTo>
                  <a:lnTo>
                    <a:pt x="949" y="986"/>
                  </a:lnTo>
                  <a:lnTo>
                    <a:pt x="949" y="986"/>
                  </a:lnTo>
                  <a:lnTo>
                    <a:pt x="949" y="986"/>
                  </a:lnTo>
                  <a:lnTo>
                    <a:pt x="947" y="988"/>
                  </a:lnTo>
                  <a:lnTo>
                    <a:pt x="947" y="988"/>
                  </a:lnTo>
                  <a:lnTo>
                    <a:pt x="947" y="988"/>
                  </a:lnTo>
                  <a:lnTo>
                    <a:pt x="947" y="988"/>
                  </a:lnTo>
                  <a:lnTo>
                    <a:pt x="947" y="988"/>
                  </a:lnTo>
                  <a:lnTo>
                    <a:pt x="947" y="988"/>
                  </a:lnTo>
                  <a:lnTo>
                    <a:pt x="944" y="991"/>
                  </a:lnTo>
                  <a:lnTo>
                    <a:pt x="947" y="991"/>
                  </a:lnTo>
                  <a:lnTo>
                    <a:pt x="949" y="996"/>
                  </a:lnTo>
                  <a:lnTo>
                    <a:pt x="949" y="996"/>
                  </a:lnTo>
                  <a:lnTo>
                    <a:pt x="949" y="996"/>
                  </a:lnTo>
                  <a:lnTo>
                    <a:pt x="947" y="996"/>
                  </a:lnTo>
                  <a:lnTo>
                    <a:pt x="947" y="993"/>
                  </a:lnTo>
                  <a:lnTo>
                    <a:pt x="947" y="993"/>
                  </a:lnTo>
                  <a:lnTo>
                    <a:pt x="944" y="993"/>
                  </a:lnTo>
                  <a:lnTo>
                    <a:pt x="944" y="993"/>
                  </a:lnTo>
                  <a:lnTo>
                    <a:pt x="944" y="993"/>
                  </a:lnTo>
                  <a:lnTo>
                    <a:pt x="944" y="991"/>
                  </a:lnTo>
                  <a:lnTo>
                    <a:pt x="944" y="991"/>
                  </a:lnTo>
                  <a:lnTo>
                    <a:pt x="944" y="991"/>
                  </a:lnTo>
                  <a:lnTo>
                    <a:pt x="944" y="988"/>
                  </a:lnTo>
                  <a:lnTo>
                    <a:pt x="947" y="988"/>
                  </a:lnTo>
                  <a:lnTo>
                    <a:pt x="947" y="986"/>
                  </a:lnTo>
                  <a:lnTo>
                    <a:pt x="947" y="986"/>
                  </a:lnTo>
                  <a:lnTo>
                    <a:pt x="947" y="986"/>
                  </a:lnTo>
                  <a:lnTo>
                    <a:pt x="944" y="986"/>
                  </a:lnTo>
                  <a:lnTo>
                    <a:pt x="944" y="986"/>
                  </a:lnTo>
                  <a:lnTo>
                    <a:pt x="944" y="986"/>
                  </a:lnTo>
                  <a:lnTo>
                    <a:pt x="942" y="984"/>
                  </a:lnTo>
                  <a:lnTo>
                    <a:pt x="942" y="984"/>
                  </a:lnTo>
                  <a:lnTo>
                    <a:pt x="942" y="984"/>
                  </a:lnTo>
                  <a:lnTo>
                    <a:pt x="940" y="988"/>
                  </a:lnTo>
                  <a:lnTo>
                    <a:pt x="940" y="988"/>
                  </a:lnTo>
                  <a:lnTo>
                    <a:pt x="940" y="991"/>
                  </a:lnTo>
                  <a:lnTo>
                    <a:pt x="940" y="991"/>
                  </a:lnTo>
                  <a:lnTo>
                    <a:pt x="935" y="991"/>
                  </a:lnTo>
                  <a:lnTo>
                    <a:pt x="935" y="991"/>
                  </a:lnTo>
                  <a:lnTo>
                    <a:pt x="935" y="991"/>
                  </a:lnTo>
                  <a:lnTo>
                    <a:pt x="935" y="991"/>
                  </a:lnTo>
                  <a:lnTo>
                    <a:pt x="935" y="993"/>
                  </a:lnTo>
                  <a:lnTo>
                    <a:pt x="935" y="993"/>
                  </a:lnTo>
                  <a:lnTo>
                    <a:pt x="932" y="996"/>
                  </a:lnTo>
                  <a:lnTo>
                    <a:pt x="932" y="996"/>
                  </a:lnTo>
                  <a:lnTo>
                    <a:pt x="932" y="998"/>
                  </a:lnTo>
                  <a:lnTo>
                    <a:pt x="932" y="1000"/>
                  </a:lnTo>
                  <a:lnTo>
                    <a:pt x="932" y="1000"/>
                  </a:lnTo>
                  <a:lnTo>
                    <a:pt x="932" y="1003"/>
                  </a:lnTo>
                  <a:lnTo>
                    <a:pt x="932" y="1005"/>
                  </a:lnTo>
                  <a:lnTo>
                    <a:pt x="932" y="1005"/>
                  </a:lnTo>
                  <a:lnTo>
                    <a:pt x="932" y="1003"/>
                  </a:lnTo>
                  <a:lnTo>
                    <a:pt x="932" y="1003"/>
                  </a:lnTo>
                  <a:lnTo>
                    <a:pt x="930" y="1000"/>
                  </a:lnTo>
                  <a:lnTo>
                    <a:pt x="930" y="1000"/>
                  </a:lnTo>
                  <a:lnTo>
                    <a:pt x="930" y="1000"/>
                  </a:lnTo>
                  <a:lnTo>
                    <a:pt x="930" y="1000"/>
                  </a:lnTo>
                  <a:lnTo>
                    <a:pt x="928" y="998"/>
                  </a:lnTo>
                  <a:lnTo>
                    <a:pt x="928" y="998"/>
                  </a:lnTo>
                  <a:lnTo>
                    <a:pt x="928" y="998"/>
                  </a:lnTo>
                  <a:lnTo>
                    <a:pt x="928" y="998"/>
                  </a:lnTo>
                  <a:lnTo>
                    <a:pt x="928" y="998"/>
                  </a:lnTo>
                  <a:lnTo>
                    <a:pt x="928" y="998"/>
                  </a:lnTo>
                  <a:lnTo>
                    <a:pt x="925" y="1000"/>
                  </a:lnTo>
                  <a:lnTo>
                    <a:pt x="925" y="1000"/>
                  </a:lnTo>
                  <a:lnTo>
                    <a:pt x="925" y="998"/>
                  </a:lnTo>
                  <a:lnTo>
                    <a:pt x="925" y="998"/>
                  </a:lnTo>
                  <a:lnTo>
                    <a:pt x="928" y="996"/>
                  </a:lnTo>
                  <a:lnTo>
                    <a:pt x="928" y="996"/>
                  </a:lnTo>
                  <a:lnTo>
                    <a:pt x="925" y="996"/>
                  </a:lnTo>
                  <a:lnTo>
                    <a:pt x="925" y="996"/>
                  </a:lnTo>
                  <a:lnTo>
                    <a:pt x="925" y="993"/>
                  </a:lnTo>
                  <a:lnTo>
                    <a:pt x="930" y="993"/>
                  </a:lnTo>
                  <a:lnTo>
                    <a:pt x="930" y="993"/>
                  </a:lnTo>
                  <a:lnTo>
                    <a:pt x="930" y="993"/>
                  </a:lnTo>
                  <a:lnTo>
                    <a:pt x="930" y="991"/>
                  </a:lnTo>
                  <a:lnTo>
                    <a:pt x="930" y="991"/>
                  </a:lnTo>
                  <a:lnTo>
                    <a:pt x="928" y="991"/>
                  </a:lnTo>
                  <a:lnTo>
                    <a:pt x="928" y="991"/>
                  </a:lnTo>
                  <a:lnTo>
                    <a:pt x="925" y="993"/>
                  </a:lnTo>
                  <a:lnTo>
                    <a:pt x="925" y="993"/>
                  </a:lnTo>
                  <a:lnTo>
                    <a:pt x="925" y="996"/>
                  </a:lnTo>
                  <a:lnTo>
                    <a:pt x="923" y="996"/>
                  </a:lnTo>
                  <a:lnTo>
                    <a:pt x="923" y="996"/>
                  </a:lnTo>
                  <a:lnTo>
                    <a:pt x="921" y="996"/>
                  </a:lnTo>
                  <a:lnTo>
                    <a:pt x="921" y="996"/>
                  </a:lnTo>
                  <a:lnTo>
                    <a:pt x="921" y="998"/>
                  </a:lnTo>
                  <a:lnTo>
                    <a:pt x="921" y="998"/>
                  </a:lnTo>
                  <a:lnTo>
                    <a:pt x="921" y="998"/>
                  </a:lnTo>
                  <a:lnTo>
                    <a:pt x="921" y="998"/>
                  </a:lnTo>
                  <a:lnTo>
                    <a:pt x="921" y="1000"/>
                  </a:lnTo>
                  <a:lnTo>
                    <a:pt x="921" y="1000"/>
                  </a:lnTo>
                  <a:lnTo>
                    <a:pt x="923" y="1000"/>
                  </a:lnTo>
                  <a:lnTo>
                    <a:pt x="923" y="998"/>
                  </a:lnTo>
                  <a:lnTo>
                    <a:pt x="923" y="998"/>
                  </a:lnTo>
                  <a:lnTo>
                    <a:pt x="925" y="1000"/>
                  </a:lnTo>
                  <a:lnTo>
                    <a:pt x="923" y="1000"/>
                  </a:lnTo>
                  <a:lnTo>
                    <a:pt x="921" y="1003"/>
                  </a:lnTo>
                  <a:lnTo>
                    <a:pt x="921" y="1003"/>
                  </a:lnTo>
                  <a:lnTo>
                    <a:pt x="921" y="1003"/>
                  </a:lnTo>
                  <a:lnTo>
                    <a:pt x="918" y="1003"/>
                  </a:lnTo>
                  <a:lnTo>
                    <a:pt x="918" y="1003"/>
                  </a:lnTo>
                  <a:lnTo>
                    <a:pt x="918" y="1003"/>
                  </a:lnTo>
                  <a:lnTo>
                    <a:pt x="918" y="1005"/>
                  </a:lnTo>
                  <a:lnTo>
                    <a:pt x="918" y="1005"/>
                  </a:lnTo>
                  <a:lnTo>
                    <a:pt x="918" y="1005"/>
                  </a:lnTo>
                  <a:lnTo>
                    <a:pt x="916" y="1007"/>
                  </a:lnTo>
                  <a:lnTo>
                    <a:pt x="916" y="1007"/>
                  </a:lnTo>
                  <a:lnTo>
                    <a:pt x="916" y="1007"/>
                  </a:lnTo>
                  <a:lnTo>
                    <a:pt x="916" y="1010"/>
                  </a:lnTo>
                  <a:lnTo>
                    <a:pt x="916" y="1010"/>
                  </a:lnTo>
                  <a:lnTo>
                    <a:pt x="916" y="1007"/>
                  </a:lnTo>
                  <a:lnTo>
                    <a:pt x="916" y="1007"/>
                  </a:lnTo>
                  <a:lnTo>
                    <a:pt x="916" y="1005"/>
                  </a:lnTo>
                  <a:lnTo>
                    <a:pt x="916" y="1005"/>
                  </a:lnTo>
                  <a:lnTo>
                    <a:pt x="916" y="1003"/>
                  </a:lnTo>
                  <a:lnTo>
                    <a:pt x="918" y="1003"/>
                  </a:lnTo>
                  <a:lnTo>
                    <a:pt x="918" y="1000"/>
                  </a:lnTo>
                  <a:lnTo>
                    <a:pt x="918" y="1000"/>
                  </a:lnTo>
                  <a:lnTo>
                    <a:pt x="918" y="998"/>
                  </a:lnTo>
                  <a:lnTo>
                    <a:pt x="918" y="998"/>
                  </a:lnTo>
                  <a:lnTo>
                    <a:pt x="916" y="1000"/>
                  </a:lnTo>
                  <a:lnTo>
                    <a:pt x="916" y="1000"/>
                  </a:lnTo>
                  <a:lnTo>
                    <a:pt x="916" y="1000"/>
                  </a:lnTo>
                  <a:lnTo>
                    <a:pt x="916" y="1000"/>
                  </a:lnTo>
                  <a:lnTo>
                    <a:pt x="914" y="998"/>
                  </a:lnTo>
                  <a:lnTo>
                    <a:pt x="914" y="998"/>
                  </a:lnTo>
                  <a:lnTo>
                    <a:pt x="914" y="998"/>
                  </a:lnTo>
                  <a:lnTo>
                    <a:pt x="914" y="998"/>
                  </a:lnTo>
                  <a:lnTo>
                    <a:pt x="916" y="996"/>
                  </a:lnTo>
                  <a:lnTo>
                    <a:pt x="921" y="993"/>
                  </a:lnTo>
                  <a:lnTo>
                    <a:pt x="925" y="988"/>
                  </a:lnTo>
                  <a:lnTo>
                    <a:pt x="925" y="988"/>
                  </a:lnTo>
                  <a:lnTo>
                    <a:pt x="925" y="988"/>
                  </a:lnTo>
                  <a:lnTo>
                    <a:pt x="925" y="988"/>
                  </a:lnTo>
                  <a:lnTo>
                    <a:pt x="923" y="988"/>
                  </a:lnTo>
                  <a:lnTo>
                    <a:pt x="923" y="988"/>
                  </a:lnTo>
                  <a:lnTo>
                    <a:pt x="928" y="984"/>
                  </a:lnTo>
                  <a:lnTo>
                    <a:pt x="930" y="984"/>
                  </a:lnTo>
                  <a:lnTo>
                    <a:pt x="930" y="981"/>
                  </a:lnTo>
                  <a:lnTo>
                    <a:pt x="930" y="981"/>
                  </a:lnTo>
                  <a:lnTo>
                    <a:pt x="930" y="979"/>
                  </a:lnTo>
                  <a:lnTo>
                    <a:pt x="930" y="977"/>
                  </a:lnTo>
                  <a:lnTo>
                    <a:pt x="932" y="977"/>
                  </a:lnTo>
                  <a:lnTo>
                    <a:pt x="932" y="974"/>
                  </a:lnTo>
                  <a:lnTo>
                    <a:pt x="930" y="974"/>
                  </a:lnTo>
                  <a:lnTo>
                    <a:pt x="930" y="974"/>
                  </a:lnTo>
                  <a:lnTo>
                    <a:pt x="932" y="974"/>
                  </a:lnTo>
                  <a:lnTo>
                    <a:pt x="932" y="972"/>
                  </a:lnTo>
                  <a:lnTo>
                    <a:pt x="930" y="972"/>
                  </a:lnTo>
                  <a:lnTo>
                    <a:pt x="928" y="970"/>
                  </a:lnTo>
                  <a:lnTo>
                    <a:pt x="928" y="970"/>
                  </a:lnTo>
                  <a:lnTo>
                    <a:pt x="925" y="970"/>
                  </a:lnTo>
                  <a:lnTo>
                    <a:pt x="925" y="970"/>
                  </a:lnTo>
                  <a:lnTo>
                    <a:pt x="925" y="970"/>
                  </a:lnTo>
                  <a:lnTo>
                    <a:pt x="925" y="970"/>
                  </a:lnTo>
                  <a:lnTo>
                    <a:pt x="925" y="967"/>
                  </a:lnTo>
                  <a:lnTo>
                    <a:pt x="925" y="967"/>
                  </a:lnTo>
                  <a:lnTo>
                    <a:pt x="925" y="967"/>
                  </a:lnTo>
                  <a:lnTo>
                    <a:pt x="925" y="965"/>
                  </a:lnTo>
                  <a:lnTo>
                    <a:pt x="923" y="965"/>
                  </a:lnTo>
                  <a:lnTo>
                    <a:pt x="921" y="962"/>
                  </a:lnTo>
                  <a:lnTo>
                    <a:pt x="918" y="960"/>
                  </a:lnTo>
                  <a:lnTo>
                    <a:pt x="918" y="960"/>
                  </a:lnTo>
                  <a:lnTo>
                    <a:pt x="916" y="958"/>
                  </a:lnTo>
                  <a:lnTo>
                    <a:pt x="914" y="958"/>
                  </a:lnTo>
                  <a:lnTo>
                    <a:pt x="909" y="958"/>
                  </a:lnTo>
                  <a:lnTo>
                    <a:pt x="909" y="955"/>
                  </a:lnTo>
                  <a:lnTo>
                    <a:pt x="904" y="951"/>
                  </a:lnTo>
                  <a:lnTo>
                    <a:pt x="899" y="948"/>
                  </a:lnTo>
                  <a:lnTo>
                    <a:pt x="899" y="948"/>
                  </a:lnTo>
                  <a:lnTo>
                    <a:pt x="899" y="948"/>
                  </a:lnTo>
                  <a:lnTo>
                    <a:pt x="897" y="948"/>
                  </a:lnTo>
                  <a:lnTo>
                    <a:pt x="897" y="948"/>
                  </a:lnTo>
                  <a:lnTo>
                    <a:pt x="895" y="946"/>
                  </a:lnTo>
                  <a:lnTo>
                    <a:pt x="890" y="948"/>
                  </a:lnTo>
                  <a:lnTo>
                    <a:pt x="885" y="953"/>
                  </a:lnTo>
                  <a:lnTo>
                    <a:pt x="883" y="958"/>
                  </a:lnTo>
                  <a:lnTo>
                    <a:pt x="880" y="960"/>
                  </a:lnTo>
                  <a:lnTo>
                    <a:pt x="880" y="962"/>
                  </a:lnTo>
                  <a:lnTo>
                    <a:pt x="880" y="965"/>
                  </a:lnTo>
                  <a:lnTo>
                    <a:pt x="880" y="965"/>
                  </a:lnTo>
                  <a:lnTo>
                    <a:pt x="883" y="965"/>
                  </a:lnTo>
                  <a:lnTo>
                    <a:pt x="883" y="967"/>
                  </a:lnTo>
                  <a:lnTo>
                    <a:pt x="883" y="967"/>
                  </a:lnTo>
                  <a:lnTo>
                    <a:pt x="883" y="967"/>
                  </a:lnTo>
                  <a:lnTo>
                    <a:pt x="883" y="967"/>
                  </a:lnTo>
                  <a:lnTo>
                    <a:pt x="883" y="970"/>
                  </a:lnTo>
                  <a:lnTo>
                    <a:pt x="880" y="972"/>
                  </a:lnTo>
                  <a:lnTo>
                    <a:pt x="878" y="972"/>
                  </a:lnTo>
                  <a:lnTo>
                    <a:pt x="878" y="972"/>
                  </a:lnTo>
                  <a:lnTo>
                    <a:pt x="878" y="972"/>
                  </a:lnTo>
                  <a:lnTo>
                    <a:pt x="878" y="972"/>
                  </a:lnTo>
                  <a:lnTo>
                    <a:pt x="878" y="974"/>
                  </a:lnTo>
                  <a:lnTo>
                    <a:pt x="878" y="974"/>
                  </a:lnTo>
                  <a:lnTo>
                    <a:pt x="878" y="974"/>
                  </a:lnTo>
                  <a:lnTo>
                    <a:pt x="876" y="974"/>
                  </a:lnTo>
                  <a:lnTo>
                    <a:pt x="876" y="974"/>
                  </a:lnTo>
                  <a:lnTo>
                    <a:pt x="876" y="974"/>
                  </a:lnTo>
                  <a:lnTo>
                    <a:pt x="878" y="972"/>
                  </a:lnTo>
                  <a:lnTo>
                    <a:pt x="880" y="970"/>
                  </a:lnTo>
                  <a:lnTo>
                    <a:pt x="880" y="967"/>
                  </a:lnTo>
                  <a:lnTo>
                    <a:pt x="880" y="970"/>
                  </a:lnTo>
                  <a:lnTo>
                    <a:pt x="873" y="972"/>
                  </a:lnTo>
                  <a:lnTo>
                    <a:pt x="873" y="972"/>
                  </a:lnTo>
                  <a:lnTo>
                    <a:pt x="873" y="972"/>
                  </a:lnTo>
                  <a:lnTo>
                    <a:pt x="873" y="970"/>
                  </a:lnTo>
                  <a:lnTo>
                    <a:pt x="866" y="972"/>
                  </a:lnTo>
                  <a:lnTo>
                    <a:pt x="864" y="974"/>
                  </a:lnTo>
                  <a:lnTo>
                    <a:pt x="864" y="974"/>
                  </a:lnTo>
                  <a:lnTo>
                    <a:pt x="861" y="974"/>
                  </a:lnTo>
                  <a:lnTo>
                    <a:pt x="861" y="977"/>
                  </a:lnTo>
                  <a:lnTo>
                    <a:pt x="861" y="977"/>
                  </a:lnTo>
                  <a:lnTo>
                    <a:pt x="859" y="977"/>
                  </a:lnTo>
                  <a:lnTo>
                    <a:pt x="859" y="974"/>
                  </a:lnTo>
                  <a:lnTo>
                    <a:pt x="857" y="974"/>
                  </a:lnTo>
                  <a:lnTo>
                    <a:pt x="857" y="974"/>
                  </a:lnTo>
                  <a:lnTo>
                    <a:pt x="857" y="974"/>
                  </a:lnTo>
                  <a:lnTo>
                    <a:pt x="857" y="972"/>
                  </a:lnTo>
                  <a:lnTo>
                    <a:pt x="857" y="972"/>
                  </a:lnTo>
                  <a:lnTo>
                    <a:pt x="857" y="972"/>
                  </a:lnTo>
                  <a:lnTo>
                    <a:pt x="857" y="972"/>
                  </a:lnTo>
                  <a:lnTo>
                    <a:pt x="859" y="972"/>
                  </a:lnTo>
                  <a:lnTo>
                    <a:pt x="859" y="972"/>
                  </a:lnTo>
                  <a:lnTo>
                    <a:pt x="861" y="970"/>
                  </a:lnTo>
                  <a:lnTo>
                    <a:pt x="861" y="970"/>
                  </a:lnTo>
                  <a:lnTo>
                    <a:pt x="864" y="967"/>
                  </a:lnTo>
                  <a:lnTo>
                    <a:pt x="864" y="967"/>
                  </a:lnTo>
                  <a:lnTo>
                    <a:pt x="864" y="967"/>
                  </a:lnTo>
                  <a:lnTo>
                    <a:pt x="864" y="967"/>
                  </a:lnTo>
                  <a:lnTo>
                    <a:pt x="864" y="967"/>
                  </a:lnTo>
                  <a:lnTo>
                    <a:pt x="864" y="967"/>
                  </a:lnTo>
                  <a:lnTo>
                    <a:pt x="864" y="967"/>
                  </a:lnTo>
                  <a:lnTo>
                    <a:pt x="864" y="965"/>
                  </a:lnTo>
                  <a:lnTo>
                    <a:pt x="864" y="965"/>
                  </a:lnTo>
                  <a:lnTo>
                    <a:pt x="864" y="962"/>
                  </a:lnTo>
                  <a:lnTo>
                    <a:pt x="864" y="962"/>
                  </a:lnTo>
                  <a:lnTo>
                    <a:pt x="864" y="962"/>
                  </a:lnTo>
                  <a:lnTo>
                    <a:pt x="866" y="960"/>
                  </a:lnTo>
                  <a:lnTo>
                    <a:pt x="866" y="960"/>
                  </a:lnTo>
                  <a:lnTo>
                    <a:pt x="871" y="960"/>
                  </a:lnTo>
                  <a:lnTo>
                    <a:pt x="871" y="960"/>
                  </a:lnTo>
                  <a:lnTo>
                    <a:pt x="873" y="958"/>
                  </a:lnTo>
                  <a:lnTo>
                    <a:pt x="871" y="958"/>
                  </a:lnTo>
                  <a:lnTo>
                    <a:pt x="871" y="955"/>
                  </a:lnTo>
                  <a:lnTo>
                    <a:pt x="871" y="955"/>
                  </a:lnTo>
                  <a:lnTo>
                    <a:pt x="871" y="953"/>
                  </a:lnTo>
                  <a:lnTo>
                    <a:pt x="871" y="953"/>
                  </a:lnTo>
                  <a:lnTo>
                    <a:pt x="871" y="953"/>
                  </a:lnTo>
                  <a:lnTo>
                    <a:pt x="871" y="951"/>
                  </a:lnTo>
                  <a:lnTo>
                    <a:pt x="871" y="951"/>
                  </a:lnTo>
                  <a:lnTo>
                    <a:pt x="871" y="951"/>
                  </a:lnTo>
                  <a:lnTo>
                    <a:pt x="871" y="951"/>
                  </a:lnTo>
                  <a:lnTo>
                    <a:pt x="871" y="948"/>
                  </a:lnTo>
                  <a:lnTo>
                    <a:pt x="871" y="948"/>
                  </a:lnTo>
                  <a:lnTo>
                    <a:pt x="871" y="946"/>
                  </a:lnTo>
                  <a:lnTo>
                    <a:pt x="871" y="946"/>
                  </a:lnTo>
                  <a:lnTo>
                    <a:pt x="873" y="946"/>
                  </a:lnTo>
                  <a:lnTo>
                    <a:pt x="873" y="946"/>
                  </a:lnTo>
                  <a:lnTo>
                    <a:pt x="873" y="946"/>
                  </a:lnTo>
                  <a:lnTo>
                    <a:pt x="873" y="943"/>
                  </a:lnTo>
                  <a:lnTo>
                    <a:pt x="873" y="943"/>
                  </a:lnTo>
                  <a:lnTo>
                    <a:pt x="873" y="943"/>
                  </a:lnTo>
                  <a:lnTo>
                    <a:pt x="873" y="941"/>
                  </a:lnTo>
                  <a:lnTo>
                    <a:pt x="873" y="941"/>
                  </a:lnTo>
                  <a:lnTo>
                    <a:pt x="873" y="941"/>
                  </a:lnTo>
                  <a:lnTo>
                    <a:pt x="873" y="941"/>
                  </a:lnTo>
                  <a:lnTo>
                    <a:pt x="873" y="939"/>
                  </a:lnTo>
                  <a:lnTo>
                    <a:pt x="876" y="936"/>
                  </a:lnTo>
                  <a:lnTo>
                    <a:pt x="876" y="934"/>
                  </a:lnTo>
                  <a:lnTo>
                    <a:pt x="876" y="934"/>
                  </a:lnTo>
                  <a:lnTo>
                    <a:pt x="876" y="932"/>
                  </a:lnTo>
                  <a:lnTo>
                    <a:pt x="876" y="929"/>
                  </a:lnTo>
                  <a:lnTo>
                    <a:pt x="871" y="922"/>
                  </a:lnTo>
                  <a:lnTo>
                    <a:pt x="871" y="920"/>
                  </a:lnTo>
                  <a:lnTo>
                    <a:pt x="869" y="917"/>
                  </a:lnTo>
                  <a:lnTo>
                    <a:pt x="864" y="915"/>
                  </a:lnTo>
                  <a:lnTo>
                    <a:pt x="861" y="915"/>
                  </a:lnTo>
                  <a:lnTo>
                    <a:pt x="861" y="915"/>
                  </a:lnTo>
                  <a:lnTo>
                    <a:pt x="857" y="917"/>
                  </a:lnTo>
                  <a:lnTo>
                    <a:pt x="852" y="920"/>
                  </a:lnTo>
                  <a:lnTo>
                    <a:pt x="850" y="922"/>
                  </a:lnTo>
                  <a:lnTo>
                    <a:pt x="850" y="922"/>
                  </a:lnTo>
                  <a:lnTo>
                    <a:pt x="847" y="922"/>
                  </a:lnTo>
                  <a:lnTo>
                    <a:pt x="847" y="922"/>
                  </a:lnTo>
                  <a:lnTo>
                    <a:pt x="847" y="922"/>
                  </a:lnTo>
                  <a:lnTo>
                    <a:pt x="847" y="922"/>
                  </a:lnTo>
                  <a:lnTo>
                    <a:pt x="845" y="922"/>
                  </a:lnTo>
                  <a:lnTo>
                    <a:pt x="845" y="925"/>
                  </a:lnTo>
                  <a:lnTo>
                    <a:pt x="843" y="925"/>
                  </a:lnTo>
                  <a:lnTo>
                    <a:pt x="838" y="927"/>
                  </a:lnTo>
                  <a:lnTo>
                    <a:pt x="831" y="929"/>
                  </a:lnTo>
                  <a:lnTo>
                    <a:pt x="826" y="929"/>
                  </a:lnTo>
                  <a:lnTo>
                    <a:pt x="824" y="932"/>
                  </a:lnTo>
                  <a:lnTo>
                    <a:pt x="821" y="932"/>
                  </a:lnTo>
                  <a:lnTo>
                    <a:pt x="821" y="932"/>
                  </a:lnTo>
                  <a:lnTo>
                    <a:pt x="819" y="934"/>
                  </a:lnTo>
                  <a:lnTo>
                    <a:pt x="819" y="932"/>
                  </a:lnTo>
                  <a:lnTo>
                    <a:pt x="817" y="934"/>
                  </a:lnTo>
                  <a:lnTo>
                    <a:pt x="809" y="939"/>
                  </a:lnTo>
                  <a:lnTo>
                    <a:pt x="805" y="939"/>
                  </a:lnTo>
                  <a:lnTo>
                    <a:pt x="802" y="941"/>
                  </a:lnTo>
                  <a:lnTo>
                    <a:pt x="800" y="941"/>
                  </a:lnTo>
                  <a:lnTo>
                    <a:pt x="798" y="941"/>
                  </a:lnTo>
                  <a:lnTo>
                    <a:pt x="798" y="943"/>
                  </a:lnTo>
                  <a:lnTo>
                    <a:pt x="795" y="946"/>
                  </a:lnTo>
                  <a:lnTo>
                    <a:pt x="795" y="946"/>
                  </a:lnTo>
                  <a:lnTo>
                    <a:pt x="793" y="948"/>
                  </a:lnTo>
                  <a:lnTo>
                    <a:pt x="788" y="953"/>
                  </a:lnTo>
                  <a:lnTo>
                    <a:pt x="786" y="955"/>
                  </a:lnTo>
                  <a:lnTo>
                    <a:pt x="783" y="955"/>
                  </a:lnTo>
                  <a:lnTo>
                    <a:pt x="781" y="955"/>
                  </a:lnTo>
                  <a:lnTo>
                    <a:pt x="779" y="958"/>
                  </a:lnTo>
                  <a:lnTo>
                    <a:pt x="779" y="958"/>
                  </a:lnTo>
                  <a:lnTo>
                    <a:pt x="779" y="958"/>
                  </a:lnTo>
                  <a:lnTo>
                    <a:pt x="779" y="960"/>
                  </a:lnTo>
                  <a:lnTo>
                    <a:pt x="776" y="960"/>
                  </a:lnTo>
                  <a:lnTo>
                    <a:pt x="776" y="960"/>
                  </a:lnTo>
                  <a:lnTo>
                    <a:pt x="776" y="960"/>
                  </a:lnTo>
                  <a:lnTo>
                    <a:pt x="776" y="962"/>
                  </a:lnTo>
                  <a:lnTo>
                    <a:pt x="769" y="967"/>
                  </a:lnTo>
                  <a:lnTo>
                    <a:pt x="769" y="970"/>
                  </a:lnTo>
                  <a:lnTo>
                    <a:pt x="767" y="972"/>
                  </a:lnTo>
                  <a:lnTo>
                    <a:pt x="767" y="974"/>
                  </a:lnTo>
                  <a:lnTo>
                    <a:pt x="767" y="974"/>
                  </a:lnTo>
                  <a:lnTo>
                    <a:pt x="767" y="977"/>
                  </a:lnTo>
                  <a:lnTo>
                    <a:pt x="767" y="977"/>
                  </a:lnTo>
                  <a:lnTo>
                    <a:pt x="769" y="977"/>
                  </a:lnTo>
                  <a:lnTo>
                    <a:pt x="769" y="979"/>
                  </a:lnTo>
                  <a:lnTo>
                    <a:pt x="774" y="979"/>
                  </a:lnTo>
                  <a:lnTo>
                    <a:pt x="774" y="979"/>
                  </a:lnTo>
                  <a:lnTo>
                    <a:pt x="776" y="981"/>
                  </a:lnTo>
                  <a:lnTo>
                    <a:pt x="776" y="986"/>
                  </a:lnTo>
                  <a:lnTo>
                    <a:pt x="774" y="988"/>
                  </a:lnTo>
                  <a:lnTo>
                    <a:pt x="767" y="991"/>
                  </a:lnTo>
                  <a:lnTo>
                    <a:pt x="764" y="991"/>
                  </a:lnTo>
                  <a:lnTo>
                    <a:pt x="762" y="993"/>
                  </a:lnTo>
                  <a:lnTo>
                    <a:pt x="760" y="993"/>
                  </a:lnTo>
                  <a:lnTo>
                    <a:pt x="760" y="996"/>
                  </a:lnTo>
                  <a:lnTo>
                    <a:pt x="760" y="996"/>
                  </a:lnTo>
                  <a:lnTo>
                    <a:pt x="760" y="996"/>
                  </a:lnTo>
                  <a:lnTo>
                    <a:pt x="760" y="996"/>
                  </a:lnTo>
                  <a:lnTo>
                    <a:pt x="760" y="998"/>
                  </a:lnTo>
                  <a:lnTo>
                    <a:pt x="760" y="998"/>
                  </a:lnTo>
                  <a:lnTo>
                    <a:pt x="757" y="1000"/>
                  </a:lnTo>
                  <a:lnTo>
                    <a:pt x="753" y="1003"/>
                  </a:lnTo>
                  <a:lnTo>
                    <a:pt x="750" y="1005"/>
                  </a:lnTo>
                  <a:lnTo>
                    <a:pt x="750" y="1007"/>
                  </a:lnTo>
                  <a:lnTo>
                    <a:pt x="750" y="1007"/>
                  </a:lnTo>
                  <a:lnTo>
                    <a:pt x="748" y="1010"/>
                  </a:lnTo>
                  <a:lnTo>
                    <a:pt x="748" y="1012"/>
                  </a:lnTo>
                  <a:lnTo>
                    <a:pt x="748" y="1014"/>
                  </a:lnTo>
                  <a:lnTo>
                    <a:pt x="748" y="1017"/>
                  </a:lnTo>
                  <a:lnTo>
                    <a:pt x="746" y="1019"/>
                  </a:lnTo>
                  <a:lnTo>
                    <a:pt x="746" y="1019"/>
                  </a:lnTo>
                  <a:lnTo>
                    <a:pt x="746" y="1024"/>
                  </a:lnTo>
                  <a:lnTo>
                    <a:pt x="746" y="1024"/>
                  </a:lnTo>
                  <a:lnTo>
                    <a:pt x="748" y="1026"/>
                  </a:lnTo>
                  <a:lnTo>
                    <a:pt x="748" y="1029"/>
                  </a:lnTo>
                  <a:lnTo>
                    <a:pt x="748" y="1029"/>
                  </a:lnTo>
                  <a:lnTo>
                    <a:pt x="748" y="1029"/>
                  </a:lnTo>
                  <a:lnTo>
                    <a:pt x="748" y="1029"/>
                  </a:lnTo>
                  <a:lnTo>
                    <a:pt x="750" y="1031"/>
                  </a:lnTo>
                  <a:lnTo>
                    <a:pt x="750" y="1031"/>
                  </a:lnTo>
                  <a:lnTo>
                    <a:pt x="750" y="1031"/>
                  </a:lnTo>
                  <a:lnTo>
                    <a:pt x="750" y="1031"/>
                  </a:lnTo>
                  <a:lnTo>
                    <a:pt x="750" y="1029"/>
                  </a:lnTo>
                  <a:lnTo>
                    <a:pt x="750" y="1029"/>
                  </a:lnTo>
                  <a:lnTo>
                    <a:pt x="750" y="1029"/>
                  </a:lnTo>
                  <a:lnTo>
                    <a:pt x="750" y="1029"/>
                  </a:lnTo>
                  <a:lnTo>
                    <a:pt x="750" y="1029"/>
                  </a:lnTo>
                  <a:lnTo>
                    <a:pt x="753" y="1026"/>
                  </a:lnTo>
                  <a:lnTo>
                    <a:pt x="753" y="1026"/>
                  </a:lnTo>
                  <a:lnTo>
                    <a:pt x="753" y="1026"/>
                  </a:lnTo>
                  <a:lnTo>
                    <a:pt x="755" y="1026"/>
                  </a:lnTo>
                  <a:lnTo>
                    <a:pt x="755" y="1026"/>
                  </a:lnTo>
                  <a:lnTo>
                    <a:pt x="755" y="1029"/>
                  </a:lnTo>
                  <a:lnTo>
                    <a:pt x="757" y="1029"/>
                  </a:lnTo>
                  <a:lnTo>
                    <a:pt x="757" y="1029"/>
                  </a:lnTo>
                  <a:lnTo>
                    <a:pt x="757" y="1026"/>
                  </a:lnTo>
                  <a:lnTo>
                    <a:pt x="757" y="1026"/>
                  </a:lnTo>
                  <a:lnTo>
                    <a:pt x="757" y="1026"/>
                  </a:lnTo>
                  <a:lnTo>
                    <a:pt x="760" y="1026"/>
                  </a:lnTo>
                  <a:lnTo>
                    <a:pt x="760" y="1029"/>
                  </a:lnTo>
                  <a:lnTo>
                    <a:pt x="760" y="1029"/>
                  </a:lnTo>
                  <a:lnTo>
                    <a:pt x="760" y="1029"/>
                  </a:lnTo>
                  <a:lnTo>
                    <a:pt x="762" y="1029"/>
                  </a:lnTo>
                  <a:lnTo>
                    <a:pt x="762" y="1031"/>
                  </a:lnTo>
                  <a:lnTo>
                    <a:pt x="762" y="1031"/>
                  </a:lnTo>
                  <a:lnTo>
                    <a:pt x="762" y="1031"/>
                  </a:lnTo>
                  <a:lnTo>
                    <a:pt x="760" y="1033"/>
                  </a:lnTo>
                  <a:lnTo>
                    <a:pt x="760" y="1033"/>
                  </a:lnTo>
                  <a:lnTo>
                    <a:pt x="760" y="1033"/>
                  </a:lnTo>
                  <a:lnTo>
                    <a:pt x="762" y="1033"/>
                  </a:lnTo>
                  <a:lnTo>
                    <a:pt x="762" y="1033"/>
                  </a:lnTo>
                  <a:lnTo>
                    <a:pt x="764" y="1033"/>
                  </a:lnTo>
                  <a:lnTo>
                    <a:pt x="764" y="1033"/>
                  </a:lnTo>
                  <a:lnTo>
                    <a:pt x="767" y="1033"/>
                  </a:lnTo>
                  <a:lnTo>
                    <a:pt x="767" y="1031"/>
                  </a:lnTo>
                  <a:lnTo>
                    <a:pt x="767" y="1029"/>
                  </a:lnTo>
                  <a:lnTo>
                    <a:pt x="769" y="1029"/>
                  </a:lnTo>
                  <a:lnTo>
                    <a:pt x="776" y="1029"/>
                  </a:lnTo>
                  <a:lnTo>
                    <a:pt x="779" y="1031"/>
                  </a:lnTo>
                  <a:lnTo>
                    <a:pt x="774" y="1031"/>
                  </a:lnTo>
                  <a:lnTo>
                    <a:pt x="772" y="1031"/>
                  </a:lnTo>
                  <a:lnTo>
                    <a:pt x="772" y="1031"/>
                  </a:lnTo>
                  <a:lnTo>
                    <a:pt x="772" y="1031"/>
                  </a:lnTo>
                  <a:lnTo>
                    <a:pt x="772" y="1033"/>
                  </a:lnTo>
                  <a:lnTo>
                    <a:pt x="772" y="1033"/>
                  </a:lnTo>
                  <a:lnTo>
                    <a:pt x="772" y="1033"/>
                  </a:lnTo>
                  <a:lnTo>
                    <a:pt x="772" y="1033"/>
                  </a:lnTo>
                  <a:lnTo>
                    <a:pt x="772" y="1033"/>
                  </a:lnTo>
                  <a:lnTo>
                    <a:pt x="772" y="1033"/>
                  </a:lnTo>
                  <a:lnTo>
                    <a:pt x="772" y="1033"/>
                  </a:lnTo>
                  <a:lnTo>
                    <a:pt x="772" y="1033"/>
                  </a:lnTo>
                  <a:lnTo>
                    <a:pt x="772" y="1033"/>
                  </a:lnTo>
                  <a:lnTo>
                    <a:pt x="774" y="1033"/>
                  </a:lnTo>
                  <a:lnTo>
                    <a:pt x="774" y="1033"/>
                  </a:lnTo>
                  <a:lnTo>
                    <a:pt x="774" y="1036"/>
                  </a:lnTo>
                  <a:lnTo>
                    <a:pt x="774" y="1036"/>
                  </a:lnTo>
                  <a:lnTo>
                    <a:pt x="776" y="1036"/>
                  </a:lnTo>
                  <a:lnTo>
                    <a:pt x="779" y="1036"/>
                  </a:lnTo>
                  <a:lnTo>
                    <a:pt x="776" y="1038"/>
                  </a:lnTo>
                  <a:lnTo>
                    <a:pt x="776" y="1038"/>
                  </a:lnTo>
                  <a:lnTo>
                    <a:pt x="774" y="1038"/>
                  </a:lnTo>
                  <a:lnTo>
                    <a:pt x="774" y="1038"/>
                  </a:lnTo>
                  <a:lnTo>
                    <a:pt x="774" y="1038"/>
                  </a:lnTo>
                  <a:lnTo>
                    <a:pt x="774" y="1038"/>
                  </a:lnTo>
                  <a:lnTo>
                    <a:pt x="774" y="1040"/>
                  </a:lnTo>
                  <a:lnTo>
                    <a:pt x="772" y="1038"/>
                  </a:lnTo>
                  <a:lnTo>
                    <a:pt x="767" y="1038"/>
                  </a:lnTo>
                  <a:lnTo>
                    <a:pt x="764" y="1040"/>
                  </a:lnTo>
                  <a:lnTo>
                    <a:pt x="762" y="1043"/>
                  </a:lnTo>
                  <a:lnTo>
                    <a:pt x="762" y="1045"/>
                  </a:lnTo>
                  <a:lnTo>
                    <a:pt x="762" y="1048"/>
                  </a:lnTo>
                  <a:lnTo>
                    <a:pt x="764" y="1048"/>
                  </a:lnTo>
                  <a:lnTo>
                    <a:pt x="769" y="1050"/>
                  </a:lnTo>
                  <a:lnTo>
                    <a:pt x="769" y="1050"/>
                  </a:lnTo>
                  <a:lnTo>
                    <a:pt x="772" y="1050"/>
                  </a:lnTo>
                  <a:lnTo>
                    <a:pt x="772" y="1050"/>
                  </a:lnTo>
                  <a:lnTo>
                    <a:pt x="772" y="1050"/>
                  </a:lnTo>
                  <a:lnTo>
                    <a:pt x="774" y="1050"/>
                  </a:lnTo>
                  <a:lnTo>
                    <a:pt x="774" y="1050"/>
                  </a:lnTo>
                  <a:lnTo>
                    <a:pt x="774" y="1048"/>
                  </a:lnTo>
                  <a:lnTo>
                    <a:pt x="774" y="1048"/>
                  </a:lnTo>
                  <a:lnTo>
                    <a:pt x="774" y="1050"/>
                  </a:lnTo>
                  <a:lnTo>
                    <a:pt x="774" y="1050"/>
                  </a:lnTo>
                  <a:lnTo>
                    <a:pt x="779" y="1052"/>
                  </a:lnTo>
                  <a:lnTo>
                    <a:pt x="779" y="1050"/>
                  </a:lnTo>
                  <a:lnTo>
                    <a:pt x="779" y="1050"/>
                  </a:lnTo>
                  <a:lnTo>
                    <a:pt x="779" y="1050"/>
                  </a:lnTo>
                  <a:lnTo>
                    <a:pt x="779" y="1048"/>
                  </a:lnTo>
                  <a:lnTo>
                    <a:pt x="779" y="1048"/>
                  </a:lnTo>
                  <a:lnTo>
                    <a:pt x="779" y="1045"/>
                  </a:lnTo>
                  <a:lnTo>
                    <a:pt x="776" y="1045"/>
                  </a:lnTo>
                  <a:lnTo>
                    <a:pt x="776" y="1045"/>
                  </a:lnTo>
                  <a:lnTo>
                    <a:pt x="776" y="1045"/>
                  </a:lnTo>
                  <a:lnTo>
                    <a:pt x="776" y="1045"/>
                  </a:lnTo>
                  <a:lnTo>
                    <a:pt x="776" y="1043"/>
                  </a:lnTo>
                  <a:lnTo>
                    <a:pt x="779" y="1043"/>
                  </a:lnTo>
                  <a:lnTo>
                    <a:pt x="779" y="1043"/>
                  </a:lnTo>
                  <a:lnTo>
                    <a:pt x="779" y="1043"/>
                  </a:lnTo>
                  <a:lnTo>
                    <a:pt x="779" y="1043"/>
                  </a:lnTo>
                  <a:lnTo>
                    <a:pt x="779" y="1043"/>
                  </a:lnTo>
                  <a:lnTo>
                    <a:pt x="779" y="1043"/>
                  </a:lnTo>
                  <a:lnTo>
                    <a:pt x="779" y="1043"/>
                  </a:lnTo>
                  <a:lnTo>
                    <a:pt x="781" y="1043"/>
                  </a:lnTo>
                  <a:lnTo>
                    <a:pt x="781" y="1043"/>
                  </a:lnTo>
                  <a:lnTo>
                    <a:pt x="781" y="1045"/>
                  </a:lnTo>
                  <a:lnTo>
                    <a:pt x="781" y="1045"/>
                  </a:lnTo>
                  <a:lnTo>
                    <a:pt x="781" y="1045"/>
                  </a:lnTo>
                  <a:lnTo>
                    <a:pt x="781" y="1045"/>
                  </a:lnTo>
                  <a:lnTo>
                    <a:pt x="781" y="1045"/>
                  </a:lnTo>
                  <a:lnTo>
                    <a:pt x="783" y="1045"/>
                  </a:lnTo>
                  <a:lnTo>
                    <a:pt x="783" y="1048"/>
                  </a:lnTo>
                  <a:lnTo>
                    <a:pt x="781" y="1048"/>
                  </a:lnTo>
                  <a:lnTo>
                    <a:pt x="781" y="1050"/>
                  </a:lnTo>
                  <a:lnTo>
                    <a:pt x="781" y="1050"/>
                  </a:lnTo>
                  <a:lnTo>
                    <a:pt x="781" y="1050"/>
                  </a:lnTo>
                  <a:lnTo>
                    <a:pt x="781" y="1050"/>
                  </a:lnTo>
                  <a:lnTo>
                    <a:pt x="781" y="1050"/>
                  </a:lnTo>
                  <a:lnTo>
                    <a:pt x="783" y="1050"/>
                  </a:lnTo>
                  <a:lnTo>
                    <a:pt x="786" y="1050"/>
                  </a:lnTo>
                  <a:lnTo>
                    <a:pt x="786" y="1050"/>
                  </a:lnTo>
                  <a:lnTo>
                    <a:pt x="786" y="1050"/>
                  </a:lnTo>
                  <a:lnTo>
                    <a:pt x="788" y="1050"/>
                  </a:lnTo>
                  <a:lnTo>
                    <a:pt x="788" y="1050"/>
                  </a:lnTo>
                  <a:lnTo>
                    <a:pt x="788" y="1050"/>
                  </a:lnTo>
                  <a:lnTo>
                    <a:pt x="791" y="1048"/>
                  </a:lnTo>
                  <a:lnTo>
                    <a:pt x="793" y="1050"/>
                  </a:lnTo>
                  <a:lnTo>
                    <a:pt x="795" y="1050"/>
                  </a:lnTo>
                  <a:lnTo>
                    <a:pt x="798" y="1048"/>
                  </a:lnTo>
                  <a:lnTo>
                    <a:pt x="800" y="1050"/>
                  </a:lnTo>
                  <a:lnTo>
                    <a:pt x="802" y="1048"/>
                  </a:lnTo>
                  <a:lnTo>
                    <a:pt x="809" y="1048"/>
                  </a:lnTo>
                  <a:lnTo>
                    <a:pt x="812" y="1048"/>
                  </a:lnTo>
                  <a:lnTo>
                    <a:pt x="814" y="1048"/>
                  </a:lnTo>
                  <a:lnTo>
                    <a:pt x="814" y="1045"/>
                  </a:lnTo>
                  <a:lnTo>
                    <a:pt x="817" y="1045"/>
                  </a:lnTo>
                  <a:lnTo>
                    <a:pt x="819" y="1045"/>
                  </a:lnTo>
                  <a:lnTo>
                    <a:pt x="824" y="1045"/>
                  </a:lnTo>
                  <a:lnTo>
                    <a:pt x="826" y="1048"/>
                  </a:lnTo>
                  <a:lnTo>
                    <a:pt x="826" y="1048"/>
                  </a:lnTo>
                  <a:lnTo>
                    <a:pt x="824" y="1048"/>
                  </a:lnTo>
                  <a:lnTo>
                    <a:pt x="824" y="1048"/>
                  </a:lnTo>
                  <a:lnTo>
                    <a:pt x="826" y="1050"/>
                  </a:lnTo>
                  <a:lnTo>
                    <a:pt x="826" y="1050"/>
                  </a:lnTo>
                  <a:lnTo>
                    <a:pt x="831" y="1050"/>
                  </a:lnTo>
                  <a:lnTo>
                    <a:pt x="835" y="1048"/>
                  </a:lnTo>
                  <a:lnTo>
                    <a:pt x="835" y="1050"/>
                  </a:lnTo>
                  <a:lnTo>
                    <a:pt x="833" y="1050"/>
                  </a:lnTo>
                  <a:lnTo>
                    <a:pt x="831" y="1052"/>
                  </a:lnTo>
                  <a:lnTo>
                    <a:pt x="828" y="1052"/>
                  </a:lnTo>
                  <a:lnTo>
                    <a:pt x="828" y="1052"/>
                  </a:lnTo>
                  <a:lnTo>
                    <a:pt x="828" y="1052"/>
                  </a:lnTo>
                  <a:lnTo>
                    <a:pt x="826" y="1052"/>
                  </a:lnTo>
                  <a:lnTo>
                    <a:pt x="826" y="1052"/>
                  </a:lnTo>
                  <a:lnTo>
                    <a:pt x="824" y="1050"/>
                  </a:lnTo>
                  <a:lnTo>
                    <a:pt x="824" y="1050"/>
                  </a:lnTo>
                  <a:lnTo>
                    <a:pt x="824" y="1050"/>
                  </a:lnTo>
                  <a:lnTo>
                    <a:pt x="824" y="1050"/>
                  </a:lnTo>
                  <a:lnTo>
                    <a:pt x="819" y="1050"/>
                  </a:lnTo>
                  <a:lnTo>
                    <a:pt x="819" y="1050"/>
                  </a:lnTo>
                  <a:lnTo>
                    <a:pt x="819" y="1048"/>
                  </a:lnTo>
                  <a:lnTo>
                    <a:pt x="819" y="1048"/>
                  </a:lnTo>
                  <a:lnTo>
                    <a:pt x="812" y="1052"/>
                  </a:lnTo>
                  <a:lnTo>
                    <a:pt x="809" y="1050"/>
                  </a:lnTo>
                  <a:lnTo>
                    <a:pt x="809" y="1052"/>
                  </a:lnTo>
                  <a:lnTo>
                    <a:pt x="809" y="1052"/>
                  </a:lnTo>
                  <a:lnTo>
                    <a:pt x="812" y="1052"/>
                  </a:lnTo>
                  <a:lnTo>
                    <a:pt x="814" y="1055"/>
                  </a:lnTo>
                  <a:lnTo>
                    <a:pt x="819" y="1057"/>
                  </a:lnTo>
                  <a:lnTo>
                    <a:pt x="819" y="1057"/>
                  </a:lnTo>
                  <a:lnTo>
                    <a:pt x="819" y="1057"/>
                  </a:lnTo>
                  <a:lnTo>
                    <a:pt x="812" y="1057"/>
                  </a:lnTo>
                  <a:lnTo>
                    <a:pt x="809" y="1057"/>
                  </a:lnTo>
                  <a:lnTo>
                    <a:pt x="809" y="1057"/>
                  </a:lnTo>
                  <a:lnTo>
                    <a:pt x="809" y="1057"/>
                  </a:lnTo>
                  <a:lnTo>
                    <a:pt x="809" y="1057"/>
                  </a:lnTo>
                  <a:lnTo>
                    <a:pt x="812" y="1057"/>
                  </a:lnTo>
                  <a:lnTo>
                    <a:pt x="809" y="1057"/>
                  </a:lnTo>
                  <a:lnTo>
                    <a:pt x="807" y="1057"/>
                  </a:lnTo>
                  <a:lnTo>
                    <a:pt x="805" y="1057"/>
                  </a:lnTo>
                  <a:lnTo>
                    <a:pt x="793" y="1059"/>
                  </a:lnTo>
                  <a:lnTo>
                    <a:pt x="793" y="1062"/>
                  </a:lnTo>
                  <a:lnTo>
                    <a:pt x="793" y="1062"/>
                  </a:lnTo>
                  <a:lnTo>
                    <a:pt x="793" y="1062"/>
                  </a:lnTo>
                  <a:lnTo>
                    <a:pt x="793" y="1062"/>
                  </a:lnTo>
                  <a:lnTo>
                    <a:pt x="793" y="1062"/>
                  </a:lnTo>
                  <a:lnTo>
                    <a:pt x="791" y="1064"/>
                  </a:lnTo>
                  <a:lnTo>
                    <a:pt x="786" y="1062"/>
                  </a:lnTo>
                  <a:lnTo>
                    <a:pt x="776" y="1064"/>
                  </a:lnTo>
                  <a:lnTo>
                    <a:pt x="769" y="1064"/>
                  </a:lnTo>
                  <a:lnTo>
                    <a:pt x="762" y="1069"/>
                  </a:lnTo>
                  <a:lnTo>
                    <a:pt x="755" y="1074"/>
                  </a:lnTo>
                  <a:lnTo>
                    <a:pt x="753" y="1076"/>
                  </a:lnTo>
                  <a:lnTo>
                    <a:pt x="753" y="1076"/>
                  </a:lnTo>
                  <a:lnTo>
                    <a:pt x="755" y="1081"/>
                  </a:lnTo>
                  <a:lnTo>
                    <a:pt x="755" y="1083"/>
                  </a:lnTo>
                  <a:lnTo>
                    <a:pt x="757" y="1085"/>
                  </a:lnTo>
                  <a:lnTo>
                    <a:pt x="762" y="1095"/>
                  </a:lnTo>
                  <a:lnTo>
                    <a:pt x="764" y="1095"/>
                  </a:lnTo>
                  <a:lnTo>
                    <a:pt x="764" y="1095"/>
                  </a:lnTo>
                  <a:lnTo>
                    <a:pt x="767" y="1097"/>
                  </a:lnTo>
                  <a:lnTo>
                    <a:pt x="767" y="1097"/>
                  </a:lnTo>
                  <a:lnTo>
                    <a:pt x="764" y="1100"/>
                  </a:lnTo>
                  <a:lnTo>
                    <a:pt x="767" y="1102"/>
                  </a:lnTo>
                  <a:lnTo>
                    <a:pt x="769" y="1104"/>
                  </a:lnTo>
                  <a:lnTo>
                    <a:pt x="769" y="1104"/>
                  </a:lnTo>
                  <a:lnTo>
                    <a:pt x="769" y="1104"/>
                  </a:lnTo>
                  <a:lnTo>
                    <a:pt x="769" y="1104"/>
                  </a:lnTo>
                  <a:lnTo>
                    <a:pt x="769" y="1104"/>
                  </a:lnTo>
                  <a:lnTo>
                    <a:pt x="769" y="1104"/>
                  </a:lnTo>
                  <a:lnTo>
                    <a:pt x="769" y="1104"/>
                  </a:lnTo>
                  <a:lnTo>
                    <a:pt x="769" y="1104"/>
                  </a:lnTo>
                  <a:lnTo>
                    <a:pt x="774" y="1104"/>
                  </a:lnTo>
                  <a:lnTo>
                    <a:pt x="774" y="1104"/>
                  </a:lnTo>
                  <a:lnTo>
                    <a:pt x="774" y="1104"/>
                  </a:lnTo>
                  <a:lnTo>
                    <a:pt x="774" y="1107"/>
                  </a:lnTo>
                  <a:lnTo>
                    <a:pt x="776" y="1104"/>
                  </a:lnTo>
                  <a:lnTo>
                    <a:pt x="781" y="1107"/>
                  </a:lnTo>
                  <a:lnTo>
                    <a:pt x="788" y="1109"/>
                  </a:lnTo>
                  <a:lnTo>
                    <a:pt x="791" y="1109"/>
                  </a:lnTo>
                  <a:lnTo>
                    <a:pt x="793" y="1107"/>
                  </a:lnTo>
                  <a:lnTo>
                    <a:pt x="800" y="1107"/>
                  </a:lnTo>
                  <a:lnTo>
                    <a:pt x="800" y="1109"/>
                  </a:lnTo>
                  <a:lnTo>
                    <a:pt x="802" y="1109"/>
                  </a:lnTo>
                  <a:lnTo>
                    <a:pt x="800" y="1109"/>
                  </a:lnTo>
                  <a:lnTo>
                    <a:pt x="800" y="1109"/>
                  </a:lnTo>
                  <a:lnTo>
                    <a:pt x="800" y="1111"/>
                  </a:lnTo>
                  <a:lnTo>
                    <a:pt x="805" y="1111"/>
                  </a:lnTo>
                  <a:lnTo>
                    <a:pt x="812" y="1111"/>
                  </a:lnTo>
                  <a:lnTo>
                    <a:pt x="814" y="1114"/>
                  </a:lnTo>
                  <a:lnTo>
                    <a:pt x="814" y="1114"/>
                  </a:lnTo>
                  <a:lnTo>
                    <a:pt x="814" y="1114"/>
                  </a:lnTo>
                  <a:lnTo>
                    <a:pt x="817" y="1114"/>
                  </a:lnTo>
                  <a:lnTo>
                    <a:pt x="817" y="1114"/>
                  </a:lnTo>
                  <a:lnTo>
                    <a:pt x="824" y="1114"/>
                  </a:lnTo>
                  <a:lnTo>
                    <a:pt x="826" y="1114"/>
                  </a:lnTo>
                  <a:lnTo>
                    <a:pt x="831" y="1114"/>
                  </a:lnTo>
                  <a:lnTo>
                    <a:pt x="840" y="1114"/>
                  </a:lnTo>
                  <a:lnTo>
                    <a:pt x="843" y="1111"/>
                  </a:lnTo>
                  <a:lnTo>
                    <a:pt x="845" y="1111"/>
                  </a:lnTo>
                  <a:lnTo>
                    <a:pt x="847" y="1111"/>
                  </a:lnTo>
                  <a:lnTo>
                    <a:pt x="850" y="1111"/>
                  </a:lnTo>
                  <a:lnTo>
                    <a:pt x="852" y="1109"/>
                  </a:lnTo>
                  <a:lnTo>
                    <a:pt x="852" y="1109"/>
                  </a:lnTo>
                  <a:lnTo>
                    <a:pt x="859" y="1111"/>
                  </a:lnTo>
                  <a:lnTo>
                    <a:pt x="859" y="1114"/>
                  </a:lnTo>
                  <a:lnTo>
                    <a:pt x="859" y="1114"/>
                  </a:lnTo>
                  <a:lnTo>
                    <a:pt x="861" y="1116"/>
                  </a:lnTo>
                  <a:lnTo>
                    <a:pt x="861" y="1116"/>
                  </a:lnTo>
                  <a:lnTo>
                    <a:pt x="864" y="1114"/>
                  </a:lnTo>
                  <a:lnTo>
                    <a:pt x="864" y="1114"/>
                  </a:lnTo>
                  <a:lnTo>
                    <a:pt x="864" y="1114"/>
                  </a:lnTo>
                  <a:lnTo>
                    <a:pt x="864" y="1114"/>
                  </a:lnTo>
                  <a:lnTo>
                    <a:pt x="864" y="1114"/>
                  </a:lnTo>
                  <a:lnTo>
                    <a:pt x="864" y="1114"/>
                  </a:lnTo>
                  <a:lnTo>
                    <a:pt x="864" y="1114"/>
                  </a:lnTo>
                  <a:lnTo>
                    <a:pt x="866" y="1116"/>
                  </a:lnTo>
                  <a:lnTo>
                    <a:pt x="866" y="1116"/>
                  </a:lnTo>
                  <a:lnTo>
                    <a:pt x="871" y="1116"/>
                  </a:lnTo>
                  <a:lnTo>
                    <a:pt x="871" y="1116"/>
                  </a:lnTo>
                  <a:lnTo>
                    <a:pt x="871" y="1119"/>
                  </a:lnTo>
                  <a:lnTo>
                    <a:pt x="871" y="1119"/>
                  </a:lnTo>
                  <a:lnTo>
                    <a:pt x="871" y="1119"/>
                  </a:lnTo>
                  <a:lnTo>
                    <a:pt x="871" y="1119"/>
                  </a:lnTo>
                  <a:lnTo>
                    <a:pt x="871" y="1119"/>
                  </a:lnTo>
                  <a:lnTo>
                    <a:pt x="873" y="1119"/>
                  </a:lnTo>
                  <a:lnTo>
                    <a:pt x="873" y="1119"/>
                  </a:lnTo>
                  <a:lnTo>
                    <a:pt x="873" y="1121"/>
                  </a:lnTo>
                  <a:lnTo>
                    <a:pt x="876" y="1123"/>
                  </a:lnTo>
                  <a:lnTo>
                    <a:pt x="876" y="1123"/>
                  </a:lnTo>
                  <a:lnTo>
                    <a:pt x="878" y="1126"/>
                  </a:lnTo>
                  <a:lnTo>
                    <a:pt x="878" y="1123"/>
                  </a:lnTo>
                  <a:lnTo>
                    <a:pt x="878" y="1123"/>
                  </a:lnTo>
                  <a:lnTo>
                    <a:pt x="880" y="1123"/>
                  </a:lnTo>
                  <a:lnTo>
                    <a:pt x="880" y="1123"/>
                  </a:lnTo>
                  <a:lnTo>
                    <a:pt x="883" y="1126"/>
                  </a:lnTo>
                  <a:lnTo>
                    <a:pt x="883" y="1126"/>
                  </a:lnTo>
                  <a:lnTo>
                    <a:pt x="885" y="1128"/>
                  </a:lnTo>
                  <a:lnTo>
                    <a:pt x="885" y="1128"/>
                  </a:lnTo>
                  <a:lnTo>
                    <a:pt x="885" y="1128"/>
                  </a:lnTo>
                  <a:lnTo>
                    <a:pt x="885" y="1126"/>
                  </a:lnTo>
                  <a:lnTo>
                    <a:pt x="888" y="1126"/>
                  </a:lnTo>
                  <a:lnTo>
                    <a:pt x="888" y="1126"/>
                  </a:lnTo>
                  <a:lnTo>
                    <a:pt x="888" y="1128"/>
                  </a:lnTo>
                  <a:lnTo>
                    <a:pt x="888" y="1128"/>
                  </a:lnTo>
                  <a:lnTo>
                    <a:pt x="888" y="1128"/>
                  </a:lnTo>
                  <a:lnTo>
                    <a:pt x="888" y="1128"/>
                  </a:lnTo>
                  <a:lnTo>
                    <a:pt x="890" y="1128"/>
                  </a:lnTo>
                  <a:lnTo>
                    <a:pt x="890" y="1128"/>
                  </a:lnTo>
                  <a:lnTo>
                    <a:pt x="890" y="1128"/>
                  </a:lnTo>
                  <a:lnTo>
                    <a:pt x="890" y="1128"/>
                  </a:lnTo>
                  <a:lnTo>
                    <a:pt x="892" y="1128"/>
                  </a:lnTo>
                  <a:lnTo>
                    <a:pt x="892" y="1130"/>
                  </a:lnTo>
                  <a:lnTo>
                    <a:pt x="895" y="1130"/>
                  </a:lnTo>
                  <a:lnTo>
                    <a:pt x="895" y="1130"/>
                  </a:lnTo>
                  <a:lnTo>
                    <a:pt x="895" y="1133"/>
                  </a:lnTo>
                  <a:lnTo>
                    <a:pt x="895" y="1135"/>
                  </a:lnTo>
                  <a:lnTo>
                    <a:pt x="895" y="1135"/>
                  </a:lnTo>
                  <a:lnTo>
                    <a:pt x="895" y="1135"/>
                  </a:lnTo>
                  <a:lnTo>
                    <a:pt x="895" y="1135"/>
                  </a:lnTo>
                  <a:lnTo>
                    <a:pt x="897" y="1137"/>
                  </a:lnTo>
                  <a:lnTo>
                    <a:pt x="897" y="1137"/>
                  </a:lnTo>
                  <a:lnTo>
                    <a:pt x="897" y="1140"/>
                  </a:lnTo>
                  <a:lnTo>
                    <a:pt x="899" y="1140"/>
                  </a:lnTo>
                  <a:lnTo>
                    <a:pt x="899" y="1140"/>
                  </a:lnTo>
                  <a:lnTo>
                    <a:pt x="906" y="1140"/>
                  </a:lnTo>
                  <a:lnTo>
                    <a:pt x="906" y="1142"/>
                  </a:lnTo>
                  <a:lnTo>
                    <a:pt x="909" y="1142"/>
                  </a:lnTo>
                  <a:lnTo>
                    <a:pt x="906" y="1145"/>
                  </a:lnTo>
                  <a:lnTo>
                    <a:pt x="906" y="1145"/>
                  </a:lnTo>
                  <a:lnTo>
                    <a:pt x="904" y="1145"/>
                  </a:lnTo>
                  <a:lnTo>
                    <a:pt x="906" y="1145"/>
                  </a:lnTo>
                  <a:lnTo>
                    <a:pt x="909" y="1145"/>
                  </a:lnTo>
                  <a:lnTo>
                    <a:pt x="909" y="1147"/>
                  </a:lnTo>
                  <a:lnTo>
                    <a:pt x="909" y="1147"/>
                  </a:lnTo>
                  <a:lnTo>
                    <a:pt x="906" y="1147"/>
                  </a:lnTo>
                  <a:lnTo>
                    <a:pt x="906" y="1147"/>
                  </a:lnTo>
                  <a:lnTo>
                    <a:pt x="904" y="1147"/>
                  </a:lnTo>
                  <a:lnTo>
                    <a:pt x="902" y="1147"/>
                  </a:lnTo>
                  <a:lnTo>
                    <a:pt x="899" y="1147"/>
                  </a:lnTo>
                  <a:lnTo>
                    <a:pt x="897" y="1147"/>
                  </a:lnTo>
                  <a:lnTo>
                    <a:pt x="890" y="1142"/>
                  </a:lnTo>
                  <a:lnTo>
                    <a:pt x="888" y="1142"/>
                  </a:lnTo>
                  <a:lnTo>
                    <a:pt x="890" y="1145"/>
                  </a:lnTo>
                  <a:lnTo>
                    <a:pt x="892" y="1145"/>
                  </a:lnTo>
                  <a:lnTo>
                    <a:pt x="892" y="1145"/>
                  </a:lnTo>
                  <a:lnTo>
                    <a:pt x="888" y="1145"/>
                  </a:lnTo>
                  <a:lnTo>
                    <a:pt x="888" y="1145"/>
                  </a:lnTo>
                  <a:lnTo>
                    <a:pt x="885" y="1147"/>
                  </a:lnTo>
                  <a:lnTo>
                    <a:pt x="888" y="1147"/>
                  </a:lnTo>
                  <a:lnTo>
                    <a:pt x="888" y="1147"/>
                  </a:lnTo>
                  <a:lnTo>
                    <a:pt x="888" y="1147"/>
                  </a:lnTo>
                  <a:lnTo>
                    <a:pt x="885" y="1147"/>
                  </a:lnTo>
                  <a:lnTo>
                    <a:pt x="885" y="1147"/>
                  </a:lnTo>
                  <a:lnTo>
                    <a:pt x="885" y="1147"/>
                  </a:lnTo>
                  <a:lnTo>
                    <a:pt x="885" y="1147"/>
                  </a:lnTo>
                  <a:lnTo>
                    <a:pt x="883" y="1147"/>
                  </a:lnTo>
                  <a:lnTo>
                    <a:pt x="883" y="1147"/>
                  </a:lnTo>
                  <a:lnTo>
                    <a:pt x="880" y="1147"/>
                  </a:lnTo>
                  <a:lnTo>
                    <a:pt x="883" y="1149"/>
                  </a:lnTo>
                  <a:lnTo>
                    <a:pt x="883" y="1149"/>
                  </a:lnTo>
                  <a:lnTo>
                    <a:pt x="883" y="1149"/>
                  </a:lnTo>
                  <a:lnTo>
                    <a:pt x="880" y="1149"/>
                  </a:lnTo>
                  <a:lnTo>
                    <a:pt x="876" y="1147"/>
                  </a:lnTo>
                  <a:lnTo>
                    <a:pt x="876" y="1145"/>
                  </a:lnTo>
                  <a:lnTo>
                    <a:pt x="873" y="1145"/>
                  </a:lnTo>
                  <a:lnTo>
                    <a:pt x="871" y="1145"/>
                  </a:lnTo>
                  <a:lnTo>
                    <a:pt x="871" y="1145"/>
                  </a:lnTo>
                  <a:lnTo>
                    <a:pt x="873" y="1145"/>
                  </a:lnTo>
                  <a:lnTo>
                    <a:pt x="871" y="1147"/>
                  </a:lnTo>
                  <a:lnTo>
                    <a:pt x="866" y="1142"/>
                  </a:lnTo>
                  <a:lnTo>
                    <a:pt x="861" y="1140"/>
                  </a:lnTo>
                  <a:lnTo>
                    <a:pt x="857" y="1142"/>
                  </a:lnTo>
                  <a:lnTo>
                    <a:pt x="847" y="1140"/>
                  </a:lnTo>
                  <a:lnTo>
                    <a:pt x="845" y="1137"/>
                  </a:lnTo>
                  <a:lnTo>
                    <a:pt x="838" y="1135"/>
                  </a:lnTo>
                  <a:lnTo>
                    <a:pt x="831" y="1137"/>
                  </a:lnTo>
                  <a:lnTo>
                    <a:pt x="824" y="1137"/>
                  </a:lnTo>
                  <a:lnTo>
                    <a:pt x="819" y="1137"/>
                  </a:lnTo>
                  <a:lnTo>
                    <a:pt x="809" y="1137"/>
                  </a:lnTo>
                  <a:lnTo>
                    <a:pt x="800" y="1137"/>
                  </a:lnTo>
                  <a:lnTo>
                    <a:pt x="788" y="1140"/>
                  </a:lnTo>
                  <a:lnTo>
                    <a:pt x="783" y="1140"/>
                  </a:lnTo>
                  <a:lnTo>
                    <a:pt x="776" y="1140"/>
                  </a:lnTo>
                  <a:lnTo>
                    <a:pt x="772" y="1142"/>
                  </a:lnTo>
                  <a:lnTo>
                    <a:pt x="769" y="1145"/>
                  </a:lnTo>
                  <a:lnTo>
                    <a:pt x="767" y="1145"/>
                  </a:lnTo>
                  <a:lnTo>
                    <a:pt x="767" y="1145"/>
                  </a:lnTo>
                  <a:lnTo>
                    <a:pt x="767" y="1147"/>
                  </a:lnTo>
                  <a:lnTo>
                    <a:pt x="764" y="1149"/>
                  </a:lnTo>
                  <a:lnTo>
                    <a:pt x="764" y="1149"/>
                  </a:lnTo>
                  <a:lnTo>
                    <a:pt x="767" y="1152"/>
                  </a:lnTo>
                  <a:lnTo>
                    <a:pt x="767" y="1154"/>
                  </a:lnTo>
                  <a:lnTo>
                    <a:pt x="767" y="1156"/>
                  </a:lnTo>
                  <a:lnTo>
                    <a:pt x="767" y="1159"/>
                  </a:lnTo>
                  <a:lnTo>
                    <a:pt x="767" y="1161"/>
                  </a:lnTo>
                  <a:lnTo>
                    <a:pt x="767" y="1161"/>
                  </a:lnTo>
                  <a:lnTo>
                    <a:pt x="767" y="1163"/>
                  </a:lnTo>
                  <a:lnTo>
                    <a:pt x="767" y="1163"/>
                  </a:lnTo>
                  <a:lnTo>
                    <a:pt x="767" y="1166"/>
                  </a:lnTo>
                  <a:lnTo>
                    <a:pt x="767" y="1166"/>
                  </a:lnTo>
                  <a:lnTo>
                    <a:pt x="769" y="1166"/>
                  </a:lnTo>
                  <a:lnTo>
                    <a:pt x="769" y="1168"/>
                  </a:lnTo>
                  <a:lnTo>
                    <a:pt x="772" y="1171"/>
                  </a:lnTo>
                  <a:lnTo>
                    <a:pt x="772" y="1171"/>
                  </a:lnTo>
                  <a:lnTo>
                    <a:pt x="774" y="1173"/>
                  </a:lnTo>
                  <a:lnTo>
                    <a:pt x="774" y="1173"/>
                  </a:lnTo>
                  <a:lnTo>
                    <a:pt x="774" y="1173"/>
                  </a:lnTo>
                  <a:lnTo>
                    <a:pt x="774" y="1173"/>
                  </a:lnTo>
                  <a:lnTo>
                    <a:pt x="774" y="1175"/>
                  </a:lnTo>
                  <a:lnTo>
                    <a:pt x="774" y="1175"/>
                  </a:lnTo>
                  <a:lnTo>
                    <a:pt x="774" y="1175"/>
                  </a:lnTo>
                  <a:lnTo>
                    <a:pt x="774" y="1178"/>
                  </a:lnTo>
                  <a:lnTo>
                    <a:pt x="776" y="1178"/>
                  </a:lnTo>
                  <a:lnTo>
                    <a:pt x="776" y="1180"/>
                  </a:lnTo>
                  <a:lnTo>
                    <a:pt x="776" y="1182"/>
                  </a:lnTo>
                  <a:lnTo>
                    <a:pt x="776" y="1180"/>
                  </a:lnTo>
                  <a:lnTo>
                    <a:pt x="776" y="1180"/>
                  </a:lnTo>
                  <a:lnTo>
                    <a:pt x="776" y="1178"/>
                  </a:lnTo>
                  <a:lnTo>
                    <a:pt x="779" y="1180"/>
                  </a:lnTo>
                  <a:lnTo>
                    <a:pt x="781" y="1180"/>
                  </a:lnTo>
                  <a:lnTo>
                    <a:pt x="781" y="1180"/>
                  </a:lnTo>
                  <a:lnTo>
                    <a:pt x="781" y="1182"/>
                  </a:lnTo>
                  <a:lnTo>
                    <a:pt x="779" y="1182"/>
                  </a:lnTo>
                  <a:lnTo>
                    <a:pt x="779" y="1182"/>
                  </a:lnTo>
                  <a:lnTo>
                    <a:pt x="781" y="1185"/>
                  </a:lnTo>
                  <a:lnTo>
                    <a:pt x="781" y="1185"/>
                  </a:lnTo>
                  <a:lnTo>
                    <a:pt x="781" y="1185"/>
                  </a:lnTo>
                  <a:lnTo>
                    <a:pt x="779" y="1185"/>
                  </a:lnTo>
                  <a:lnTo>
                    <a:pt x="779" y="1187"/>
                  </a:lnTo>
                  <a:lnTo>
                    <a:pt x="779" y="1187"/>
                  </a:lnTo>
                  <a:lnTo>
                    <a:pt x="781" y="1192"/>
                  </a:lnTo>
                  <a:lnTo>
                    <a:pt x="783" y="1192"/>
                  </a:lnTo>
                  <a:lnTo>
                    <a:pt x="788" y="1197"/>
                  </a:lnTo>
                  <a:lnTo>
                    <a:pt x="791" y="1197"/>
                  </a:lnTo>
                  <a:lnTo>
                    <a:pt x="791" y="1199"/>
                  </a:lnTo>
                  <a:lnTo>
                    <a:pt x="793" y="1199"/>
                  </a:lnTo>
                  <a:lnTo>
                    <a:pt x="793" y="1199"/>
                  </a:lnTo>
                  <a:lnTo>
                    <a:pt x="793" y="1199"/>
                  </a:lnTo>
                  <a:lnTo>
                    <a:pt x="793" y="1201"/>
                  </a:lnTo>
                  <a:lnTo>
                    <a:pt x="802" y="1204"/>
                  </a:lnTo>
                  <a:lnTo>
                    <a:pt x="812" y="1206"/>
                  </a:lnTo>
                  <a:lnTo>
                    <a:pt x="812" y="1206"/>
                  </a:lnTo>
                  <a:lnTo>
                    <a:pt x="814" y="1206"/>
                  </a:lnTo>
                  <a:lnTo>
                    <a:pt x="814" y="1206"/>
                  </a:lnTo>
                  <a:lnTo>
                    <a:pt x="814" y="1206"/>
                  </a:lnTo>
                  <a:lnTo>
                    <a:pt x="817" y="1204"/>
                  </a:lnTo>
                  <a:lnTo>
                    <a:pt x="817" y="1206"/>
                  </a:lnTo>
                  <a:lnTo>
                    <a:pt x="817" y="1206"/>
                  </a:lnTo>
                  <a:lnTo>
                    <a:pt x="819" y="1206"/>
                  </a:lnTo>
                  <a:lnTo>
                    <a:pt x="819" y="1208"/>
                  </a:lnTo>
                  <a:lnTo>
                    <a:pt x="831" y="1206"/>
                  </a:lnTo>
                  <a:lnTo>
                    <a:pt x="833" y="1208"/>
                  </a:lnTo>
                  <a:lnTo>
                    <a:pt x="833" y="1208"/>
                  </a:lnTo>
                  <a:lnTo>
                    <a:pt x="835" y="1208"/>
                  </a:lnTo>
                  <a:lnTo>
                    <a:pt x="835" y="1211"/>
                  </a:lnTo>
                  <a:lnTo>
                    <a:pt x="838" y="1211"/>
                  </a:lnTo>
                  <a:lnTo>
                    <a:pt x="840" y="1211"/>
                  </a:lnTo>
                  <a:lnTo>
                    <a:pt x="843" y="1211"/>
                  </a:lnTo>
                  <a:lnTo>
                    <a:pt x="843" y="1211"/>
                  </a:lnTo>
                  <a:lnTo>
                    <a:pt x="843" y="1213"/>
                  </a:lnTo>
                  <a:lnTo>
                    <a:pt x="850" y="1216"/>
                  </a:lnTo>
                  <a:lnTo>
                    <a:pt x="850" y="1216"/>
                  </a:lnTo>
                  <a:lnTo>
                    <a:pt x="850" y="1218"/>
                  </a:lnTo>
                  <a:lnTo>
                    <a:pt x="847" y="1216"/>
                  </a:lnTo>
                  <a:lnTo>
                    <a:pt x="847" y="1216"/>
                  </a:lnTo>
                  <a:lnTo>
                    <a:pt x="847" y="1216"/>
                  </a:lnTo>
                  <a:lnTo>
                    <a:pt x="847" y="1216"/>
                  </a:lnTo>
                  <a:lnTo>
                    <a:pt x="847" y="1216"/>
                  </a:lnTo>
                  <a:lnTo>
                    <a:pt x="845" y="1216"/>
                  </a:lnTo>
                  <a:lnTo>
                    <a:pt x="845" y="1218"/>
                  </a:lnTo>
                  <a:lnTo>
                    <a:pt x="845" y="1218"/>
                  </a:lnTo>
                  <a:lnTo>
                    <a:pt x="847" y="1218"/>
                  </a:lnTo>
                  <a:lnTo>
                    <a:pt x="847" y="1220"/>
                  </a:lnTo>
                  <a:lnTo>
                    <a:pt x="847" y="1220"/>
                  </a:lnTo>
                  <a:lnTo>
                    <a:pt x="847" y="1220"/>
                  </a:lnTo>
                  <a:lnTo>
                    <a:pt x="847" y="1220"/>
                  </a:lnTo>
                  <a:lnTo>
                    <a:pt x="847" y="1220"/>
                  </a:lnTo>
                  <a:lnTo>
                    <a:pt x="847" y="1220"/>
                  </a:lnTo>
                  <a:lnTo>
                    <a:pt x="847" y="1220"/>
                  </a:lnTo>
                  <a:lnTo>
                    <a:pt x="847" y="1223"/>
                  </a:lnTo>
                  <a:lnTo>
                    <a:pt x="847" y="1223"/>
                  </a:lnTo>
                  <a:lnTo>
                    <a:pt x="847" y="1223"/>
                  </a:lnTo>
                  <a:lnTo>
                    <a:pt x="847" y="1225"/>
                  </a:lnTo>
                  <a:lnTo>
                    <a:pt x="850" y="1225"/>
                  </a:lnTo>
                  <a:lnTo>
                    <a:pt x="847" y="1225"/>
                  </a:lnTo>
                  <a:lnTo>
                    <a:pt x="847" y="1225"/>
                  </a:lnTo>
                  <a:lnTo>
                    <a:pt x="847" y="1227"/>
                  </a:lnTo>
                  <a:lnTo>
                    <a:pt x="847" y="1227"/>
                  </a:lnTo>
                  <a:lnTo>
                    <a:pt x="847" y="1227"/>
                  </a:lnTo>
                  <a:lnTo>
                    <a:pt x="847" y="1230"/>
                  </a:lnTo>
                  <a:lnTo>
                    <a:pt x="847" y="1230"/>
                  </a:lnTo>
                  <a:lnTo>
                    <a:pt x="847" y="1230"/>
                  </a:lnTo>
                  <a:lnTo>
                    <a:pt x="847" y="1232"/>
                  </a:lnTo>
                  <a:lnTo>
                    <a:pt x="847" y="1232"/>
                  </a:lnTo>
                  <a:lnTo>
                    <a:pt x="847" y="1232"/>
                  </a:lnTo>
                  <a:lnTo>
                    <a:pt x="847" y="1232"/>
                  </a:lnTo>
                  <a:lnTo>
                    <a:pt x="845" y="1234"/>
                  </a:lnTo>
                  <a:lnTo>
                    <a:pt x="845" y="1234"/>
                  </a:lnTo>
                  <a:lnTo>
                    <a:pt x="845" y="1234"/>
                  </a:lnTo>
                  <a:lnTo>
                    <a:pt x="845" y="1237"/>
                  </a:lnTo>
                  <a:lnTo>
                    <a:pt x="845" y="1237"/>
                  </a:lnTo>
                  <a:lnTo>
                    <a:pt x="845" y="1239"/>
                  </a:lnTo>
                  <a:lnTo>
                    <a:pt x="845" y="1239"/>
                  </a:lnTo>
                  <a:lnTo>
                    <a:pt x="845" y="1239"/>
                  </a:lnTo>
                  <a:lnTo>
                    <a:pt x="845" y="1239"/>
                  </a:lnTo>
                  <a:lnTo>
                    <a:pt x="845" y="1242"/>
                  </a:lnTo>
                  <a:lnTo>
                    <a:pt x="845" y="1242"/>
                  </a:lnTo>
                  <a:lnTo>
                    <a:pt x="845" y="1242"/>
                  </a:lnTo>
                  <a:lnTo>
                    <a:pt x="845" y="1244"/>
                  </a:lnTo>
                  <a:lnTo>
                    <a:pt x="845" y="1244"/>
                  </a:lnTo>
                  <a:lnTo>
                    <a:pt x="845" y="1246"/>
                  </a:lnTo>
                  <a:lnTo>
                    <a:pt x="845" y="1246"/>
                  </a:lnTo>
                  <a:lnTo>
                    <a:pt x="847" y="1249"/>
                  </a:lnTo>
                  <a:lnTo>
                    <a:pt x="847" y="1249"/>
                  </a:lnTo>
                  <a:lnTo>
                    <a:pt x="847" y="1251"/>
                  </a:lnTo>
                  <a:lnTo>
                    <a:pt x="847" y="1251"/>
                  </a:lnTo>
                  <a:lnTo>
                    <a:pt x="847" y="1253"/>
                  </a:lnTo>
                  <a:lnTo>
                    <a:pt x="847" y="1253"/>
                  </a:lnTo>
                  <a:lnTo>
                    <a:pt x="850" y="1256"/>
                  </a:lnTo>
                  <a:lnTo>
                    <a:pt x="850" y="1256"/>
                  </a:lnTo>
                  <a:lnTo>
                    <a:pt x="850" y="1256"/>
                  </a:lnTo>
                  <a:lnTo>
                    <a:pt x="850" y="1256"/>
                  </a:lnTo>
                  <a:lnTo>
                    <a:pt x="852" y="1258"/>
                  </a:lnTo>
                  <a:lnTo>
                    <a:pt x="852" y="1258"/>
                  </a:lnTo>
                  <a:lnTo>
                    <a:pt x="854" y="1260"/>
                  </a:lnTo>
                  <a:lnTo>
                    <a:pt x="854" y="1260"/>
                  </a:lnTo>
                  <a:lnTo>
                    <a:pt x="857" y="1263"/>
                  </a:lnTo>
                  <a:lnTo>
                    <a:pt x="857" y="1265"/>
                  </a:lnTo>
                  <a:lnTo>
                    <a:pt x="857" y="1265"/>
                  </a:lnTo>
                  <a:lnTo>
                    <a:pt x="852" y="1263"/>
                  </a:lnTo>
                  <a:lnTo>
                    <a:pt x="852" y="1263"/>
                  </a:lnTo>
                  <a:lnTo>
                    <a:pt x="850" y="1263"/>
                  </a:lnTo>
                  <a:lnTo>
                    <a:pt x="850" y="1265"/>
                  </a:lnTo>
                  <a:lnTo>
                    <a:pt x="850" y="1265"/>
                  </a:lnTo>
                  <a:lnTo>
                    <a:pt x="852" y="1265"/>
                  </a:lnTo>
                  <a:lnTo>
                    <a:pt x="859" y="1265"/>
                  </a:lnTo>
                  <a:lnTo>
                    <a:pt x="864" y="1268"/>
                  </a:lnTo>
                  <a:lnTo>
                    <a:pt x="864" y="1268"/>
                  </a:lnTo>
                  <a:lnTo>
                    <a:pt x="866" y="1268"/>
                  </a:lnTo>
                  <a:lnTo>
                    <a:pt x="866" y="1268"/>
                  </a:lnTo>
                  <a:lnTo>
                    <a:pt x="866" y="1265"/>
                  </a:lnTo>
                  <a:lnTo>
                    <a:pt x="866" y="1265"/>
                  </a:lnTo>
                  <a:lnTo>
                    <a:pt x="866" y="1265"/>
                  </a:lnTo>
                  <a:lnTo>
                    <a:pt x="869" y="1265"/>
                  </a:lnTo>
                  <a:lnTo>
                    <a:pt x="873" y="1265"/>
                  </a:lnTo>
                  <a:lnTo>
                    <a:pt x="873" y="1265"/>
                  </a:lnTo>
                  <a:lnTo>
                    <a:pt x="873" y="1265"/>
                  </a:lnTo>
                  <a:lnTo>
                    <a:pt x="876" y="1265"/>
                  </a:lnTo>
                  <a:lnTo>
                    <a:pt x="876" y="1265"/>
                  </a:lnTo>
                  <a:lnTo>
                    <a:pt x="876" y="1265"/>
                  </a:lnTo>
                  <a:lnTo>
                    <a:pt x="876" y="1265"/>
                  </a:lnTo>
                  <a:lnTo>
                    <a:pt x="885" y="1265"/>
                  </a:lnTo>
                  <a:lnTo>
                    <a:pt x="895" y="1265"/>
                  </a:lnTo>
                  <a:lnTo>
                    <a:pt x="899" y="1268"/>
                  </a:lnTo>
                  <a:lnTo>
                    <a:pt x="902" y="1268"/>
                  </a:lnTo>
                  <a:lnTo>
                    <a:pt x="902" y="1265"/>
                  </a:lnTo>
                  <a:lnTo>
                    <a:pt x="902" y="1265"/>
                  </a:lnTo>
                  <a:lnTo>
                    <a:pt x="897" y="1265"/>
                  </a:lnTo>
                  <a:lnTo>
                    <a:pt x="897" y="1263"/>
                  </a:lnTo>
                  <a:lnTo>
                    <a:pt x="899" y="1263"/>
                  </a:lnTo>
                  <a:lnTo>
                    <a:pt x="904" y="1263"/>
                  </a:lnTo>
                  <a:lnTo>
                    <a:pt x="904" y="1263"/>
                  </a:lnTo>
                  <a:lnTo>
                    <a:pt x="906" y="1263"/>
                  </a:lnTo>
                  <a:lnTo>
                    <a:pt x="911" y="1263"/>
                  </a:lnTo>
                  <a:lnTo>
                    <a:pt x="911" y="1263"/>
                  </a:lnTo>
                  <a:lnTo>
                    <a:pt x="911" y="1263"/>
                  </a:lnTo>
                  <a:lnTo>
                    <a:pt x="911" y="1263"/>
                  </a:lnTo>
                  <a:lnTo>
                    <a:pt x="906" y="1263"/>
                  </a:lnTo>
                  <a:lnTo>
                    <a:pt x="906" y="1265"/>
                  </a:lnTo>
                  <a:lnTo>
                    <a:pt x="906" y="1265"/>
                  </a:lnTo>
                  <a:lnTo>
                    <a:pt x="906" y="1265"/>
                  </a:lnTo>
                  <a:lnTo>
                    <a:pt x="914" y="1265"/>
                  </a:lnTo>
                  <a:lnTo>
                    <a:pt x="916" y="1265"/>
                  </a:lnTo>
                  <a:lnTo>
                    <a:pt x="916" y="1265"/>
                  </a:lnTo>
                  <a:lnTo>
                    <a:pt x="918" y="1263"/>
                  </a:lnTo>
                  <a:lnTo>
                    <a:pt x="918" y="1263"/>
                  </a:lnTo>
                  <a:lnTo>
                    <a:pt x="921" y="1263"/>
                  </a:lnTo>
                  <a:lnTo>
                    <a:pt x="921" y="1263"/>
                  </a:lnTo>
                  <a:lnTo>
                    <a:pt x="923" y="1265"/>
                  </a:lnTo>
                  <a:lnTo>
                    <a:pt x="923" y="1265"/>
                  </a:lnTo>
                  <a:lnTo>
                    <a:pt x="923" y="1265"/>
                  </a:lnTo>
                  <a:lnTo>
                    <a:pt x="925" y="1263"/>
                  </a:lnTo>
                  <a:lnTo>
                    <a:pt x="925" y="1263"/>
                  </a:lnTo>
                  <a:lnTo>
                    <a:pt x="928" y="1263"/>
                  </a:lnTo>
                  <a:lnTo>
                    <a:pt x="932" y="1263"/>
                  </a:lnTo>
                  <a:lnTo>
                    <a:pt x="935" y="1263"/>
                  </a:lnTo>
                  <a:lnTo>
                    <a:pt x="937" y="1263"/>
                  </a:lnTo>
                  <a:lnTo>
                    <a:pt x="942" y="1263"/>
                  </a:lnTo>
                  <a:lnTo>
                    <a:pt x="949" y="1260"/>
                  </a:lnTo>
                  <a:lnTo>
                    <a:pt x="956" y="1258"/>
                  </a:lnTo>
                  <a:lnTo>
                    <a:pt x="959" y="1258"/>
                  </a:lnTo>
                  <a:lnTo>
                    <a:pt x="959" y="1256"/>
                  </a:lnTo>
                  <a:lnTo>
                    <a:pt x="961" y="1256"/>
                  </a:lnTo>
                  <a:lnTo>
                    <a:pt x="963" y="1253"/>
                  </a:lnTo>
                  <a:lnTo>
                    <a:pt x="966" y="1251"/>
                  </a:lnTo>
                  <a:lnTo>
                    <a:pt x="968" y="1249"/>
                  </a:lnTo>
                  <a:lnTo>
                    <a:pt x="968" y="1249"/>
                  </a:lnTo>
                  <a:lnTo>
                    <a:pt x="968" y="1249"/>
                  </a:lnTo>
                  <a:lnTo>
                    <a:pt x="970" y="1249"/>
                  </a:lnTo>
                  <a:lnTo>
                    <a:pt x="970" y="1246"/>
                  </a:lnTo>
                  <a:lnTo>
                    <a:pt x="970" y="1246"/>
                  </a:lnTo>
                  <a:lnTo>
                    <a:pt x="970" y="1246"/>
                  </a:lnTo>
                  <a:lnTo>
                    <a:pt x="968" y="1246"/>
                  </a:lnTo>
                  <a:lnTo>
                    <a:pt x="970" y="1244"/>
                  </a:lnTo>
                  <a:lnTo>
                    <a:pt x="975" y="1244"/>
                  </a:lnTo>
                  <a:lnTo>
                    <a:pt x="977" y="1246"/>
                  </a:lnTo>
                  <a:lnTo>
                    <a:pt x="985" y="1246"/>
                  </a:lnTo>
                  <a:lnTo>
                    <a:pt x="985" y="1246"/>
                  </a:lnTo>
                  <a:lnTo>
                    <a:pt x="996" y="1244"/>
                  </a:lnTo>
                  <a:lnTo>
                    <a:pt x="999" y="1242"/>
                  </a:lnTo>
                  <a:lnTo>
                    <a:pt x="1001" y="1239"/>
                  </a:lnTo>
                  <a:lnTo>
                    <a:pt x="1003" y="1234"/>
                  </a:lnTo>
                  <a:lnTo>
                    <a:pt x="1006" y="1232"/>
                  </a:lnTo>
                  <a:lnTo>
                    <a:pt x="1006" y="1232"/>
                  </a:lnTo>
                  <a:lnTo>
                    <a:pt x="1008" y="1232"/>
                  </a:lnTo>
                  <a:lnTo>
                    <a:pt x="1008" y="1232"/>
                  </a:lnTo>
                  <a:lnTo>
                    <a:pt x="1008" y="1232"/>
                  </a:lnTo>
                  <a:lnTo>
                    <a:pt x="1008" y="1230"/>
                  </a:lnTo>
                  <a:lnTo>
                    <a:pt x="1008" y="1230"/>
                  </a:lnTo>
                  <a:lnTo>
                    <a:pt x="1008" y="1230"/>
                  </a:lnTo>
                  <a:lnTo>
                    <a:pt x="1011" y="1230"/>
                  </a:lnTo>
                  <a:lnTo>
                    <a:pt x="1011" y="1230"/>
                  </a:lnTo>
                  <a:lnTo>
                    <a:pt x="1011" y="1227"/>
                  </a:lnTo>
                  <a:lnTo>
                    <a:pt x="1011" y="1227"/>
                  </a:lnTo>
                  <a:lnTo>
                    <a:pt x="1011" y="1227"/>
                  </a:lnTo>
                  <a:lnTo>
                    <a:pt x="1011" y="1225"/>
                  </a:lnTo>
                  <a:lnTo>
                    <a:pt x="1011" y="1223"/>
                  </a:lnTo>
                  <a:lnTo>
                    <a:pt x="1008" y="1220"/>
                  </a:lnTo>
                  <a:lnTo>
                    <a:pt x="1008" y="1220"/>
                  </a:lnTo>
                  <a:lnTo>
                    <a:pt x="1011" y="1218"/>
                  </a:lnTo>
                  <a:lnTo>
                    <a:pt x="1011" y="1218"/>
                  </a:lnTo>
                  <a:lnTo>
                    <a:pt x="1015" y="1218"/>
                  </a:lnTo>
                  <a:lnTo>
                    <a:pt x="1015" y="1218"/>
                  </a:lnTo>
                  <a:lnTo>
                    <a:pt x="1015" y="1218"/>
                  </a:lnTo>
                  <a:lnTo>
                    <a:pt x="1015" y="1216"/>
                  </a:lnTo>
                  <a:lnTo>
                    <a:pt x="1015" y="1216"/>
                  </a:lnTo>
                  <a:lnTo>
                    <a:pt x="1015" y="1216"/>
                  </a:lnTo>
                  <a:lnTo>
                    <a:pt x="1015" y="1213"/>
                  </a:lnTo>
                  <a:lnTo>
                    <a:pt x="1015" y="1213"/>
                  </a:lnTo>
                  <a:lnTo>
                    <a:pt x="1015" y="1213"/>
                  </a:lnTo>
                  <a:lnTo>
                    <a:pt x="1015" y="1213"/>
                  </a:lnTo>
                  <a:lnTo>
                    <a:pt x="1015" y="1213"/>
                  </a:lnTo>
                  <a:lnTo>
                    <a:pt x="1015" y="1213"/>
                  </a:lnTo>
                  <a:lnTo>
                    <a:pt x="1018" y="1213"/>
                  </a:lnTo>
                  <a:lnTo>
                    <a:pt x="1018" y="1211"/>
                  </a:lnTo>
                  <a:lnTo>
                    <a:pt x="1018" y="1211"/>
                  </a:lnTo>
                  <a:lnTo>
                    <a:pt x="1020" y="1211"/>
                  </a:lnTo>
                  <a:lnTo>
                    <a:pt x="1020" y="1211"/>
                  </a:lnTo>
                  <a:lnTo>
                    <a:pt x="1022" y="1211"/>
                  </a:lnTo>
                  <a:lnTo>
                    <a:pt x="1022" y="1213"/>
                  </a:lnTo>
                  <a:lnTo>
                    <a:pt x="1022" y="1216"/>
                  </a:lnTo>
                  <a:lnTo>
                    <a:pt x="1025" y="1216"/>
                  </a:lnTo>
                  <a:lnTo>
                    <a:pt x="1025" y="1216"/>
                  </a:lnTo>
                  <a:lnTo>
                    <a:pt x="1025" y="1216"/>
                  </a:lnTo>
                  <a:lnTo>
                    <a:pt x="1025" y="1216"/>
                  </a:lnTo>
                  <a:lnTo>
                    <a:pt x="1025" y="1218"/>
                  </a:lnTo>
                  <a:lnTo>
                    <a:pt x="1025" y="1218"/>
                  </a:lnTo>
                  <a:lnTo>
                    <a:pt x="1025" y="1218"/>
                  </a:lnTo>
                  <a:lnTo>
                    <a:pt x="1025" y="1218"/>
                  </a:lnTo>
                  <a:lnTo>
                    <a:pt x="1025" y="1220"/>
                  </a:lnTo>
                  <a:lnTo>
                    <a:pt x="1025" y="1223"/>
                  </a:lnTo>
                  <a:lnTo>
                    <a:pt x="1025" y="1223"/>
                  </a:lnTo>
                  <a:lnTo>
                    <a:pt x="1025" y="1223"/>
                  </a:lnTo>
                  <a:lnTo>
                    <a:pt x="1027" y="1223"/>
                  </a:lnTo>
                  <a:lnTo>
                    <a:pt x="1027" y="1225"/>
                  </a:lnTo>
                  <a:lnTo>
                    <a:pt x="1025" y="1225"/>
                  </a:lnTo>
                  <a:lnTo>
                    <a:pt x="1022" y="1227"/>
                  </a:lnTo>
                  <a:lnTo>
                    <a:pt x="1022" y="1227"/>
                  </a:lnTo>
                  <a:lnTo>
                    <a:pt x="1022" y="1230"/>
                  </a:lnTo>
                  <a:lnTo>
                    <a:pt x="1022" y="1230"/>
                  </a:lnTo>
                  <a:lnTo>
                    <a:pt x="1022" y="1232"/>
                  </a:lnTo>
                  <a:lnTo>
                    <a:pt x="1022" y="1232"/>
                  </a:lnTo>
                  <a:lnTo>
                    <a:pt x="1025" y="1232"/>
                  </a:lnTo>
                  <a:lnTo>
                    <a:pt x="1027" y="1234"/>
                  </a:lnTo>
                  <a:lnTo>
                    <a:pt x="1030" y="1234"/>
                  </a:lnTo>
                  <a:lnTo>
                    <a:pt x="1032" y="1234"/>
                  </a:lnTo>
                  <a:lnTo>
                    <a:pt x="1032" y="1234"/>
                  </a:lnTo>
                  <a:lnTo>
                    <a:pt x="1034" y="1234"/>
                  </a:lnTo>
                  <a:lnTo>
                    <a:pt x="1034" y="1234"/>
                  </a:lnTo>
                  <a:lnTo>
                    <a:pt x="1034" y="1232"/>
                  </a:lnTo>
                  <a:lnTo>
                    <a:pt x="1044" y="1234"/>
                  </a:lnTo>
                  <a:lnTo>
                    <a:pt x="1044" y="1234"/>
                  </a:lnTo>
                  <a:lnTo>
                    <a:pt x="1044" y="1237"/>
                  </a:lnTo>
                  <a:lnTo>
                    <a:pt x="1044" y="1237"/>
                  </a:lnTo>
                  <a:lnTo>
                    <a:pt x="1046" y="1239"/>
                  </a:lnTo>
                  <a:lnTo>
                    <a:pt x="1046" y="1239"/>
                  </a:lnTo>
                  <a:lnTo>
                    <a:pt x="1051" y="1239"/>
                  </a:lnTo>
                  <a:lnTo>
                    <a:pt x="1051" y="1242"/>
                  </a:lnTo>
                  <a:lnTo>
                    <a:pt x="1056" y="1242"/>
                  </a:lnTo>
                  <a:lnTo>
                    <a:pt x="1056" y="1242"/>
                  </a:lnTo>
                  <a:lnTo>
                    <a:pt x="1056" y="1239"/>
                  </a:lnTo>
                  <a:lnTo>
                    <a:pt x="1053" y="1239"/>
                  </a:lnTo>
                  <a:lnTo>
                    <a:pt x="1053" y="1239"/>
                  </a:lnTo>
                  <a:lnTo>
                    <a:pt x="1053" y="1239"/>
                  </a:lnTo>
                  <a:lnTo>
                    <a:pt x="1056" y="1239"/>
                  </a:lnTo>
                  <a:lnTo>
                    <a:pt x="1058" y="1239"/>
                  </a:lnTo>
                  <a:lnTo>
                    <a:pt x="1058" y="1242"/>
                  </a:lnTo>
                  <a:lnTo>
                    <a:pt x="1058" y="1242"/>
                  </a:lnTo>
                  <a:lnTo>
                    <a:pt x="1058" y="1244"/>
                  </a:lnTo>
                  <a:lnTo>
                    <a:pt x="1058" y="1244"/>
                  </a:lnTo>
                  <a:lnTo>
                    <a:pt x="1056" y="1244"/>
                  </a:lnTo>
                  <a:lnTo>
                    <a:pt x="1056" y="1246"/>
                  </a:lnTo>
                  <a:lnTo>
                    <a:pt x="1056" y="1246"/>
                  </a:lnTo>
                  <a:lnTo>
                    <a:pt x="1056" y="1246"/>
                  </a:lnTo>
                  <a:lnTo>
                    <a:pt x="1053" y="1246"/>
                  </a:lnTo>
                  <a:lnTo>
                    <a:pt x="1051" y="1246"/>
                  </a:lnTo>
                  <a:lnTo>
                    <a:pt x="1051" y="1249"/>
                  </a:lnTo>
                  <a:lnTo>
                    <a:pt x="1051" y="1249"/>
                  </a:lnTo>
                  <a:lnTo>
                    <a:pt x="1051" y="1249"/>
                  </a:lnTo>
                  <a:lnTo>
                    <a:pt x="1048" y="1249"/>
                  </a:lnTo>
                  <a:lnTo>
                    <a:pt x="1051" y="1249"/>
                  </a:lnTo>
                  <a:lnTo>
                    <a:pt x="1051" y="1251"/>
                  </a:lnTo>
                  <a:lnTo>
                    <a:pt x="1051" y="1251"/>
                  </a:lnTo>
                  <a:lnTo>
                    <a:pt x="1053" y="1253"/>
                  </a:lnTo>
                  <a:lnTo>
                    <a:pt x="1053" y="1253"/>
                  </a:lnTo>
                  <a:lnTo>
                    <a:pt x="1060" y="1253"/>
                  </a:lnTo>
                  <a:lnTo>
                    <a:pt x="1065" y="1256"/>
                  </a:lnTo>
                  <a:lnTo>
                    <a:pt x="1067" y="1256"/>
                  </a:lnTo>
                  <a:lnTo>
                    <a:pt x="1070" y="1253"/>
                  </a:lnTo>
                  <a:lnTo>
                    <a:pt x="1070" y="1253"/>
                  </a:lnTo>
                  <a:lnTo>
                    <a:pt x="1070" y="1251"/>
                  </a:lnTo>
                  <a:lnTo>
                    <a:pt x="1070" y="1251"/>
                  </a:lnTo>
                  <a:lnTo>
                    <a:pt x="1070" y="1251"/>
                  </a:lnTo>
                  <a:lnTo>
                    <a:pt x="1072" y="1251"/>
                  </a:lnTo>
                  <a:lnTo>
                    <a:pt x="1072" y="1253"/>
                  </a:lnTo>
                  <a:lnTo>
                    <a:pt x="1074" y="1253"/>
                  </a:lnTo>
                  <a:lnTo>
                    <a:pt x="1074" y="1253"/>
                  </a:lnTo>
                  <a:lnTo>
                    <a:pt x="1072" y="1251"/>
                  </a:lnTo>
                  <a:lnTo>
                    <a:pt x="1072" y="1251"/>
                  </a:lnTo>
                  <a:lnTo>
                    <a:pt x="1074" y="1251"/>
                  </a:lnTo>
                  <a:lnTo>
                    <a:pt x="1074" y="1251"/>
                  </a:lnTo>
                  <a:lnTo>
                    <a:pt x="1074" y="1251"/>
                  </a:lnTo>
                  <a:lnTo>
                    <a:pt x="1074" y="1251"/>
                  </a:lnTo>
                  <a:lnTo>
                    <a:pt x="1074" y="1253"/>
                  </a:lnTo>
                  <a:lnTo>
                    <a:pt x="1074" y="1253"/>
                  </a:lnTo>
                  <a:lnTo>
                    <a:pt x="1074" y="1253"/>
                  </a:lnTo>
                  <a:lnTo>
                    <a:pt x="1074" y="1253"/>
                  </a:lnTo>
                  <a:lnTo>
                    <a:pt x="1074" y="1256"/>
                  </a:lnTo>
                  <a:lnTo>
                    <a:pt x="1077" y="1256"/>
                  </a:lnTo>
                  <a:lnTo>
                    <a:pt x="1079" y="1256"/>
                  </a:lnTo>
                  <a:lnTo>
                    <a:pt x="1082" y="1256"/>
                  </a:lnTo>
                  <a:lnTo>
                    <a:pt x="1082" y="1256"/>
                  </a:lnTo>
                  <a:lnTo>
                    <a:pt x="1084" y="1258"/>
                  </a:lnTo>
                  <a:lnTo>
                    <a:pt x="1084" y="1258"/>
                  </a:lnTo>
                  <a:lnTo>
                    <a:pt x="1086" y="1258"/>
                  </a:lnTo>
                  <a:lnTo>
                    <a:pt x="1086" y="1258"/>
                  </a:lnTo>
                  <a:lnTo>
                    <a:pt x="1086" y="1258"/>
                  </a:lnTo>
                  <a:lnTo>
                    <a:pt x="1089" y="1260"/>
                  </a:lnTo>
                  <a:lnTo>
                    <a:pt x="1089" y="1260"/>
                  </a:lnTo>
                  <a:lnTo>
                    <a:pt x="1091" y="1258"/>
                  </a:lnTo>
                  <a:lnTo>
                    <a:pt x="1091" y="1258"/>
                  </a:lnTo>
                  <a:lnTo>
                    <a:pt x="1091" y="1258"/>
                  </a:lnTo>
                  <a:lnTo>
                    <a:pt x="1093" y="1260"/>
                  </a:lnTo>
                  <a:lnTo>
                    <a:pt x="1093" y="1263"/>
                  </a:lnTo>
                  <a:lnTo>
                    <a:pt x="1093" y="1263"/>
                  </a:lnTo>
                  <a:lnTo>
                    <a:pt x="1096" y="1263"/>
                  </a:lnTo>
                  <a:lnTo>
                    <a:pt x="1096" y="1263"/>
                  </a:lnTo>
                  <a:lnTo>
                    <a:pt x="1096" y="1260"/>
                  </a:lnTo>
                  <a:lnTo>
                    <a:pt x="1096" y="1260"/>
                  </a:lnTo>
                  <a:lnTo>
                    <a:pt x="1096" y="1260"/>
                  </a:lnTo>
                  <a:lnTo>
                    <a:pt x="1096" y="1258"/>
                  </a:lnTo>
                  <a:lnTo>
                    <a:pt x="1101" y="1258"/>
                  </a:lnTo>
                  <a:lnTo>
                    <a:pt x="1101" y="1258"/>
                  </a:lnTo>
                  <a:lnTo>
                    <a:pt x="1101" y="1258"/>
                  </a:lnTo>
                  <a:lnTo>
                    <a:pt x="1103" y="1260"/>
                  </a:lnTo>
                  <a:lnTo>
                    <a:pt x="1103" y="1260"/>
                  </a:lnTo>
                  <a:lnTo>
                    <a:pt x="1103" y="1260"/>
                  </a:lnTo>
                  <a:lnTo>
                    <a:pt x="1105" y="1260"/>
                  </a:lnTo>
                  <a:lnTo>
                    <a:pt x="1105" y="1260"/>
                  </a:lnTo>
                  <a:lnTo>
                    <a:pt x="1108" y="1260"/>
                  </a:lnTo>
                  <a:lnTo>
                    <a:pt x="1108" y="1260"/>
                  </a:lnTo>
                  <a:lnTo>
                    <a:pt x="1110" y="1260"/>
                  </a:lnTo>
                  <a:lnTo>
                    <a:pt x="1110" y="1260"/>
                  </a:lnTo>
                  <a:lnTo>
                    <a:pt x="1112" y="1258"/>
                  </a:lnTo>
                  <a:lnTo>
                    <a:pt x="1112" y="1258"/>
                  </a:lnTo>
                  <a:lnTo>
                    <a:pt x="1112" y="1258"/>
                  </a:lnTo>
                  <a:lnTo>
                    <a:pt x="1110" y="1256"/>
                  </a:lnTo>
                  <a:lnTo>
                    <a:pt x="1110" y="1256"/>
                  </a:lnTo>
                  <a:lnTo>
                    <a:pt x="1110" y="1256"/>
                  </a:lnTo>
                  <a:lnTo>
                    <a:pt x="1112" y="1256"/>
                  </a:lnTo>
                  <a:lnTo>
                    <a:pt x="1112" y="1256"/>
                  </a:lnTo>
                  <a:lnTo>
                    <a:pt x="1112" y="1258"/>
                  </a:lnTo>
                  <a:lnTo>
                    <a:pt x="1115" y="1258"/>
                  </a:lnTo>
                  <a:lnTo>
                    <a:pt x="1117" y="1258"/>
                  </a:lnTo>
                  <a:lnTo>
                    <a:pt x="1117" y="1256"/>
                  </a:lnTo>
                  <a:lnTo>
                    <a:pt x="1117" y="1256"/>
                  </a:lnTo>
                  <a:lnTo>
                    <a:pt x="1117" y="1256"/>
                  </a:lnTo>
                  <a:lnTo>
                    <a:pt x="1119" y="1256"/>
                  </a:lnTo>
                  <a:lnTo>
                    <a:pt x="1119" y="1256"/>
                  </a:lnTo>
                  <a:lnTo>
                    <a:pt x="1119" y="1253"/>
                  </a:lnTo>
                  <a:lnTo>
                    <a:pt x="1119" y="1253"/>
                  </a:lnTo>
                  <a:lnTo>
                    <a:pt x="1119" y="1253"/>
                  </a:lnTo>
                  <a:lnTo>
                    <a:pt x="1119" y="1253"/>
                  </a:lnTo>
                  <a:lnTo>
                    <a:pt x="1119" y="1251"/>
                  </a:lnTo>
                  <a:lnTo>
                    <a:pt x="1119" y="1251"/>
                  </a:lnTo>
                  <a:lnTo>
                    <a:pt x="1122" y="1251"/>
                  </a:lnTo>
                  <a:lnTo>
                    <a:pt x="1122" y="1253"/>
                  </a:lnTo>
                  <a:lnTo>
                    <a:pt x="1124" y="1251"/>
                  </a:lnTo>
                  <a:lnTo>
                    <a:pt x="1124" y="1251"/>
                  </a:lnTo>
                  <a:lnTo>
                    <a:pt x="1127" y="1251"/>
                  </a:lnTo>
                  <a:lnTo>
                    <a:pt x="1127" y="1251"/>
                  </a:lnTo>
                  <a:lnTo>
                    <a:pt x="1127" y="1249"/>
                  </a:lnTo>
                  <a:lnTo>
                    <a:pt x="1127" y="1249"/>
                  </a:lnTo>
                  <a:lnTo>
                    <a:pt x="1129" y="1249"/>
                  </a:lnTo>
                  <a:lnTo>
                    <a:pt x="1129" y="1249"/>
                  </a:lnTo>
                  <a:lnTo>
                    <a:pt x="1129" y="1249"/>
                  </a:lnTo>
                  <a:lnTo>
                    <a:pt x="1129" y="1249"/>
                  </a:lnTo>
                  <a:lnTo>
                    <a:pt x="1129" y="1251"/>
                  </a:lnTo>
                  <a:lnTo>
                    <a:pt x="1131" y="1251"/>
                  </a:lnTo>
                  <a:lnTo>
                    <a:pt x="1134" y="1249"/>
                  </a:lnTo>
                  <a:lnTo>
                    <a:pt x="1134" y="1249"/>
                  </a:lnTo>
                  <a:lnTo>
                    <a:pt x="1134" y="1249"/>
                  </a:lnTo>
                  <a:lnTo>
                    <a:pt x="1134" y="1246"/>
                  </a:lnTo>
                  <a:lnTo>
                    <a:pt x="1134" y="1246"/>
                  </a:lnTo>
                  <a:lnTo>
                    <a:pt x="1134" y="1246"/>
                  </a:lnTo>
                  <a:lnTo>
                    <a:pt x="1134" y="1246"/>
                  </a:lnTo>
                  <a:lnTo>
                    <a:pt x="1134" y="1242"/>
                  </a:lnTo>
                  <a:lnTo>
                    <a:pt x="1136" y="1239"/>
                  </a:lnTo>
                  <a:lnTo>
                    <a:pt x="1136" y="1237"/>
                  </a:lnTo>
                  <a:lnTo>
                    <a:pt x="1136" y="1234"/>
                  </a:lnTo>
                  <a:lnTo>
                    <a:pt x="1134" y="1234"/>
                  </a:lnTo>
                  <a:lnTo>
                    <a:pt x="1134" y="1234"/>
                  </a:lnTo>
                  <a:lnTo>
                    <a:pt x="1131" y="1232"/>
                  </a:lnTo>
                  <a:lnTo>
                    <a:pt x="1131" y="1232"/>
                  </a:lnTo>
                  <a:lnTo>
                    <a:pt x="1131" y="1230"/>
                  </a:lnTo>
                  <a:lnTo>
                    <a:pt x="1131" y="1230"/>
                  </a:lnTo>
                  <a:lnTo>
                    <a:pt x="1129" y="1232"/>
                  </a:lnTo>
                  <a:lnTo>
                    <a:pt x="1129" y="1232"/>
                  </a:lnTo>
                  <a:lnTo>
                    <a:pt x="1129" y="1232"/>
                  </a:lnTo>
                  <a:lnTo>
                    <a:pt x="1129" y="1234"/>
                  </a:lnTo>
                  <a:lnTo>
                    <a:pt x="1129" y="1234"/>
                  </a:lnTo>
                  <a:lnTo>
                    <a:pt x="1127" y="1237"/>
                  </a:lnTo>
                  <a:lnTo>
                    <a:pt x="1127" y="1237"/>
                  </a:lnTo>
                  <a:lnTo>
                    <a:pt x="1127" y="1234"/>
                  </a:lnTo>
                  <a:lnTo>
                    <a:pt x="1127" y="1234"/>
                  </a:lnTo>
                  <a:lnTo>
                    <a:pt x="1127" y="1234"/>
                  </a:lnTo>
                  <a:lnTo>
                    <a:pt x="1124" y="1234"/>
                  </a:lnTo>
                  <a:lnTo>
                    <a:pt x="1124" y="1232"/>
                  </a:lnTo>
                  <a:lnTo>
                    <a:pt x="1124" y="1232"/>
                  </a:lnTo>
                  <a:lnTo>
                    <a:pt x="1124" y="1232"/>
                  </a:lnTo>
                  <a:lnTo>
                    <a:pt x="1124" y="1232"/>
                  </a:lnTo>
                  <a:lnTo>
                    <a:pt x="1124" y="1230"/>
                  </a:lnTo>
                  <a:lnTo>
                    <a:pt x="1124" y="1230"/>
                  </a:lnTo>
                  <a:lnTo>
                    <a:pt x="1124" y="1230"/>
                  </a:lnTo>
                  <a:lnTo>
                    <a:pt x="1124" y="1230"/>
                  </a:lnTo>
                  <a:lnTo>
                    <a:pt x="1127" y="1230"/>
                  </a:lnTo>
                  <a:lnTo>
                    <a:pt x="1127" y="1230"/>
                  </a:lnTo>
                  <a:lnTo>
                    <a:pt x="1127" y="1232"/>
                  </a:lnTo>
                  <a:lnTo>
                    <a:pt x="1127" y="1232"/>
                  </a:lnTo>
                  <a:lnTo>
                    <a:pt x="1129" y="1232"/>
                  </a:lnTo>
                  <a:lnTo>
                    <a:pt x="1129" y="1230"/>
                  </a:lnTo>
                  <a:lnTo>
                    <a:pt x="1129" y="1230"/>
                  </a:lnTo>
                  <a:lnTo>
                    <a:pt x="1129" y="1227"/>
                  </a:lnTo>
                  <a:lnTo>
                    <a:pt x="1129" y="1227"/>
                  </a:lnTo>
                  <a:lnTo>
                    <a:pt x="1127" y="1227"/>
                  </a:lnTo>
                  <a:lnTo>
                    <a:pt x="1127" y="1227"/>
                  </a:lnTo>
                  <a:lnTo>
                    <a:pt x="1127" y="1225"/>
                  </a:lnTo>
                  <a:lnTo>
                    <a:pt x="1127" y="1225"/>
                  </a:lnTo>
                  <a:lnTo>
                    <a:pt x="1127" y="1225"/>
                  </a:lnTo>
                  <a:lnTo>
                    <a:pt x="1127" y="1225"/>
                  </a:lnTo>
                  <a:lnTo>
                    <a:pt x="1127" y="1227"/>
                  </a:lnTo>
                  <a:lnTo>
                    <a:pt x="1127" y="1227"/>
                  </a:lnTo>
                  <a:lnTo>
                    <a:pt x="1127" y="1225"/>
                  </a:lnTo>
                  <a:lnTo>
                    <a:pt x="1127" y="1225"/>
                  </a:lnTo>
                  <a:lnTo>
                    <a:pt x="1127" y="1225"/>
                  </a:lnTo>
                  <a:lnTo>
                    <a:pt x="1127" y="1225"/>
                  </a:lnTo>
                  <a:lnTo>
                    <a:pt x="1127" y="1225"/>
                  </a:lnTo>
                  <a:lnTo>
                    <a:pt x="1127" y="1223"/>
                  </a:lnTo>
                  <a:lnTo>
                    <a:pt x="1129" y="1225"/>
                  </a:lnTo>
                  <a:lnTo>
                    <a:pt x="1131" y="1220"/>
                  </a:lnTo>
                  <a:lnTo>
                    <a:pt x="1131" y="1220"/>
                  </a:lnTo>
                  <a:lnTo>
                    <a:pt x="1131" y="1218"/>
                  </a:lnTo>
                  <a:lnTo>
                    <a:pt x="1129" y="1216"/>
                  </a:lnTo>
                  <a:lnTo>
                    <a:pt x="1129" y="1216"/>
                  </a:lnTo>
                  <a:lnTo>
                    <a:pt x="1124" y="1216"/>
                  </a:lnTo>
                  <a:lnTo>
                    <a:pt x="1124" y="1213"/>
                  </a:lnTo>
                  <a:lnTo>
                    <a:pt x="1122" y="1213"/>
                  </a:lnTo>
                  <a:lnTo>
                    <a:pt x="1122" y="1216"/>
                  </a:lnTo>
                  <a:lnTo>
                    <a:pt x="1122" y="1216"/>
                  </a:lnTo>
                  <a:lnTo>
                    <a:pt x="1119" y="1216"/>
                  </a:lnTo>
                  <a:lnTo>
                    <a:pt x="1119" y="1216"/>
                  </a:lnTo>
                  <a:lnTo>
                    <a:pt x="1117" y="1218"/>
                  </a:lnTo>
                  <a:lnTo>
                    <a:pt x="1117" y="1220"/>
                  </a:lnTo>
                  <a:lnTo>
                    <a:pt x="1115" y="1220"/>
                  </a:lnTo>
                  <a:lnTo>
                    <a:pt x="1115" y="1220"/>
                  </a:lnTo>
                  <a:lnTo>
                    <a:pt x="1112" y="1223"/>
                  </a:lnTo>
                  <a:lnTo>
                    <a:pt x="1110" y="1223"/>
                  </a:lnTo>
                  <a:lnTo>
                    <a:pt x="1110" y="1223"/>
                  </a:lnTo>
                  <a:lnTo>
                    <a:pt x="1110" y="1223"/>
                  </a:lnTo>
                  <a:lnTo>
                    <a:pt x="1110" y="1223"/>
                  </a:lnTo>
                  <a:lnTo>
                    <a:pt x="1110" y="1223"/>
                  </a:lnTo>
                  <a:lnTo>
                    <a:pt x="1110" y="1223"/>
                  </a:lnTo>
                  <a:lnTo>
                    <a:pt x="1110" y="1223"/>
                  </a:lnTo>
                  <a:lnTo>
                    <a:pt x="1108" y="1223"/>
                  </a:lnTo>
                  <a:lnTo>
                    <a:pt x="1108" y="1225"/>
                  </a:lnTo>
                  <a:lnTo>
                    <a:pt x="1108" y="1225"/>
                  </a:lnTo>
                  <a:lnTo>
                    <a:pt x="1108" y="1225"/>
                  </a:lnTo>
                  <a:lnTo>
                    <a:pt x="1108" y="1227"/>
                  </a:lnTo>
                  <a:lnTo>
                    <a:pt x="1108" y="1227"/>
                  </a:lnTo>
                  <a:lnTo>
                    <a:pt x="1108" y="1227"/>
                  </a:lnTo>
                  <a:lnTo>
                    <a:pt x="1105" y="1232"/>
                  </a:lnTo>
                  <a:lnTo>
                    <a:pt x="1105" y="1234"/>
                  </a:lnTo>
                  <a:lnTo>
                    <a:pt x="1103" y="1234"/>
                  </a:lnTo>
                  <a:lnTo>
                    <a:pt x="1103" y="1237"/>
                  </a:lnTo>
                  <a:lnTo>
                    <a:pt x="1103" y="1237"/>
                  </a:lnTo>
                  <a:lnTo>
                    <a:pt x="1103" y="1237"/>
                  </a:lnTo>
                  <a:lnTo>
                    <a:pt x="1101" y="1239"/>
                  </a:lnTo>
                  <a:lnTo>
                    <a:pt x="1101" y="1239"/>
                  </a:lnTo>
                  <a:lnTo>
                    <a:pt x="1101" y="1239"/>
                  </a:lnTo>
                  <a:lnTo>
                    <a:pt x="1101" y="1239"/>
                  </a:lnTo>
                  <a:lnTo>
                    <a:pt x="1101" y="1239"/>
                  </a:lnTo>
                  <a:lnTo>
                    <a:pt x="1101" y="1239"/>
                  </a:lnTo>
                  <a:lnTo>
                    <a:pt x="1101" y="1239"/>
                  </a:lnTo>
                  <a:lnTo>
                    <a:pt x="1101" y="1237"/>
                  </a:lnTo>
                  <a:lnTo>
                    <a:pt x="1101" y="1237"/>
                  </a:lnTo>
                  <a:lnTo>
                    <a:pt x="1101" y="1237"/>
                  </a:lnTo>
                  <a:lnTo>
                    <a:pt x="1101" y="1234"/>
                  </a:lnTo>
                  <a:lnTo>
                    <a:pt x="1101" y="1234"/>
                  </a:lnTo>
                  <a:lnTo>
                    <a:pt x="1101" y="1234"/>
                  </a:lnTo>
                  <a:lnTo>
                    <a:pt x="1101" y="1234"/>
                  </a:lnTo>
                  <a:lnTo>
                    <a:pt x="1101" y="1234"/>
                  </a:lnTo>
                  <a:lnTo>
                    <a:pt x="1103" y="1232"/>
                  </a:lnTo>
                  <a:lnTo>
                    <a:pt x="1105" y="1230"/>
                  </a:lnTo>
                  <a:lnTo>
                    <a:pt x="1105" y="1230"/>
                  </a:lnTo>
                  <a:lnTo>
                    <a:pt x="1105" y="1225"/>
                  </a:lnTo>
                  <a:lnTo>
                    <a:pt x="1105" y="1225"/>
                  </a:lnTo>
                  <a:lnTo>
                    <a:pt x="1105" y="1223"/>
                  </a:lnTo>
                  <a:lnTo>
                    <a:pt x="1105" y="1223"/>
                  </a:lnTo>
                  <a:lnTo>
                    <a:pt x="1105" y="1220"/>
                  </a:lnTo>
                  <a:lnTo>
                    <a:pt x="1105" y="1220"/>
                  </a:lnTo>
                  <a:lnTo>
                    <a:pt x="1105" y="1218"/>
                  </a:lnTo>
                  <a:lnTo>
                    <a:pt x="1105" y="1218"/>
                  </a:lnTo>
                  <a:lnTo>
                    <a:pt x="1105" y="1218"/>
                  </a:lnTo>
                  <a:lnTo>
                    <a:pt x="1105" y="1218"/>
                  </a:lnTo>
                  <a:lnTo>
                    <a:pt x="1105" y="1216"/>
                  </a:lnTo>
                  <a:lnTo>
                    <a:pt x="1105" y="1216"/>
                  </a:lnTo>
                  <a:lnTo>
                    <a:pt x="1105" y="1213"/>
                  </a:lnTo>
                  <a:lnTo>
                    <a:pt x="1105" y="1213"/>
                  </a:lnTo>
                  <a:lnTo>
                    <a:pt x="1105" y="1213"/>
                  </a:lnTo>
                  <a:lnTo>
                    <a:pt x="1103" y="1213"/>
                  </a:lnTo>
                  <a:lnTo>
                    <a:pt x="1103" y="1213"/>
                  </a:lnTo>
                  <a:lnTo>
                    <a:pt x="1103" y="1213"/>
                  </a:lnTo>
                  <a:lnTo>
                    <a:pt x="1103" y="1216"/>
                  </a:lnTo>
                  <a:lnTo>
                    <a:pt x="1103" y="1216"/>
                  </a:lnTo>
                  <a:lnTo>
                    <a:pt x="1103" y="1218"/>
                  </a:lnTo>
                  <a:lnTo>
                    <a:pt x="1103" y="1218"/>
                  </a:lnTo>
                  <a:lnTo>
                    <a:pt x="1103" y="1218"/>
                  </a:lnTo>
                  <a:lnTo>
                    <a:pt x="1103" y="1213"/>
                  </a:lnTo>
                  <a:lnTo>
                    <a:pt x="1101" y="1211"/>
                  </a:lnTo>
                  <a:lnTo>
                    <a:pt x="1101" y="1211"/>
                  </a:lnTo>
                  <a:lnTo>
                    <a:pt x="1098" y="1208"/>
                  </a:lnTo>
                  <a:lnTo>
                    <a:pt x="1096" y="1206"/>
                  </a:lnTo>
                  <a:lnTo>
                    <a:pt x="1093" y="1206"/>
                  </a:lnTo>
                  <a:lnTo>
                    <a:pt x="1096" y="1201"/>
                  </a:lnTo>
                  <a:lnTo>
                    <a:pt x="1096" y="1201"/>
                  </a:lnTo>
                  <a:lnTo>
                    <a:pt x="1093" y="1199"/>
                  </a:lnTo>
                  <a:lnTo>
                    <a:pt x="1096" y="1199"/>
                  </a:lnTo>
                  <a:lnTo>
                    <a:pt x="1096" y="1199"/>
                  </a:lnTo>
                  <a:lnTo>
                    <a:pt x="1096" y="1199"/>
                  </a:lnTo>
                  <a:lnTo>
                    <a:pt x="1096" y="1199"/>
                  </a:lnTo>
                  <a:lnTo>
                    <a:pt x="1098" y="1201"/>
                  </a:lnTo>
                  <a:lnTo>
                    <a:pt x="1098" y="1201"/>
                  </a:lnTo>
                  <a:lnTo>
                    <a:pt x="1098" y="1201"/>
                  </a:lnTo>
                  <a:lnTo>
                    <a:pt x="1098" y="1201"/>
                  </a:lnTo>
                  <a:lnTo>
                    <a:pt x="1098" y="1199"/>
                  </a:lnTo>
                  <a:lnTo>
                    <a:pt x="1101" y="1201"/>
                  </a:lnTo>
                  <a:lnTo>
                    <a:pt x="1101" y="1204"/>
                  </a:lnTo>
                  <a:lnTo>
                    <a:pt x="1103" y="1206"/>
                  </a:lnTo>
                  <a:lnTo>
                    <a:pt x="1103" y="1206"/>
                  </a:lnTo>
                  <a:lnTo>
                    <a:pt x="1105" y="1208"/>
                  </a:lnTo>
                  <a:lnTo>
                    <a:pt x="1105" y="1208"/>
                  </a:lnTo>
                  <a:lnTo>
                    <a:pt x="1110" y="1211"/>
                  </a:lnTo>
                  <a:lnTo>
                    <a:pt x="1110" y="1211"/>
                  </a:lnTo>
                  <a:lnTo>
                    <a:pt x="1112" y="1211"/>
                  </a:lnTo>
                  <a:lnTo>
                    <a:pt x="1112" y="1211"/>
                  </a:lnTo>
                  <a:lnTo>
                    <a:pt x="1112" y="1211"/>
                  </a:lnTo>
                  <a:lnTo>
                    <a:pt x="1115" y="1211"/>
                  </a:lnTo>
                  <a:lnTo>
                    <a:pt x="1117" y="1211"/>
                  </a:lnTo>
                  <a:lnTo>
                    <a:pt x="1117" y="1211"/>
                  </a:lnTo>
                  <a:lnTo>
                    <a:pt x="1117" y="1211"/>
                  </a:lnTo>
                  <a:lnTo>
                    <a:pt x="1117" y="1208"/>
                  </a:lnTo>
                  <a:lnTo>
                    <a:pt x="1117" y="1208"/>
                  </a:lnTo>
                  <a:lnTo>
                    <a:pt x="1117" y="1208"/>
                  </a:lnTo>
                  <a:lnTo>
                    <a:pt x="1117" y="1208"/>
                  </a:lnTo>
                  <a:lnTo>
                    <a:pt x="1117" y="1208"/>
                  </a:lnTo>
                  <a:lnTo>
                    <a:pt x="1117" y="1208"/>
                  </a:lnTo>
                  <a:lnTo>
                    <a:pt x="1117" y="1206"/>
                  </a:lnTo>
                  <a:lnTo>
                    <a:pt x="1117" y="1204"/>
                  </a:lnTo>
                  <a:lnTo>
                    <a:pt x="1119" y="1201"/>
                  </a:lnTo>
                  <a:lnTo>
                    <a:pt x="1119" y="1201"/>
                  </a:lnTo>
                  <a:lnTo>
                    <a:pt x="1117" y="1201"/>
                  </a:lnTo>
                  <a:lnTo>
                    <a:pt x="1115" y="1199"/>
                  </a:lnTo>
                  <a:lnTo>
                    <a:pt x="1115" y="1197"/>
                  </a:lnTo>
                  <a:lnTo>
                    <a:pt x="1115" y="1194"/>
                  </a:lnTo>
                  <a:lnTo>
                    <a:pt x="1115" y="1197"/>
                  </a:lnTo>
                  <a:lnTo>
                    <a:pt x="1115" y="1197"/>
                  </a:lnTo>
                  <a:lnTo>
                    <a:pt x="1115" y="1197"/>
                  </a:lnTo>
                  <a:lnTo>
                    <a:pt x="1117" y="1197"/>
                  </a:lnTo>
                  <a:lnTo>
                    <a:pt x="1117" y="1197"/>
                  </a:lnTo>
                  <a:lnTo>
                    <a:pt x="1117" y="1197"/>
                  </a:lnTo>
                  <a:lnTo>
                    <a:pt x="1117" y="1197"/>
                  </a:lnTo>
                  <a:lnTo>
                    <a:pt x="1117" y="1197"/>
                  </a:lnTo>
                  <a:lnTo>
                    <a:pt x="1119" y="1194"/>
                  </a:lnTo>
                  <a:lnTo>
                    <a:pt x="1119" y="1194"/>
                  </a:lnTo>
                  <a:lnTo>
                    <a:pt x="1119" y="1194"/>
                  </a:lnTo>
                  <a:lnTo>
                    <a:pt x="1119" y="1194"/>
                  </a:lnTo>
                  <a:lnTo>
                    <a:pt x="1119" y="1194"/>
                  </a:lnTo>
                  <a:lnTo>
                    <a:pt x="1119" y="1194"/>
                  </a:lnTo>
                  <a:lnTo>
                    <a:pt x="1119" y="1194"/>
                  </a:lnTo>
                  <a:lnTo>
                    <a:pt x="1119" y="1194"/>
                  </a:lnTo>
                  <a:lnTo>
                    <a:pt x="1122" y="1194"/>
                  </a:lnTo>
                  <a:lnTo>
                    <a:pt x="1122" y="1194"/>
                  </a:lnTo>
                  <a:lnTo>
                    <a:pt x="1122" y="1192"/>
                  </a:lnTo>
                  <a:lnTo>
                    <a:pt x="1122" y="1192"/>
                  </a:lnTo>
                  <a:lnTo>
                    <a:pt x="1122" y="1192"/>
                  </a:lnTo>
                  <a:lnTo>
                    <a:pt x="1122" y="1194"/>
                  </a:lnTo>
                  <a:lnTo>
                    <a:pt x="1122" y="1194"/>
                  </a:lnTo>
                  <a:lnTo>
                    <a:pt x="1122" y="1194"/>
                  </a:lnTo>
                  <a:lnTo>
                    <a:pt x="1122" y="1197"/>
                  </a:lnTo>
                  <a:lnTo>
                    <a:pt x="1122" y="1197"/>
                  </a:lnTo>
                  <a:lnTo>
                    <a:pt x="1122" y="1197"/>
                  </a:lnTo>
                  <a:lnTo>
                    <a:pt x="1122" y="1197"/>
                  </a:lnTo>
                  <a:lnTo>
                    <a:pt x="1122" y="1194"/>
                  </a:lnTo>
                  <a:lnTo>
                    <a:pt x="1124" y="1194"/>
                  </a:lnTo>
                  <a:lnTo>
                    <a:pt x="1124" y="1194"/>
                  </a:lnTo>
                  <a:lnTo>
                    <a:pt x="1124" y="1192"/>
                  </a:lnTo>
                  <a:lnTo>
                    <a:pt x="1122" y="1192"/>
                  </a:lnTo>
                  <a:lnTo>
                    <a:pt x="1122" y="1192"/>
                  </a:lnTo>
                  <a:lnTo>
                    <a:pt x="1122" y="1189"/>
                  </a:lnTo>
                  <a:lnTo>
                    <a:pt x="1124" y="1189"/>
                  </a:lnTo>
                  <a:lnTo>
                    <a:pt x="1124" y="1189"/>
                  </a:lnTo>
                  <a:lnTo>
                    <a:pt x="1124" y="1187"/>
                  </a:lnTo>
                  <a:lnTo>
                    <a:pt x="1124" y="1185"/>
                  </a:lnTo>
                  <a:lnTo>
                    <a:pt x="1124" y="1185"/>
                  </a:lnTo>
                  <a:lnTo>
                    <a:pt x="1127" y="1185"/>
                  </a:lnTo>
                  <a:lnTo>
                    <a:pt x="1127" y="1187"/>
                  </a:lnTo>
                  <a:lnTo>
                    <a:pt x="1127" y="1187"/>
                  </a:lnTo>
                  <a:lnTo>
                    <a:pt x="1127" y="1189"/>
                  </a:lnTo>
                  <a:lnTo>
                    <a:pt x="1127" y="1189"/>
                  </a:lnTo>
                  <a:lnTo>
                    <a:pt x="1127" y="1189"/>
                  </a:lnTo>
                  <a:lnTo>
                    <a:pt x="1127" y="1192"/>
                  </a:lnTo>
                  <a:lnTo>
                    <a:pt x="1127" y="1192"/>
                  </a:lnTo>
                  <a:lnTo>
                    <a:pt x="1127" y="1192"/>
                  </a:lnTo>
                  <a:lnTo>
                    <a:pt x="1129" y="1192"/>
                  </a:lnTo>
                  <a:lnTo>
                    <a:pt x="1129" y="1189"/>
                  </a:lnTo>
                  <a:lnTo>
                    <a:pt x="1129" y="1189"/>
                  </a:lnTo>
                  <a:lnTo>
                    <a:pt x="1129" y="1189"/>
                  </a:lnTo>
                  <a:lnTo>
                    <a:pt x="1129" y="1192"/>
                  </a:lnTo>
                  <a:lnTo>
                    <a:pt x="1129" y="1192"/>
                  </a:lnTo>
                  <a:lnTo>
                    <a:pt x="1129" y="1194"/>
                  </a:lnTo>
                  <a:lnTo>
                    <a:pt x="1131" y="1194"/>
                  </a:lnTo>
                  <a:lnTo>
                    <a:pt x="1131" y="1194"/>
                  </a:lnTo>
                  <a:lnTo>
                    <a:pt x="1131" y="1194"/>
                  </a:lnTo>
                  <a:lnTo>
                    <a:pt x="1131" y="1199"/>
                  </a:lnTo>
                  <a:lnTo>
                    <a:pt x="1131" y="1199"/>
                  </a:lnTo>
                  <a:lnTo>
                    <a:pt x="1134" y="1199"/>
                  </a:lnTo>
                  <a:lnTo>
                    <a:pt x="1134" y="1197"/>
                  </a:lnTo>
                  <a:lnTo>
                    <a:pt x="1134" y="1197"/>
                  </a:lnTo>
                  <a:lnTo>
                    <a:pt x="1134" y="1197"/>
                  </a:lnTo>
                  <a:lnTo>
                    <a:pt x="1138" y="1201"/>
                  </a:lnTo>
                  <a:lnTo>
                    <a:pt x="1138" y="1201"/>
                  </a:lnTo>
                  <a:lnTo>
                    <a:pt x="1138" y="1201"/>
                  </a:lnTo>
                  <a:lnTo>
                    <a:pt x="1138" y="1204"/>
                  </a:lnTo>
                  <a:lnTo>
                    <a:pt x="1138" y="1204"/>
                  </a:lnTo>
                  <a:lnTo>
                    <a:pt x="1138" y="1204"/>
                  </a:lnTo>
                  <a:lnTo>
                    <a:pt x="1138" y="1201"/>
                  </a:lnTo>
                  <a:lnTo>
                    <a:pt x="1138" y="1201"/>
                  </a:lnTo>
                  <a:lnTo>
                    <a:pt x="1141" y="1199"/>
                  </a:lnTo>
                  <a:lnTo>
                    <a:pt x="1141" y="1197"/>
                  </a:lnTo>
                  <a:lnTo>
                    <a:pt x="1141" y="1197"/>
                  </a:lnTo>
                  <a:lnTo>
                    <a:pt x="1141" y="1194"/>
                  </a:lnTo>
                  <a:lnTo>
                    <a:pt x="1143" y="1187"/>
                  </a:lnTo>
                  <a:lnTo>
                    <a:pt x="1143" y="1187"/>
                  </a:lnTo>
                  <a:lnTo>
                    <a:pt x="1143" y="1187"/>
                  </a:lnTo>
                  <a:lnTo>
                    <a:pt x="1143" y="1187"/>
                  </a:lnTo>
                  <a:lnTo>
                    <a:pt x="1143" y="1187"/>
                  </a:lnTo>
                  <a:lnTo>
                    <a:pt x="1143" y="1189"/>
                  </a:lnTo>
                  <a:lnTo>
                    <a:pt x="1143" y="1192"/>
                  </a:lnTo>
                  <a:lnTo>
                    <a:pt x="1143" y="1192"/>
                  </a:lnTo>
                  <a:lnTo>
                    <a:pt x="1143" y="1197"/>
                  </a:lnTo>
                  <a:lnTo>
                    <a:pt x="1145" y="1199"/>
                  </a:lnTo>
                  <a:lnTo>
                    <a:pt x="1145" y="1199"/>
                  </a:lnTo>
                  <a:lnTo>
                    <a:pt x="1145" y="1201"/>
                  </a:lnTo>
                  <a:lnTo>
                    <a:pt x="1145" y="1201"/>
                  </a:lnTo>
                  <a:lnTo>
                    <a:pt x="1148" y="1204"/>
                  </a:lnTo>
                  <a:lnTo>
                    <a:pt x="1148" y="1204"/>
                  </a:lnTo>
                  <a:lnTo>
                    <a:pt x="1150" y="1201"/>
                  </a:lnTo>
                  <a:lnTo>
                    <a:pt x="1150" y="1201"/>
                  </a:lnTo>
                  <a:lnTo>
                    <a:pt x="1150" y="1201"/>
                  </a:lnTo>
                  <a:lnTo>
                    <a:pt x="1150" y="1201"/>
                  </a:lnTo>
                  <a:lnTo>
                    <a:pt x="1150" y="1201"/>
                  </a:lnTo>
                  <a:lnTo>
                    <a:pt x="1153" y="1204"/>
                  </a:lnTo>
                  <a:lnTo>
                    <a:pt x="1153" y="1204"/>
                  </a:lnTo>
                  <a:lnTo>
                    <a:pt x="1153" y="1204"/>
                  </a:lnTo>
                  <a:lnTo>
                    <a:pt x="1153" y="1204"/>
                  </a:lnTo>
                  <a:lnTo>
                    <a:pt x="1155" y="1204"/>
                  </a:lnTo>
                  <a:lnTo>
                    <a:pt x="1155" y="1204"/>
                  </a:lnTo>
                  <a:lnTo>
                    <a:pt x="1155" y="1201"/>
                  </a:lnTo>
                  <a:lnTo>
                    <a:pt x="1157" y="1199"/>
                  </a:lnTo>
                  <a:lnTo>
                    <a:pt x="1155" y="1199"/>
                  </a:lnTo>
                  <a:lnTo>
                    <a:pt x="1155" y="1199"/>
                  </a:lnTo>
                  <a:lnTo>
                    <a:pt x="1157" y="1197"/>
                  </a:lnTo>
                  <a:close/>
                  <a:moveTo>
                    <a:pt x="1153" y="1218"/>
                  </a:moveTo>
                  <a:lnTo>
                    <a:pt x="1153" y="1218"/>
                  </a:lnTo>
                  <a:lnTo>
                    <a:pt x="1153" y="1218"/>
                  </a:lnTo>
                  <a:lnTo>
                    <a:pt x="1153" y="1218"/>
                  </a:lnTo>
                  <a:lnTo>
                    <a:pt x="1153" y="1218"/>
                  </a:lnTo>
                  <a:lnTo>
                    <a:pt x="1155" y="1218"/>
                  </a:lnTo>
                  <a:lnTo>
                    <a:pt x="1155" y="1218"/>
                  </a:lnTo>
                  <a:lnTo>
                    <a:pt x="1155" y="1218"/>
                  </a:lnTo>
                  <a:lnTo>
                    <a:pt x="1155" y="1218"/>
                  </a:lnTo>
                  <a:lnTo>
                    <a:pt x="1155" y="1218"/>
                  </a:lnTo>
                  <a:lnTo>
                    <a:pt x="1155" y="1216"/>
                  </a:lnTo>
                  <a:lnTo>
                    <a:pt x="1155" y="1216"/>
                  </a:lnTo>
                  <a:lnTo>
                    <a:pt x="1155" y="1216"/>
                  </a:lnTo>
                  <a:lnTo>
                    <a:pt x="1155" y="1216"/>
                  </a:lnTo>
                  <a:lnTo>
                    <a:pt x="1153" y="1216"/>
                  </a:lnTo>
                  <a:lnTo>
                    <a:pt x="1153" y="1213"/>
                  </a:lnTo>
                  <a:lnTo>
                    <a:pt x="1153" y="1213"/>
                  </a:lnTo>
                  <a:lnTo>
                    <a:pt x="1153" y="1213"/>
                  </a:lnTo>
                  <a:lnTo>
                    <a:pt x="1153" y="1213"/>
                  </a:lnTo>
                  <a:lnTo>
                    <a:pt x="1153" y="1213"/>
                  </a:lnTo>
                  <a:lnTo>
                    <a:pt x="1153" y="1213"/>
                  </a:lnTo>
                  <a:lnTo>
                    <a:pt x="1150" y="1211"/>
                  </a:lnTo>
                  <a:lnTo>
                    <a:pt x="1150" y="1211"/>
                  </a:lnTo>
                  <a:lnTo>
                    <a:pt x="1150" y="1211"/>
                  </a:lnTo>
                  <a:lnTo>
                    <a:pt x="1150" y="1211"/>
                  </a:lnTo>
                  <a:lnTo>
                    <a:pt x="1150" y="1211"/>
                  </a:lnTo>
                  <a:lnTo>
                    <a:pt x="1150" y="1211"/>
                  </a:lnTo>
                  <a:lnTo>
                    <a:pt x="1148" y="1211"/>
                  </a:lnTo>
                  <a:lnTo>
                    <a:pt x="1148" y="1211"/>
                  </a:lnTo>
                  <a:lnTo>
                    <a:pt x="1148" y="1211"/>
                  </a:lnTo>
                  <a:lnTo>
                    <a:pt x="1148" y="1211"/>
                  </a:lnTo>
                  <a:lnTo>
                    <a:pt x="1148" y="1211"/>
                  </a:lnTo>
                  <a:lnTo>
                    <a:pt x="1148" y="1208"/>
                  </a:lnTo>
                  <a:lnTo>
                    <a:pt x="1148" y="1208"/>
                  </a:lnTo>
                  <a:lnTo>
                    <a:pt x="1148" y="1208"/>
                  </a:lnTo>
                  <a:lnTo>
                    <a:pt x="1148" y="1208"/>
                  </a:lnTo>
                  <a:lnTo>
                    <a:pt x="1145" y="1208"/>
                  </a:lnTo>
                  <a:lnTo>
                    <a:pt x="1145" y="1208"/>
                  </a:lnTo>
                  <a:lnTo>
                    <a:pt x="1145" y="1211"/>
                  </a:lnTo>
                  <a:lnTo>
                    <a:pt x="1145" y="1211"/>
                  </a:lnTo>
                  <a:lnTo>
                    <a:pt x="1145" y="1211"/>
                  </a:lnTo>
                  <a:lnTo>
                    <a:pt x="1145" y="1211"/>
                  </a:lnTo>
                  <a:lnTo>
                    <a:pt x="1145" y="1213"/>
                  </a:lnTo>
                  <a:lnTo>
                    <a:pt x="1148" y="1216"/>
                  </a:lnTo>
                  <a:lnTo>
                    <a:pt x="1148" y="1216"/>
                  </a:lnTo>
                  <a:lnTo>
                    <a:pt x="1148" y="1216"/>
                  </a:lnTo>
                  <a:lnTo>
                    <a:pt x="1148" y="1216"/>
                  </a:lnTo>
                  <a:lnTo>
                    <a:pt x="1148" y="1216"/>
                  </a:lnTo>
                  <a:lnTo>
                    <a:pt x="1148" y="1216"/>
                  </a:lnTo>
                  <a:lnTo>
                    <a:pt x="1150" y="1216"/>
                  </a:lnTo>
                  <a:lnTo>
                    <a:pt x="1150" y="1218"/>
                  </a:lnTo>
                  <a:lnTo>
                    <a:pt x="1148" y="1218"/>
                  </a:lnTo>
                  <a:lnTo>
                    <a:pt x="1148" y="1218"/>
                  </a:lnTo>
                  <a:lnTo>
                    <a:pt x="1148" y="1218"/>
                  </a:lnTo>
                  <a:lnTo>
                    <a:pt x="1148" y="1218"/>
                  </a:lnTo>
                  <a:lnTo>
                    <a:pt x="1148" y="1220"/>
                  </a:lnTo>
                  <a:lnTo>
                    <a:pt x="1148" y="1220"/>
                  </a:lnTo>
                  <a:lnTo>
                    <a:pt x="1148" y="1220"/>
                  </a:lnTo>
                  <a:lnTo>
                    <a:pt x="1148" y="1223"/>
                  </a:lnTo>
                  <a:lnTo>
                    <a:pt x="1148" y="1223"/>
                  </a:lnTo>
                  <a:lnTo>
                    <a:pt x="1148" y="1223"/>
                  </a:lnTo>
                  <a:lnTo>
                    <a:pt x="1148" y="1223"/>
                  </a:lnTo>
                  <a:lnTo>
                    <a:pt x="1148" y="1223"/>
                  </a:lnTo>
                  <a:lnTo>
                    <a:pt x="1148" y="1223"/>
                  </a:lnTo>
                  <a:lnTo>
                    <a:pt x="1150" y="1223"/>
                  </a:lnTo>
                  <a:lnTo>
                    <a:pt x="1150" y="1223"/>
                  </a:lnTo>
                  <a:lnTo>
                    <a:pt x="1150" y="1223"/>
                  </a:lnTo>
                  <a:lnTo>
                    <a:pt x="1150" y="1220"/>
                  </a:lnTo>
                  <a:lnTo>
                    <a:pt x="1150" y="1220"/>
                  </a:lnTo>
                  <a:lnTo>
                    <a:pt x="1150" y="1223"/>
                  </a:lnTo>
                  <a:lnTo>
                    <a:pt x="1150" y="1223"/>
                  </a:lnTo>
                  <a:lnTo>
                    <a:pt x="1150" y="1223"/>
                  </a:lnTo>
                  <a:lnTo>
                    <a:pt x="1150" y="1220"/>
                  </a:lnTo>
                  <a:lnTo>
                    <a:pt x="1153" y="1220"/>
                  </a:lnTo>
                  <a:lnTo>
                    <a:pt x="1153" y="1220"/>
                  </a:lnTo>
                  <a:lnTo>
                    <a:pt x="1153" y="1220"/>
                  </a:lnTo>
                  <a:lnTo>
                    <a:pt x="1153" y="1218"/>
                  </a:lnTo>
                  <a:close/>
                  <a:moveTo>
                    <a:pt x="1167" y="1268"/>
                  </a:moveTo>
                  <a:lnTo>
                    <a:pt x="1169" y="1268"/>
                  </a:lnTo>
                  <a:lnTo>
                    <a:pt x="1169" y="1268"/>
                  </a:lnTo>
                  <a:lnTo>
                    <a:pt x="1169" y="1268"/>
                  </a:lnTo>
                  <a:lnTo>
                    <a:pt x="1169" y="1268"/>
                  </a:lnTo>
                  <a:lnTo>
                    <a:pt x="1169" y="1265"/>
                  </a:lnTo>
                  <a:lnTo>
                    <a:pt x="1171" y="1265"/>
                  </a:lnTo>
                  <a:lnTo>
                    <a:pt x="1171" y="1265"/>
                  </a:lnTo>
                  <a:lnTo>
                    <a:pt x="1171" y="1265"/>
                  </a:lnTo>
                  <a:lnTo>
                    <a:pt x="1174" y="1265"/>
                  </a:lnTo>
                  <a:lnTo>
                    <a:pt x="1174" y="1263"/>
                  </a:lnTo>
                  <a:lnTo>
                    <a:pt x="1174" y="1263"/>
                  </a:lnTo>
                  <a:lnTo>
                    <a:pt x="1174" y="1263"/>
                  </a:lnTo>
                  <a:lnTo>
                    <a:pt x="1174" y="1263"/>
                  </a:lnTo>
                  <a:lnTo>
                    <a:pt x="1174" y="1263"/>
                  </a:lnTo>
                  <a:lnTo>
                    <a:pt x="1174" y="1263"/>
                  </a:lnTo>
                  <a:lnTo>
                    <a:pt x="1174" y="1263"/>
                  </a:lnTo>
                  <a:lnTo>
                    <a:pt x="1174" y="1260"/>
                  </a:lnTo>
                  <a:lnTo>
                    <a:pt x="1174" y="1260"/>
                  </a:lnTo>
                  <a:lnTo>
                    <a:pt x="1174" y="1260"/>
                  </a:lnTo>
                  <a:lnTo>
                    <a:pt x="1174" y="1258"/>
                  </a:lnTo>
                  <a:lnTo>
                    <a:pt x="1174" y="1258"/>
                  </a:lnTo>
                  <a:lnTo>
                    <a:pt x="1174" y="1258"/>
                  </a:lnTo>
                  <a:lnTo>
                    <a:pt x="1174" y="1258"/>
                  </a:lnTo>
                  <a:lnTo>
                    <a:pt x="1174" y="1256"/>
                  </a:lnTo>
                  <a:lnTo>
                    <a:pt x="1176" y="1256"/>
                  </a:lnTo>
                  <a:lnTo>
                    <a:pt x="1174" y="1253"/>
                  </a:lnTo>
                  <a:lnTo>
                    <a:pt x="1171" y="1253"/>
                  </a:lnTo>
                  <a:lnTo>
                    <a:pt x="1171" y="1251"/>
                  </a:lnTo>
                  <a:lnTo>
                    <a:pt x="1171" y="1251"/>
                  </a:lnTo>
                  <a:lnTo>
                    <a:pt x="1169" y="1251"/>
                  </a:lnTo>
                  <a:lnTo>
                    <a:pt x="1171" y="1249"/>
                  </a:lnTo>
                  <a:lnTo>
                    <a:pt x="1169" y="1249"/>
                  </a:lnTo>
                  <a:lnTo>
                    <a:pt x="1169" y="1246"/>
                  </a:lnTo>
                  <a:lnTo>
                    <a:pt x="1164" y="1246"/>
                  </a:lnTo>
                  <a:lnTo>
                    <a:pt x="1164" y="1246"/>
                  </a:lnTo>
                  <a:lnTo>
                    <a:pt x="1164" y="1249"/>
                  </a:lnTo>
                  <a:lnTo>
                    <a:pt x="1164" y="1249"/>
                  </a:lnTo>
                  <a:lnTo>
                    <a:pt x="1162" y="1249"/>
                  </a:lnTo>
                  <a:lnTo>
                    <a:pt x="1164" y="1251"/>
                  </a:lnTo>
                  <a:lnTo>
                    <a:pt x="1164" y="1253"/>
                  </a:lnTo>
                  <a:lnTo>
                    <a:pt x="1164" y="1253"/>
                  </a:lnTo>
                  <a:lnTo>
                    <a:pt x="1164" y="1253"/>
                  </a:lnTo>
                  <a:lnTo>
                    <a:pt x="1164" y="1253"/>
                  </a:lnTo>
                  <a:lnTo>
                    <a:pt x="1162" y="1253"/>
                  </a:lnTo>
                  <a:lnTo>
                    <a:pt x="1162" y="1258"/>
                  </a:lnTo>
                  <a:lnTo>
                    <a:pt x="1162" y="1263"/>
                  </a:lnTo>
                  <a:lnTo>
                    <a:pt x="1162" y="1265"/>
                  </a:lnTo>
                  <a:lnTo>
                    <a:pt x="1164" y="1265"/>
                  </a:lnTo>
                  <a:lnTo>
                    <a:pt x="1164" y="1265"/>
                  </a:lnTo>
                  <a:lnTo>
                    <a:pt x="1164" y="1265"/>
                  </a:lnTo>
                  <a:lnTo>
                    <a:pt x="1164" y="1263"/>
                  </a:lnTo>
                  <a:lnTo>
                    <a:pt x="1164" y="1263"/>
                  </a:lnTo>
                  <a:lnTo>
                    <a:pt x="1167" y="1263"/>
                  </a:lnTo>
                  <a:lnTo>
                    <a:pt x="1167" y="1263"/>
                  </a:lnTo>
                  <a:lnTo>
                    <a:pt x="1167" y="1263"/>
                  </a:lnTo>
                  <a:lnTo>
                    <a:pt x="1167" y="1263"/>
                  </a:lnTo>
                  <a:lnTo>
                    <a:pt x="1167" y="1265"/>
                  </a:lnTo>
                  <a:lnTo>
                    <a:pt x="1167" y="1265"/>
                  </a:lnTo>
                  <a:lnTo>
                    <a:pt x="1167" y="1268"/>
                  </a:lnTo>
                  <a:close/>
                  <a:moveTo>
                    <a:pt x="1136" y="1272"/>
                  </a:moveTo>
                  <a:lnTo>
                    <a:pt x="1136" y="1272"/>
                  </a:lnTo>
                  <a:lnTo>
                    <a:pt x="1136" y="1272"/>
                  </a:lnTo>
                  <a:lnTo>
                    <a:pt x="1136" y="1270"/>
                  </a:lnTo>
                  <a:lnTo>
                    <a:pt x="1136" y="1270"/>
                  </a:lnTo>
                  <a:lnTo>
                    <a:pt x="1136" y="1268"/>
                  </a:lnTo>
                  <a:lnTo>
                    <a:pt x="1136" y="1268"/>
                  </a:lnTo>
                  <a:lnTo>
                    <a:pt x="1136" y="1268"/>
                  </a:lnTo>
                  <a:lnTo>
                    <a:pt x="1136" y="1265"/>
                  </a:lnTo>
                  <a:lnTo>
                    <a:pt x="1136" y="1265"/>
                  </a:lnTo>
                  <a:lnTo>
                    <a:pt x="1136" y="1263"/>
                  </a:lnTo>
                  <a:lnTo>
                    <a:pt x="1136" y="1263"/>
                  </a:lnTo>
                  <a:lnTo>
                    <a:pt x="1136" y="1263"/>
                  </a:lnTo>
                  <a:lnTo>
                    <a:pt x="1134" y="1263"/>
                  </a:lnTo>
                  <a:lnTo>
                    <a:pt x="1129" y="1260"/>
                  </a:lnTo>
                  <a:lnTo>
                    <a:pt x="1129" y="1260"/>
                  </a:lnTo>
                  <a:lnTo>
                    <a:pt x="1129" y="1263"/>
                  </a:lnTo>
                  <a:lnTo>
                    <a:pt x="1129" y="1263"/>
                  </a:lnTo>
                  <a:lnTo>
                    <a:pt x="1129" y="1263"/>
                  </a:lnTo>
                  <a:lnTo>
                    <a:pt x="1129" y="1263"/>
                  </a:lnTo>
                  <a:lnTo>
                    <a:pt x="1127" y="1265"/>
                  </a:lnTo>
                  <a:lnTo>
                    <a:pt x="1127" y="1265"/>
                  </a:lnTo>
                  <a:lnTo>
                    <a:pt x="1127" y="1265"/>
                  </a:lnTo>
                  <a:lnTo>
                    <a:pt x="1124" y="1265"/>
                  </a:lnTo>
                  <a:lnTo>
                    <a:pt x="1124" y="1268"/>
                  </a:lnTo>
                  <a:lnTo>
                    <a:pt x="1122" y="1270"/>
                  </a:lnTo>
                  <a:lnTo>
                    <a:pt x="1122" y="1270"/>
                  </a:lnTo>
                  <a:lnTo>
                    <a:pt x="1119" y="1270"/>
                  </a:lnTo>
                  <a:lnTo>
                    <a:pt x="1122" y="1272"/>
                  </a:lnTo>
                  <a:lnTo>
                    <a:pt x="1122" y="1272"/>
                  </a:lnTo>
                  <a:lnTo>
                    <a:pt x="1124" y="1272"/>
                  </a:lnTo>
                  <a:lnTo>
                    <a:pt x="1124" y="1272"/>
                  </a:lnTo>
                  <a:lnTo>
                    <a:pt x="1124" y="1272"/>
                  </a:lnTo>
                  <a:lnTo>
                    <a:pt x="1127" y="1272"/>
                  </a:lnTo>
                  <a:lnTo>
                    <a:pt x="1127" y="1272"/>
                  </a:lnTo>
                  <a:lnTo>
                    <a:pt x="1127" y="1275"/>
                  </a:lnTo>
                  <a:lnTo>
                    <a:pt x="1127" y="1275"/>
                  </a:lnTo>
                  <a:lnTo>
                    <a:pt x="1127" y="1275"/>
                  </a:lnTo>
                  <a:lnTo>
                    <a:pt x="1127" y="1275"/>
                  </a:lnTo>
                  <a:lnTo>
                    <a:pt x="1127" y="1275"/>
                  </a:lnTo>
                  <a:lnTo>
                    <a:pt x="1129" y="1275"/>
                  </a:lnTo>
                  <a:lnTo>
                    <a:pt x="1129" y="1275"/>
                  </a:lnTo>
                  <a:lnTo>
                    <a:pt x="1131" y="1275"/>
                  </a:lnTo>
                  <a:lnTo>
                    <a:pt x="1131" y="1275"/>
                  </a:lnTo>
                  <a:lnTo>
                    <a:pt x="1131" y="1277"/>
                  </a:lnTo>
                  <a:lnTo>
                    <a:pt x="1131" y="1277"/>
                  </a:lnTo>
                  <a:lnTo>
                    <a:pt x="1134" y="1277"/>
                  </a:lnTo>
                  <a:lnTo>
                    <a:pt x="1134" y="1277"/>
                  </a:lnTo>
                  <a:lnTo>
                    <a:pt x="1134" y="1277"/>
                  </a:lnTo>
                  <a:lnTo>
                    <a:pt x="1134" y="1275"/>
                  </a:lnTo>
                  <a:lnTo>
                    <a:pt x="1134" y="1275"/>
                  </a:lnTo>
                  <a:lnTo>
                    <a:pt x="1134" y="1272"/>
                  </a:lnTo>
                  <a:lnTo>
                    <a:pt x="1134" y="1272"/>
                  </a:lnTo>
                  <a:lnTo>
                    <a:pt x="1134" y="1272"/>
                  </a:lnTo>
                  <a:lnTo>
                    <a:pt x="1136" y="1272"/>
                  </a:lnTo>
                  <a:lnTo>
                    <a:pt x="1136" y="1272"/>
                  </a:lnTo>
                  <a:close/>
                  <a:moveTo>
                    <a:pt x="1205" y="1313"/>
                  </a:moveTo>
                  <a:lnTo>
                    <a:pt x="1205" y="1313"/>
                  </a:lnTo>
                  <a:lnTo>
                    <a:pt x="1205" y="1310"/>
                  </a:lnTo>
                  <a:lnTo>
                    <a:pt x="1202" y="1313"/>
                  </a:lnTo>
                  <a:lnTo>
                    <a:pt x="1202" y="1313"/>
                  </a:lnTo>
                  <a:lnTo>
                    <a:pt x="1202" y="1313"/>
                  </a:lnTo>
                  <a:lnTo>
                    <a:pt x="1202" y="1315"/>
                  </a:lnTo>
                  <a:lnTo>
                    <a:pt x="1202" y="1315"/>
                  </a:lnTo>
                  <a:lnTo>
                    <a:pt x="1202" y="1315"/>
                  </a:lnTo>
                  <a:lnTo>
                    <a:pt x="1202" y="1315"/>
                  </a:lnTo>
                  <a:lnTo>
                    <a:pt x="1202" y="1317"/>
                  </a:lnTo>
                  <a:lnTo>
                    <a:pt x="1205" y="1317"/>
                  </a:lnTo>
                  <a:lnTo>
                    <a:pt x="1205" y="1317"/>
                  </a:lnTo>
                  <a:lnTo>
                    <a:pt x="1205" y="1315"/>
                  </a:lnTo>
                  <a:lnTo>
                    <a:pt x="1205" y="1315"/>
                  </a:lnTo>
                  <a:lnTo>
                    <a:pt x="1205" y="1315"/>
                  </a:lnTo>
                  <a:lnTo>
                    <a:pt x="1205" y="1315"/>
                  </a:lnTo>
                  <a:lnTo>
                    <a:pt x="1205" y="1313"/>
                  </a:lnTo>
                  <a:close/>
                  <a:moveTo>
                    <a:pt x="1273" y="1232"/>
                  </a:moveTo>
                  <a:lnTo>
                    <a:pt x="1273" y="1232"/>
                  </a:lnTo>
                  <a:lnTo>
                    <a:pt x="1273" y="1232"/>
                  </a:lnTo>
                  <a:lnTo>
                    <a:pt x="1273" y="1232"/>
                  </a:lnTo>
                  <a:lnTo>
                    <a:pt x="1273" y="1234"/>
                  </a:lnTo>
                  <a:lnTo>
                    <a:pt x="1273" y="1234"/>
                  </a:lnTo>
                  <a:lnTo>
                    <a:pt x="1271" y="1234"/>
                  </a:lnTo>
                  <a:lnTo>
                    <a:pt x="1271" y="1237"/>
                  </a:lnTo>
                  <a:lnTo>
                    <a:pt x="1271" y="1237"/>
                  </a:lnTo>
                  <a:lnTo>
                    <a:pt x="1273" y="1237"/>
                  </a:lnTo>
                  <a:lnTo>
                    <a:pt x="1273" y="1239"/>
                  </a:lnTo>
                  <a:lnTo>
                    <a:pt x="1273" y="1239"/>
                  </a:lnTo>
                  <a:lnTo>
                    <a:pt x="1271" y="1242"/>
                  </a:lnTo>
                  <a:lnTo>
                    <a:pt x="1271" y="1242"/>
                  </a:lnTo>
                  <a:lnTo>
                    <a:pt x="1273" y="1242"/>
                  </a:lnTo>
                  <a:lnTo>
                    <a:pt x="1273" y="1244"/>
                  </a:lnTo>
                  <a:lnTo>
                    <a:pt x="1273" y="1244"/>
                  </a:lnTo>
                  <a:lnTo>
                    <a:pt x="1273" y="1246"/>
                  </a:lnTo>
                  <a:lnTo>
                    <a:pt x="1271" y="1244"/>
                  </a:lnTo>
                  <a:lnTo>
                    <a:pt x="1271" y="1244"/>
                  </a:lnTo>
                  <a:lnTo>
                    <a:pt x="1271" y="1244"/>
                  </a:lnTo>
                  <a:lnTo>
                    <a:pt x="1271" y="1242"/>
                  </a:lnTo>
                  <a:lnTo>
                    <a:pt x="1271" y="1242"/>
                  </a:lnTo>
                  <a:lnTo>
                    <a:pt x="1271" y="1239"/>
                  </a:lnTo>
                  <a:lnTo>
                    <a:pt x="1271" y="1237"/>
                  </a:lnTo>
                  <a:lnTo>
                    <a:pt x="1269" y="1237"/>
                  </a:lnTo>
                  <a:lnTo>
                    <a:pt x="1271" y="1237"/>
                  </a:lnTo>
                  <a:lnTo>
                    <a:pt x="1271" y="1234"/>
                  </a:lnTo>
                  <a:lnTo>
                    <a:pt x="1271" y="1234"/>
                  </a:lnTo>
                  <a:lnTo>
                    <a:pt x="1271" y="1232"/>
                  </a:lnTo>
                  <a:lnTo>
                    <a:pt x="1271" y="1232"/>
                  </a:lnTo>
                  <a:lnTo>
                    <a:pt x="1271" y="1230"/>
                  </a:lnTo>
                  <a:lnTo>
                    <a:pt x="1271" y="1230"/>
                  </a:lnTo>
                  <a:lnTo>
                    <a:pt x="1271" y="1227"/>
                  </a:lnTo>
                  <a:lnTo>
                    <a:pt x="1271" y="1225"/>
                  </a:lnTo>
                  <a:lnTo>
                    <a:pt x="1266" y="1223"/>
                  </a:lnTo>
                  <a:lnTo>
                    <a:pt x="1266" y="1223"/>
                  </a:lnTo>
                  <a:lnTo>
                    <a:pt x="1264" y="1220"/>
                  </a:lnTo>
                  <a:lnTo>
                    <a:pt x="1264" y="1220"/>
                  </a:lnTo>
                  <a:lnTo>
                    <a:pt x="1264" y="1220"/>
                  </a:lnTo>
                  <a:lnTo>
                    <a:pt x="1261" y="1218"/>
                  </a:lnTo>
                  <a:lnTo>
                    <a:pt x="1259" y="1218"/>
                  </a:lnTo>
                  <a:lnTo>
                    <a:pt x="1259" y="1218"/>
                  </a:lnTo>
                  <a:lnTo>
                    <a:pt x="1257" y="1216"/>
                  </a:lnTo>
                  <a:lnTo>
                    <a:pt x="1257" y="1216"/>
                  </a:lnTo>
                  <a:lnTo>
                    <a:pt x="1257" y="1213"/>
                  </a:lnTo>
                  <a:lnTo>
                    <a:pt x="1254" y="1216"/>
                  </a:lnTo>
                  <a:lnTo>
                    <a:pt x="1254" y="1213"/>
                  </a:lnTo>
                  <a:lnTo>
                    <a:pt x="1250" y="1208"/>
                  </a:lnTo>
                  <a:lnTo>
                    <a:pt x="1250" y="1208"/>
                  </a:lnTo>
                  <a:lnTo>
                    <a:pt x="1250" y="1208"/>
                  </a:lnTo>
                  <a:lnTo>
                    <a:pt x="1247" y="1208"/>
                  </a:lnTo>
                  <a:lnTo>
                    <a:pt x="1247" y="1206"/>
                  </a:lnTo>
                  <a:lnTo>
                    <a:pt x="1247" y="1206"/>
                  </a:lnTo>
                  <a:lnTo>
                    <a:pt x="1245" y="1201"/>
                  </a:lnTo>
                  <a:lnTo>
                    <a:pt x="1245" y="1201"/>
                  </a:lnTo>
                  <a:lnTo>
                    <a:pt x="1242" y="1201"/>
                  </a:lnTo>
                  <a:lnTo>
                    <a:pt x="1242" y="1201"/>
                  </a:lnTo>
                  <a:lnTo>
                    <a:pt x="1242" y="1201"/>
                  </a:lnTo>
                  <a:lnTo>
                    <a:pt x="1242" y="1201"/>
                  </a:lnTo>
                  <a:lnTo>
                    <a:pt x="1242" y="1206"/>
                  </a:lnTo>
                  <a:lnTo>
                    <a:pt x="1242" y="1206"/>
                  </a:lnTo>
                  <a:lnTo>
                    <a:pt x="1242" y="1208"/>
                  </a:lnTo>
                  <a:lnTo>
                    <a:pt x="1240" y="1206"/>
                  </a:lnTo>
                  <a:lnTo>
                    <a:pt x="1240" y="1206"/>
                  </a:lnTo>
                  <a:lnTo>
                    <a:pt x="1238" y="1201"/>
                  </a:lnTo>
                  <a:lnTo>
                    <a:pt x="1240" y="1201"/>
                  </a:lnTo>
                  <a:lnTo>
                    <a:pt x="1240" y="1201"/>
                  </a:lnTo>
                  <a:lnTo>
                    <a:pt x="1242" y="1199"/>
                  </a:lnTo>
                  <a:lnTo>
                    <a:pt x="1240" y="1199"/>
                  </a:lnTo>
                  <a:lnTo>
                    <a:pt x="1240" y="1197"/>
                  </a:lnTo>
                  <a:lnTo>
                    <a:pt x="1240" y="1197"/>
                  </a:lnTo>
                  <a:lnTo>
                    <a:pt x="1238" y="1194"/>
                  </a:lnTo>
                  <a:lnTo>
                    <a:pt x="1235" y="1194"/>
                  </a:lnTo>
                  <a:lnTo>
                    <a:pt x="1235" y="1194"/>
                  </a:lnTo>
                  <a:lnTo>
                    <a:pt x="1233" y="1192"/>
                  </a:lnTo>
                  <a:lnTo>
                    <a:pt x="1233" y="1192"/>
                  </a:lnTo>
                  <a:lnTo>
                    <a:pt x="1233" y="1192"/>
                  </a:lnTo>
                  <a:lnTo>
                    <a:pt x="1233" y="1192"/>
                  </a:lnTo>
                  <a:lnTo>
                    <a:pt x="1233" y="1189"/>
                  </a:lnTo>
                  <a:lnTo>
                    <a:pt x="1233" y="1189"/>
                  </a:lnTo>
                  <a:lnTo>
                    <a:pt x="1233" y="1189"/>
                  </a:lnTo>
                  <a:lnTo>
                    <a:pt x="1231" y="1189"/>
                  </a:lnTo>
                  <a:lnTo>
                    <a:pt x="1228" y="1187"/>
                  </a:lnTo>
                  <a:lnTo>
                    <a:pt x="1228" y="1187"/>
                  </a:lnTo>
                  <a:lnTo>
                    <a:pt x="1228" y="1187"/>
                  </a:lnTo>
                  <a:lnTo>
                    <a:pt x="1226" y="1187"/>
                  </a:lnTo>
                  <a:lnTo>
                    <a:pt x="1226" y="1187"/>
                  </a:lnTo>
                  <a:lnTo>
                    <a:pt x="1224" y="1189"/>
                  </a:lnTo>
                  <a:lnTo>
                    <a:pt x="1224" y="1192"/>
                  </a:lnTo>
                  <a:lnTo>
                    <a:pt x="1224" y="1192"/>
                  </a:lnTo>
                  <a:lnTo>
                    <a:pt x="1224" y="1194"/>
                  </a:lnTo>
                  <a:lnTo>
                    <a:pt x="1221" y="1194"/>
                  </a:lnTo>
                  <a:lnTo>
                    <a:pt x="1221" y="1194"/>
                  </a:lnTo>
                  <a:lnTo>
                    <a:pt x="1219" y="1197"/>
                  </a:lnTo>
                  <a:lnTo>
                    <a:pt x="1219" y="1199"/>
                  </a:lnTo>
                  <a:lnTo>
                    <a:pt x="1219" y="1201"/>
                  </a:lnTo>
                  <a:lnTo>
                    <a:pt x="1219" y="1201"/>
                  </a:lnTo>
                  <a:lnTo>
                    <a:pt x="1219" y="1204"/>
                  </a:lnTo>
                  <a:lnTo>
                    <a:pt x="1219" y="1204"/>
                  </a:lnTo>
                  <a:lnTo>
                    <a:pt x="1219" y="1206"/>
                  </a:lnTo>
                  <a:lnTo>
                    <a:pt x="1219" y="1206"/>
                  </a:lnTo>
                  <a:lnTo>
                    <a:pt x="1216" y="1206"/>
                  </a:lnTo>
                  <a:lnTo>
                    <a:pt x="1219" y="1208"/>
                  </a:lnTo>
                  <a:lnTo>
                    <a:pt x="1219" y="1208"/>
                  </a:lnTo>
                  <a:lnTo>
                    <a:pt x="1219" y="1208"/>
                  </a:lnTo>
                  <a:lnTo>
                    <a:pt x="1219" y="1208"/>
                  </a:lnTo>
                  <a:lnTo>
                    <a:pt x="1221" y="1208"/>
                  </a:lnTo>
                  <a:lnTo>
                    <a:pt x="1221" y="1208"/>
                  </a:lnTo>
                  <a:lnTo>
                    <a:pt x="1221" y="1211"/>
                  </a:lnTo>
                  <a:lnTo>
                    <a:pt x="1221" y="1213"/>
                  </a:lnTo>
                  <a:lnTo>
                    <a:pt x="1224" y="1213"/>
                  </a:lnTo>
                  <a:lnTo>
                    <a:pt x="1226" y="1218"/>
                  </a:lnTo>
                  <a:lnTo>
                    <a:pt x="1226" y="1218"/>
                  </a:lnTo>
                  <a:lnTo>
                    <a:pt x="1226" y="1220"/>
                  </a:lnTo>
                  <a:lnTo>
                    <a:pt x="1224" y="1220"/>
                  </a:lnTo>
                  <a:lnTo>
                    <a:pt x="1224" y="1218"/>
                  </a:lnTo>
                  <a:lnTo>
                    <a:pt x="1224" y="1218"/>
                  </a:lnTo>
                  <a:lnTo>
                    <a:pt x="1224" y="1216"/>
                  </a:lnTo>
                  <a:lnTo>
                    <a:pt x="1224" y="1216"/>
                  </a:lnTo>
                  <a:lnTo>
                    <a:pt x="1221" y="1216"/>
                  </a:lnTo>
                  <a:lnTo>
                    <a:pt x="1219" y="1216"/>
                  </a:lnTo>
                  <a:lnTo>
                    <a:pt x="1219" y="1213"/>
                  </a:lnTo>
                  <a:lnTo>
                    <a:pt x="1219" y="1211"/>
                  </a:lnTo>
                  <a:lnTo>
                    <a:pt x="1219" y="1211"/>
                  </a:lnTo>
                  <a:lnTo>
                    <a:pt x="1216" y="1211"/>
                  </a:lnTo>
                  <a:lnTo>
                    <a:pt x="1214" y="1208"/>
                  </a:lnTo>
                  <a:lnTo>
                    <a:pt x="1214" y="1208"/>
                  </a:lnTo>
                  <a:lnTo>
                    <a:pt x="1212" y="1208"/>
                  </a:lnTo>
                  <a:lnTo>
                    <a:pt x="1212" y="1211"/>
                  </a:lnTo>
                  <a:lnTo>
                    <a:pt x="1212" y="1213"/>
                  </a:lnTo>
                  <a:lnTo>
                    <a:pt x="1214" y="1216"/>
                  </a:lnTo>
                  <a:lnTo>
                    <a:pt x="1216" y="1216"/>
                  </a:lnTo>
                  <a:lnTo>
                    <a:pt x="1216" y="1218"/>
                  </a:lnTo>
                  <a:lnTo>
                    <a:pt x="1214" y="1216"/>
                  </a:lnTo>
                  <a:lnTo>
                    <a:pt x="1214" y="1216"/>
                  </a:lnTo>
                  <a:lnTo>
                    <a:pt x="1212" y="1216"/>
                  </a:lnTo>
                  <a:lnTo>
                    <a:pt x="1212" y="1216"/>
                  </a:lnTo>
                  <a:lnTo>
                    <a:pt x="1212" y="1218"/>
                  </a:lnTo>
                  <a:lnTo>
                    <a:pt x="1212" y="1218"/>
                  </a:lnTo>
                  <a:lnTo>
                    <a:pt x="1212" y="1218"/>
                  </a:lnTo>
                  <a:lnTo>
                    <a:pt x="1212" y="1218"/>
                  </a:lnTo>
                  <a:lnTo>
                    <a:pt x="1214" y="1220"/>
                  </a:lnTo>
                  <a:lnTo>
                    <a:pt x="1216" y="1223"/>
                  </a:lnTo>
                  <a:lnTo>
                    <a:pt x="1216" y="1225"/>
                  </a:lnTo>
                  <a:lnTo>
                    <a:pt x="1216" y="1225"/>
                  </a:lnTo>
                  <a:lnTo>
                    <a:pt x="1216" y="1227"/>
                  </a:lnTo>
                  <a:lnTo>
                    <a:pt x="1216" y="1227"/>
                  </a:lnTo>
                  <a:lnTo>
                    <a:pt x="1216" y="1227"/>
                  </a:lnTo>
                  <a:lnTo>
                    <a:pt x="1214" y="1227"/>
                  </a:lnTo>
                  <a:lnTo>
                    <a:pt x="1214" y="1227"/>
                  </a:lnTo>
                  <a:lnTo>
                    <a:pt x="1214" y="1227"/>
                  </a:lnTo>
                  <a:lnTo>
                    <a:pt x="1214" y="1230"/>
                  </a:lnTo>
                  <a:lnTo>
                    <a:pt x="1214" y="1230"/>
                  </a:lnTo>
                  <a:lnTo>
                    <a:pt x="1212" y="1230"/>
                  </a:lnTo>
                  <a:lnTo>
                    <a:pt x="1212" y="1230"/>
                  </a:lnTo>
                  <a:lnTo>
                    <a:pt x="1212" y="1227"/>
                  </a:lnTo>
                  <a:lnTo>
                    <a:pt x="1212" y="1227"/>
                  </a:lnTo>
                  <a:lnTo>
                    <a:pt x="1212" y="1227"/>
                  </a:lnTo>
                  <a:lnTo>
                    <a:pt x="1209" y="1230"/>
                  </a:lnTo>
                  <a:lnTo>
                    <a:pt x="1209" y="1230"/>
                  </a:lnTo>
                  <a:lnTo>
                    <a:pt x="1209" y="1232"/>
                  </a:lnTo>
                  <a:lnTo>
                    <a:pt x="1209" y="1232"/>
                  </a:lnTo>
                  <a:lnTo>
                    <a:pt x="1209" y="1234"/>
                  </a:lnTo>
                  <a:lnTo>
                    <a:pt x="1209" y="1234"/>
                  </a:lnTo>
                  <a:lnTo>
                    <a:pt x="1209" y="1234"/>
                  </a:lnTo>
                  <a:lnTo>
                    <a:pt x="1209" y="1237"/>
                  </a:lnTo>
                  <a:lnTo>
                    <a:pt x="1207" y="1237"/>
                  </a:lnTo>
                  <a:lnTo>
                    <a:pt x="1207" y="1237"/>
                  </a:lnTo>
                  <a:lnTo>
                    <a:pt x="1205" y="1237"/>
                  </a:lnTo>
                  <a:lnTo>
                    <a:pt x="1205" y="1237"/>
                  </a:lnTo>
                  <a:lnTo>
                    <a:pt x="1205" y="1237"/>
                  </a:lnTo>
                  <a:lnTo>
                    <a:pt x="1202" y="1239"/>
                  </a:lnTo>
                  <a:lnTo>
                    <a:pt x="1202" y="1239"/>
                  </a:lnTo>
                  <a:lnTo>
                    <a:pt x="1200" y="1239"/>
                  </a:lnTo>
                  <a:lnTo>
                    <a:pt x="1198" y="1239"/>
                  </a:lnTo>
                  <a:lnTo>
                    <a:pt x="1198" y="1239"/>
                  </a:lnTo>
                  <a:lnTo>
                    <a:pt x="1198" y="1239"/>
                  </a:lnTo>
                  <a:lnTo>
                    <a:pt x="1198" y="1239"/>
                  </a:lnTo>
                  <a:lnTo>
                    <a:pt x="1195" y="1239"/>
                  </a:lnTo>
                  <a:lnTo>
                    <a:pt x="1195" y="1239"/>
                  </a:lnTo>
                  <a:lnTo>
                    <a:pt x="1195" y="1237"/>
                  </a:lnTo>
                  <a:lnTo>
                    <a:pt x="1195" y="1239"/>
                  </a:lnTo>
                  <a:lnTo>
                    <a:pt x="1195" y="1239"/>
                  </a:lnTo>
                  <a:lnTo>
                    <a:pt x="1195" y="1239"/>
                  </a:lnTo>
                  <a:lnTo>
                    <a:pt x="1193" y="1239"/>
                  </a:lnTo>
                  <a:lnTo>
                    <a:pt x="1193" y="1239"/>
                  </a:lnTo>
                  <a:lnTo>
                    <a:pt x="1190" y="1239"/>
                  </a:lnTo>
                  <a:lnTo>
                    <a:pt x="1190" y="1242"/>
                  </a:lnTo>
                  <a:lnTo>
                    <a:pt x="1190" y="1244"/>
                  </a:lnTo>
                  <a:lnTo>
                    <a:pt x="1188" y="1246"/>
                  </a:lnTo>
                  <a:lnTo>
                    <a:pt x="1188" y="1246"/>
                  </a:lnTo>
                  <a:lnTo>
                    <a:pt x="1188" y="1246"/>
                  </a:lnTo>
                  <a:lnTo>
                    <a:pt x="1188" y="1249"/>
                  </a:lnTo>
                  <a:lnTo>
                    <a:pt x="1188" y="1249"/>
                  </a:lnTo>
                  <a:lnTo>
                    <a:pt x="1190" y="1249"/>
                  </a:lnTo>
                  <a:lnTo>
                    <a:pt x="1190" y="1251"/>
                  </a:lnTo>
                  <a:lnTo>
                    <a:pt x="1190" y="1253"/>
                  </a:lnTo>
                  <a:lnTo>
                    <a:pt x="1193" y="1253"/>
                  </a:lnTo>
                  <a:lnTo>
                    <a:pt x="1190" y="1256"/>
                  </a:lnTo>
                  <a:lnTo>
                    <a:pt x="1193" y="1256"/>
                  </a:lnTo>
                  <a:lnTo>
                    <a:pt x="1193" y="1256"/>
                  </a:lnTo>
                  <a:lnTo>
                    <a:pt x="1195" y="1258"/>
                  </a:lnTo>
                  <a:lnTo>
                    <a:pt x="1195" y="1258"/>
                  </a:lnTo>
                  <a:lnTo>
                    <a:pt x="1198" y="1258"/>
                  </a:lnTo>
                  <a:lnTo>
                    <a:pt x="1198" y="1260"/>
                  </a:lnTo>
                  <a:lnTo>
                    <a:pt x="1198" y="1260"/>
                  </a:lnTo>
                  <a:lnTo>
                    <a:pt x="1198" y="1260"/>
                  </a:lnTo>
                  <a:lnTo>
                    <a:pt x="1200" y="1260"/>
                  </a:lnTo>
                  <a:lnTo>
                    <a:pt x="1200" y="1258"/>
                  </a:lnTo>
                  <a:lnTo>
                    <a:pt x="1200" y="1258"/>
                  </a:lnTo>
                  <a:lnTo>
                    <a:pt x="1202" y="1258"/>
                  </a:lnTo>
                  <a:lnTo>
                    <a:pt x="1202" y="1258"/>
                  </a:lnTo>
                  <a:lnTo>
                    <a:pt x="1200" y="1256"/>
                  </a:lnTo>
                  <a:lnTo>
                    <a:pt x="1200" y="1253"/>
                  </a:lnTo>
                  <a:lnTo>
                    <a:pt x="1200" y="1253"/>
                  </a:lnTo>
                  <a:lnTo>
                    <a:pt x="1200" y="1253"/>
                  </a:lnTo>
                  <a:lnTo>
                    <a:pt x="1202" y="1253"/>
                  </a:lnTo>
                  <a:lnTo>
                    <a:pt x="1202" y="1256"/>
                  </a:lnTo>
                  <a:lnTo>
                    <a:pt x="1202" y="1256"/>
                  </a:lnTo>
                  <a:lnTo>
                    <a:pt x="1202" y="1253"/>
                  </a:lnTo>
                  <a:lnTo>
                    <a:pt x="1202" y="1253"/>
                  </a:lnTo>
                  <a:lnTo>
                    <a:pt x="1202" y="1253"/>
                  </a:lnTo>
                  <a:lnTo>
                    <a:pt x="1202" y="1253"/>
                  </a:lnTo>
                  <a:lnTo>
                    <a:pt x="1202" y="1253"/>
                  </a:lnTo>
                  <a:lnTo>
                    <a:pt x="1202" y="1251"/>
                  </a:lnTo>
                  <a:lnTo>
                    <a:pt x="1202" y="1251"/>
                  </a:lnTo>
                  <a:lnTo>
                    <a:pt x="1202" y="1251"/>
                  </a:lnTo>
                  <a:lnTo>
                    <a:pt x="1205" y="1253"/>
                  </a:lnTo>
                  <a:lnTo>
                    <a:pt x="1207" y="1253"/>
                  </a:lnTo>
                  <a:lnTo>
                    <a:pt x="1207" y="1253"/>
                  </a:lnTo>
                  <a:lnTo>
                    <a:pt x="1207" y="1253"/>
                  </a:lnTo>
                  <a:lnTo>
                    <a:pt x="1207" y="1253"/>
                  </a:lnTo>
                  <a:lnTo>
                    <a:pt x="1207" y="1256"/>
                  </a:lnTo>
                  <a:lnTo>
                    <a:pt x="1207" y="1256"/>
                  </a:lnTo>
                  <a:lnTo>
                    <a:pt x="1207" y="1256"/>
                  </a:lnTo>
                  <a:lnTo>
                    <a:pt x="1207" y="1256"/>
                  </a:lnTo>
                  <a:lnTo>
                    <a:pt x="1207" y="1256"/>
                  </a:lnTo>
                  <a:lnTo>
                    <a:pt x="1207" y="1258"/>
                  </a:lnTo>
                  <a:lnTo>
                    <a:pt x="1205" y="1258"/>
                  </a:lnTo>
                  <a:lnTo>
                    <a:pt x="1207" y="1260"/>
                  </a:lnTo>
                  <a:lnTo>
                    <a:pt x="1207" y="1260"/>
                  </a:lnTo>
                  <a:lnTo>
                    <a:pt x="1209" y="1263"/>
                  </a:lnTo>
                  <a:lnTo>
                    <a:pt x="1212" y="1263"/>
                  </a:lnTo>
                  <a:lnTo>
                    <a:pt x="1212" y="1263"/>
                  </a:lnTo>
                  <a:lnTo>
                    <a:pt x="1212" y="1263"/>
                  </a:lnTo>
                  <a:lnTo>
                    <a:pt x="1212" y="1263"/>
                  </a:lnTo>
                  <a:lnTo>
                    <a:pt x="1214" y="1263"/>
                  </a:lnTo>
                  <a:lnTo>
                    <a:pt x="1214" y="1263"/>
                  </a:lnTo>
                  <a:lnTo>
                    <a:pt x="1214" y="1265"/>
                  </a:lnTo>
                  <a:lnTo>
                    <a:pt x="1214" y="1265"/>
                  </a:lnTo>
                  <a:lnTo>
                    <a:pt x="1216" y="1265"/>
                  </a:lnTo>
                  <a:lnTo>
                    <a:pt x="1216" y="1265"/>
                  </a:lnTo>
                  <a:lnTo>
                    <a:pt x="1216" y="1265"/>
                  </a:lnTo>
                  <a:lnTo>
                    <a:pt x="1216" y="1263"/>
                  </a:lnTo>
                  <a:lnTo>
                    <a:pt x="1216" y="1260"/>
                  </a:lnTo>
                  <a:lnTo>
                    <a:pt x="1216" y="1260"/>
                  </a:lnTo>
                  <a:lnTo>
                    <a:pt x="1216" y="1258"/>
                  </a:lnTo>
                  <a:lnTo>
                    <a:pt x="1216" y="1258"/>
                  </a:lnTo>
                  <a:lnTo>
                    <a:pt x="1219" y="1258"/>
                  </a:lnTo>
                  <a:lnTo>
                    <a:pt x="1221" y="1260"/>
                  </a:lnTo>
                  <a:lnTo>
                    <a:pt x="1221" y="1260"/>
                  </a:lnTo>
                  <a:lnTo>
                    <a:pt x="1221" y="1260"/>
                  </a:lnTo>
                  <a:lnTo>
                    <a:pt x="1221" y="1263"/>
                  </a:lnTo>
                  <a:lnTo>
                    <a:pt x="1221" y="1263"/>
                  </a:lnTo>
                  <a:lnTo>
                    <a:pt x="1221" y="1265"/>
                  </a:lnTo>
                  <a:lnTo>
                    <a:pt x="1221" y="1265"/>
                  </a:lnTo>
                  <a:lnTo>
                    <a:pt x="1221" y="1268"/>
                  </a:lnTo>
                  <a:lnTo>
                    <a:pt x="1224" y="1270"/>
                  </a:lnTo>
                  <a:lnTo>
                    <a:pt x="1224" y="1270"/>
                  </a:lnTo>
                  <a:lnTo>
                    <a:pt x="1224" y="1270"/>
                  </a:lnTo>
                  <a:lnTo>
                    <a:pt x="1224" y="1270"/>
                  </a:lnTo>
                  <a:lnTo>
                    <a:pt x="1226" y="1270"/>
                  </a:lnTo>
                  <a:lnTo>
                    <a:pt x="1226" y="1270"/>
                  </a:lnTo>
                  <a:lnTo>
                    <a:pt x="1226" y="1270"/>
                  </a:lnTo>
                  <a:lnTo>
                    <a:pt x="1226" y="1270"/>
                  </a:lnTo>
                  <a:lnTo>
                    <a:pt x="1228" y="1270"/>
                  </a:lnTo>
                  <a:lnTo>
                    <a:pt x="1231" y="1272"/>
                  </a:lnTo>
                  <a:lnTo>
                    <a:pt x="1233" y="1272"/>
                  </a:lnTo>
                  <a:lnTo>
                    <a:pt x="1233" y="1272"/>
                  </a:lnTo>
                  <a:lnTo>
                    <a:pt x="1235" y="1275"/>
                  </a:lnTo>
                  <a:lnTo>
                    <a:pt x="1235" y="1275"/>
                  </a:lnTo>
                  <a:lnTo>
                    <a:pt x="1235" y="1275"/>
                  </a:lnTo>
                  <a:lnTo>
                    <a:pt x="1238" y="1277"/>
                  </a:lnTo>
                  <a:lnTo>
                    <a:pt x="1240" y="1279"/>
                  </a:lnTo>
                  <a:lnTo>
                    <a:pt x="1242" y="1279"/>
                  </a:lnTo>
                  <a:lnTo>
                    <a:pt x="1242" y="1279"/>
                  </a:lnTo>
                  <a:lnTo>
                    <a:pt x="1242" y="1279"/>
                  </a:lnTo>
                  <a:lnTo>
                    <a:pt x="1242" y="1279"/>
                  </a:lnTo>
                  <a:lnTo>
                    <a:pt x="1245" y="1279"/>
                  </a:lnTo>
                  <a:lnTo>
                    <a:pt x="1245" y="1279"/>
                  </a:lnTo>
                  <a:lnTo>
                    <a:pt x="1247" y="1282"/>
                  </a:lnTo>
                  <a:lnTo>
                    <a:pt x="1247" y="1282"/>
                  </a:lnTo>
                  <a:lnTo>
                    <a:pt x="1250" y="1282"/>
                  </a:lnTo>
                  <a:lnTo>
                    <a:pt x="1250" y="1279"/>
                  </a:lnTo>
                  <a:lnTo>
                    <a:pt x="1250" y="1279"/>
                  </a:lnTo>
                  <a:lnTo>
                    <a:pt x="1250" y="1279"/>
                  </a:lnTo>
                  <a:lnTo>
                    <a:pt x="1250" y="1277"/>
                  </a:lnTo>
                  <a:lnTo>
                    <a:pt x="1250" y="1275"/>
                  </a:lnTo>
                  <a:lnTo>
                    <a:pt x="1250" y="1275"/>
                  </a:lnTo>
                  <a:lnTo>
                    <a:pt x="1250" y="1277"/>
                  </a:lnTo>
                  <a:lnTo>
                    <a:pt x="1250" y="1277"/>
                  </a:lnTo>
                  <a:lnTo>
                    <a:pt x="1252" y="1277"/>
                  </a:lnTo>
                  <a:lnTo>
                    <a:pt x="1252" y="1277"/>
                  </a:lnTo>
                  <a:lnTo>
                    <a:pt x="1252" y="1279"/>
                  </a:lnTo>
                  <a:lnTo>
                    <a:pt x="1252" y="1279"/>
                  </a:lnTo>
                  <a:lnTo>
                    <a:pt x="1254" y="1279"/>
                  </a:lnTo>
                  <a:lnTo>
                    <a:pt x="1254" y="1279"/>
                  </a:lnTo>
                  <a:lnTo>
                    <a:pt x="1259" y="1284"/>
                  </a:lnTo>
                  <a:lnTo>
                    <a:pt x="1261" y="1284"/>
                  </a:lnTo>
                  <a:lnTo>
                    <a:pt x="1264" y="1284"/>
                  </a:lnTo>
                  <a:lnTo>
                    <a:pt x="1264" y="1284"/>
                  </a:lnTo>
                  <a:lnTo>
                    <a:pt x="1269" y="1284"/>
                  </a:lnTo>
                  <a:lnTo>
                    <a:pt x="1271" y="1282"/>
                  </a:lnTo>
                  <a:lnTo>
                    <a:pt x="1273" y="1277"/>
                  </a:lnTo>
                  <a:lnTo>
                    <a:pt x="1273" y="1277"/>
                  </a:lnTo>
                  <a:lnTo>
                    <a:pt x="1276" y="1277"/>
                  </a:lnTo>
                  <a:lnTo>
                    <a:pt x="1276" y="1277"/>
                  </a:lnTo>
                  <a:lnTo>
                    <a:pt x="1276" y="1275"/>
                  </a:lnTo>
                  <a:lnTo>
                    <a:pt x="1276" y="1275"/>
                  </a:lnTo>
                  <a:lnTo>
                    <a:pt x="1276" y="1272"/>
                  </a:lnTo>
                  <a:lnTo>
                    <a:pt x="1278" y="1272"/>
                  </a:lnTo>
                  <a:lnTo>
                    <a:pt x="1278" y="1272"/>
                  </a:lnTo>
                  <a:lnTo>
                    <a:pt x="1280" y="1272"/>
                  </a:lnTo>
                  <a:lnTo>
                    <a:pt x="1280" y="1272"/>
                  </a:lnTo>
                  <a:lnTo>
                    <a:pt x="1280" y="1272"/>
                  </a:lnTo>
                  <a:lnTo>
                    <a:pt x="1280" y="1270"/>
                  </a:lnTo>
                  <a:lnTo>
                    <a:pt x="1280" y="1268"/>
                  </a:lnTo>
                  <a:lnTo>
                    <a:pt x="1280" y="1268"/>
                  </a:lnTo>
                  <a:lnTo>
                    <a:pt x="1283" y="1268"/>
                  </a:lnTo>
                  <a:lnTo>
                    <a:pt x="1283" y="1268"/>
                  </a:lnTo>
                  <a:lnTo>
                    <a:pt x="1280" y="1265"/>
                  </a:lnTo>
                  <a:lnTo>
                    <a:pt x="1283" y="1265"/>
                  </a:lnTo>
                  <a:lnTo>
                    <a:pt x="1283" y="1265"/>
                  </a:lnTo>
                  <a:lnTo>
                    <a:pt x="1283" y="1265"/>
                  </a:lnTo>
                  <a:lnTo>
                    <a:pt x="1283" y="1265"/>
                  </a:lnTo>
                  <a:lnTo>
                    <a:pt x="1283" y="1265"/>
                  </a:lnTo>
                  <a:lnTo>
                    <a:pt x="1287" y="1263"/>
                  </a:lnTo>
                  <a:lnTo>
                    <a:pt x="1287" y="1265"/>
                  </a:lnTo>
                  <a:lnTo>
                    <a:pt x="1287" y="1265"/>
                  </a:lnTo>
                  <a:lnTo>
                    <a:pt x="1287" y="1268"/>
                  </a:lnTo>
                  <a:lnTo>
                    <a:pt x="1287" y="1268"/>
                  </a:lnTo>
                  <a:lnTo>
                    <a:pt x="1287" y="1268"/>
                  </a:lnTo>
                  <a:lnTo>
                    <a:pt x="1290" y="1265"/>
                  </a:lnTo>
                  <a:lnTo>
                    <a:pt x="1292" y="1263"/>
                  </a:lnTo>
                  <a:lnTo>
                    <a:pt x="1292" y="1263"/>
                  </a:lnTo>
                  <a:lnTo>
                    <a:pt x="1295" y="1260"/>
                  </a:lnTo>
                  <a:lnTo>
                    <a:pt x="1295" y="1258"/>
                  </a:lnTo>
                  <a:lnTo>
                    <a:pt x="1295" y="1258"/>
                  </a:lnTo>
                  <a:lnTo>
                    <a:pt x="1295" y="1256"/>
                  </a:lnTo>
                  <a:lnTo>
                    <a:pt x="1295" y="1256"/>
                  </a:lnTo>
                  <a:lnTo>
                    <a:pt x="1295" y="1256"/>
                  </a:lnTo>
                  <a:lnTo>
                    <a:pt x="1295" y="1256"/>
                  </a:lnTo>
                  <a:lnTo>
                    <a:pt x="1295" y="1256"/>
                  </a:lnTo>
                  <a:lnTo>
                    <a:pt x="1295" y="1256"/>
                  </a:lnTo>
                  <a:lnTo>
                    <a:pt x="1295" y="1256"/>
                  </a:lnTo>
                  <a:lnTo>
                    <a:pt x="1295" y="1256"/>
                  </a:lnTo>
                  <a:lnTo>
                    <a:pt x="1295" y="1253"/>
                  </a:lnTo>
                  <a:lnTo>
                    <a:pt x="1292" y="1253"/>
                  </a:lnTo>
                  <a:lnTo>
                    <a:pt x="1292" y="1253"/>
                  </a:lnTo>
                  <a:lnTo>
                    <a:pt x="1290" y="1253"/>
                  </a:lnTo>
                  <a:lnTo>
                    <a:pt x="1287" y="1258"/>
                  </a:lnTo>
                  <a:lnTo>
                    <a:pt x="1285" y="1258"/>
                  </a:lnTo>
                  <a:lnTo>
                    <a:pt x="1285" y="1258"/>
                  </a:lnTo>
                  <a:lnTo>
                    <a:pt x="1285" y="1258"/>
                  </a:lnTo>
                  <a:lnTo>
                    <a:pt x="1285" y="1258"/>
                  </a:lnTo>
                  <a:lnTo>
                    <a:pt x="1285" y="1256"/>
                  </a:lnTo>
                  <a:lnTo>
                    <a:pt x="1285" y="1256"/>
                  </a:lnTo>
                  <a:lnTo>
                    <a:pt x="1285" y="1256"/>
                  </a:lnTo>
                  <a:lnTo>
                    <a:pt x="1283" y="1256"/>
                  </a:lnTo>
                  <a:lnTo>
                    <a:pt x="1283" y="1256"/>
                  </a:lnTo>
                  <a:lnTo>
                    <a:pt x="1283" y="1253"/>
                  </a:lnTo>
                  <a:lnTo>
                    <a:pt x="1280" y="1253"/>
                  </a:lnTo>
                  <a:lnTo>
                    <a:pt x="1280" y="1256"/>
                  </a:lnTo>
                  <a:lnTo>
                    <a:pt x="1280" y="1256"/>
                  </a:lnTo>
                  <a:lnTo>
                    <a:pt x="1280" y="1256"/>
                  </a:lnTo>
                  <a:lnTo>
                    <a:pt x="1280" y="1253"/>
                  </a:lnTo>
                  <a:lnTo>
                    <a:pt x="1280" y="1253"/>
                  </a:lnTo>
                  <a:lnTo>
                    <a:pt x="1280" y="1251"/>
                  </a:lnTo>
                  <a:lnTo>
                    <a:pt x="1280" y="1251"/>
                  </a:lnTo>
                  <a:lnTo>
                    <a:pt x="1280" y="1249"/>
                  </a:lnTo>
                  <a:lnTo>
                    <a:pt x="1280" y="1249"/>
                  </a:lnTo>
                  <a:lnTo>
                    <a:pt x="1278" y="1249"/>
                  </a:lnTo>
                  <a:lnTo>
                    <a:pt x="1278" y="1249"/>
                  </a:lnTo>
                  <a:lnTo>
                    <a:pt x="1278" y="1246"/>
                  </a:lnTo>
                  <a:lnTo>
                    <a:pt x="1278" y="1246"/>
                  </a:lnTo>
                  <a:lnTo>
                    <a:pt x="1278" y="1246"/>
                  </a:lnTo>
                  <a:lnTo>
                    <a:pt x="1278" y="1246"/>
                  </a:lnTo>
                  <a:lnTo>
                    <a:pt x="1276" y="1244"/>
                  </a:lnTo>
                  <a:lnTo>
                    <a:pt x="1276" y="1244"/>
                  </a:lnTo>
                  <a:lnTo>
                    <a:pt x="1276" y="1244"/>
                  </a:lnTo>
                  <a:lnTo>
                    <a:pt x="1278" y="1242"/>
                  </a:lnTo>
                  <a:lnTo>
                    <a:pt x="1278" y="1242"/>
                  </a:lnTo>
                  <a:lnTo>
                    <a:pt x="1278" y="1242"/>
                  </a:lnTo>
                  <a:lnTo>
                    <a:pt x="1278" y="1239"/>
                  </a:lnTo>
                  <a:lnTo>
                    <a:pt x="1278" y="1239"/>
                  </a:lnTo>
                  <a:lnTo>
                    <a:pt x="1278" y="1239"/>
                  </a:lnTo>
                  <a:lnTo>
                    <a:pt x="1276" y="1237"/>
                  </a:lnTo>
                  <a:lnTo>
                    <a:pt x="1276" y="1237"/>
                  </a:lnTo>
                  <a:lnTo>
                    <a:pt x="1276" y="1234"/>
                  </a:lnTo>
                  <a:lnTo>
                    <a:pt x="1276" y="1234"/>
                  </a:lnTo>
                  <a:lnTo>
                    <a:pt x="1276" y="1232"/>
                  </a:lnTo>
                  <a:lnTo>
                    <a:pt x="1273" y="1232"/>
                  </a:lnTo>
                  <a:lnTo>
                    <a:pt x="1273" y="1232"/>
                  </a:lnTo>
                  <a:close/>
                  <a:moveTo>
                    <a:pt x="1271" y="1213"/>
                  </a:moveTo>
                  <a:lnTo>
                    <a:pt x="1271" y="1211"/>
                  </a:lnTo>
                  <a:lnTo>
                    <a:pt x="1271" y="1211"/>
                  </a:lnTo>
                  <a:lnTo>
                    <a:pt x="1271" y="1208"/>
                  </a:lnTo>
                  <a:lnTo>
                    <a:pt x="1271" y="1208"/>
                  </a:lnTo>
                  <a:lnTo>
                    <a:pt x="1271" y="1208"/>
                  </a:lnTo>
                  <a:lnTo>
                    <a:pt x="1271" y="1208"/>
                  </a:lnTo>
                  <a:lnTo>
                    <a:pt x="1269" y="1208"/>
                  </a:lnTo>
                  <a:lnTo>
                    <a:pt x="1269" y="1211"/>
                  </a:lnTo>
                  <a:lnTo>
                    <a:pt x="1266" y="1211"/>
                  </a:lnTo>
                  <a:lnTo>
                    <a:pt x="1266" y="1211"/>
                  </a:lnTo>
                  <a:lnTo>
                    <a:pt x="1266" y="1211"/>
                  </a:lnTo>
                  <a:lnTo>
                    <a:pt x="1266" y="1211"/>
                  </a:lnTo>
                  <a:lnTo>
                    <a:pt x="1266" y="1208"/>
                  </a:lnTo>
                  <a:lnTo>
                    <a:pt x="1266" y="1208"/>
                  </a:lnTo>
                  <a:lnTo>
                    <a:pt x="1261" y="1208"/>
                  </a:lnTo>
                  <a:lnTo>
                    <a:pt x="1259" y="1208"/>
                  </a:lnTo>
                  <a:lnTo>
                    <a:pt x="1259" y="1208"/>
                  </a:lnTo>
                  <a:lnTo>
                    <a:pt x="1259" y="1208"/>
                  </a:lnTo>
                  <a:lnTo>
                    <a:pt x="1259" y="1208"/>
                  </a:lnTo>
                  <a:lnTo>
                    <a:pt x="1259" y="1208"/>
                  </a:lnTo>
                  <a:lnTo>
                    <a:pt x="1257" y="1208"/>
                  </a:lnTo>
                  <a:lnTo>
                    <a:pt x="1257" y="1208"/>
                  </a:lnTo>
                  <a:lnTo>
                    <a:pt x="1257" y="1208"/>
                  </a:lnTo>
                  <a:lnTo>
                    <a:pt x="1257" y="1208"/>
                  </a:lnTo>
                  <a:lnTo>
                    <a:pt x="1259" y="1211"/>
                  </a:lnTo>
                  <a:lnTo>
                    <a:pt x="1259" y="1213"/>
                  </a:lnTo>
                  <a:lnTo>
                    <a:pt x="1261" y="1216"/>
                  </a:lnTo>
                  <a:lnTo>
                    <a:pt x="1261" y="1216"/>
                  </a:lnTo>
                  <a:lnTo>
                    <a:pt x="1264" y="1216"/>
                  </a:lnTo>
                  <a:lnTo>
                    <a:pt x="1266" y="1218"/>
                  </a:lnTo>
                  <a:lnTo>
                    <a:pt x="1266" y="1218"/>
                  </a:lnTo>
                  <a:lnTo>
                    <a:pt x="1269" y="1220"/>
                  </a:lnTo>
                  <a:lnTo>
                    <a:pt x="1269" y="1223"/>
                  </a:lnTo>
                  <a:lnTo>
                    <a:pt x="1269" y="1223"/>
                  </a:lnTo>
                  <a:lnTo>
                    <a:pt x="1271" y="1223"/>
                  </a:lnTo>
                  <a:lnTo>
                    <a:pt x="1271" y="1223"/>
                  </a:lnTo>
                  <a:lnTo>
                    <a:pt x="1271" y="1223"/>
                  </a:lnTo>
                  <a:lnTo>
                    <a:pt x="1271" y="1220"/>
                  </a:lnTo>
                  <a:lnTo>
                    <a:pt x="1271" y="1220"/>
                  </a:lnTo>
                  <a:lnTo>
                    <a:pt x="1271" y="1220"/>
                  </a:lnTo>
                  <a:lnTo>
                    <a:pt x="1271" y="1218"/>
                  </a:lnTo>
                  <a:lnTo>
                    <a:pt x="1271" y="1218"/>
                  </a:lnTo>
                  <a:lnTo>
                    <a:pt x="1271" y="1218"/>
                  </a:lnTo>
                  <a:lnTo>
                    <a:pt x="1273" y="1216"/>
                  </a:lnTo>
                  <a:lnTo>
                    <a:pt x="1273" y="1216"/>
                  </a:lnTo>
                  <a:lnTo>
                    <a:pt x="1273" y="1213"/>
                  </a:lnTo>
                  <a:lnTo>
                    <a:pt x="1271" y="1213"/>
                  </a:lnTo>
                  <a:close/>
                  <a:moveTo>
                    <a:pt x="1242" y="1185"/>
                  </a:moveTo>
                  <a:lnTo>
                    <a:pt x="1242" y="1185"/>
                  </a:lnTo>
                  <a:lnTo>
                    <a:pt x="1242" y="1182"/>
                  </a:lnTo>
                  <a:lnTo>
                    <a:pt x="1240" y="1182"/>
                  </a:lnTo>
                  <a:lnTo>
                    <a:pt x="1240" y="1182"/>
                  </a:lnTo>
                  <a:lnTo>
                    <a:pt x="1238" y="1182"/>
                  </a:lnTo>
                  <a:lnTo>
                    <a:pt x="1238" y="1182"/>
                  </a:lnTo>
                  <a:lnTo>
                    <a:pt x="1238" y="1185"/>
                  </a:lnTo>
                  <a:lnTo>
                    <a:pt x="1238" y="1185"/>
                  </a:lnTo>
                  <a:lnTo>
                    <a:pt x="1238" y="1187"/>
                  </a:lnTo>
                  <a:lnTo>
                    <a:pt x="1240" y="1187"/>
                  </a:lnTo>
                  <a:lnTo>
                    <a:pt x="1242" y="1187"/>
                  </a:lnTo>
                  <a:lnTo>
                    <a:pt x="1242" y="1187"/>
                  </a:lnTo>
                  <a:lnTo>
                    <a:pt x="1242" y="1189"/>
                  </a:lnTo>
                  <a:lnTo>
                    <a:pt x="1242" y="1189"/>
                  </a:lnTo>
                  <a:lnTo>
                    <a:pt x="1245" y="1189"/>
                  </a:lnTo>
                  <a:lnTo>
                    <a:pt x="1245" y="1187"/>
                  </a:lnTo>
                  <a:lnTo>
                    <a:pt x="1245" y="1187"/>
                  </a:lnTo>
                  <a:lnTo>
                    <a:pt x="1242" y="1187"/>
                  </a:lnTo>
                  <a:lnTo>
                    <a:pt x="1242" y="1185"/>
                  </a:lnTo>
                  <a:lnTo>
                    <a:pt x="1242" y="1185"/>
                  </a:lnTo>
                  <a:lnTo>
                    <a:pt x="1242" y="1185"/>
                  </a:lnTo>
                  <a:close/>
                  <a:moveTo>
                    <a:pt x="1176" y="1294"/>
                  </a:moveTo>
                  <a:lnTo>
                    <a:pt x="1176" y="1291"/>
                  </a:lnTo>
                  <a:lnTo>
                    <a:pt x="1176" y="1291"/>
                  </a:lnTo>
                  <a:lnTo>
                    <a:pt x="1176" y="1291"/>
                  </a:lnTo>
                  <a:lnTo>
                    <a:pt x="1176" y="1291"/>
                  </a:lnTo>
                  <a:lnTo>
                    <a:pt x="1176" y="1291"/>
                  </a:lnTo>
                  <a:lnTo>
                    <a:pt x="1176" y="1291"/>
                  </a:lnTo>
                  <a:lnTo>
                    <a:pt x="1176" y="1294"/>
                  </a:lnTo>
                  <a:lnTo>
                    <a:pt x="1174" y="1294"/>
                  </a:lnTo>
                  <a:lnTo>
                    <a:pt x="1174" y="1294"/>
                  </a:lnTo>
                  <a:lnTo>
                    <a:pt x="1171" y="1294"/>
                  </a:lnTo>
                  <a:lnTo>
                    <a:pt x="1174" y="1296"/>
                  </a:lnTo>
                  <a:lnTo>
                    <a:pt x="1176" y="1298"/>
                  </a:lnTo>
                  <a:lnTo>
                    <a:pt x="1176" y="1296"/>
                  </a:lnTo>
                  <a:lnTo>
                    <a:pt x="1176" y="1296"/>
                  </a:lnTo>
                  <a:lnTo>
                    <a:pt x="1176" y="1294"/>
                  </a:lnTo>
                  <a:lnTo>
                    <a:pt x="1176" y="1294"/>
                  </a:lnTo>
                  <a:lnTo>
                    <a:pt x="1176" y="1294"/>
                  </a:lnTo>
                  <a:close/>
                  <a:moveTo>
                    <a:pt x="1162" y="1140"/>
                  </a:moveTo>
                  <a:lnTo>
                    <a:pt x="1162" y="1140"/>
                  </a:lnTo>
                  <a:lnTo>
                    <a:pt x="1162" y="1142"/>
                  </a:lnTo>
                  <a:lnTo>
                    <a:pt x="1167" y="1145"/>
                  </a:lnTo>
                  <a:lnTo>
                    <a:pt x="1169" y="1147"/>
                  </a:lnTo>
                  <a:lnTo>
                    <a:pt x="1171" y="1147"/>
                  </a:lnTo>
                  <a:lnTo>
                    <a:pt x="1171" y="1147"/>
                  </a:lnTo>
                  <a:lnTo>
                    <a:pt x="1171" y="1149"/>
                  </a:lnTo>
                  <a:lnTo>
                    <a:pt x="1174" y="1147"/>
                  </a:lnTo>
                  <a:lnTo>
                    <a:pt x="1171" y="1147"/>
                  </a:lnTo>
                  <a:lnTo>
                    <a:pt x="1171" y="1145"/>
                  </a:lnTo>
                  <a:lnTo>
                    <a:pt x="1171" y="1142"/>
                  </a:lnTo>
                  <a:lnTo>
                    <a:pt x="1171" y="1142"/>
                  </a:lnTo>
                  <a:lnTo>
                    <a:pt x="1169" y="1140"/>
                  </a:lnTo>
                  <a:lnTo>
                    <a:pt x="1169" y="1140"/>
                  </a:lnTo>
                  <a:lnTo>
                    <a:pt x="1169" y="1140"/>
                  </a:lnTo>
                  <a:lnTo>
                    <a:pt x="1169" y="1137"/>
                  </a:lnTo>
                  <a:lnTo>
                    <a:pt x="1171" y="1140"/>
                  </a:lnTo>
                  <a:lnTo>
                    <a:pt x="1171" y="1140"/>
                  </a:lnTo>
                  <a:lnTo>
                    <a:pt x="1171" y="1140"/>
                  </a:lnTo>
                  <a:lnTo>
                    <a:pt x="1174" y="1140"/>
                  </a:lnTo>
                  <a:lnTo>
                    <a:pt x="1174" y="1140"/>
                  </a:lnTo>
                  <a:lnTo>
                    <a:pt x="1174" y="1137"/>
                  </a:lnTo>
                  <a:lnTo>
                    <a:pt x="1171" y="1137"/>
                  </a:lnTo>
                  <a:lnTo>
                    <a:pt x="1169" y="1137"/>
                  </a:lnTo>
                  <a:lnTo>
                    <a:pt x="1169" y="1137"/>
                  </a:lnTo>
                  <a:lnTo>
                    <a:pt x="1169" y="1137"/>
                  </a:lnTo>
                  <a:lnTo>
                    <a:pt x="1169" y="1137"/>
                  </a:lnTo>
                  <a:lnTo>
                    <a:pt x="1169" y="1135"/>
                  </a:lnTo>
                  <a:lnTo>
                    <a:pt x="1169" y="1135"/>
                  </a:lnTo>
                  <a:lnTo>
                    <a:pt x="1167" y="1133"/>
                  </a:lnTo>
                  <a:lnTo>
                    <a:pt x="1167" y="1133"/>
                  </a:lnTo>
                  <a:lnTo>
                    <a:pt x="1167" y="1133"/>
                  </a:lnTo>
                  <a:lnTo>
                    <a:pt x="1164" y="1133"/>
                  </a:lnTo>
                  <a:lnTo>
                    <a:pt x="1164" y="1133"/>
                  </a:lnTo>
                  <a:lnTo>
                    <a:pt x="1162" y="1133"/>
                  </a:lnTo>
                  <a:lnTo>
                    <a:pt x="1162" y="1133"/>
                  </a:lnTo>
                  <a:lnTo>
                    <a:pt x="1162" y="1135"/>
                  </a:lnTo>
                  <a:lnTo>
                    <a:pt x="1162" y="1135"/>
                  </a:lnTo>
                  <a:lnTo>
                    <a:pt x="1162" y="1135"/>
                  </a:lnTo>
                  <a:lnTo>
                    <a:pt x="1162" y="1137"/>
                  </a:lnTo>
                  <a:lnTo>
                    <a:pt x="1162" y="1140"/>
                  </a:lnTo>
                  <a:close/>
                  <a:moveTo>
                    <a:pt x="1815" y="1495"/>
                  </a:moveTo>
                  <a:lnTo>
                    <a:pt x="1815" y="1492"/>
                  </a:lnTo>
                  <a:lnTo>
                    <a:pt x="1813" y="1492"/>
                  </a:lnTo>
                  <a:lnTo>
                    <a:pt x="1813" y="1490"/>
                  </a:lnTo>
                  <a:lnTo>
                    <a:pt x="1813" y="1490"/>
                  </a:lnTo>
                  <a:lnTo>
                    <a:pt x="1810" y="1492"/>
                  </a:lnTo>
                  <a:lnTo>
                    <a:pt x="1813" y="1495"/>
                  </a:lnTo>
                  <a:lnTo>
                    <a:pt x="1813" y="1495"/>
                  </a:lnTo>
                  <a:lnTo>
                    <a:pt x="1815" y="1495"/>
                  </a:lnTo>
                  <a:close/>
                  <a:moveTo>
                    <a:pt x="1579" y="702"/>
                  </a:moveTo>
                  <a:lnTo>
                    <a:pt x="1579" y="705"/>
                  </a:lnTo>
                  <a:lnTo>
                    <a:pt x="1576" y="705"/>
                  </a:lnTo>
                  <a:lnTo>
                    <a:pt x="1579" y="705"/>
                  </a:lnTo>
                  <a:lnTo>
                    <a:pt x="1579" y="705"/>
                  </a:lnTo>
                  <a:lnTo>
                    <a:pt x="1579" y="705"/>
                  </a:lnTo>
                  <a:lnTo>
                    <a:pt x="1581" y="705"/>
                  </a:lnTo>
                  <a:lnTo>
                    <a:pt x="1581" y="705"/>
                  </a:lnTo>
                  <a:lnTo>
                    <a:pt x="1581" y="705"/>
                  </a:lnTo>
                  <a:lnTo>
                    <a:pt x="1581" y="707"/>
                  </a:lnTo>
                  <a:lnTo>
                    <a:pt x="1581" y="707"/>
                  </a:lnTo>
                  <a:lnTo>
                    <a:pt x="1581" y="707"/>
                  </a:lnTo>
                  <a:lnTo>
                    <a:pt x="1581" y="707"/>
                  </a:lnTo>
                  <a:lnTo>
                    <a:pt x="1581" y="707"/>
                  </a:lnTo>
                  <a:lnTo>
                    <a:pt x="1583" y="707"/>
                  </a:lnTo>
                  <a:lnTo>
                    <a:pt x="1583" y="707"/>
                  </a:lnTo>
                  <a:lnTo>
                    <a:pt x="1583" y="707"/>
                  </a:lnTo>
                  <a:lnTo>
                    <a:pt x="1583" y="707"/>
                  </a:lnTo>
                  <a:lnTo>
                    <a:pt x="1583" y="709"/>
                  </a:lnTo>
                  <a:lnTo>
                    <a:pt x="1583" y="709"/>
                  </a:lnTo>
                  <a:lnTo>
                    <a:pt x="1586" y="709"/>
                  </a:lnTo>
                  <a:lnTo>
                    <a:pt x="1586" y="709"/>
                  </a:lnTo>
                  <a:lnTo>
                    <a:pt x="1586" y="707"/>
                  </a:lnTo>
                  <a:lnTo>
                    <a:pt x="1586" y="707"/>
                  </a:lnTo>
                  <a:lnTo>
                    <a:pt x="1586" y="707"/>
                  </a:lnTo>
                  <a:lnTo>
                    <a:pt x="1586" y="707"/>
                  </a:lnTo>
                  <a:lnTo>
                    <a:pt x="1583" y="705"/>
                  </a:lnTo>
                  <a:lnTo>
                    <a:pt x="1586" y="702"/>
                  </a:lnTo>
                  <a:lnTo>
                    <a:pt x="1586" y="702"/>
                  </a:lnTo>
                  <a:lnTo>
                    <a:pt x="1590" y="702"/>
                  </a:lnTo>
                  <a:lnTo>
                    <a:pt x="1590" y="702"/>
                  </a:lnTo>
                  <a:lnTo>
                    <a:pt x="1590" y="702"/>
                  </a:lnTo>
                  <a:lnTo>
                    <a:pt x="1590" y="702"/>
                  </a:lnTo>
                  <a:lnTo>
                    <a:pt x="1590" y="705"/>
                  </a:lnTo>
                  <a:lnTo>
                    <a:pt x="1590" y="705"/>
                  </a:lnTo>
                  <a:lnTo>
                    <a:pt x="1593" y="705"/>
                  </a:lnTo>
                  <a:lnTo>
                    <a:pt x="1595" y="705"/>
                  </a:lnTo>
                  <a:lnTo>
                    <a:pt x="1595" y="705"/>
                  </a:lnTo>
                  <a:lnTo>
                    <a:pt x="1595" y="702"/>
                  </a:lnTo>
                  <a:lnTo>
                    <a:pt x="1593" y="700"/>
                  </a:lnTo>
                  <a:lnTo>
                    <a:pt x="1590" y="700"/>
                  </a:lnTo>
                  <a:lnTo>
                    <a:pt x="1588" y="697"/>
                  </a:lnTo>
                  <a:lnTo>
                    <a:pt x="1588" y="697"/>
                  </a:lnTo>
                  <a:lnTo>
                    <a:pt x="1588" y="695"/>
                  </a:lnTo>
                  <a:lnTo>
                    <a:pt x="1588" y="695"/>
                  </a:lnTo>
                  <a:lnTo>
                    <a:pt x="1588" y="693"/>
                  </a:lnTo>
                  <a:lnTo>
                    <a:pt x="1593" y="688"/>
                  </a:lnTo>
                  <a:lnTo>
                    <a:pt x="1593" y="686"/>
                  </a:lnTo>
                  <a:lnTo>
                    <a:pt x="1593" y="686"/>
                  </a:lnTo>
                  <a:lnTo>
                    <a:pt x="1593" y="683"/>
                  </a:lnTo>
                  <a:lnTo>
                    <a:pt x="1593" y="683"/>
                  </a:lnTo>
                  <a:lnTo>
                    <a:pt x="1590" y="681"/>
                  </a:lnTo>
                  <a:lnTo>
                    <a:pt x="1590" y="681"/>
                  </a:lnTo>
                  <a:lnTo>
                    <a:pt x="1590" y="681"/>
                  </a:lnTo>
                  <a:lnTo>
                    <a:pt x="1588" y="681"/>
                  </a:lnTo>
                  <a:lnTo>
                    <a:pt x="1586" y="681"/>
                  </a:lnTo>
                  <a:lnTo>
                    <a:pt x="1586" y="683"/>
                  </a:lnTo>
                  <a:lnTo>
                    <a:pt x="1586" y="686"/>
                  </a:lnTo>
                  <a:lnTo>
                    <a:pt x="1586" y="686"/>
                  </a:lnTo>
                  <a:lnTo>
                    <a:pt x="1586" y="686"/>
                  </a:lnTo>
                  <a:lnTo>
                    <a:pt x="1583" y="688"/>
                  </a:lnTo>
                  <a:lnTo>
                    <a:pt x="1583" y="688"/>
                  </a:lnTo>
                  <a:lnTo>
                    <a:pt x="1583" y="688"/>
                  </a:lnTo>
                  <a:lnTo>
                    <a:pt x="1583" y="690"/>
                  </a:lnTo>
                  <a:lnTo>
                    <a:pt x="1583" y="690"/>
                  </a:lnTo>
                  <a:lnTo>
                    <a:pt x="1583" y="690"/>
                  </a:lnTo>
                  <a:lnTo>
                    <a:pt x="1581" y="693"/>
                  </a:lnTo>
                  <a:lnTo>
                    <a:pt x="1581" y="693"/>
                  </a:lnTo>
                  <a:lnTo>
                    <a:pt x="1581" y="695"/>
                  </a:lnTo>
                  <a:lnTo>
                    <a:pt x="1579" y="697"/>
                  </a:lnTo>
                  <a:lnTo>
                    <a:pt x="1579" y="697"/>
                  </a:lnTo>
                  <a:lnTo>
                    <a:pt x="1579" y="697"/>
                  </a:lnTo>
                  <a:lnTo>
                    <a:pt x="1579" y="700"/>
                  </a:lnTo>
                  <a:lnTo>
                    <a:pt x="1581" y="700"/>
                  </a:lnTo>
                  <a:lnTo>
                    <a:pt x="1581" y="700"/>
                  </a:lnTo>
                  <a:lnTo>
                    <a:pt x="1581" y="702"/>
                  </a:lnTo>
                  <a:lnTo>
                    <a:pt x="1579" y="702"/>
                  </a:lnTo>
                  <a:close/>
                  <a:moveTo>
                    <a:pt x="1567" y="1421"/>
                  </a:moveTo>
                  <a:lnTo>
                    <a:pt x="1567" y="1421"/>
                  </a:lnTo>
                  <a:lnTo>
                    <a:pt x="1567" y="1424"/>
                  </a:lnTo>
                  <a:lnTo>
                    <a:pt x="1567" y="1424"/>
                  </a:lnTo>
                  <a:lnTo>
                    <a:pt x="1567" y="1424"/>
                  </a:lnTo>
                  <a:lnTo>
                    <a:pt x="1567" y="1424"/>
                  </a:lnTo>
                  <a:lnTo>
                    <a:pt x="1567" y="1426"/>
                  </a:lnTo>
                  <a:lnTo>
                    <a:pt x="1567" y="1426"/>
                  </a:lnTo>
                  <a:lnTo>
                    <a:pt x="1567" y="1428"/>
                  </a:lnTo>
                  <a:lnTo>
                    <a:pt x="1567" y="1431"/>
                  </a:lnTo>
                  <a:lnTo>
                    <a:pt x="1569" y="1431"/>
                  </a:lnTo>
                  <a:lnTo>
                    <a:pt x="1569" y="1436"/>
                  </a:lnTo>
                  <a:lnTo>
                    <a:pt x="1569" y="1436"/>
                  </a:lnTo>
                  <a:lnTo>
                    <a:pt x="1569" y="1438"/>
                  </a:lnTo>
                  <a:lnTo>
                    <a:pt x="1571" y="1438"/>
                  </a:lnTo>
                  <a:lnTo>
                    <a:pt x="1571" y="1438"/>
                  </a:lnTo>
                  <a:lnTo>
                    <a:pt x="1571" y="1438"/>
                  </a:lnTo>
                  <a:lnTo>
                    <a:pt x="1576" y="1440"/>
                  </a:lnTo>
                  <a:lnTo>
                    <a:pt x="1576" y="1440"/>
                  </a:lnTo>
                  <a:lnTo>
                    <a:pt x="1576" y="1443"/>
                  </a:lnTo>
                  <a:lnTo>
                    <a:pt x="1576" y="1443"/>
                  </a:lnTo>
                  <a:lnTo>
                    <a:pt x="1576" y="1443"/>
                  </a:lnTo>
                  <a:lnTo>
                    <a:pt x="1579" y="1445"/>
                  </a:lnTo>
                  <a:lnTo>
                    <a:pt x="1579" y="1445"/>
                  </a:lnTo>
                  <a:lnTo>
                    <a:pt x="1579" y="1447"/>
                  </a:lnTo>
                  <a:lnTo>
                    <a:pt x="1579" y="1447"/>
                  </a:lnTo>
                  <a:lnTo>
                    <a:pt x="1581" y="1447"/>
                  </a:lnTo>
                  <a:lnTo>
                    <a:pt x="1581" y="1447"/>
                  </a:lnTo>
                  <a:lnTo>
                    <a:pt x="1583" y="1447"/>
                  </a:lnTo>
                  <a:lnTo>
                    <a:pt x="1583" y="1447"/>
                  </a:lnTo>
                  <a:lnTo>
                    <a:pt x="1583" y="1445"/>
                  </a:lnTo>
                  <a:lnTo>
                    <a:pt x="1586" y="1443"/>
                  </a:lnTo>
                  <a:lnTo>
                    <a:pt x="1586" y="1443"/>
                  </a:lnTo>
                  <a:lnTo>
                    <a:pt x="1586" y="1443"/>
                  </a:lnTo>
                  <a:lnTo>
                    <a:pt x="1583" y="1440"/>
                  </a:lnTo>
                  <a:lnTo>
                    <a:pt x="1583" y="1440"/>
                  </a:lnTo>
                  <a:lnTo>
                    <a:pt x="1583" y="1440"/>
                  </a:lnTo>
                  <a:lnTo>
                    <a:pt x="1583" y="1440"/>
                  </a:lnTo>
                  <a:lnTo>
                    <a:pt x="1583" y="1440"/>
                  </a:lnTo>
                  <a:lnTo>
                    <a:pt x="1583" y="1440"/>
                  </a:lnTo>
                  <a:lnTo>
                    <a:pt x="1583" y="1440"/>
                  </a:lnTo>
                  <a:lnTo>
                    <a:pt x="1583" y="1438"/>
                  </a:lnTo>
                  <a:lnTo>
                    <a:pt x="1583" y="1438"/>
                  </a:lnTo>
                  <a:lnTo>
                    <a:pt x="1583" y="1438"/>
                  </a:lnTo>
                  <a:lnTo>
                    <a:pt x="1583" y="1438"/>
                  </a:lnTo>
                  <a:lnTo>
                    <a:pt x="1583" y="1438"/>
                  </a:lnTo>
                  <a:lnTo>
                    <a:pt x="1581" y="1436"/>
                  </a:lnTo>
                  <a:lnTo>
                    <a:pt x="1581" y="1436"/>
                  </a:lnTo>
                  <a:lnTo>
                    <a:pt x="1581" y="1433"/>
                  </a:lnTo>
                  <a:lnTo>
                    <a:pt x="1579" y="1431"/>
                  </a:lnTo>
                  <a:lnTo>
                    <a:pt x="1579" y="1431"/>
                  </a:lnTo>
                  <a:lnTo>
                    <a:pt x="1579" y="1431"/>
                  </a:lnTo>
                  <a:lnTo>
                    <a:pt x="1579" y="1428"/>
                  </a:lnTo>
                  <a:lnTo>
                    <a:pt x="1579" y="1428"/>
                  </a:lnTo>
                  <a:lnTo>
                    <a:pt x="1579" y="1428"/>
                  </a:lnTo>
                  <a:lnTo>
                    <a:pt x="1576" y="1426"/>
                  </a:lnTo>
                  <a:lnTo>
                    <a:pt x="1576" y="1426"/>
                  </a:lnTo>
                  <a:lnTo>
                    <a:pt x="1576" y="1426"/>
                  </a:lnTo>
                  <a:lnTo>
                    <a:pt x="1576" y="1426"/>
                  </a:lnTo>
                  <a:lnTo>
                    <a:pt x="1574" y="1424"/>
                  </a:lnTo>
                  <a:lnTo>
                    <a:pt x="1574" y="1424"/>
                  </a:lnTo>
                  <a:lnTo>
                    <a:pt x="1574" y="1424"/>
                  </a:lnTo>
                  <a:lnTo>
                    <a:pt x="1574" y="1424"/>
                  </a:lnTo>
                  <a:lnTo>
                    <a:pt x="1574" y="1421"/>
                  </a:lnTo>
                  <a:lnTo>
                    <a:pt x="1574" y="1421"/>
                  </a:lnTo>
                  <a:lnTo>
                    <a:pt x="1571" y="1419"/>
                  </a:lnTo>
                  <a:lnTo>
                    <a:pt x="1571" y="1419"/>
                  </a:lnTo>
                  <a:lnTo>
                    <a:pt x="1571" y="1421"/>
                  </a:lnTo>
                  <a:lnTo>
                    <a:pt x="1569" y="1421"/>
                  </a:lnTo>
                  <a:lnTo>
                    <a:pt x="1569" y="1419"/>
                  </a:lnTo>
                  <a:lnTo>
                    <a:pt x="1569" y="1419"/>
                  </a:lnTo>
                  <a:lnTo>
                    <a:pt x="1569" y="1419"/>
                  </a:lnTo>
                  <a:lnTo>
                    <a:pt x="1569" y="1419"/>
                  </a:lnTo>
                  <a:lnTo>
                    <a:pt x="1569" y="1419"/>
                  </a:lnTo>
                  <a:lnTo>
                    <a:pt x="1569" y="1419"/>
                  </a:lnTo>
                  <a:lnTo>
                    <a:pt x="1567" y="1419"/>
                  </a:lnTo>
                  <a:lnTo>
                    <a:pt x="1567" y="1419"/>
                  </a:lnTo>
                  <a:lnTo>
                    <a:pt x="1567" y="1421"/>
                  </a:lnTo>
                  <a:close/>
                  <a:moveTo>
                    <a:pt x="1799" y="1599"/>
                  </a:moveTo>
                  <a:lnTo>
                    <a:pt x="1799" y="1601"/>
                  </a:lnTo>
                  <a:lnTo>
                    <a:pt x="1799" y="1601"/>
                  </a:lnTo>
                  <a:lnTo>
                    <a:pt x="1801" y="1601"/>
                  </a:lnTo>
                  <a:lnTo>
                    <a:pt x="1801" y="1601"/>
                  </a:lnTo>
                  <a:lnTo>
                    <a:pt x="1801" y="1601"/>
                  </a:lnTo>
                  <a:lnTo>
                    <a:pt x="1801" y="1601"/>
                  </a:lnTo>
                  <a:lnTo>
                    <a:pt x="1801" y="1599"/>
                  </a:lnTo>
                  <a:lnTo>
                    <a:pt x="1803" y="1599"/>
                  </a:lnTo>
                  <a:lnTo>
                    <a:pt x="1803" y="1599"/>
                  </a:lnTo>
                  <a:lnTo>
                    <a:pt x="1803" y="1599"/>
                  </a:lnTo>
                  <a:lnTo>
                    <a:pt x="1803" y="1596"/>
                  </a:lnTo>
                  <a:lnTo>
                    <a:pt x="1803" y="1596"/>
                  </a:lnTo>
                  <a:lnTo>
                    <a:pt x="1801" y="1599"/>
                  </a:lnTo>
                  <a:lnTo>
                    <a:pt x="1801" y="1599"/>
                  </a:lnTo>
                  <a:lnTo>
                    <a:pt x="1801" y="1596"/>
                  </a:lnTo>
                  <a:lnTo>
                    <a:pt x="1801" y="1596"/>
                  </a:lnTo>
                  <a:lnTo>
                    <a:pt x="1799" y="1596"/>
                  </a:lnTo>
                  <a:lnTo>
                    <a:pt x="1799" y="1599"/>
                  </a:lnTo>
                  <a:lnTo>
                    <a:pt x="1799" y="1599"/>
                  </a:lnTo>
                  <a:lnTo>
                    <a:pt x="1799" y="1599"/>
                  </a:lnTo>
                  <a:lnTo>
                    <a:pt x="1799" y="1599"/>
                  </a:lnTo>
                  <a:lnTo>
                    <a:pt x="1799" y="1599"/>
                  </a:lnTo>
                  <a:lnTo>
                    <a:pt x="1799" y="1599"/>
                  </a:lnTo>
                  <a:lnTo>
                    <a:pt x="1799" y="1599"/>
                  </a:lnTo>
                  <a:lnTo>
                    <a:pt x="1799" y="1599"/>
                  </a:lnTo>
                  <a:lnTo>
                    <a:pt x="1799" y="1599"/>
                  </a:lnTo>
                  <a:close/>
                  <a:moveTo>
                    <a:pt x="1569" y="1417"/>
                  </a:moveTo>
                  <a:lnTo>
                    <a:pt x="1567" y="1417"/>
                  </a:lnTo>
                  <a:lnTo>
                    <a:pt x="1567" y="1417"/>
                  </a:lnTo>
                  <a:lnTo>
                    <a:pt x="1567" y="1417"/>
                  </a:lnTo>
                  <a:lnTo>
                    <a:pt x="1567" y="1417"/>
                  </a:lnTo>
                  <a:lnTo>
                    <a:pt x="1569" y="1417"/>
                  </a:lnTo>
                  <a:lnTo>
                    <a:pt x="1569" y="1417"/>
                  </a:lnTo>
                  <a:lnTo>
                    <a:pt x="1569" y="1417"/>
                  </a:lnTo>
                  <a:lnTo>
                    <a:pt x="1569" y="1417"/>
                  </a:lnTo>
                  <a:lnTo>
                    <a:pt x="1569" y="1417"/>
                  </a:lnTo>
                  <a:lnTo>
                    <a:pt x="1569" y="1417"/>
                  </a:lnTo>
                  <a:close/>
                  <a:moveTo>
                    <a:pt x="1638" y="1622"/>
                  </a:moveTo>
                  <a:lnTo>
                    <a:pt x="1638" y="1625"/>
                  </a:lnTo>
                  <a:lnTo>
                    <a:pt x="1635" y="1625"/>
                  </a:lnTo>
                  <a:lnTo>
                    <a:pt x="1635" y="1625"/>
                  </a:lnTo>
                  <a:lnTo>
                    <a:pt x="1635" y="1627"/>
                  </a:lnTo>
                  <a:lnTo>
                    <a:pt x="1635" y="1629"/>
                  </a:lnTo>
                  <a:lnTo>
                    <a:pt x="1631" y="1634"/>
                  </a:lnTo>
                  <a:lnTo>
                    <a:pt x="1631" y="1637"/>
                  </a:lnTo>
                  <a:lnTo>
                    <a:pt x="1631" y="1639"/>
                  </a:lnTo>
                  <a:lnTo>
                    <a:pt x="1631" y="1639"/>
                  </a:lnTo>
                  <a:lnTo>
                    <a:pt x="1638" y="1644"/>
                  </a:lnTo>
                  <a:lnTo>
                    <a:pt x="1638" y="1646"/>
                  </a:lnTo>
                  <a:lnTo>
                    <a:pt x="1638" y="1648"/>
                  </a:lnTo>
                  <a:lnTo>
                    <a:pt x="1638" y="1653"/>
                  </a:lnTo>
                  <a:lnTo>
                    <a:pt x="1640" y="1653"/>
                  </a:lnTo>
                  <a:lnTo>
                    <a:pt x="1640" y="1653"/>
                  </a:lnTo>
                  <a:lnTo>
                    <a:pt x="1647" y="1646"/>
                  </a:lnTo>
                  <a:lnTo>
                    <a:pt x="1650" y="1646"/>
                  </a:lnTo>
                  <a:lnTo>
                    <a:pt x="1652" y="1646"/>
                  </a:lnTo>
                  <a:lnTo>
                    <a:pt x="1652" y="1646"/>
                  </a:lnTo>
                  <a:lnTo>
                    <a:pt x="1654" y="1648"/>
                  </a:lnTo>
                  <a:lnTo>
                    <a:pt x="1654" y="1648"/>
                  </a:lnTo>
                  <a:lnTo>
                    <a:pt x="1654" y="1648"/>
                  </a:lnTo>
                  <a:lnTo>
                    <a:pt x="1654" y="1648"/>
                  </a:lnTo>
                  <a:lnTo>
                    <a:pt x="1654" y="1651"/>
                  </a:lnTo>
                  <a:lnTo>
                    <a:pt x="1657" y="1648"/>
                  </a:lnTo>
                  <a:lnTo>
                    <a:pt x="1661" y="1644"/>
                  </a:lnTo>
                  <a:lnTo>
                    <a:pt x="1664" y="1639"/>
                  </a:lnTo>
                  <a:lnTo>
                    <a:pt x="1668" y="1634"/>
                  </a:lnTo>
                  <a:lnTo>
                    <a:pt x="1673" y="1629"/>
                  </a:lnTo>
                  <a:lnTo>
                    <a:pt x="1673" y="1627"/>
                  </a:lnTo>
                  <a:lnTo>
                    <a:pt x="1673" y="1625"/>
                  </a:lnTo>
                  <a:lnTo>
                    <a:pt x="1673" y="1622"/>
                  </a:lnTo>
                  <a:lnTo>
                    <a:pt x="1673" y="1622"/>
                  </a:lnTo>
                  <a:lnTo>
                    <a:pt x="1673" y="1622"/>
                  </a:lnTo>
                  <a:lnTo>
                    <a:pt x="1676" y="1622"/>
                  </a:lnTo>
                  <a:lnTo>
                    <a:pt x="1678" y="1620"/>
                  </a:lnTo>
                  <a:lnTo>
                    <a:pt x="1678" y="1618"/>
                  </a:lnTo>
                  <a:lnTo>
                    <a:pt x="1680" y="1615"/>
                  </a:lnTo>
                  <a:lnTo>
                    <a:pt x="1680" y="1615"/>
                  </a:lnTo>
                  <a:lnTo>
                    <a:pt x="1683" y="1613"/>
                  </a:lnTo>
                  <a:lnTo>
                    <a:pt x="1683" y="1613"/>
                  </a:lnTo>
                  <a:lnTo>
                    <a:pt x="1683" y="1613"/>
                  </a:lnTo>
                  <a:lnTo>
                    <a:pt x="1683" y="1611"/>
                  </a:lnTo>
                  <a:lnTo>
                    <a:pt x="1683" y="1611"/>
                  </a:lnTo>
                  <a:lnTo>
                    <a:pt x="1683" y="1608"/>
                  </a:lnTo>
                  <a:lnTo>
                    <a:pt x="1683" y="1608"/>
                  </a:lnTo>
                  <a:lnTo>
                    <a:pt x="1683" y="1606"/>
                  </a:lnTo>
                  <a:lnTo>
                    <a:pt x="1683" y="1606"/>
                  </a:lnTo>
                  <a:lnTo>
                    <a:pt x="1683" y="1606"/>
                  </a:lnTo>
                  <a:lnTo>
                    <a:pt x="1683" y="1606"/>
                  </a:lnTo>
                  <a:lnTo>
                    <a:pt x="1683" y="1603"/>
                  </a:lnTo>
                  <a:lnTo>
                    <a:pt x="1683" y="1603"/>
                  </a:lnTo>
                  <a:lnTo>
                    <a:pt x="1683" y="1603"/>
                  </a:lnTo>
                  <a:lnTo>
                    <a:pt x="1683" y="1601"/>
                  </a:lnTo>
                  <a:lnTo>
                    <a:pt x="1683" y="1601"/>
                  </a:lnTo>
                  <a:lnTo>
                    <a:pt x="1683" y="1599"/>
                  </a:lnTo>
                  <a:lnTo>
                    <a:pt x="1683" y="1599"/>
                  </a:lnTo>
                  <a:lnTo>
                    <a:pt x="1683" y="1599"/>
                  </a:lnTo>
                  <a:lnTo>
                    <a:pt x="1680" y="1596"/>
                  </a:lnTo>
                  <a:lnTo>
                    <a:pt x="1676" y="1596"/>
                  </a:lnTo>
                  <a:lnTo>
                    <a:pt x="1673" y="1596"/>
                  </a:lnTo>
                  <a:lnTo>
                    <a:pt x="1673" y="1596"/>
                  </a:lnTo>
                  <a:lnTo>
                    <a:pt x="1673" y="1596"/>
                  </a:lnTo>
                  <a:lnTo>
                    <a:pt x="1671" y="1596"/>
                  </a:lnTo>
                  <a:lnTo>
                    <a:pt x="1671" y="1596"/>
                  </a:lnTo>
                  <a:lnTo>
                    <a:pt x="1671" y="1596"/>
                  </a:lnTo>
                  <a:lnTo>
                    <a:pt x="1671" y="1599"/>
                  </a:lnTo>
                  <a:lnTo>
                    <a:pt x="1668" y="1599"/>
                  </a:lnTo>
                  <a:lnTo>
                    <a:pt x="1668" y="1599"/>
                  </a:lnTo>
                  <a:lnTo>
                    <a:pt x="1668" y="1599"/>
                  </a:lnTo>
                  <a:lnTo>
                    <a:pt x="1668" y="1599"/>
                  </a:lnTo>
                  <a:lnTo>
                    <a:pt x="1668" y="1599"/>
                  </a:lnTo>
                  <a:lnTo>
                    <a:pt x="1668" y="1599"/>
                  </a:lnTo>
                  <a:lnTo>
                    <a:pt x="1668" y="1601"/>
                  </a:lnTo>
                  <a:lnTo>
                    <a:pt x="1668" y="1601"/>
                  </a:lnTo>
                  <a:lnTo>
                    <a:pt x="1664" y="1601"/>
                  </a:lnTo>
                  <a:lnTo>
                    <a:pt x="1659" y="1601"/>
                  </a:lnTo>
                  <a:lnTo>
                    <a:pt x="1659" y="1601"/>
                  </a:lnTo>
                  <a:lnTo>
                    <a:pt x="1652" y="1608"/>
                  </a:lnTo>
                  <a:lnTo>
                    <a:pt x="1652" y="1608"/>
                  </a:lnTo>
                  <a:lnTo>
                    <a:pt x="1650" y="1608"/>
                  </a:lnTo>
                  <a:lnTo>
                    <a:pt x="1647" y="1608"/>
                  </a:lnTo>
                  <a:lnTo>
                    <a:pt x="1647" y="1606"/>
                  </a:lnTo>
                  <a:lnTo>
                    <a:pt x="1647" y="1606"/>
                  </a:lnTo>
                  <a:lnTo>
                    <a:pt x="1645" y="1606"/>
                  </a:lnTo>
                  <a:lnTo>
                    <a:pt x="1645" y="1606"/>
                  </a:lnTo>
                  <a:lnTo>
                    <a:pt x="1645" y="1606"/>
                  </a:lnTo>
                  <a:lnTo>
                    <a:pt x="1645" y="1606"/>
                  </a:lnTo>
                  <a:lnTo>
                    <a:pt x="1645" y="1606"/>
                  </a:lnTo>
                  <a:lnTo>
                    <a:pt x="1645" y="1606"/>
                  </a:lnTo>
                  <a:lnTo>
                    <a:pt x="1640" y="1608"/>
                  </a:lnTo>
                  <a:lnTo>
                    <a:pt x="1640" y="1608"/>
                  </a:lnTo>
                  <a:lnTo>
                    <a:pt x="1640" y="1611"/>
                  </a:lnTo>
                  <a:lnTo>
                    <a:pt x="1638" y="1613"/>
                  </a:lnTo>
                  <a:lnTo>
                    <a:pt x="1638" y="1613"/>
                  </a:lnTo>
                  <a:lnTo>
                    <a:pt x="1638" y="1615"/>
                  </a:lnTo>
                  <a:lnTo>
                    <a:pt x="1638" y="1618"/>
                  </a:lnTo>
                  <a:lnTo>
                    <a:pt x="1638" y="1618"/>
                  </a:lnTo>
                  <a:lnTo>
                    <a:pt x="1638" y="1618"/>
                  </a:lnTo>
                  <a:lnTo>
                    <a:pt x="1638" y="1618"/>
                  </a:lnTo>
                  <a:lnTo>
                    <a:pt x="1638" y="1620"/>
                  </a:lnTo>
                  <a:lnTo>
                    <a:pt x="1638" y="1620"/>
                  </a:lnTo>
                  <a:lnTo>
                    <a:pt x="1638" y="1622"/>
                  </a:lnTo>
                  <a:close/>
                  <a:moveTo>
                    <a:pt x="1810" y="1490"/>
                  </a:moveTo>
                  <a:lnTo>
                    <a:pt x="1810" y="1490"/>
                  </a:lnTo>
                  <a:lnTo>
                    <a:pt x="1808" y="1490"/>
                  </a:lnTo>
                  <a:lnTo>
                    <a:pt x="1808" y="1490"/>
                  </a:lnTo>
                  <a:lnTo>
                    <a:pt x="1808" y="1492"/>
                  </a:lnTo>
                  <a:lnTo>
                    <a:pt x="1808" y="1492"/>
                  </a:lnTo>
                  <a:lnTo>
                    <a:pt x="1810" y="1492"/>
                  </a:lnTo>
                  <a:lnTo>
                    <a:pt x="1810" y="1492"/>
                  </a:lnTo>
                  <a:lnTo>
                    <a:pt x="1810" y="1492"/>
                  </a:lnTo>
                  <a:lnTo>
                    <a:pt x="1810" y="1490"/>
                  </a:lnTo>
                  <a:close/>
                  <a:moveTo>
                    <a:pt x="1780" y="1511"/>
                  </a:moveTo>
                  <a:lnTo>
                    <a:pt x="1780" y="1511"/>
                  </a:lnTo>
                  <a:lnTo>
                    <a:pt x="1777" y="1514"/>
                  </a:lnTo>
                  <a:lnTo>
                    <a:pt x="1777" y="1514"/>
                  </a:lnTo>
                  <a:lnTo>
                    <a:pt x="1777" y="1514"/>
                  </a:lnTo>
                  <a:lnTo>
                    <a:pt x="1777" y="1516"/>
                  </a:lnTo>
                  <a:lnTo>
                    <a:pt x="1777" y="1516"/>
                  </a:lnTo>
                  <a:lnTo>
                    <a:pt x="1777" y="1516"/>
                  </a:lnTo>
                  <a:lnTo>
                    <a:pt x="1777" y="1516"/>
                  </a:lnTo>
                  <a:lnTo>
                    <a:pt x="1780" y="1516"/>
                  </a:lnTo>
                  <a:lnTo>
                    <a:pt x="1782" y="1516"/>
                  </a:lnTo>
                  <a:lnTo>
                    <a:pt x="1784" y="1516"/>
                  </a:lnTo>
                  <a:lnTo>
                    <a:pt x="1784" y="1516"/>
                  </a:lnTo>
                  <a:lnTo>
                    <a:pt x="1784" y="1516"/>
                  </a:lnTo>
                  <a:lnTo>
                    <a:pt x="1787" y="1514"/>
                  </a:lnTo>
                  <a:lnTo>
                    <a:pt x="1787" y="1511"/>
                  </a:lnTo>
                  <a:lnTo>
                    <a:pt x="1787" y="1511"/>
                  </a:lnTo>
                  <a:lnTo>
                    <a:pt x="1787" y="1511"/>
                  </a:lnTo>
                  <a:lnTo>
                    <a:pt x="1789" y="1511"/>
                  </a:lnTo>
                  <a:lnTo>
                    <a:pt x="1789" y="1511"/>
                  </a:lnTo>
                  <a:lnTo>
                    <a:pt x="1787" y="1509"/>
                  </a:lnTo>
                  <a:lnTo>
                    <a:pt x="1782" y="1511"/>
                  </a:lnTo>
                  <a:lnTo>
                    <a:pt x="1782" y="1511"/>
                  </a:lnTo>
                  <a:lnTo>
                    <a:pt x="1782" y="1511"/>
                  </a:lnTo>
                  <a:lnTo>
                    <a:pt x="1780" y="1511"/>
                  </a:lnTo>
                  <a:close/>
                  <a:moveTo>
                    <a:pt x="1619" y="1187"/>
                  </a:moveTo>
                  <a:lnTo>
                    <a:pt x="1623" y="1187"/>
                  </a:lnTo>
                  <a:lnTo>
                    <a:pt x="1623" y="1187"/>
                  </a:lnTo>
                  <a:lnTo>
                    <a:pt x="1623" y="1187"/>
                  </a:lnTo>
                  <a:lnTo>
                    <a:pt x="1623" y="1185"/>
                  </a:lnTo>
                  <a:lnTo>
                    <a:pt x="1621" y="1182"/>
                  </a:lnTo>
                  <a:lnTo>
                    <a:pt x="1619" y="1185"/>
                  </a:lnTo>
                  <a:lnTo>
                    <a:pt x="1619" y="1182"/>
                  </a:lnTo>
                  <a:lnTo>
                    <a:pt x="1614" y="1182"/>
                  </a:lnTo>
                  <a:lnTo>
                    <a:pt x="1614" y="1185"/>
                  </a:lnTo>
                  <a:lnTo>
                    <a:pt x="1614" y="1187"/>
                  </a:lnTo>
                  <a:lnTo>
                    <a:pt x="1614" y="1187"/>
                  </a:lnTo>
                  <a:lnTo>
                    <a:pt x="1616" y="1189"/>
                  </a:lnTo>
                  <a:lnTo>
                    <a:pt x="1616" y="1187"/>
                  </a:lnTo>
                  <a:lnTo>
                    <a:pt x="1616" y="1187"/>
                  </a:lnTo>
                  <a:lnTo>
                    <a:pt x="1619" y="1187"/>
                  </a:lnTo>
                  <a:lnTo>
                    <a:pt x="1619" y="1187"/>
                  </a:lnTo>
                  <a:lnTo>
                    <a:pt x="1619" y="1187"/>
                  </a:lnTo>
                  <a:close/>
                  <a:moveTo>
                    <a:pt x="1803" y="1239"/>
                  </a:moveTo>
                  <a:lnTo>
                    <a:pt x="1803" y="1239"/>
                  </a:lnTo>
                  <a:lnTo>
                    <a:pt x="1803" y="1242"/>
                  </a:lnTo>
                  <a:lnTo>
                    <a:pt x="1803" y="1242"/>
                  </a:lnTo>
                  <a:lnTo>
                    <a:pt x="1803" y="1246"/>
                  </a:lnTo>
                  <a:lnTo>
                    <a:pt x="1806" y="1246"/>
                  </a:lnTo>
                  <a:lnTo>
                    <a:pt x="1806" y="1249"/>
                  </a:lnTo>
                  <a:lnTo>
                    <a:pt x="1810" y="1253"/>
                  </a:lnTo>
                  <a:lnTo>
                    <a:pt x="1810" y="1253"/>
                  </a:lnTo>
                  <a:lnTo>
                    <a:pt x="1813" y="1256"/>
                  </a:lnTo>
                  <a:lnTo>
                    <a:pt x="1818" y="1256"/>
                  </a:lnTo>
                  <a:lnTo>
                    <a:pt x="1829" y="1253"/>
                  </a:lnTo>
                  <a:lnTo>
                    <a:pt x="1841" y="1251"/>
                  </a:lnTo>
                  <a:lnTo>
                    <a:pt x="1841" y="1251"/>
                  </a:lnTo>
                  <a:lnTo>
                    <a:pt x="1841" y="1249"/>
                  </a:lnTo>
                  <a:lnTo>
                    <a:pt x="1841" y="1249"/>
                  </a:lnTo>
                  <a:lnTo>
                    <a:pt x="1841" y="1246"/>
                  </a:lnTo>
                  <a:lnTo>
                    <a:pt x="1841" y="1246"/>
                  </a:lnTo>
                  <a:lnTo>
                    <a:pt x="1841" y="1246"/>
                  </a:lnTo>
                  <a:lnTo>
                    <a:pt x="1839" y="1246"/>
                  </a:lnTo>
                  <a:lnTo>
                    <a:pt x="1839" y="1244"/>
                  </a:lnTo>
                  <a:lnTo>
                    <a:pt x="1839" y="1244"/>
                  </a:lnTo>
                  <a:lnTo>
                    <a:pt x="1839" y="1244"/>
                  </a:lnTo>
                  <a:lnTo>
                    <a:pt x="1839" y="1244"/>
                  </a:lnTo>
                  <a:lnTo>
                    <a:pt x="1839" y="1242"/>
                  </a:lnTo>
                  <a:lnTo>
                    <a:pt x="1839" y="1242"/>
                  </a:lnTo>
                  <a:lnTo>
                    <a:pt x="1839" y="1242"/>
                  </a:lnTo>
                  <a:lnTo>
                    <a:pt x="1839" y="1242"/>
                  </a:lnTo>
                  <a:lnTo>
                    <a:pt x="1839" y="1239"/>
                  </a:lnTo>
                  <a:lnTo>
                    <a:pt x="1836" y="1237"/>
                  </a:lnTo>
                  <a:lnTo>
                    <a:pt x="1834" y="1237"/>
                  </a:lnTo>
                  <a:lnTo>
                    <a:pt x="1832" y="1237"/>
                  </a:lnTo>
                  <a:lnTo>
                    <a:pt x="1832" y="1237"/>
                  </a:lnTo>
                  <a:lnTo>
                    <a:pt x="1829" y="1237"/>
                  </a:lnTo>
                  <a:lnTo>
                    <a:pt x="1829" y="1237"/>
                  </a:lnTo>
                  <a:lnTo>
                    <a:pt x="1829" y="1237"/>
                  </a:lnTo>
                  <a:lnTo>
                    <a:pt x="1829" y="1239"/>
                  </a:lnTo>
                  <a:lnTo>
                    <a:pt x="1829" y="1239"/>
                  </a:lnTo>
                  <a:lnTo>
                    <a:pt x="1827" y="1239"/>
                  </a:lnTo>
                  <a:lnTo>
                    <a:pt x="1827" y="1239"/>
                  </a:lnTo>
                  <a:lnTo>
                    <a:pt x="1827" y="1239"/>
                  </a:lnTo>
                  <a:lnTo>
                    <a:pt x="1825" y="1237"/>
                  </a:lnTo>
                  <a:lnTo>
                    <a:pt x="1820" y="1237"/>
                  </a:lnTo>
                  <a:lnTo>
                    <a:pt x="1820" y="1237"/>
                  </a:lnTo>
                  <a:lnTo>
                    <a:pt x="1818" y="1237"/>
                  </a:lnTo>
                  <a:lnTo>
                    <a:pt x="1815" y="1237"/>
                  </a:lnTo>
                  <a:lnTo>
                    <a:pt x="1815" y="1237"/>
                  </a:lnTo>
                  <a:lnTo>
                    <a:pt x="1815" y="1237"/>
                  </a:lnTo>
                  <a:lnTo>
                    <a:pt x="1815" y="1234"/>
                  </a:lnTo>
                  <a:lnTo>
                    <a:pt x="1815" y="1234"/>
                  </a:lnTo>
                  <a:lnTo>
                    <a:pt x="1815" y="1234"/>
                  </a:lnTo>
                  <a:lnTo>
                    <a:pt x="1815" y="1232"/>
                  </a:lnTo>
                  <a:lnTo>
                    <a:pt x="1815" y="1232"/>
                  </a:lnTo>
                  <a:lnTo>
                    <a:pt x="1815" y="1232"/>
                  </a:lnTo>
                  <a:lnTo>
                    <a:pt x="1815" y="1232"/>
                  </a:lnTo>
                  <a:lnTo>
                    <a:pt x="1813" y="1230"/>
                  </a:lnTo>
                  <a:lnTo>
                    <a:pt x="1813" y="1230"/>
                  </a:lnTo>
                  <a:lnTo>
                    <a:pt x="1813" y="1232"/>
                  </a:lnTo>
                  <a:lnTo>
                    <a:pt x="1813" y="1234"/>
                  </a:lnTo>
                  <a:lnTo>
                    <a:pt x="1810" y="1234"/>
                  </a:lnTo>
                  <a:lnTo>
                    <a:pt x="1810" y="1234"/>
                  </a:lnTo>
                  <a:lnTo>
                    <a:pt x="1810" y="1234"/>
                  </a:lnTo>
                  <a:lnTo>
                    <a:pt x="1810" y="1237"/>
                  </a:lnTo>
                  <a:lnTo>
                    <a:pt x="1810" y="1237"/>
                  </a:lnTo>
                  <a:lnTo>
                    <a:pt x="1810" y="1237"/>
                  </a:lnTo>
                  <a:lnTo>
                    <a:pt x="1810" y="1237"/>
                  </a:lnTo>
                  <a:lnTo>
                    <a:pt x="1810" y="1237"/>
                  </a:lnTo>
                  <a:lnTo>
                    <a:pt x="1810" y="1237"/>
                  </a:lnTo>
                  <a:lnTo>
                    <a:pt x="1810" y="1239"/>
                  </a:lnTo>
                  <a:lnTo>
                    <a:pt x="1810" y="1239"/>
                  </a:lnTo>
                  <a:lnTo>
                    <a:pt x="1806" y="1239"/>
                  </a:lnTo>
                  <a:lnTo>
                    <a:pt x="1803" y="1239"/>
                  </a:lnTo>
                  <a:close/>
                  <a:moveTo>
                    <a:pt x="1761" y="1788"/>
                  </a:moveTo>
                  <a:lnTo>
                    <a:pt x="1761" y="1788"/>
                  </a:lnTo>
                  <a:lnTo>
                    <a:pt x="1761" y="1788"/>
                  </a:lnTo>
                  <a:lnTo>
                    <a:pt x="1761" y="1788"/>
                  </a:lnTo>
                  <a:lnTo>
                    <a:pt x="1763" y="1786"/>
                  </a:lnTo>
                  <a:lnTo>
                    <a:pt x="1763" y="1786"/>
                  </a:lnTo>
                  <a:lnTo>
                    <a:pt x="1763" y="1786"/>
                  </a:lnTo>
                  <a:lnTo>
                    <a:pt x="1763" y="1786"/>
                  </a:lnTo>
                  <a:lnTo>
                    <a:pt x="1763" y="1786"/>
                  </a:lnTo>
                  <a:lnTo>
                    <a:pt x="1763" y="1783"/>
                  </a:lnTo>
                  <a:lnTo>
                    <a:pt x="1763" y="1783"/>
                  </a:lnTo>
                  <a:lnTo>
                    <a:pt x="1763" y="1783"/>
                  </a:lnTo>
                  <a:lnTo>
                    <a:pt x="1765" y="1783"/>
                  </a:lnTo>
                  <a:lnTo>
                    <a:pt x="1765" y="1783"/>
                  </a:lnTo>
                  <a:lnTo>
                    <a:pt x="1765" y="1783"/>
                  </a:lnTo>
                  <a:lnTo>
                    <a:pt x="1765" y="1783"/>
                  </a:lnTo>
                  <a:lnTo>
                    <a:pt x="1765" y="1781"/>
                  </a:lnTo>
                  <a:lnTo>
                    <a:pt x="1765" y="1781"/>
                  </a:lnTo>
                  <a:lnTo>
                    <a:pt x="1765" y="1781"/>
                  </a:lnTo>
                  <a:lnTo>
                    <a:pt x="1765" y="1781"/>
                  </a:lnTo>
                  <a:lnTo>
                    <a:pt x="1765" y="1781"/>
                  </a:lnTo>
                  <a:lnTo>
                    <a:pt x="1763" y="1781"/>
                  </a:lnTo>
                  <a:lnTo>
                    <a:pt x="1763" y="1781"/>
                  </a:lnTo>
                  <a:lnTo>
                    <a:pt x="1763" y="1781"/>
                  </a:lnTo>
                  <a:lnTo>
                    <a:pt x="1763" y="1781"/>
                  </a:lnTo>
                  <a:lnTo>
                    <a:pt x="1763" y="1781"/>
                  </a:lnTo>
                  <a:lnTo>
                    <a:pt x="1763" y="1781"/>
                  </a:lnTo>
                  <a:lnTo>
                    <a:pt x="1763" y="1781"/>
                  </a:lnTo>
                  <a:lnTo>
                    <a:pt x="1763" y="1781"/>
                  </a:lnTo>
                  <a:lnTo>
                    <a:pt x="1763" y="1781"/>
                  </a:lnTo>
                  <a:lnTo>
                    <a:pt x="1763" y="1783"/>
                  </a:lnTo>
                  <a:lnTo>
                    <a:pt x="1763" y="1783"/>
                  </a:lnTo>
                  <a:lnTo>
                    <a:pt x="1763" y="1783"/>
                  </a:lnTo>
                  <a:lnTo>
                    <a:pt x="1763" y="1783"/>
                  </a:lnTo>
                  <a:lnTo>
                    <a:pt x="1763" y="1783"/>
                  </a:lnTo>
                  <a:lnTo>
                    <a:pt x="1761" y="1783"/>
                  </a:lnTo>
                  <a:lnTo>
                    <a:pt x="1761" y="1783"/>
                  </a:lnTo>
                  <a:lnTo>
                    <a:pt x="1761" y="1783"/>
                  </a:lnTo>
                  <a:lnTo>
                    <a:pt x="1761" y="1783"/>
                  </a:lnTo>
                  <a:lnTo>
                    <a:pt x="1761" y="1786"/>
                  </a:lnTo>
                  <a:lnTo>
                    <a:pt x="1761" y="1786"/>
                  </a:lnTo>
                  <a:lnTo>
                    <a:pt x="1761" y="1786"/>
                  </a:lnTo>
                  <a:lnTo>
                    <a:pt x="1761" y="1786"/>
                  </a:lnTo>
                  <a:lnTo>
                    <a:pt x="1761" y="1786"/>
                  </a:lnTo>
                  <a:lnTo>
                    <a:pt x="1761" y="1788"/>
                  </a:lnTo>
                  <a:close/>
                  <a:moveTo>
                    <a:pt x="1773" y="1549"/>
                  </a:moveTo>
                  <a:lnTo>
                    <a:pt x="1773" y="1547"/>
                  </a:lnTo>
                  <a:lnTo>
                    <a:pt x="1770" y="1547"/>
                  </a:lnTo>
                  <a:lnTo>
                    <a:pt x="1770" y="1547"/>
                  </a:lnTo>
                  <a:lnTo>
                    <a:pt x="1768" y="1549"/>
                  </a:lnTo>
                  <a:lnTo>
                    <a:pt x="1768" y="1551"/>
                  </a:lnTo>
                  <a:lnTo>
                    <a:pt x="1770" y="1551"/>
                  </a:lnTo>
                  <a:lnTo>
                    <a:pt x="1770" y="1551"/>
                  </a:lnTo>
                  <a:lnTo>
                    <a:pt x="1770" y="1554"/>
                  </a:lnTo>
                  <a:lnTo>
                    <a:pt x="1770" y="1554"/>
                  </a:lnTo>
                  <a:lnTo>
                    <a:pt x="1770" y="1556"/>
                  </a:lnTo>
                  <a:lnTo>
                    <a:pt x="1770" y="1556"/>
                  </a:lnTo>
                  <a:lnTo>
                    <a:pt x="1773" y="1556"/>
                  </a:lnTo>
                  <a:lnTo>
                    <a:pt x="1775" y="1559"/>
                  </a:lnTo>
                  <a:lnTo>
                    <a:pt x="1777" y="1559"/>
                  </a:lnTo>
                  <a:lnTo>
                    <a:pt x="1780" y="1563"/>
                  </a:lnTo>
                  <a:lnTo>
                    <a:pt x="1780" y="1563"/>
                  </a:lnTo>
                  <a:lnTo>
                    <a:pt x="1782" y="1563"/>
                  </a:lnTo>
                  <a:lnTo>
                    <a:pt x="1782" y="1563"/>
                  </a:lnTo>
                  <a:lnTo>
                    <a:pt x="1782" y="1566"/>
                  </a:lnTo>
                  <a:lnTo>
                    <a:pt x="1784" y="1566"/>
                  </a:lnTo>
                  <a:lnTo>
                    <a:pt x="1784" y="1566"/>
                  </a:lnTo>
                  <a:lnTo>
                    <a:pt x="1784" y="1566"/>
                  </a:lnTo>
                  <a:lnTo>
                    <a:pt x="1787" y="1566"/>
                  </a:lnTo>
                  <a:lnTo>
                    <a:pt x="1787" y="1568"/>
                  </a:lnTo>
                  <a:lnTo>
                    <a:pt x="1789" y="1568"/>
                  </a:lnTo>
                  <a:lnTo>
                    <a:pt x="1789" y="1570"/>
                  </a:lnTo>
                  <a:lnTo>
                    <a:pt x="1791" y="1568"/>
                  </a:lnTo>
                  <a:lnTo>
                    <a:pt x="1791" y="1568"/>
                  </a:lnTo>
                  <a:lnTo>
                    <a:pt x="1794" y="1568"/>
                  </a:lnTo>
                  <a:lnTo>
                    <a:pt x="1796" y="1566"/>
                  </a:lnTo>
                  <a:lnTo>
                    <a:pt x="1796" y="1563"/>
                  </a:lnTo>
                  <a:lnTo>
                    <a:pt x="1799" y="1561"/>
                  </a:lnTo>
                  <a:lnTo>
                    <a:pt x="1799" y="1561"/>
                  </a:lnTo>
                  <a:lnTo>
                    <a:pt x="1799" y="1561"/>
                  </a:lnTo>
                  <a:lnTo>
                    <a:pt x="1799" y="1559"/>
                  </a:lnTo>
                  <a:lnTo>
                    <a:pt x="1799" y="1556"/>
                  </a:lnTo>
                  <a:lnTo>
                    <a:pt x="1799" y="1556"/>
                  </a:lnTo>
                  <a:lnTo>
                    <a:pt x="1799" y="1556"/>
                  </a:lnTo>
                  <a:lnTo>
                    <a:pt x="1799" y="1556"/>
                  </a:lnTo>
                  <a:lnTo>
                    <a:pt x="1799" y="1554"/>
                  </a:lnTo>
                  <a:lnTo>
                    <a:pt x="1799" y="1554"/>
                  </a:lnTo>
                  <a:lnTo>
                    <a:pt x="1796" y="1554"/>
                  </a:lnTo>
                  <a:lnTo>
                    <a:pt x="1796" y="1554"/>
                  </a:lnTo>
                  <a:lnTo>
                    <a:pt x="1796" y="1551"/>
                  </a:lnTo>
                  <a:lnTo>
                    <a:pt x="1796" y="1551"/>
                  </a:lnTo>
                  <a:lnTo>
                    <a:pt x="1794" y="1551"/>
                  </a:lnTo>
                  <a:lnTo>
                    <a:pt x="1794" y="1549"/>
                  </a:lnTo>
                  <a:lnTo>
                    <a:pt x="1794" y="1549"/>
                  </a:lnTo>
                  <a:lnTo>
                    <a:pt x="1794" y="1549"/>
                  </a:lnTo>
                  <a:lnTo>
                    <a:pt x="1794" y="1549"/>
                  </a:lnTo>
                  <a:lnTo>
                    <a:pt x="1794" y="1549"/>
                  </a:lnTo>
                  <a:lnTo>
                    <a:pt x="1794" y="1549"/>
                  </a:lnTo>
                  <a:lnTo>
                    <a:pt x="1794" y="1549"/>
                  </a:lnTo>
                  <a:lnTo>
                    <a:pt x="1794" y="1549"/>
                  </a:lnTo>
                  <a:lnTo>
                    <a:pt x="1794" y="1549"/>
                  </a:lnTo>
                  <a:lnTo>
                    <a:pt x="1794" y="1549"/>
                  </a:lnTo>
                  <a:lnTo>
                    <a:pt x="1794" y="1549"/>
                  </a:lnTo>
                  <a:lnTo>
                    <a:pt x="1794" y="1547"/>
                  </a:lnTo>
                  <a:lnTo>
                    <a:pt x="1791" y="1547"/>
                  </a:lnTo>
                  <a:lnTo>
                    <a:pt x="1791" y="1549"/>
                  </a:lnTo>
                  <a:lnTo>
                    <a:pt x="1791" y="1547"/>
                  </a:lnTo>
                  <a:lnTo>
                    <a:pt x="1791" y="1547"/>
                  </a:lnTo>
                  <a:lnTo>
                    <a:pt x="1791" y="1547"/>
                  </a:lnTo>
                  <a:lnTo>
                    <a:pt x="1791" y="1547"/>
                  </a:lnTo>
                  <a:lnTo>
                    <a:pt x="1791" y="1547"/>
                  </a:lnTo>
                  <a:lnTo>
                    <a:pt x="1789" y="1549"/>
                  </a:lnTo>
                  <a:lnTo>
                    <a:pt x="1789" y="1549"/>
                  </a:lnTo>
                  <a:lnTo>
                    <a:pt x="1789" y="1547"/>
                  </a:lnTo>
                  <a:lnTo>
                    <a:pt x="1787" y="1547"/>
                  </a:lnTo>
                  <a:lnTo>
                    <a:pt x="1787" y="1547"/>
                  </a:lnTo>
                  <a:lnTo>
                    <a:pt x="1787" y="1547"/>
                  </a:lnTo>
                  <a:lnTo>
                    <a:pt x="1789" y="1547"/>
                  </a:lnTo>
                  <a:lnTo>
                    <a:pt x="1787" y="1544"/>
                  </a:lnTo>
                  <a:lnTo>
                    <a:pt x="1787" y="1544"/>
                  </a:lnTo>
                  <a:lnTo>
                    <a:pt x="1782" y="1547"/>
                  </a:lnTo>
                  <a:lnTo>
                    <a:pt x="1782" y="1547"/>
                  </a:lnTo>
                  <a:lnTo>
                    <a:pt x="1782" y="1547"/>
                  </a:lnTo>
                  <a:lnTo>
                    <a:pt x="1780" y="1547"/>
                  </a:lnTo>
                  <a:lnTo>
                    <a:pt x="1780" y="1547"/>
                  </a:lnTo>
                  <a:lnTo>
                    <a:pt x="1777" y="1547"/>
                  </a:lnTo>
                  <a:lnTo>
                    <a:pt x="1777" y="1547"/>
                  </a:lnTo>
                  <a:lnTo>
                    <a:pt x="1775" y="1547"/>
                  </a:lnTo>
                  <a:lnTo>
                    <a:pt x="1773" y="1549"/>
                  </a:lnTo>
                  <a:close/>
                  <a:moveTo>
                    <a:pt x="1789" y="2086"/>
                  </a:moveTo>
                  <a:lnTo>
                    <a:pt x="1789" y="2086"/>
                  </a:lnTo>
                  <a:lnTo>
                    <a:pt x="1789" y="2086"/>
                  </a:lnTo>
                  <a:lnTo>
                    <a:pt x="1789" y="2088"/>
                  </a:lnTo>
                  <a:lnTo>
                    <a:pt x="1789" y="2088"/>
                  </a:lnTo>
                  <a:lnTo>
                    <a:pt x="1789" y="2088"/>
                  </a:lnTo>
                  <a:lnTo>
                    <a:pt x="1789" y="2088"/>
                  </a:lnTo>
                  <a:lnTo>
                    <a:pt x="1789" y="2088"/>
                  </a:lnTo>
                  <a:lnTo>
                    <a:pt x="1789" y="2086"/>
                  </a:lnTo>
                  <a:lnTo>
                    <a:pt x="1789" y="2086"/>
                  </a:lnTo>
                  <a:lnTo>
                    <a:pt x="1789" y="2086"/>
                  </a:lnTo>
                  <a:lnTo>
                    <a:pt x="1789" y="2086"/>
                  </a:lnTo>
                  <a:close/>
                  <a:moveTo>
                    <a:pt x="1799" y="1601"/>
                  </a:moveTo>
                  <a:lnTo>
                    <a:pt x="1799" y="1601"/>
                  </a:lnTo>
                  <a:lnTo>
                    <a:pt x="1799" y="1599"/>
                  </a:lnTo>
                  <a:lnTo>
                    <a:pt x="1796" y="1599"/>
                  </a:lnTo>
                  <a:lnTo>
                    <a:pt x="1791" y="1601"/>
                  </a:lnTo>
                  <a:lnTo>
                    <a:pt x="1791" y="1601"/>
                  </a:lnTo>
                  <a:lnTo>
                    <a:pt x="1791" y="1601"/>
                  </a:lnTo>
                  <a:lnTo>
                    <a:pt x="1791" y="1601"/>
                  </a:lnTo>
                  <a:lnTo>
                    <a:pt x="1791" y="1601"/>
                  </a:lnTo>
                  <a:lnTo>
                    <a:pt x="1796" y="1601"/>
                  </a:lnTo>
                  <a:lnTo>
                    <a:pt x="1799" y="1601"/>
                  </a:lnTo>
                  <a:close/>
                  <a:moveTo>
                    <a:pt x="1706" y="1225"/>
                  </a:moveTo>
                  <a:lnTo>
                    <a:pt x="1706" y="1225"/>
                  </a:lnTo>
                  <a:lnTo>
                    <a:pt x="1706" y="1223"/>
                  </a:lnTo>
                  <a:lnTo>
                    <a:pt x="1706" y="1223"/>
                  </a:lnTo>
                  <a:lnTo>
                    <a:pt x="1706" y="1223"/>
                  </a:lnTo>
                  <a:lnTo>
                    <a:pt x="1704" y="1223"/>
                  </a:lnTo>
                  <a:lnTo>
                    <a:pt x="1704" y="1223"/>
                  </a:lnTo>
                  <a:lnTo>
                    <a:pt x="1702" y="1223"/>
                  </a:lnTo>
                  <a:lnTo>
                    <a:pt x="1699" y="1223"/>
                  </a:lnTo>
                  <a:lnTo>
                    <a:pt x="1697" y="1223"/>
                  </a:lnTo>
                  <a:lnTo>
                    <a:pt x="1694" y="1223"/>
                  </a:lnTo>
                  <a:lnTo>
                    <a:pt x="1694" y="1223"/>
                  </a:lnTo>
                  <a:lnTo>
                    <a:pt x="1694" y="1223"/>
                  </a:lnTo>
                  <a:lnTo>
                    <a:pt x="1694" y="1223"/>
                  </a:lnTo>
                  <a:lnTo>
                    <a:pt x="1699" y="1225"/>
                  </a:lnTo>
                  <a:lnTo>
                    <a:pt x="1699" y="1225"/>
                  </a:lnTo>
                  <a:lnTo>
                    <a:pt x="1699" y="1225"/>
                  </a:lnTo>
                  <a:lnTo>
                    <a:pt x="1699" y="1225"/>
                  </a:lnTo>
                  <a:lnTo>
                    <a:pt x="1702" y="1225"/>
                  </a:lnTo>
                  <a:lnTo>
                    <a:pt x="1702" y="1227"/>
                  </a:lnTo>
                  <a:lnTo>
                    <a:pt x="1702" y="1227"/>
                  </a:lnTo>
                  <a:lnTo>
                    <a:pt x="1699" y="1230"/>
                  </a:lnTo>
                  <a:lnTo>
                    <a:pt x="1697" y="1230"/>
                  </a:lnTo>
                  <a:lnTo>
                    <a:pt x="1697" y="1230"/>
                  </a:lnTo>
                  <a:lnTo>
                    <a:pt x="1697" y="1232"/>
                  </a:lnTo>
                  <a:lnTo>
                    <a:pt x="1697" y="1232"/>
                  </a:lnTo>
                  <a:lnTo>
                    <a:pt x="1697" y="1232"/>
                  </a:lnTo>
                  <a:lnTo>
                    <a:pt x="1697" y="1232"/>
                  </a:lnTo>
                  <a:lnTo>
                    <a:pt x="1697" y="1232"/>
                  </a:lnTo>
                  <a:lnTo>
                    <a:pt x="1694" y="1232"/>
                  </a:lnTo>
                  <a:lnTo>
                    <a:pt x="1697" y="1232"/>
                  </a:lnTo>
                  <a:lnTo>
                    <a:pt x="1697" y="1234"/>
                  </a:lnTo>
                  <a:lnTo>
                    <a:pt x="1697" y="1234"/>
                  </a:lnTo>
                  <a:lnTo>
                    <a:pt x="1694" y="1234"/>
                  </a:lnTo>
                  <a:lnTo>
                    <a:pt x="1697" y="1234"/>
                  </a:lnTo>
                  <a:lnTo>
                    <a:pt x="1699" y="1234"/>
                  </a:lnTo>
                  <a:lnTo>
                    <a:pt x="1699" y="1234"/>
                  </a:lnTo>
                  <a:lnTo>
                    <a:pt x="1697" y="1237"/>
                  </a:lnTo>
                  <a:lnTo>
                    <a:pt x="1699" y="1237"/>
                  </a:lnTo>
                  <a:lnTo>
                    <a:pt x="1699" y="1237"/>
                  </a:lnTo>
                  <a:lnTo>
                    <a:pt x="1702" y="1234"/>
                  </a:lnTo>
                  <a:lnTo>
                    <a:pt x="1704" y="1232"/>
                  </a:lnTo>
                  <a:lnTo>
                    <a:pt x="1704" y="1232"/>
                  </a:lnTo>
                  <a:lnTo>
                    <a:pt x="1704" y="1232"/>
                  </a:lnTo>
                  <a:lnTo>
                    <a:pt x="1704" y="1230"/>
                  </a:lnTo>
                  <a:lnTo>
                    <a:pt x="1702" y="1232"/>
                  </a:lnTo>
                  <a:lnTo>
                    <a:pt x="1702" y="1230"/>
                  </a:lnTo>
                  <a:lnTo>
                    <a:pt x="1702" y="1230"/>
                  </a:lnTo>
                  <a:lnTo>
                    <a:pt x="1702" y="1230"/>
                  </a:lnTo>
                  <a:lnTo>
                    <a:pt x="1702" y="1230"/>
                  </a:lnTo>
                  <a:lnTo>
                    <a:pt x="1702" y="1227"/>
                  </a:lnTo>
                  <a:lnTo>
                    <a:pt x="1702" y="1227"/>
                  </a:lnTo>
                  <a:lnTo>
                    <a:pt x="1706" y="1227"/>
                  </a:lnTo>
                  <a:lnTo>
                    <a:pt x="1706" y="1227"/>
                  </a:lnTo>
                  <a:lnTo>
                    <a:pt x="1706" y="1227"/>
                  </a:lnTo>
                  <a:lnTo>
                    <a:pt x="1706" y="1227"/>
                  </a:lnTo>
                  <a:lnTo>
                    <a:pt x="1706" y="1225"/>
                  </a:lnTo>
                  <a:lnTo>
                    <a:pt x="1706" y="1225"/>
                  </a:lnTo>
                  <a:lnTo>
                    <a:pt x="1706" y="1225"/>
                  </a:lnTo>
                  <a:lnTo>
                    <a:pt x="1706" y="1225"/>
                  </a:lnTo>
                  <a:close/>
                  <a:moveTo>
                    <a:pt x="1607" y="1407"/>
                  </a:moveTo>
                  <a:lnTo>
                    <a:pt x="1605" y="1407"/>
                  </a:lnTo>
                  <a:lnTo>
                    <a:pt x="1605" y="1407"/>
                  </a:lnTo>
                  <a:lnTo>
                    <a:pt x="1605" y="1407"/>
                  </a:lnTo>
                  <a:lnTo>
                    <a:pt x="1605" y="1407"/>
                  </a:lnTo>
                  <a:lnTo>
                    <a:pt x="1605" y="1407"/>
                  </a:lnTo>
                  <a:lnTo>
                    <a:pt x="1605" y="1409"/>
                  </a:lnTo>
                  <a:lnTo>
                    <a:pt x="1605" y="1409"/>
                  </a:lnTo>
                  <a:lnTo>
                    <a:pt x="1605" y="1409"/>
                  </a:lnTo>
                  <a:lnTo>
                    <a:pt x="1605" y="1409"/>
                  </a:lnTo>
                  <a:lnTo>
                    <a:pt x="1605" y="1412"/>
                  </a:lnTo>
                  <a:lnTo>
                    <a:pt x="1605" y="1412"/>
                  </a:lnTo>
                  <a:lnTo>
                    <a:pt x="1605" y="1412"/>
                  </a:lnTo>
                  <a:lnTo>
                    <a:pt x="1605" y="1409"/>
                  </a:lnTo>
                  <a:lnTo>
                    <a:pt x="1605" y="1409"/>
                  </a:lnTo>
                  <a:lnTo>
                    <a:pt x="1605" y="1409"/>
                  </a:lnTo>
                  <a:lnTo>
                    <a:pt x="1607" y="1409"/>
                  </a:lnTo>
                  <a:lnTo>
                    <a:pt x="1607" y="1409"/>
                  </a:lnTo>
                  <a:lnTo>
                    <a:pt x="1607" y="1409"/>
                  </a:lnTo>
                  <a:lnTo>
                    <a:pt x="1607" y="1409"/>
                  </a:lnTo>
                  <a:lnTo>
                    <a:pt x="1607" y="1409"/>
                  </a:lnTo>
                  <a:lnTo>
                    <a:pt x="1607" y="1409"/>
                  </a:lnTo>
                  <a:lnTo>
                    <a:pt x="1607" y="1407"/>
                  </a:lnTo>
                  <a:close/>
                  <a:moveTo>
                    <a:pt x="1694" y="1253"/>
                  </a:moveTo>
                  <a:lnTo>
                    <a:pt x="1697" y="1256"/>
                  </a:lnTo>
                  <a:lnTo>
                    <a:pt x="1697" y="1256"/>
                  </a:lnTo>
                  <a:lnTo>
                    <a:pt x="1699" y="1256"/>
                  </a:lnTo>
                  <a:lnTo>
                    <a:pt x="1699" y="1253"/>
                  </a:lnTo>
                  <a:lnTo>
                    <a:pt x="1702" y="1251"/>
                  </a:lnTo>
                  <a:lnTo>
                    <a:pt x="1702" y="1249"/>
                  </a:lnTo>
                  <a:lnTo>
                    <a:pt x="1702" y="1246"/>
                  </a:lnTo>
                  <a:lnTo>
                    <a:pt x="1702" y="1246"/>
                  </a:lnTo>
                  <a:lnTo>
                    <a:pt x="1699" y="1244"/>
                  </a:lnTo>
                  <a:lnTo>
                    <a:pt x="1699" y="1244"/>
                  </a:lnTo>
                  <a:lnTo>
                    <a:pt x="1699" y="1244"/>
                  </a:lnTo>
                  <a:lnTo>
                    <a:pt x="1699" y="1244"/>
                  </a:lnTo>
                  <a:lnTo>
                    <a:pt x="1697" y="1244"/>
                  </a:lnTo>
                  <a:lnTo>
                    <a:pt x="1692" y="1244"/>
                  </a:lnTo>
                  <a:lnTo>
                    <a:pt x="1692" y="1244"/>
                  </a:lnTo>
                  <a:lnTo>
                    <a:pt x="1692" y="1246"/>
                  </a:lnTo>
                  <a:lnTo>
                    <a:pt x="1692" y="1246"/>
                  </a:lnTo>
                  <a:lnTo>
                    <a:pt x="1692" y="1246"/>
                  </a:lnTo>
                  <a:lnTo>
                    <a:pt x="1692" y="1246"/>
                  </a:lnTo>
                  <a:lnTo>
                    <a:pt x="1692" y="1249"/>
                  </a:lnTo>
                  <a:lnTo>
                    <a:pt x="1692" y="1249"/>
                  </a:lnTo>
                  <a:lnTo>
                    <a:pt x="1692" y="1251"/>
                  </a:lnTo>
                  <a:lnTo>
                    <a:pt x="1694" y="1253"/>
                  </a:lnTo>
                  <a:lnTo>
                    <a:pt x="1694" y="1253"/>
                  </a:lnTo>
                  <a:lnTo>
                    <a:pt x="1694" y="1253"/>
                  </a:lnTo>
                  <a:close/>
                  <a:moveTo>
                    <a:pt x="1685" y="1194"/>
                  </a:moveTo>
                  <a:lnTo>
                    <a:pt x="1683" y="1194"/>
                  </a:lnTo>
                  <a:lnTo>
                    <a:pt x="1683" y="1194"/>
                  </a:lnTo>
                  <a:lnTo>
                    <a:pt x="1683" y="1197"/>
                  </a:lnTo>
                  <a:lnTo>
                    <a:pt x="1683" y="1197"/>
                  </a:lnTo>
                  <a:lnTo>
                    <a:pt x="1680" y="1197"/>
                  </a:lnTo>
                  <a:lnTo>
                    <a:pt x="1680" y="1204"/>
                  </a:lnTo>
                  <a:lnTo>
                    <a:pt x="1680" y="1206"/>
                  </a:lnTo>
                  <a:lnTo>
                    <a:pt x="1678" y="1206"/>
                  </a:lnTo>
                  <a:lnTo>
                    <a:pt x="1680" y="1208"/>
                  </a:lnTo>
                  <a:lnTo>
                    <a:pt x="1680" y="1208"/>
                  </a:lnTo>
                  <a:lnTo>
                    <a:pt x="1680" y="1208"/>
                  </a:lnTo>
                  <a:lnTo>
                    <a:pt x="1680" y="1208"/>
                  </a:lnTo>
                  <a:lnTo>
                    <a:pt x="1680" y="1211"/>
                  </a:lnTo>
                  <a:lnTo>
                    <a:pt x="1680" y="1211"/>
                  </a:lnTo>
                  <a:lnTo>
                    <a:pt x="1680" y="1211"/>
                  </a:lnTo>
                  <a:lnTo>
                    <a:pt x="1680" y="1211"/>
                  </a:lnTo>
                  <a:lnTo>
                    <a:pt x="1683" y="1211"/>
                  </a:lnTo>
                  <a:lnTo>
                    <a:pt x="1683" y="1213"/>
                  </a:lnTo>
                  <a:lnTo>
                    <a:pt x="1683" y="1213"/>
                  </a:lnTo>
                  <a:lnTo>
                    <a:pt x="1685" y="1213"/>
                  </a:lnTo>
                  <a:lnTo>
                    <a:pt x="1685" y="1213"/>
                  </a:lnTo>
                  <a:lnTo>
                    <a:pt x="1685" y="1211"/>
                  </a:lnTo>
                  <a:lnTo>
                    <a:pt x="1687" y="1211"/>
                  </a:lnTo>
                  <a:lnTo>
                    <a:pt x="1687" y="1208"/>
                  </a:lnTo>
                  <a:lnTo>
                    <a:pt x="1690" y="1208"/>
                  </a:lnTo>
                  <a:lnTo>
                    <a:pt x="1692" y="1206"/>
                  </a:lnTo>
                  <a:lnTo>
                    <a:pt x="1692" y="1206"/>
                  </a:lnTo>
                  <a:lnTo>
                    <a:pt x="1692" y="1206"/>
                  </a:lnTo>
                  <a:lnTo>
                    <a:pt x="1692" y="1206"/>
                  </a:lnTo>
                  <a:lnTo>
                    <a:pt x="1692" y="1204"/>
                  </a:lnTo>
                  <a:lnTo>
                    <a:pt x="1692" y="1204"/>
                  </a:lnTo>
                  <a:lnTo>
                    <a:pt x="1694" y="1204"/>
                  </a:lnTo>
                  <a:lnTo>
                    <a:pt x="1694" y="1204"/>
                  </a:lnTo>
                  <a:lnTo>
                    <a:pt x="1694" y="1201"/>
                  </a:lnTo>
                  <a:lnTo>
                    <a:pt x="1694" y="1201"/>
                  </a:lnTo>
                  <a:lnTo>
                    <a:pt x="1694" y="1199"/>
                  </a:lnTo>
                  <a:lnTo>
                    <a:pt x="1694" y="1199"/>
                  </a:lnTo>
                  <a:lnTo>
                    <a:pt x="1694" y="1199"/>
                  </a:lnTo>
                  <a:lnTo>
                    <a:pt x="1697" y="1194"/>
                  </a:lnTo>
                  <a:lnTo>
                    <a:pt x="1697" y="1192"/>
                  </a:lnTo>
                  <a:lnTo>
                    <a:pt x="1697" y="1189"/>
                  </a:lnTo>
                  <a:lnTo>
                    <a:pt x="1697" y="1189"/>
                  </a:lnTo>
                  <a:lnTo>
                    <a:pt x="1699" y="1187"/>
                  </a:lnTo>
                  <a:lnTo>
                    <a:pt x="1699" y="1187"/>
                  </a:lnTo>
                  <a:lnTo>
                    <a:pt x="1697" y="1185"/>
                  </a:lnTo>
                  <a:lnTo>
                    <a:pt x="1697" y="1182"/>
                  </a:lnTo>
                  <a:lnTo>
                    <a:pt x="1697" y="1182"/>
                  </a:lnTo>
                  <a:lnTo>
                    <a:pt x="1699" y="1182"/>
                  </a:lnTo>
                  <a:lnTo>
                    <a:pt x="1699" y="1182"/>
                  </a:lnTo>
                  <a:lnTo>
                    <a:pt x="1699" y="1182"/>
                  </a:lnTo>
                  <a:lnTo>
                    <a:pt x="1699" y="1185"/>
                  </a:lnTo>
                  <a:lnTo>
                    <a:pt x="1699" y="1185"/>
                  </a:lnTo>
                  <a:lnTo>
                    <a:pt x="1702" y="1185"/>
                  </a:lnTo>
                  <a:lnTo>
                    <a:pt x="1702" y="1182"/>
                  </a:lnTo>
                  <a:lnTo>
                    <a:pt x="1702" y="1182"/>
                  </a:lnTo>
                  <a:lnTo>
                    <a:pt x="1702" y="1180"/>
                  </a:lnTo>
                  <a:lnTo>
                    <a:pt x="1702" y="1180"/>
                  </a:lnTo>
                  <a:lnTo>
                    <a:pt x="1702" y="1178"/>
                  </a:lnTo>
                  <a:lnTo>
                    <a:pt x="1702" y="1178"/>
                  </a:lnTo>
                  <a:lnTo>
                    <a:pt x="1704" y="1178"/>
                  </a:lnTo>
                  <a:lnTo>
                    <a:pt x="1704" y="1175"/>
                  </a:lnTo>
                  <a:lnTo>
                    <a:pt x="1702" y="1175"/>
                  </a:lnTo>
                  <a:lnTo>
                    <a:pt x="1702" y="1173"/>
                  </a:lnTo>
                  <a:lnTo>
                    <a:pt x="1699" y="1171"/>
                  </a:lnTo>
                  <a:lnTo>
                    <a:pt x="1697" y="1171"/>
                  </a:lnTo>
                  <a:lnTo>
                    <a:pt x="1697" y="1171"/>
                  </a:lnTo>
                  <a:lnTo>
                    <a:pt x="1694" y="1171"/>
                  </a:lnTo>
                  <a:lnTo>
                    <a:pt x="1694" y="1173"/>
                  </a:lnTo>
                  <a:lnTo>
                    <a:pt x="1692" y="1173"/>
                  </a:lnTo>
                  <a:lnTo>
                    <a:pt x="1692" y="1173"/>
                  </a:lnTo>
                  <a:lnTo>
                    <a:pt x="1692" y="1175"/>
                  </a:lnTo>
                  <a:lnTo>
                    <a:pt x="1692" y="1175"/>
                  </a:lnTo>
                  <a:lnTo>
                    <a:pt x="1690" y="1175"/>
                  </a:lnTo>
                  <a:lnTo>
                    <a:pt x="1690" y="1175"/>
                  </a:lnTo>
                  <a:lnTo>
                    <a:pt x="1690" y="1178"/>
                  </a:lnTo>
                  <a:lnTo>
                    <a:pt x="1692" y="1178"/>
                  </a:lnTo>
                  <a:lnTo>
                    <a:pt x="1692" y="1180"/>
                  </a:lnTo>
                  <a:lnTo>
                    <a:pt x="1694" y="1180"/>
                  </a:lnTo>
                  <a:lnTo>
                    <a:pt x="1692" y="1182"/>
                  </a:lnTo>
                  <a:lnTo>
                    <a:pt x="1692" y="1180"/>
                  </a:lnTo>
                  <a:lnTo>
                    <a:pt x="1690" y="1182"/>
                  </a:lnTo>
                  <a:lnTo>
                    <a:pt x="1690" y="1185"/>
                  </a:lnTo>
                  <a:lnTo>
                    <a:pt x="1690" y="1187"/>
                  </a:lnTo>
                  <a:lnTo>
                    <a:pt x="1690" y="1187"/>
                  </a:lnTo>
                  <a:lnTo>
                    <a:pt x="1690" y="1187"/>
                  </a:lnTo>
                  <a:lnTo>
                    <a:pt x="1690" y="1189"/>
                  </a:lnTo>
                  <a:lnTo>
                    <a:pt x="1690" y="1189"/>
                  </a:lnTo>
                  <a:lnTo>
                    <a:pt x="1690" y="1189"/>
                  </a:lnTo>
                  <a:lnTo>
                    <a:pt x="1687" y="1192"/>
                  </a:lnTo>
                  <a:lnTo>
                    <a:pt x="1687" y="1192"/>
                  </a:lnTo>
                  <a:lnTo>
                    <a:pt x="1687" y="1192"/>
                  </a:lnTo>
                  <a:lnTo>
                    <a:pt x="1687" y="1194"/>
                  </a:lnTo>
                  <a:lnTo>
                    <a:pt x="1685" y="1194"/>
                  </a:lnTo>
                  <a:lnTo>
                    <a:pt x="1685" y="1194"/>
                  </a:lnTo>
                  <a:lnTo>
                    <a:pt x="1685" y="1194"/>
                  </a:lnTo>
                  <a:lnTo>
                    <a:pt x="1685" y="1194"/>
                  </a:lnTo>
                  <a:close/>
                  <a:moveTo>
                    <a:pt x="1654" y="1178"/>
                  </a:moveTo>
                  <a:lnTo>
                    <a:pt x="1654" y="1178"/>
                  </a:lnTo>
                  <a:lnTo>
                    <a:pt x="1654" y="1180"/>
                  </a:lnTo>
                  <a:lnTo>
                    <a:pt x="1657" y="1180"/>
                  </a:lnTo>
                  <a:lnTo>
                    <a:pt x="1657" y="1180"/>
                  </a:lnTo>
                  <a:lnTo>
                    <a:pt x="1657" y="1180"/>
                  </a:lnTo>
                  <a:lnTo>
                    <a:pt x="1657" y="1180"/>
                  </a:lnTo>
                  <a:lnTo>
                    <a:pt x="1657" y="1178"/>
                  </a:lnTo>
                  <a:lnTo>
                    <a:pt x="1654" y="1178"/>
                  </a:lnTo>
                  <a:close/>
                  <a:moveTo>
                    <a:pt x="1680" y="1516"/>
                  </a:moveTo>
                  <a:lnTo>
                    <a:pt x="1678" y="1518"/>
                  </a:lnTo>
                  <a:lnTo>
                    <a:pt x="1678" y="1518"/>
                  </a:lnTo>
                  <a:lnTo>
                    <a:pt x="1680" y="1521"/>
                  </a:lnTo>
                  <a:lnTo>
                    <a:pt x="1680" y="1521"/>
                  </a:lnTo>
                  <a:lnTo>
                    <a:pt x="1683" y="1518"/>
                  </a:lnTo>
                  <a:lnTo>
                    <a:pt x="1683" y="1518"/>
                  </a:lnTo>
                  <a:lnTo>
                    <a:pt x="1683" y="1518"/>
                  </a:lnTo>
                  <a:lnTo>
                    <a:pt x="1683" y="1516"/>
                  </a:lnTo>
                  <a:lnTo>
                    <a:pt x="1680" y="1516"/>
                  </a:lnTo>
                  <a:lnTo>
                    <a:pt x="1680" y="1516"/>
                  </a:lnTo>
                  <a:close/>
                  <a:moveTo>
                    <a:pt x="1694" y="1154"/>
                  </a:moveTo>
                  <a:lnTo>
                    <a:pt x="1692" y="1154"/>
                  </a:lnTo>
                  <a:lnTo>
                    <a:pt x="1690" y="1154"/>
                  </a:lnTo>
                  <a:lnTo>
                    <a:pt x="1690" y="1154"/>
                  </a:lnTo>
                  <a:lnTo>
                    <a:pt x="1690" y="1156"/>
                  </a:lnTo>
                  <a:lnTo>
                    <a:pt x="1690" y="1156"/>
                  </a:lnTo>
                  <a:lnTo>
                    <a:pt x="1687" y="1161"/>
                  </a:lnTo>
                  <a:lnTo>
                    <a:pt x="1687" y="1161"/>
                  </a:lnTo>
                  <a:lnTo>
                    <a:pt x="1685" y="1166"/>
                  </a:lnTo>
                  <a:lnTo>
                    <a:pt x="1685" y="1166"/>
                  </a:lnTo>
                  <a:lnTo>
                    <a:pt x="1685" y="1168"/>
                  </a:lnTo>
                  <a:lnTo>
                    <a:pt x="1685" y="1168"/>
                  </a:lnTo>
                  <a:lnTo>
                    <a:pt x="1685" y="1168"/>
                  </a:lnTo>
                  <a:lnTo>
                    <a:pt x="1687" y="1168"/>
                  </a:lnTo>
                  <a:lnTo>
                    <a:pt x="1687" y="1168"/>
                  </a:lnTo>
                  <a:lnTo>
                    <a:pt x="1690" y="1163"/>
                  </a:lnTo>
                  <a:lnTo>
                    <a:pt x="1690" y="1163"/>
                  </a:lnTo>
                  <a:lnTo>
                    <a:pt x="1692" y="1163"/>
                  </a:lnTo>
                  <a:lnTo>
                    <a:pt x="1692" y="1166"/>
                  </a:lnTo>
                  <a:lnTo>
                    <a:pt x="1692" y="1166"/>
                  </a:lnTo>
                  <a:lnTo>
                    <a:pt x="1694" y="1163"/>
                  </a:lnTo>
                  <a:lnTo>
                    <a:pt x="1697" y="1161"/>
                  </a:lnTo>
                  <a:lnTo>
                    <a:pt x="1697" y="1159"/>
                  </a:lnTo>
                  <a:lnTo>
                    <a:pt x="1702" y="1156"/>
                  </a:lnTo>
                  <a:lnTo>
                    <a:pt x="1702" y="1156"/>
                  </a:lnTo>
                  <a:lnTo>
                    <a:pt x="1702" y="1156"/>
                  </a:lnTo>
                  <a:lnTo>
                    <a:pt x="1702" y="1156"/>
                  </a:lnTo>
                  <a:lnTo>
                    <a:pt x="1702" y="1156"/>
                  </a:lnTo>
                  <a:lnTo>
                    <a:pt x="1702" y="1154"/>
                  </a:lnTo>
                  <a:lnTo>
                    <a:pt x="1704" y="1154"/>
                  </a:lnTo>
                  <a:lnTo>
                    <a:pt x="1704" y="1154"/>
                  </a:lnTo>
                  <a:lnTo>
                    <a:pt x="1704" y="1154"/>
                  </a:lnTo>
                  <a:lnTo>
                    <a:pt x="1704" y="1152"/>
                  </a:lnTo>
                  <a:lnTo>
                    <a:pt x="1704" y="1149"/>
                  </a:lnTo>
                  <a:lnTo>
                    <a:pt x="1704" y="1149"/>
                  </a:lnTo>
                  <a:lnTo>
                    <a:pt x="1702" y="1147"/>
                  </a:lnTo>
                  <a:lnTo>
                    <a:pt x="1699" y="1147"/>
                  </a:lnTo>
                  <a:lnTo>
                    <a:pt x="1699" y="1147"/>
                  </a:lnTo>
                  <a:lnTo>
                    <a:pt x="1699" y="1147"/>
                  </a:lnTo>
                  <a:lnTo>
                    <a:pt x="1699" y="1147"/>
                  </a:lnTo>
                  <a:lnTo>
                    <a:pt x="1699" y="1145"/>
                  </a:lnTo>
                  <a:lnTo>
                    <a:pt x="1697" y="1145"/>
                  </a:lnTo>
                  <a:lnTo>
                    <a:pt x="1697" y="1145"/>
                  </a:lnTo>
                  <a:lnTo>
                    <a:pt x="1697" y="1147"/>
                  </a:lnTo>
                  <a:lnTo>
                    <a:pt x="1694" y="1147"/>
                  </a:lnTo>
                  <a:lnTo>
                    <a:pt x="1697" y="1149"/>
                  </a:lnTo>
                  <a:lnTo>
                    <a:pt x="1697" y="1149"/>
                  </a:lnTo>
                  <a:lnTo>
                    <a:pt x="1697" y="1152"/>
                  </a:lnTo>
                  <a:lnTo>
                    <a:pt x="1697" y="1152"/>
                  </a:lnTo>
                  <a:lnTo>
                    <a:pt x="1697" y="1152"/>
                  </a:lnTo>
                  <a:lnTo>
                    <a:pt x="1694" y="1152"/>
                  </a:lnTo>
                  <a:lnTo>
                    <a:pt x="1694" y="1152"/>
                  </a:lnTo>
                  <a:lnTo>
                    <a:pt x="1694" y="1149"/>
                  </a:lnTo>
                  <a:lnTo>
                    <a:pt x="1694" y="1149"/>
                  </a:lnTo>
                  <a:lnTo>
                    <a:pt x="1692" y="1152"/>
                  </a:lnTo>
                  <a:lnTo>
                    <a:pt x="1694" y="1152"/>
                  </a:lnTo>
                  <a:lnTo>
                    <a:pt x="1694" y="1152"/>
                  </a:lnTo>
                  <a:lnTo>
                    <a:pt x="1694" y="1154"/>
                  </a:lnTo>
                  <a:lnTo>
                    <a:pt x="1694" y="1154"/>
                  </a:lnTo>
                  <a:lnTo>
                    <a:pt x="1694" y="1154"/>
                  </a:lnTo>
                  <a:close/>
                  <a:moveTo>
                    <a:pt x="1652" y="1168"/>
                  </a:moveTo>
                  <a:lnTo>
                    <a:pt x="1652" y="1168"/>
                  </a:lnTo>
                  <a:lnTo>
                    <a:pt x="1652" y="1171"/>
                  </a:lnTo>
                  <a:lnTo>
                    <a:pt x="1654" y="1171"/>
                  </a:lnTo>
                  <a:lnTo>
                    <a:pt x="1654" y="1171"/>
                  </a:lnTo>
                  <a:lnTo>
                    <a:pt x="1659" y="1171"/>
                  </a:lnTo>
                  <a:lnTo>
                    <a:pt x="1659" y="1171"/>
                  </a:lnTo>
                  <a:lnTo>
                    <a:pt x="1659" y="1168"/>
                  </a:lnTo>
                  <a:lnTo>
                    <a:pt x="1659" y="1168"/>
                  </a:lnTo>
                  <a:lnTo>
                    <a:pt x="1654" y="1163"/>
                  </a:lnTo>
                  <a:lnTo>
                    <a:pt x="1654" y="1161"/>
                  </a:lnTo>
                  <a:lnTo>
                    <a:pt x="1654" y="1161"/>
                  </a:lnTo>
                  <a:lnTo>
                    <a:pt x="1657" y="1161"/>
                  </a:lnTo>
                  <a:lnTo>
                    <a:pt x="1657" y="1161"/>
                  </a:lnTo>
                  <a:lnTo>
                    <a:pt x="1657" y="1161"/>
                  </a:lnTo>
                  <a:lnTo>
                    <a:pt x="1659" y="1163"/>
                  </a:lnTo>
                  <a:lnTo>
                    <a:pt x="1659" y="1163"/>
                  </a:lnTo>
                  <a:lnTo>
                    <a:pt x="1659" y="1163"/>
                  </a:lnTo>
                  <a:lnTo>
                    <a:pt x="1659" y="1163"/>
                  </a:lnTo>
                  <a:lnTo>
                    <a:pt x="1666" y="1161"/>
                  </a:lnTo>
                  <a:lnTo>
                    <a:pt x="1666" y="1161"/>
                  </a:lnTo>
                  <a:lnTo>
                    <a:pt x="1671" y="1154"/>
                  </a:lnTo>
                  <a:lnTo>
                    <a:pt x="1671" y="1154"/>
                  </a:lnTo>
                  <a:lnTo>
                    <a:pt x="1671" y="1154"/>
                  </a:lnTo>
                  <a:lnTo>
                    <a:pt x="1671" y="1152"/>
                  </a:lnTo>
                  <a:lnTo>
                    <a:pt x="1668" y="1152"/>
                  </a:lnTo>
                  <a:lnTo>
                    <a:pt x="1668" y="1152"/>
                  </a:lnTo>
                  <a:lnTo>
                    <a:pt x="1668" y="1149"/>
                  </a:lnTo>
                  <a:lnTo>
                    <a:pt x="1666" y="1149"/>
                  </a:lnTo>
                  <a:lnTo>
                    <a:pt x="1666" y="1149"/>
                  </a:lnTo>
                  <a:lnTo>
                    <a:pt x="1666" y="1149"/>
                  </a:lnTo>
                  <a:lnTo>
                    <a:pt x="1661" y="1147"/>
                  </a:lnTo>
                  <a:lnTo>
                    <a:pt x="1661" y="1149"/>
                  </a:lnTo>
                  <a:lnTo>
                    <a:pt x="1661" y="1149"/>
                  </a:lnTo>
                  <a:lnTo>
                    <a:pt x="1661" y="1149"/>
                  </a:lnTo>
                  <a:lnTo>
                    <a:pt x="1661" y="1149"/>
                  </a:lnTo>
                  <a:lnTo>
                    <a:pt x="1661" y="1149"/>
                  </a:lnTo>
                  <a:lnTo>
                    <a:pt x="1661" y="1149"/>
                  </a:lnTo>
                  <a:lnTo>
                    <a:pt x="1661" y="1149"/>
                  </a:lnTo>
                  <a:lnTo>
                    <a:pt x="1661" y="1149"/>
                  </a:lnTo>
                  <a:lnTo>
                    <a:pt x="1659" y="1149"/>
                  </a:lnTo>
                  <a:lnTo>
                    <a:pt x="1659" y="1152"/>
                  </a:lnTo>
                  <a:lnTo>
                    <a:pt x="1659" y="1152"/>
                  </a:lnTo>
                  <a:lnTo>
                    <a:pt x="1661" y="1152"/>
                  </a:lnTo>
                  <a:lnTo>
                    <a:pt x="1661" y="1152"/>
                  </a:lnTo>
                  <a:lnTo>
                    <a:pt x="1661" y="1152"/>
                  </a:lnTo>
                  <a:lnTo>
                    <a:pt x="1661" y="1154"/>
                  </a:lnTo>
                  <a:lnTo>
                    <a:pt x="1659" y="1154"/>
                  </a:lnTo>
                  <a:lnTo>
                    <a:pt x="1659" y="1152"/>
                  </a:lnTo>
                  <a:lnTo>
                    <a:pt x="1659" y="1152"/>
                  </a:lnTo>
                  <a:lnTo>
                    <a:pt x="1659" y="1154"/>
                  </a:lnTo>
                  <a:lnTo>
                    <a:pt x="1657" y="1156"/>
                  </a:lnTo>
                  <a:lnTo>
                    <a:pt x="1654" y="1154"/>
                  </a:lnTo>
                  <a:lnTo>
                    <a:pt x="1652" y="1154"/>
                  </a:lnTo>
                  <a:lnTo>
                    <a:pt x="1652" y="1156"/>
                  </a:lnTo>
                  <a:lnTo>
                    <a:pt x="1652" y="1156"/>
                  </a:lnTo>
                  <a:lnTo>
                    <a:pt x="1652" y="1156"/>
                  </a:lnTo>
                  <a:lnTo>
                    <a:pt x="1652" y="1156"/>
                  </a:lnTo>
                  <a:lnTo>
                    <a:pt x="1652" y="1154"/>
                  </a:lnTo>
                  <a:lnTo>
                    <a:pt x="1652" y="1154"/>
                  </a:lnTo>
                  <a:lnTo>
                    <a:pt x="1652" y="1154"/>
                  </a:lnTo>
                  <a:lnTo>
                    <a:pt x="1650" y="1152"/>
                  </a:lnTo>
                  <a:lnTo>
                    <a:pt x="1650" y="1152"/>
                  </a:lnTo>
                  <a:lnTo>
                    <a:pt x="1650" y="1152"/>
                  </a:lnTo>
                  <a:lnTo>
                    <a:pt x="1647" y="1154"/>
                  </a:lnTo>
                  <a:lnTo>
                    <a:pt x="1647" y="1154"/>
                  </a:lnTo>
                  <a:lnTo>
                    <a:pt x="1647" y="1152"/>
                  </a:lnTo>
                  <a:lnTo>
                    <a:pt x="1645" y="1152"/>
                  </a:lnTo>
                  <a:lnTo>
                    <a:pt x="1645" y="1152"/>
                  </a:lnTo>
                  <a:lnTo>
                    <a:pt x="1642" y="1154"/>
                  </a:lnTo>
                  <a:lnTo>
                    <a:pt x="1642" y="1154"/>
                  </a:lnTo>
                  <a:lnTo>
                    <a:pt x="1642" y="1154"/>
                  </a:lnTo>
                  <a:lnTo>
                    <a:pt x="1642" y="1156"/>
                  </a:lnTo>
                  <a:lnTo>
                    <a:pt x="1642" y="1156"/>
                  </a:lnTo>
                  <a:lnTo>
                    <a:pt x="1645" y="1156"/>
                  </a:lnTo>
                  <a:lnTo>
                    <a:pt x="1645" y="1159"/>
                  </a:lnTo>
                  <a:lnTo>
                    <a:pt x="1645" y="1159"/>
                  </a:lnTo>
                  <a:lnTo>
                    <a:pt x="1647" y="1159"/>
                  </a:lnTo>
                  <a:lnTo>
                    <a:pt x="1647" y="1159"/>
                  </a:lnTo>
                  <a:lnTo>
                    <a:pt x="1645" y="1159"/>
                  </a:lnTo>
                  <a:lnTo>
                    <a:pt x="1645" y="1159"/>
                  </a:lnTo>
                  <a:lnTo>
                    <a:pt x="1647" y="1161"/>
                  </a:lnTo>
                  <a:lnTo>
                    <a:pt x="1647" y="1161"/>
                  </a:lnTo>
                  <a:lnTo>
                    <a:pt x="1645" y="1161"/>
                  </a:lnTo>
                  <a:lnTo>
                    <a:pt x="1645" y="1161"/>
                  </a:lnTo>
                  <a:lnTo>
                    <a:pt x="1645" y="1161"/>
                  </a:lnTo>
                  <a:lnTo>
                    <a:pt x="1645" y="1159"/>
                  </a:lnTo>
                  <a:lnTo>
                    <a:pt x="1645" y="1159"/>
                  </a:lnTo>
                  <a:lnTo>
                    <a:pt x="1645" y="1159"/>
                  </a:lnTo>
                  <a:lnTo>
                    <a:pt x="1642" y="1159"/>
                  </a:lnTo>
                  <a:lnTo>
                    <a:pt x="1642" y="1159"/>
                  </a:lnTo>
                  <a:lnTo>
                    <a:pt x="1642" y="1159"/>
                  </a:lnTo>
                  <a:lnTo>
                    <a:pt x="1642" y="1159"/>
                  </a:lnTo>
                  <a:lnTo>
                    <a:pt x="1640" y="1159"/>
                  </a:lnTo>
                  <a:lnTo>
                    <a:pt x="1640" y="1156"/>
                  </a:lnTo>
                  <a:lnTo>
                    <a:pt x="1638" y="1156"/>
                  </a:lnTo>
                  <a:lnTo>
                    <a:pt x="1638" y="1156"/>
                  </a:lnTo>
                  <a:lnTo>
                    <a:pt x="1638" y="1159"/>
                  </a:lnTo>
                  <a:lnTo>
                    <a:pt x="1638" y="1159"/>
                  </a:lnTo>
                  <a:lnTo>
                    <a:pt x="1638" y="1159"/>
                  </a:lnTo>
                  <a:lnTo>
                    <a:pt x="1638" y="1159"/>
                  </a:lnTo>
                  <a:lnTo>
                    <a:pt x="1635" y="1161"/>
                  </a:lnTo>
                  <a:lnTo>
                    <a:pt x="1635" y="1161"/>
                  </a:lnTo>
                  <a:lnTo>
                    <a:pt x="1638" y="1163"/>
                  </a:lnTo>
                  <a:lnTo>
                    <a:pt x="1638" y="1163"/>
                  </a:lnTo>
                  <a:lnTo>
                    <a:pt x="1642" y="1161"/>
                  </a:lnTo>
                  <a:lnTo>
                    <a:pt x="1645" y="1161"/>
                  </a:lnTo>
                  <a:lnTo>
                    <a:pt x="1645" y="1163"/>
                  </a:lnTo>
                  <a:lnTo>
                    <a:pt x="1647" y="1163"/>
                  </a:lnTo>
                  <a:lnTo>
                    <a:pt x="1647" y="1163"/>
                  </a:lnTo>
                  <a:lnTo>
                    <a:pt x="1647" y="1163"/>
                  </a:lnTo>
                  <a:lnTo>
                    <a:pt x="1647" y="1166"/>
                  </a:lnTo>
                  <a:lnTo>
                    <a:pt x="1650" y="1166"/>
                  </a:lnTo>
                  <a:lnTo>
                    <a:pt x="1650" y="1166"/>
                  </a:lnTo>
                  <a:lnTo>
                    <a:pt x="1650" y="1168"/>
                  </a:lnTo>
                  <a:lnTo>
                    <a:pt x="1650" y="1168"/>
                  </a:lnTo>
                  <a:lnTo>
                    <a:pt x="1650" y="1168"/>
                  </a:lnTo>
                  <a:lnTo>
                    <a:pt x="1650" y="1163"/>
                  </a:lnTo>
                  <a:lnTo>
                    <a:pt x="1650" y="1163"/>
                  </a:lnTo>
                  <a:lnTo>
                    <a:pt x="1652" y="1163"/>
                  </a:lnTo>
                  <a:lnTo>
                    <a:pt x="1652" y="1166"/>
                  </a:lnTo>
                  <a:lnTo>
                    <a:pt x="1652" y="1166"/>
                  </a:lnTo>
                  <a:lnTo>
                    <a:pt x="1652" y="1168"/>
                  </a:lnTo>
                  <a:close/>
                  <a:moveTo>
                    <a:pt x="1607" y="1412"/>
                  </a:moveTo>
                  <a:lnTo>
                    <a:pt x="1607" y="1412"/>
                  </a:lnTo>
                  <a:lnTo>
                    <a:pt x="1607" y="1412"/>
                  </a:lnTo>
                  <a:lnTo>
                    <a:pt x="1607" y="1412"/>
                  </a:lnTo>
                  <a:lnTo>
                    <a:pt x="1605" y="1412"/>
                  </a:lnTo>
                  <a:lnTo>
                    <a:pt x="1607" y="1412"/>
                  </a:lnTo>
                  <a:lnTo>
                    <a:pt x="1607" y="1414"/>
                  </a:lnTo>
                  <a:lnTo>
                    <a:pt x="1607" y="1412"/>
                  </a:lnTo>
                  <a:lnTo>
                    <a:pt x="1607" y="1412"/>
                  </a:lnTo>
                  <a:lnTo>
                    <a:pt x="1607" y="1412"/>
                  </a:lnTo>
                  <a:lnTo>
                    <a:pt x="1607" y="1412"/>
                  </a:lnTo>
                  <a:lnTo>
                    <a:pt x="1607" y="1412"/>
                  </a:lnTo>
                  <a:lnTo>
                    <a:pt x="1607" y="1412"/>
                  </a:lnTo>
                  <a:lnTo>
                    <a:pt x="1607" y="1412"/>
                  </a:lnTo>
                  <a:lnTo>
                    <a:pt x="1607" y="1412"/>
                  </a:lnTo>
                  <a:lnTo>
                    <a:pt x="1607" y="1412"/>
                  </a:lnTo>
                  <a:lnTo>
                    <a:pt x="1607" y="1412"/>
                  </a:lnTo>
                  <a:lnTo>
                    <a:pt x="1607" y="1409"/>
                  </a:lnTo>
                  <a:lnTo>
                    <a:pt x="1607" y="1409"/>
                  </a:lnTo>
                  <a:lnTo>
                    <a:pt x="1607" y="1409"/>
                  </a:lnTo>
                  <a:lnTo>
                    <a:pt x="1607" y="1409"/>
                  </a:lnTo>
                  <a:lnTo>
                    <a:pt x="1607" y="1412"/>
                  </a:lnTo>
                  <a:close/>
                  <a:moveTo>
                    <a:pt x="1602" y="1419"/>
                  </a:moveTo>
                  <a:lnTo>
                    <a:pt x="1600" y="1417"/>
                  </a:lnTo>
                  <a:lnTo>
                    <a:pt x="1597" y="1414"/>
                  </a:lnTo>
                  <a:lnTo>
                    <a:pt x="1597" y="1414"/>
                  </a:lnTo>
                  <a:lnTo>
                    <a:pt x="1595" y="1414"/>
                  </a:lnTo>
                  <a:lnTo>
                    <a:pt x="1595" y="1414"/>
                  </a:lnTo>
                  <a:lnTo>
                    <a:pt x="1595" y="1414"/>
                  </a:lnTo>
                  <a:lnTo>
                    <a:pt x="1595" y="1412"/>
                  </a:lnTo>
                  <a:lnTo>
                    <a:pt x="1595" y="1412"/>
                  </a:lnTo>
                  <a:lnTo>
                    <a:pt x="1595" y="1412"/>
                  </a:lnTo>
                  <a:lnTo>
                    <a:pt x="1595" y="1412"/>
                  </a:lnTo>
                  <a:lnTo>
                    <a:pt x="1595" y="1412"/>
                  </a:lnTo>
                  <a:lnTo>
                    <a:pt x="1595" y="1414"/>
                  </a:lnTo>
                  <a:lnTo>
                    <a:pt x="1593" y="1414"/>
                  </a:lnTo>
                  <a:lnTo>
                    <a:pt x="1593" y="1412"/>
                  </a:lnTo>
                  <a:lnTo>
                    <a:pt x="1593" y="1412"/>
                  </a:lnTo>
                  <a:lnTo>
                    <a:pt x="1593" y="1412"/>
                  </a:lnTo>
                  <a:lnTo>
                    <a:pt x="1593" y="1412"/>
                  </a:lnTo>
                  <a:lnTo>
                    <a:pt x="1590" y="1412"/>
                  </a:lnTo>
                  <a:lnTo>
                    <a:pt x="1586" y="1412"/>
                  </a:lnTo>
                  <a:lnTo>
                    <a:pt x="1586" y="1409"/>
                  </a:lnTo>
                  <a:lnTo>
                    <a:pt x="1583" y="1409"/>
                  </a:lnTo>
                  <a:lnTo>
                    <a:pt x="1583" y="1409"/>
                  </a:lnTo>
                  <a:lnTo>
                    <a:pt x="1583" y="1409"/>
                  </a:lnTo>
                  <a:lnTo>
                    <a:pt x="1583" y="1409"/>
                  </a:lnTo>
                  <a:lnTo>
                    <a:pt x="1583" y="1412"/>
                  </a:lnTo>
                  <a:lnTo>
                    <a:pt x="1583" y="1412"/>
                  </a:lnTo>
                  <a:lnTo>
                    <a:pt x="1583" y="1412"/>
                  </a:lnTo>
                  <a:lnTo>
                    <a:pt x="1583" y="1412"/>
                  </a:lnTo>
                  <a:lnTo>
                    <a:pt x="1583" y="1414"/>
                  </a:lnTo>
                  <a:lnTo>
                    <a:pt x="1583" y="1414"/>
                  </a:lnTo>
                  <a:lnTo>
                    <a:pt x="1583" y="1414"/>
                  </a:lnTo>
                  <a:lnTo>
                    <a:pt x="1583" y="1414"/>
                  </a:lnTo>
                  <a:lnTo>
                    <a:pt x="1586" y="1417"/>
                  </a:lnTo>
                  <a:lnTo>
                    <a:pt x="1586" y="1417"/>
                  </a:lnTo>
                  <a:lnTo>
                    <a:pt x="1586" y="1419"/>
                  </a:lnTo>
                  <a:lnTo>
                    <a:pt x="1588" y="1417"/>
                  </a:lnTo>
                  <a:lnTo>
                    <a:pt x="1588" y="1419"/>
                  </a:lnTo>
                  <a:lnTo>
                    <a:pt x="1590" y="1419"/>
                  </a:lnTo>
                  <a:lnTo>
                    <a:pt x="1590" y="1419"/>
                  </a:lnTo>
                  <a:lnTo>
                    <a:pt x="1593" y="1419"/>
                  </a:lnTo>
                  <a:lnTo>
                    <a:pt x="1593" y="1421"/>
                  </a:lnTo>
                  <a:lnTo>
                    <a:pt x="1593" y="1421"/>
                  </a:lnTo>
                  <a:lnTo>
                    <a:pt x="1593" y="1421"/>
                  </a:lnTo>
                  <a:lnTo>
                    <a:pt x="1593" y="1421"/>
                  </a:lnTo>
                  <a:lnTo>
                    <a:pt x="1593" y="1421"/>
                  </a:lnTo>
                  <a:lnTo>
                    <a:pt x="1593" y="1424"/>
                  </a:lnTo>
                  <a:lnTo>
                    <a:pt x="1595" y="1424"/>
                  </a:lnTo>
                  <a:lnTo>
                    <a:pt x="1595" y="1426"/>
                  </a:lnTo>
                  <a:lnTo>
                    <a:pt x="1595" y="1426"/>
                  </a:lnTo>
                  <a:lnTo>
                    <a:pt x="1595" y="1428"/>
                  </a:lnTo>
                  <a:lnTo>
                    <a:pt x="1595" y="1428"/>
                  </a:lnTo>
                  <a:lnTo>
                    <a:pt x="1595" y="1431"/>
                  </a:lnTo>
                  <a:lnTo>
                    <a:pt x="1595" y="1431"/>
                  </a:lnTo>
                  <a:lnTo>
                    <a:pt x="1595" y="1431"/>
                  </a:lnTo>
                  <a:lnTo>
                    <a:pt x="1595" y="1431"/>
                  </a:lnTo>
                  <a:lnTo>
                    <a:pt x="1595" y="1433"/>
                  </a:lnTo>
                  <a:lnTo>
                    <a:pt x="1595" y="1433"/>
                  </a:lnTo>
                  <a:lnTo>
                    <a:pt x="1597" y="1433"/>
                  </a:lnTo>
                  <a:lnTo>
                    <a:pt x="1597" y="1433"/>
                  </a:lnTo>
                  <a:lnTo>
                    <a:pt x="1597" y="1433"/>
                  </a:lnTo>
                  <a:lnTo>
                    <a:pt x="1597" y="1433"/>
                  </a:lnTo>
                  <a:lnTo>
                    <a:pt x="1600" y="1433"/>
                  </a:lnTo>
                  <a:lnTo>
                    <a:pt x="1600" y="1433"/>
                  </a:lnTo>
                  <a:lnTo>
                    <a:pt x="1600" y="1433"/>
                  </a:lnTo>
                  <a:lnTo>
                    <a:pt x="1602" y="1431"/>
                  </a:lnTo>
                  <a:lnTo>
                    <a:pt x="1605" y="1428"/>
                  </a:lnTo>
                  <a:lnTo>
                    <a:pt x="1605" y="1428"/>
                  </a:lnTo>
                  <a:lnTo>
                    <a:pt x="1605" y="1431"/>
                  </a:lnTo>
                  <a:lnTo>
                    <a:pt x="1605" y="1431"/>
                  </a:lnTo>
                  <a:lnTo>
                    <a:pt x="1602" y="1431"/>
                  </a:lnTo>
                  <a:lnTo>
                    <a:pt x="1605" y="1431"/>
                  </a:lnTo>
                  <a:lnTo>
                    <a:pt x="1607" y="1431"/>
                  </a:lnTo>
                  <a:lnTo>
                    <a:pt x="1607" y="1431"/>
                  </a:lnTo>
                  <a:lnTo>
                    <a:pt x="1605" y="1433"/>
                  </a:lnTo>
                  <a:lnTo>
                    <a:pt x="1605" y="1433"/>
                  </a:lnTo>
                  <a:lnTo>
                    <a:pt x="1605" y="1433"/>
                  </a:lnTo>
                  <a:lnTo>
                    <a:pt x="1605" y="1436"/>
                  </a:lnTo>
                  <a:lnTo>
                    <a:pt x="1605" y="1436"/>
                  </a:lnTo>
                  <a:lnTo>
                    <a:pt x="1605" y="1436"/>
                  </a:lnTo>
                  <a:lnTo>
                    <a:pt x="1605" y="1436"/>
                  </a:lnTo>
                  <a:lnTo>
                    <a:pt x="1605" y="1436"/>
                  </a:lnTo>
                  <a:lnTo>
                    <a:pt x="1605" y="1436"/>
                  </a:lnTo>
                  <a:lnTo>
                    <a:pt x="1605" y="1436"/>
                  </a:lnTo>
                  <a:lnTo>
                    <a:pt x="1602" y="1438"/>
                  </a:lnTo>
                  <a:lnTo>
                    <a:pt x="1605" y="1438"/>
                  </a:lnTo>
                  <a:lnTo>
                    <a:pt x="1605" y="1438"/>
                  </a:lnTo>
                  <a:lnTo>
                    <a:pt x="1605" y="1438"/>
                  </a:lnTo>
                  <a:lnTo>
                    <a:pt x="1607" y="1438"/>
                  </a:lnTo>
                  <a:lnTo>
                    <a:pt x="1609" y="1438"/>
                  </a:lnTo>
                  <a:lnTo>
                    <a:pt x="1609" y="1438"/>
                  </a:lnTo>
                  <a:lnTo>
                    <a:pt x="1609" y="1438"/>
                  </a:lnTo>
                  <a:lnTo>
                    <a:pt x="1609" y="1436"/>
                  </a:lnTo>
                  <a:lnTo>
                    <a:pt x="1609" y="1436"/>
                  </a:lnTo>
                  <a:lnTo>
                    <a:pt x="1609" y="1436"/>
                  </a:lnTo>
                  <a:lnTo>
                    <a:pt x="1609" y="1433"/>
                  </a:lnTo>
                  <a:lnTo>
                    <a:pt x="1609" y="1436"/>
                  </a:lnTo>
                  <a:lnTo>
                    <a:pt x="1609" y="1438"/>
                  </a:lnTo>
                  <a:lnTo>
                    <a:pt x="1609" y="1438"/>
                  </a:lnTo>
                  <a:lnTo>
                    <a:pt x="1614" y="1436"/>
                  </a:lnTo>
                  <a:lnTo>
                    <a:pt x="1614" y="1438"/>
                  </a:lnTo>
                  <a:lnTo>
                    <a:pt x="1614" y="1438"/>
                  </a:lnTo>
                  <a:lnTo>
                    <a:pt x="1614" y="1438"/>
                  </a:lnTo>
                  <a:lnTo>
                    <a:pt x="1616" y="1438"/>
                  </a:lnTo>
                  <a:lnTo>
                    <a:pt x="1616" y="1438"/>
                  </a:lnTo>
                  <a:lnTo>
                    <a:pt x="1616" y="1438"/>
                  </a:lnTo>
                  <a:lnTo>
                    <a:pt x="1619" y="1438"/>
                  </a:lnTo>
                  <a:lnTo>
                    <a:pt x="1619" y="1438"/>
                  </a:lnTo>
                  <a:lnTo>
                    <a:pt x="1619" y="1438"/>
                  </a:lnTo>
                  <a:lnTo>
                    <a:pt x="1619" y="1436"/>
                  </a:lnTo>
                  <a:lnTo>
                    <a:pt x="1619" y="1436"/>
                  </a:lnTo>
                  <a:lnTo>
                    <a:pt x="1619" y="1436"/>
                  </a:lnTo>
                  <a:lnTo>
                    <a:pt x="1619" y="1436"/>
                  </a:lnTo>
                  <a:lnTo>
                    <a:pt x="1619" y="1433"/>
                  </a:lnTo>
                  <a:lnTo>
                    <a:pt x="1619" y="1433"/>
                  </a:lnTo>
                  <a:lnTo>
                    <a:pt x="1619" y="1433"/>
                  </a:lnTo>
                  <a:lnTo>
                    <a:pt x="1619" y="1431"/>
                  </a:lnTo>
                  <a:lnTo>
                    <a:pt x="1616" y="1431"/>
                  </a:lnTo>
                  <a:lnTo>
                    <a:pt x="1612" y="1433"/>
                  </a:lnTo>
                  <a:lnTo>
                    <a:pt x="1612" y="1433"/>
                  </a:lnTo>
                  <a:lnTo>
                    <a:pt x="1612" y="1433"/>
                  </a:lnTo>
                  <a:lnTo>
                    <a:pt x="1612" y="1433"/>
                  </a:lnTo>
                  <a:lnTo>
                    <a:pt x="1612" y="1433"/>
                  </a:lnTo>
                  <a:lnTo>
                    <a:pt x="1612" y="1433"/>
                  </a:lnTo>
                  <a:lnTo>
                    <a:pt x="1612" y="1431"/>
                  </a:lnTo>
                  <a:lnTo>
                    <a:pt x="1612" y="1431"/>
                  </a:lnTo>
                  <a:lnTo>
                    <a:pt x="1612" y="1431"/>
                  </a:lnTo>
                  <a:lnTo>
                    <a:pt x="1609" y="1431"/>
                  </a:lnTo>
                  <a:lnTo>
                    <a:pt x="1607" y="1431"/>
                  </a:lnTo>
                  <a:lnTo>
                    <a:pt x="1607" y="1428"/>
                  </a:lnTo>
                  <a:lnTo>
                    <a:pt x="1607" y="1428"/>
                  </a:lnTo>
                  <a:lnTo>
                    <a:pt x="1607" y="1428"/>
                  </a:lnTo>
                  <a:lnTo>
                    <a:pt x="1607" y="1428"/>
                  </a:lnTo>
                  <a:lnTo>
                    <a:pt x="1605" y="1428"/>
                  </a:lnTo>
                  <a:lnTo>
                    <a:pt x="1605" y="1428"/>
                  </a:lnTo>
                  <a:lnTo>
                    <a:pt x="1605" y="1428"/>
                  </a:lnTo>
                  <a:lnTo>
                    <a:pt x="1605" y="1428"/>
                  </a:lnTo>
                  <a:lnTo>
                    <a:pt x="1602" y="1428"/>
                  </a:lnTo>
                  <a:lnTo>
                    <a:pt x="1605" y="1426"/>
                  </a:lnTo>
                  <a:lnTo>
                    <a:pt x="1605" y="1424"/>
                  </a:lnTo>
                  <a:lnTo>
                    <a:pt x="1605" y="1421"/>
                  </a:lnTo>
                  <a:lnTo>
                    <a:pt x="1605" y="1419"/>
                  </a:lnTo>
                  <a:lnTo>
                    <a:pt x="1605" y="1419"/>
                  </a:lnTo>
                  <a:lnTo>
                    <a:pt x="1602" y="1419"/>
                  </a:lnTo>
                  <a:close/>
                  <a:moveTo>
                    <a:pt x="1614" y="1395"/>
                  </a:moveTo>
                  <a:lnTo>
                    <a:pt x="1616" y="1393"/>
                  </a:lnTo>
                  <a:lnTo>
                    <a:pt x="1616" y="1393"/>
                  </a:lnTo>
                  <a:lnTo>
                    <a:pt x="1614" y="1393"/>
                  </a:lnTo>
                  <a:lnTo>
                    <a:pt x="1614" y="1393"/>
                  </a:lnTo>
                  <a:lnTo>
                    <a:pt x="1614" y="1393"/>
                  </a:lnTo>
                  <a:lnTo>
                    <a:pt x="1614" y="1393"/>
                  </a:lnTo>
                  <a:lnTo>
                    <a:pt x="1612" y="1393"/>
                  </a:lnTo>
                  <a:lnTo>
                    <a:pt x="1612" y="1393"/>
                  </a:lnTo>
                  <a:lnTo>
                    <a:pt x="1612" y="1393"/>
                  </a:lnTo>
                  <a:lnTo>
                    <a:pt x="1612" y="1393"/>
                  </a:lnTo>
                  <a:lnTo>
                    <a:pt x="1612" y="1395"/>
                  </a:lnTo>
                  <a:lnTo>
                    <a:pt x="1612" y="1395"/>
                  </a:lnTo>
                  <a:lnTo>
                    <a:pt x="1612" y="1395"/>
                  </a:lnTo>
                  <a:lnTo>
                    <a:pt x="1612" y="1398"/>
                  </a:lnTo>
                  <a:lnTo>
                    <a:pt x="1614" y="1398"/>
                  </a:lnTo>
                  <a:lnTo>
                    <a:pt x="1614" y="1398"/>
                  </a:lnTo>
                  <a:lnTo>
                    <a:pt x="1616" y="1400"/>
                  </a:lnTo>
                  <a:lnTo>
                    <a:pt x="1616" y="1400"/>
                  </a:lnTo>
                  <a:lnTo>
                    <a:pt x="1619" y="1400"/>
                  </a:lnTo>
                  <a:lnTo>
                    <a:pt x="1619" y="1400"/>
                  </a:lnTo>
                  <a:lnTo>
                    <a:pt x="1621" y="1400"/>
                  </a:lnTo>
                  <a:lnTo>
                    <a:pt x="1621" y="1400"/>
                  </a:lnTo>
                  <a:lnTo>
                    <a:pt x="1621" y="1398"/>
                  </a:lnTo>
                  <a:lnTo>
                    <a:pt x="1621" y="1398"/>
                  </a:lnTo>
                  <a:lnTo>
                    <a:pt x="1621" y="1395"/>
                  </a:lnTo>
                  <a:lnTo>
                    <a:pt x="1621" y="1395"/>
                  </a:lnTo>
                  <a:lnTo>
                    <a:pt x="1619" y="1398"/>
                  </a:lnTo>
                  <a:lnTo>
                    <a:pt x="1619" y="1395"/>
                  </a:lnTo>
                  <a:lnTo>
                    <a:pt x="1616" y="1395"/>
                  </a:lnTo>
                  <a:lnTo>
                    <a:pt x="1616" y="1395"/>
                  </a:lnTo>
                  <a:lnTo>
                    <a:pt x="1616" y="1395"/>
                  </a:lnTo>
                  <a:lnTo>
                    <a:pt x="1614" y="1395"/>
                  </a:lnTo>
                  <a:lnTo>
                    <a:pt x="1614" y="1395"/>
                  </a:lnTo>
                  <a:lnTo>
                    <a:pt x="1614" y="1395"/>
                  </a:lnTo>
                  <a:close/>
                  <a:moveTo>
                    <a:pt x="1609" y="1424"/>
                  </a:moveTo>
                  <a:lnTo>
                    <a:pt x="1609" y="1426"/>
                  </a:lnTo>
                  <a:lnTo>
                    <a:pt x="1609" y="1426"/>
                  </a:lnTo>
                  <a:lnTo>
                    <a:pt x="1612" y="1426"/>
                  </a:lnTo>
                  <a:lnTo>
                    <a:pt x="1612" y="1426"/>
                  </a:lnTo>
                  <a:lnTo>
                    <a:pt x="1612" y="1426"/>
                  </a:lnTo>
                  <a:lnTo>
                    <a:pt x="1612" y="1426"/>
                  </a:lnTo>
                  <a:lnTo>
                    <a:pt x="1612" y="1426"/>
                  </a:lnTo>
                  <a:lnTo>
                    <a:pt x="1614" y="1426"/>
                  </a:lnTo>
                  <a:lnTo>
                    <a:pt x="1614" y="1424"/>
                  </a:lnTo>
                  <a:lnTo>
                    <a:pt x="1616" y="1426"/>
                  </a:lnTo>
                  <a:lnTo>
                    <a:pt x="1616" y="1424"/>
                  </a:lnTo>
                  <a:lnTo>
                    <a:pt x="1616" y="1424"/>
                  </a:lnTo>
                  <a:lnTo>
                    <a:pt x="1616" y="1424"/>
                  </a:lnTo>
                  <a:lnTo>
                    <a:pt x="1614" y="1424"/>
                  </a:lnTo>
                  <a:lnTo>
                    <a:pt x="1614" y="1424"/>
                  </a:lnTo>
                  <a:lnTo>
                    <a:pt x="1609" y="1424"/>
                  </a:lnTo>
                  <a:lnTo>
                    <a:pt x="1609" y="1424"/>
                  </a:lnTo>
                  <a:close/>
                  <a:moveTo>
                    <a:pt x="951" y="981"/>
                  </a:moveTo>
                  <a:lnTo>
                    <a:pt x="951" y="979"/>
                  </a:lnTo>
                  <a:lnTo>
                    <a:pt x="951" y="979"/>
                  </a:lnTo>
                  <a:lnTo>
                    <a:pt x="949" y="979"/>
                  </a:lnTo>
                  <a:lnTo>
                    <a:pt x="949" y="979"/>
                  </a:lnTo>
                  <a:lnTo>
                    <a:pt x="949" y="979"/>
                  </a:lnTo>
                  <a:lnTo>
                    <a:pt x="949" y="981"/>
                  </a:lnTo>
                  <a:lnTo>
                    <a:pt x="951" y="981"/>
                  </a:lnTo>
                  <a:close/>
                  <a:moveTo>
                    <a:pt x="1160" y="669"/>
                  </a:moveTo>
                  <a:lnTo>
                    <a:pt x="1160" y="671"/>
                  </a:lnTo>
                  <a:lnTo>
                    <a:pt x="1157" y="671"/>
                  </a:lnTo>
                  <a:lnTo>
                    <a:pt x="1157" y="671"/>
                  </a:lnTo>
                  <a:lnTo>
                    <a:pt x="1157" y="674"/>
                  </a:lnTo>
                  <a:lnTo>
                    <a:pt x="1157" y="674"/>
                  </a:lnTo>
                  <a:lnTo>
                    <a:pt x="1157" y="674"/>
                  </a:lnTo>
                  <a:lnTo>
                    <a:pt x="1157" y="674"/>
                  </a:lnTo>
                  <a:lnTo>
                    <a:pt x="1157" y="674"/>
                  </a:lnTo>
                  <a:lnTo>
                    <a:pt x="1157" y="674"/>
                  </a:lnTo>
                  <a:lnTo>
                    <a:pt x="1155" y="676"/>
                  </a:lnTo>
                  <a:lnTo>
                    <a:pt x="1155" y="676"/>
                  </a:lnTo>
                  <a:lnTo>
                    <a:pt x="1150" y="679"/>
                  </a:lnTo>
                  <a:lnTo>
                    <a:pt x="1148" y="679"/>
                  </a:lnTo>
                  <a:lnTo>
                    <a:pt x="1148" y="681"/>
                  </a:lnTo>
                  <a:lnTo>
                    <a:pt x="1145" y="681"/>
                  </a:lnTo>
                  <a:lnTo>
                    <a:pt x="1145" y="681"/>
                  </a:lnTo>
                  <a:lnTo>
                    <a:pt x="1153" y="683"/>
                  </a:lnTo>
                  <a:lnTo>
                    <a:pt x="1155" y="683"/>
                  </a:lnTo>
                  <a:lnTo>
                    <a:pt x="1164" y="676"/>
                  </a:lnTo>
                  <a:lnTo>
                    <a:pt x="1171" y="671"/>
                  </a:lnTo>
                  <a:lnTo>
                    <a:pt x="1174" y="669"/>
                  </a:lnTo>
                  <a:lnTo>
                    <a:pt x="1167" y="669"/>
                  </a:lnTo>
                  <a:lnTo>
                    <a:pt x="1160" y="669"/>
                  </a:lnTo>
                  <a:close/>
                  <a:moveTo>
                    <a:pt x="1110" y="750"/>
                  </a:moveTo>
                  <a:lnTo>
                    <a:pt x="1112" y="750"/>
                  </a:lnTo>
                  <a:lnTo>
                    <a:pt x="1122" y="750"/>
                  </a:lnTo>
                  <a:lnTo>
                    <a:pt x="1122" y="750"/>
                  </a:lnTo>
                  <a:lnTo>
                    <a:pt x="1122" y="750"/>
                  </a:lnTo>
                  <a:lnTo>
                    <a:pt x="1122" y="747"/>
                  </a:lnTo>
                  <a:lnTo>
                    <a:pt x="1122" y="750"/>
                  </a:lnTo>
                  <a:lnTo>
                    <a:pt x="1122" y="750"/>
                  </a:lnTo>
                  <a:lnTo>
                    <a:pt x="1124" y="750"/>
                  </a:lnTo>
                  <a:lnTo>
                    <a:pt x="1124" y="750"/>
                  </a:lnTo>
                  <a:lnTo>
                    <a:pt x="1124" y="747"/>
                  </a:lnTo>
                  <a:lnTo>
                    <a:pt x="1124" y="747"/>
                  </a:lnTo>
                  <a:lnTo>
                    <a:pt x="1124" y="750"/>
                  </a:lnTo>
                  <a:lnTo>
                    <a:pt x="1127" y="750"/>
                  </a:lnTo>
                  <a:lnTo>
                    <a:pt x="1129" y="747"/>
                  </a:lnTo>
                  <a:lnTo>
                    <a:pt x="1129" y="745"/>
                  </a:lnTo>
                  <a:lnTo>
                    <a:pt x="1129" y="745"/>
                  </a:lnTo>
                  <a:lnTo>
                    <a:pt x="1129" y="742"/>
                  </a:lnTo>
                  <a:lnTo>
                    <a:pt x="1129" y="740"/>
                  </a:lnTo>
                  <a:lnTo>
                    <a:pt x="1131" y="740"/>
                  </a:lnTo>
                  <a:lnTo>
                    <a:pt x="1136" y="738"/>
                  </a:lnTo>
                  <a:lnTo>
                    <a:pt x="1138" y="735"/>
                  </a:lnTo>
                  <a:lnTo>
                    <a:pt x="1138" y="735"/>
                  </a:lnTo>
                  <a:lnTo>
                    <a:pt x="1138" y="735"/>
                  </a:lnTo>
                  <a:lnTo>
                    <a:pt x="1138" y="735"/>
                  </a:lnTo>
                  <a:lnTo>
                    <a:pt x="1138" y="735"/>
                  </a:lnTo>
                  <a:lnTo>
                    <a:pt x="1138" y="733"/>
                  </a:lnTo>
                  <a:lnTo>
                    <a:pt x="1136" y="733"/>
                  </a:lnTo>
                  <a:lnTo>
                    <a:pt x="1136" y="733"/>
                  </a:lnTo>
                  <a:lnTo>
                    <a:pt x="1138" y="733"/>
                  </a:lnTo>
                  <a:lnTo>
                    <a:pt x="1134" y="731"/>
                  </a:lnTo>
                  <a:lnTo>
                    <a:pt x="1131" y="733"/>
                  </a:lnTo>
                  <a:lnTo>
                    <a:pt x="1129" y="733"/>
                  </a:lnTo>
                  <a:lnTo>
                    <a:pt x="1124" y="735"/>
                  </a:lnTo>
                  <a:lnTo>
                    <a:pt x="1117" y="738"/>
                  </a:lnTo>
                  <a:lnTo>
                    <a:pt x="1117" y="738"/>
                  </a:lnTo>
                  <a:lnTo>
                    <a:pt x="1117" y="740"/>
                  </a:lnTo>
                  <a:lnTo>
                    <a:pt x="1117" y="740"/>
                  </a:lnTo>
                  <a:lnTo>
                    <a:pt x="1117" y="742"/>
                  </a:lnTo>
                  <a:lnTo>
                    <a:pt x="1117" y="742"/>
                  </a:lnTo>
                  <a:lnTo>
                    <a:pt x="1117" y="742"/>
                  </a:lnTo>
                  <a:lnTo>
                    <a:pt x="1117" y="742"/>
                  </a:lnTo>
                  <a:lnTo>
                    <a:pt x="1115" y="742"/>
                  </a:lnTo>
                  <a:lnTo>
                    <a:pt x="1115" y="742"/>
                  </a:lnTo>
                  <a:lnTo>
                    <a:pt x="1112" y="745"/>
                  </a:lnTo>
                  <a:lnTo>
                    <a:pt x="1115" y="745"/>
                  </a:lnTo>
                  <a:lnTo>
                    <a:pt x="1112" y="747"/>
                  </a:lnTo>
                  <a:lnTo>
                    <a:pt x="1110" y="750"/>
                  </a:lnTo>
                  <a:close/>
                  <a:moveTo>
                    <a:pt x="1155" y="577"/>
                  </a:moveTo>
                  <a:lnTo>
                    <a:pt x="1148" y="572"/>
                  </a:lnTo>
                  <a:lnTo>
                    <a:pt x="1148" y="570"/>
                  </a:lnTo>
                  <a:lnTo>
                    <a:pt x="1148" y="570"/>
                  </a:lnTo>
                  <a:lnTo>
                    <a:pt x="1145" y="570"/>
                  </a:lnTo>
                  <a:lnTo>
                    <a:pt x="1141" y="572"/>
                  </a:lnTo>
                  <a:lnTo>
                    <a:pt x="1134" y="572"/>
                  </a:lnTo>
                  <a:lnTo>
                    <a:pt x="1134" y="572"/>
                  </a:lnTo>
                  <a:lnTo>
                    <a:pt x="1134" y="572"/>
                  </a:lnTo>
                  <a:lnTo>
                    <a:pt x="1131" y="577"/>
                  </a:lnTo>
                  <a:lnTo>
                    <a:pt x="1131" y="577"/>
                  </a:lnTo>
                  <a:lnTo>
                    <a:pt x="1131" y="579"/>
                  </a:lnTo>
                  <a:lnTo>
                    <a:pt x="1131" y="579"/>
                  </a:lnTo>
                  <a:lnTo>
                    <a:pt x="1131" y="582"/>
                  </a:lnTo>
                  <a:lnTo>
                    <a:pt x="1134" y="582"/>
                  </a:lnTo>
                  <a:lnTo>
                    <a:pt x="1134" y="582"/>
                  </a:lnTo>
                  <a:lnTo>
                    <a:pt x="1134" y="582"/>
                  </a:lnTo>
                  <a:lnTo>
                    <a:pt x="1134" y="584"/>
                  </a:lnTo>
                  <a:lnTo>
                    <a:pt x="1134" y="584"/>
                  </a:lnTo>
                  <a:lnTo>
                    <a:pt x="1134" y="584"/>
                  </a:lnTo>
                  <a:lnTo>
                    <a:pt x="1134" y="584"/>
                  </a:lnTo>
                  <a:lnTo>
                    <a:pt x="1134" y="584"/>
                  </a:lnTo>
                  <a:lnTo>
                    <a:pt x="1136" y="586"/>
                  </a:lnTo>
                  <a:lnTo>
                    <a:pt x="1138" y="589"/>
                  </a:lnTo>
                  <a:lnTo>
                    <a:pt x="1145" y="589"/>
                  </a:lnTo>
                  <a:lnTo>
                    <a:pt x="1148" y="589"/>
                  </a:lnTo>
                  <a:lnTo>
                    <a:pt x="1150" y="586"/>
                  </a:lnTo>
                  <a:lnTo>
                    <a:pt x="1150" y="586"/>
                  </a:lnTo>
                  <a:lnTo>
                    <a:pt x="1153" y="586"/>
                  </a:lnTo>
                  <a:lnTo>
                    <a:pt x="1153" y="586"/>
                  </a:lnTo>
                  <a:lnTo>
                    <a:pt x="1153" y="586"/>
                  </a:lnTo>
                  <a:lnTo>
                    <a:pt x="1157" y="586"/>
                  </a:lnTo>
                  <a:lnTo>
                    <a:pt x="1160" y="586"/>
                  </a:lnTo>
                  <a:lnTo>
                    <a:pt x="1160" y="586"/>
                  </a:lnTo>
                  <a:lnTo>
                    <a:pt x="1160" y="586"/>
                  </a:lnTo>
                  <a:lnTo>
                    <a:pt x="1162" y="584"/>
                  </a:lnTo>
                  <a:lnTo>
                    <a:pt x="1160" y="584"/>
                  </a:lnTo>
                  <a:lnTo>
                    <a:pt x="1155" y="577"/>
                  </a:lnTo>
                  <a:close/>
                  <a:moveTo>
                    <a:pt x="1231" y="849"/>
                  </a:moveTo>
                  <a:lnTo>
                    <a:pt x="1233" y="849"/>
                  </a:lnTo>
                  <a:lnTo>
                    <a:pt x="1233" y="849"/>
                  </a:lnTo>
                  <a:lnTo>
                    <a:pt x="1235" y="844"/>
                  </a:lnTo>
                  <a:lnTo>
                    <a:pt x="1235" y="844"/>
                  </a:lnTo>
                  <a:lnTo>
                    <a:pt x="1235" y="842"/>
                  </a:lnTo>
                  <a:lnTo>
                    <a:pt x="1235" y="842"/>
                  </a:lnTo>
                  <a:lnTo>
                    <a:pt x="1233" y="839"/>
                  </a:lnTo>
                  <a:lnTo>
                    <a:pt x="1231" y="839"/>
                  </a:lnTo>
                  <a:lnTo>
                    <a:pt x="1231" y="839"/>
                  </a:lnTo>
                  <a:lnTo>
                    <a:pt x="1228" y="842"/>
                  </a:lnTo>
                  <a:lnTo>
                    <a:pt x="1231" y="842"/>
                  </a:lnTo>
                  <a:lnTo>
                    <a:pt x="1228" y="842"/>
                  </a:lnTo>
                  <a:lnTo>
                    <a:pt x="1228" y="844"/>
                  </a:lnTo>
                  <a:lnTo>
                    <a:pt x="1228" y="844"/>
                  </a:lnTo>
                  <a:lnTo>
                    <a:pt x="1228" y="846"/>
                  </a:lnTo>
                  <a:lnTo>
                    <a:pt x="1226" y="849"/>
                  </a:lnTo>
                  <a:lnTo>
                    <a:pt x="1224" y="851"/>
                  </a:lnTo>
                  <a:lnTo>
                    <a:pt x="1224" y="851"/>
                  </a:lnTo>
                  <a:lnTo>
                    <a:pt x="1224" y="851"/>
                  </a:lnTo>
                  <a:lnTo>
                    <a:pt x="1226" y="851"/>
                  </a:lnTo>
                  <a:lnTo>
                    <a:pt x="1226" y="851"/>
                  </a:lnTo>
                  <a:lnTo>
                    <a:pt x="1226" y="854"/>
                  </a:lnTo>
                  <a:lnTo>
                    <a:pt x="1226" y="854"/>
                  </a:lnTo>
                  <a:lnTo>
                    <a:pt x="1228" y="854"/>
                  </a:lnTo>
                  <a:lnTo>
                    <a:pt x="1231" y="849"/>
                  </a:lnTo>
                  <a:lnTo>
                    <a:pt x="1231" y="849"/>
                  </a:lnTo>
                  <a:close/>
                  <a:moveTo>
                    <a:pt x="1138" y="1242"/>
                  </a:moveTo>
                  <a:lnTo>
                    <a:pt x="1138" y="1242"/>
                  </a:lnTo>
                  <a:lnTo>
                    <a:pt x="1138" y="1242"/>
                  </a:lnTo>
                  <a:lnTo>
                    <a:pt x="1141" y="1242"/>
                  </a:lnTo>
                  <a:lnTo>
                    <a:pt x="1141" y="1242"/>
                  </a:lnTo>
                  <a:lnTo>
                    <a:pt x="1141" y="1242"/>
                  </a:lnTo>
                  <a:lnTo>
                    <a:pt x="1141" y="1239"/>
                  </a:lnTo>
                  <a:lnTo>
                    <a:pt x="1141" y="1239"/>
                  </a:lnTo>
                  <a:lnTo>
                    <a:pt x="1141" y="1237"/>
                  </a:lnTo>
                  <a:lnTo>
                    <a:pt x="1141" y="1237"/>
                  </a:lnTo>
                  <a:lnTo>
                    <a:pt x="1141" y="1234"/>
                  </a:lnTo>
                  <a:lnTo>
                    <a:pt x="1141" y="1234"/>
                  </a:lnTo>
                  <a:lnTo>
                    <a:pt x="1141" y="1234"/>
                  </a:lnTo>
                  <a:lnTo>
                    <a:pt x="1141" y="1234"/>
                  </a:lnTo>
                  <a:lnTo>
                    <a:pt x="1141" y="1234"/>
                  </a:lnTo>
                  <a:lnTo>
                    <a:pt x="1138" y="1234"/>
                  </a:lnTo>
                  <a:lnTo>
                    <a:pt x="1138" y="1234"/>
                  </a:lnTo>
                  <a:lnTo>
                    <a:pt x="1136" y="1237"/>
                  </a:lnTo>
                  <a:lnTo>
                    <a:pt x="1136" y="1237"/>
                  </a:lnTo>
                  <a:lnTo>
                    <a:pt x="1138" y="1237"/>
                  </a:lnTo>
                  <a:lnTo>
                    <a:pt x="1138" y="1239"/>
                  </a:lnTo>
                  <a:lnTo>
                    <a:pt x="1138" y="1239"/>
                  </a:lnTo>
                  <a:lnTo>
                    <a:pt x="1138" y="1242"/>
                  </a:lnTo>
                  <a:lnTo>
                    <a:pt x="1136" y="1242"/>
                  </a:lnTo>
                  <a:lnTo>
                    <a:pt x="1138" y="1242"/>
                  </a:lnTo>
                  <a:lnTo>
                    <a:pt x="1138" y="1242"/>
                  </a:lnTo>
                  <a:close/>
                  <a:moveTo>
                    <a:pt x="1129" y="541"/>
                  </a:moveTo>
                  <a:lnTo>
                    <a:pt x="1129" y="539"/>
                  </a:lnTo>
                  <a:lnTo>
                    <a:pt x="1127" y="539"/>
                  </a:lnTo>
                  <a:lnTo>
                    <a:pt x="1127" y="537"/>
                  </a:lnTo>
                  <a:lnTo>
                    <a:pt x="1124" y="537"/>
                  </a:lnTo>
                  <a:lnTo>
                    <a:pt x="1124" y="539"/>
                  </a:lnTo>
                  <a:lnTo>
                    <a:pt x="1119" y="544"/>
                  </a:lnTo>
                  <a:lnTo>
                    <a:pt x="1119" y="546"/>
                  </a:lnTo>
                  <a:lnTo>
                    <a:pt x="1119" y="546"/>
                  </a:lnTo>
                  <a:lnTo>
                    <a:pt x="1119" y="548"/>
                  </a:lnTo>
                  <a:lnTo>
                    <a:pt x="1119" y="551"/>
                  </a:lnTo>
                  <a:lnTo>
                    <a:pt x="1122" y="551"/>
                  </a:lnTo>
                  <a:lnTo>
                    <a:pt x="1124" y="551"/>
                  </a:lnTo>
                  <a:lnTo>
                    <a:pt x="1127" y="544"/>
                  </a:lnTo>
                  <a:lnTo>
                    <a:pt x="1129" y="544"/>
                  </a:lnTo>
                  <a:lnTo>
                    <a:pt x="1129" y="544"/>
                  </a:lnTo>
                  <a:lnTo>
                    <a:pt x="1129" y="541"/>
                  </a:lnTo>
                  <a:lnTo>
                    <a:pt x="1129" y="541"/>
                  </a:lnTo>
                  <a:lnTo>
                    <a:pt x="1129" y="541"/>
                  </a:lnTo>
                  <a:lnTo>
                    <a:pt x="1129" y="541"/>
                  </a:lnTo>
                  <a:close/>
                  <a:moveTo>
                    <a:pt x="1205" y="899"/>
                  </a:moveTo>
                  <a:lnTo>
                    <a:pt x="1207" y="901"/>
                  </a:lnTo>
                  <a:lnTo>
                    <a:pt x="1212" y="899"/>
                  </a:lnTo>
                  <a:lnTo>
                    <a:pt x="1219" y="899"/>
                  </a:lnTo>
                  <a:lnTo>
                    <a:pt x="1219" y="896"/>
                  </a:lnTo>
                  <a:lnTo>
                    <a:pt x="1219" y="896"/>
                  </a:lnTo>
                  <a:lnTo>
                    <a:pt x="1219" y="896"/>
                  </a:lnTo>
                  <a:lnTo>
                    <a:pt x="1219" y="896"/>
                  </a:lnTo>
                  <a:lnTo>
                    <a:pt x="1219" y="896"/>
                  </a:lnTo>
                  <a:lnTo>
                    <a:pt x="1219" y="894"/>
                  </a:lnTo>
                  <a:lnTo>
                    <a:pt x="1219" y="894"/>
                  </a:lnTo>
                  <a:lnTo>
                    <a:pt x="1219" y="894"/>
                  </a:lnTo>
                  <a:lnTo>
                    <a:pt x="1219" y="894"/>
                  </a:lnTo>
                  <a:lnTo>
                    <a:pt x="1221" y="894"/>
                  </a:lnTo>
                  <a:lnTo>
                    <a:pt x="1221" y="891"/>
                  </a:lnTo>
                  <a:lnTo>
                    <a:pt x="1224" y="891"/>
                  </a:lnTo>
                  <a:lnTo>
                    <a:pt x="1224" y="889"/>
                  </a:lnTo>
                  <a:lnTo>
                    <a:pt x="1226" y="887"/>
                  </a:lnTo>
                  <a:lnTo>
                    <a:pt x="1228" y="882"/>
                  </a:lnTo>
                  <a:lnTo>
                    <a:pt x="1228" y="880"/>
                  </a:lnTo>
                  <a:lnTo>
                    <a:pt x="1226" y="880"/>
                  </a:lnTo>
                  <a:lnTo>
                    <a:pt x="1226" y="880"/>
                  </a:lnTo>
                  <a:lnTo>
                    <a:pt x="1216" y="882"/>
                  </a:lnTo>
                  <a:lnTo>
                    <a:pt x="1209" y="887"/>
                  </a:lnTo>
                  <a:lnTo>
                    <a:pt x="1205" y="887"/>
                  </a:lnTo>
                  <a:lnTo>
                    <a:pt x="1205" y="887"/>
                  </a:lnTo>
                  <a:lnTo>
                    <a:pt x="1202" y="889"/>
                  </a:lnTo>
                  <a:lnTo>
                    <a:pt x="1200" y="889"/>
                  </a:lnTo>
                  <a:lnTo>
                    <a:pt x="1200" y="889"/>
                  </a:lnTo>
                  <a:lnTo>
                    <a:pt x="1200" y="891"/>
                  </a:lnTo>
                  <a:lnTo>
                    <a:pt x="1200" y="891"/>
                  </a:lnTo>
                  <a:lnTo>
                    <a:pt x="1200" y="891"/>
                  </a:lnTo>
                  <a:lnTo>
                    <a:pt x="1200" y="891"/>
                  </a:lnTo>
                  <a:lnTo>
                    <a:pt x="1200" y="891"/>
                  </a:lnTo>
                  <a:lnTo>
                    <a:pt x="1198" y="891"/>
                  </a:lnTo>
                  <a:lnTo>
                    <a:pt x="1190" y="894"/>
                  </a:lnTo>
                  <a:lnTo>
                    <a:pt x="1190" y="896"/>
                  </a:lnTo>
                  <a:lnTo>
                    <a:pt x="1190" y="899"/>
                  </a:lnTo>
                  <a:lnTo>
                    <a:pt x="1193" y="899"/>
                  </a:lnTo>
                  <a:lnTo>
                    <a:pt x="1195" y="899"/>
                  </a:lnTo>
                  <a:lnTo>
                    <a:pt x="1202" y="899"/>
                  </a:lnTo>
                  <a:lnTo>
                    <a:pt x="1202" y="901"/>
                  </a:lnTo>
                  <a:lnTo>
                    <a:pt x="1202" y="901"/>
                  </a:lnTo>
                  <a:lnTo>
                    <a:pt x="1202" y="901"/>
                  </a:lnTo>
                  <a:lnTo>
                    <a:pt x="1198" y="901"/>
                  </a:lnTo>
                  <a:lnTo>
                    <a:pt x="1195" y="901"/>
                  </a:lnTo>
                  <a:lnTo>
                    <a:pt x="1198" y="903"/>
                  </a:lnTo>
                  <a:lnTo>
                    <a:pt x="1200" y="903"/>
                  </a:lnTo>
                  <a:lnTo>
                    <a:pt x="1202" y="903"/>
                  </a:lnTo>
                  <a:lnTo>
                    <a:pt x="1202" y="903"/>
                  </a:lnTo>
                  <a:lnTo>
                    <a:pt x="1205" y="903"/>
                  </a:lnTo>
                  <a:lnTo>
                    <a:pt x="1205" y="903"/>
                  </a:lnTo>
                  <a:lnTo>
                    <a:pt x="1205" y="901"/>
                  </a:lnTo>
                  <a:lnTo>
                    <a:pt x="1205" y="901"/>
                  </a:lnTo>
                  <a:lnTo>
                    <a:pt x="1205" y="899"/>
                  </a:lnTo>
                  <a:lnTo>
                    <a:pt x="1205" y="899"/>
                  </a:lnTo>
                  <a:close/>
                  <a:moveTo>
                    <a:pt x="1082" y="787"/>
                  </a:moveTo>
                  <a:lnTo>
                    <a:pt x="1082" y="790"/>
                  </a:lnTo>
                  <a:lnTo>
                    <a:pt x="1082" y="790"/>
                  </a:lnTo>
                  <a:lnTo>
                    <a:pt x="1082" y="790"/>
                  </a:lnTo>
                  <a:lnTo>
                    <a:pt x="1082" y="790"/>
                  </a:lnTo>
                  <a:lnTo>
                    <a:pt x="1082" y="790"/>
                  </a:lnTo>
                  <a:lnTo>
                    <a:pt x="1082" y="790"/>
                  </a:lnTo>
                  <a:lnTo>
                    <a:pt x="1082" y="790"/>
                  </a:lnTo>
                  <a:lnTo>
                    <a:pt x="1082" y="792"/>
                  </a:lnTo>
                  <a:lnTo>
                    <a:pt x="1082" y="794"/>
                  </a:lnTo>
                  <a:lnTo>
                    <a:pt x="1079" y="794"/>
                  </a:lnTo>
                  <a:lnTo>
                    <a:pt x="1079" y="797"/>
                  </a:lnTo>
                  <a:lnTo>
                    <a:pt x="1077" y="797"/>
                  </a:lnTo>
                  <a:lnTo>
                    <a:pt x="1079" y="799"/>
                  </a:lnTo>
                  <a:lnTo>
                    <a:pt x="1082" y="802"/>
                  </a:lnTo>
                  <a:lnTo>
                    <a:pt x="1082" y="804"/>
                  </a:lnTo>
                  <a:lnTo>
                    <a:pt x="1084" y="804"/>
                  </a:lnTo>
                  <a:lnTo>
                    <a:pt x="1086" y="806"/>
                  </a:lnTo>
                  <a:lnTo>
                    <a:pt x="1086" y="806"/>
                  </a:lnTo>
                  <a:lnTo>
                    <a:pt x="1089" y="806"/>
                  </a:lnTo>
                  <a:lnTo>
                    <a:pt x="1091" y="809"/>
                  </a:lnTo>
                  <a:lnTo>
                    <a:pt x="1091" y="809"/>
                  </a:lnTo>
                  <a:lnTo>
                    <a:pt x="1093" y="806"/>
                  </a:lnTo>
                  <a:lnTo>
                    <a:pt x="1101" y="804"/>
                  </a:lnTo>
                  <a:lnTo>
                    <a:pt x="1101" y="802"/>
                  </a:lnTo>
                  <a:lnTo>
                    <a:pt x="1105" y="799"/>
                  </a:lnTo>
                  <a:lnTo>
                    <a:pt x="1105" y="797"/>
                  </a:lnTo>
                  <a:lnTo>
                    <a:pt x="1105" y="794"/>
                  </a:lnTo>
                  <a:lnTo>
                    <a:pt x="1105" y="794"/>
                  </a:lnTo>
                  <a:lnTo>
                    <a:pt x="1105" y="794"/>
                  </a:lnTo>
                  <a:lnTo>
                    <a:pt x="1103" y="794"/>
                  </a:lnTo>
                  <a:lnTo>
                    <a:pt x="1103" y="794"/>
                  </a:lnTo>
                  <a:lnTo>
                    <a:pt x="1103" y="792"/>
                  </a:lnTo>
                  <a:lnTo>
                    <a:pt x="1103" y="792"/>
                  </a:lnTo>
                  <a:lnTo>
                    <a:pt x="1103" y="792"/>
                  </a:lnTo>
                  <a:lnTo>
                    <a:pt x="1103" y="792"/>
                  </a:lnTo>
                  <a:lnTo>
                    <a:pt x="1103" y="790"/>
                  </a:lnTo>
                  <a:lnTo>
                    <a:pt x="1103" y="787"/>
                  </a:lnTo>
                  <a:lnTo>
                    <a:pt x="1101" y="783"/>
                  </a:lnTo>
                  <a:lnTo>
                    <a:pt x="1101" y="780"/>
                  </a:lnTo>
                  <a:lnTo>
                    <a:pt x="1101" y="780"/>
                  </a:lnTo>
                  <a:lnTo>
                    <a:pt x="1101" y="780"/>
                  </a:lnTo>
                  <a:lnTo>
                    <a:pt x="1098" y="778"/>
                  </a:lnTo>
                  <a:lnTo>
                    <a:pt x="1098" y="778"/>
                  </a:lnTo>
                  <a:lnTo>
                    <a:pt x="1096" y="776"/>
                  </a:lnTo>
                  <a:lnTo>
                    <a:pt x="1096" y="776"/>
                  </a:lnTo>
                  <a:lnTo>
                    <a:pt x="1089" y="776"/>
                  </a:lnTo>
                  <a:lnTo>
                    <a:pt x="1089" y="776"/>
                  </a:lnTo>
                  <a:lnTo>
                    <a:pt x="1084" y="780"/>
                  </a:lnTo>
                  <a:lnTo>
                    <a:pt x="1084" y="783"/>
                  </a:lnTo>
                  <a:lnTo>
                    <a:pt x="1084" y="785"/>
                  </a:lnTo>
                  <a:lnTo>
                    <a:pt x="1084" y="785"/>
                  </a:lnTo>
                  <a:lnTo>
                    <a:pt x="1082" y="785"/>
                  </a:lnTo>
                  <a:lnTo>
                    <a:pt x="1082" y="785"/>
                  </a:lnTo>
                  <a:lnTo>
                    <a:pt x="1082" y="785"/>
                  </a:lnTo>
                  <a:lnTo>
                    <a:pt x="1082" y="787"/>
                  </a:lnTo>
                  <a:lnTo>
                    <a:pt x="1082" y="787"/>
                  </a:lnTo>
                  <a:lnTo>
                    <a:pt x="1082" y="787"/>
                  </a:lnTo>
                  <a:lnTo>
                    <a:pt x="1084" y="787"/>
                  </a:lnTo>
                  <a:lnTo>
                    <a:pt x="1084" y="787"/>
                  </a:lnTo>
                  <a:lnTo>
                    <a:pt x="1084" y="787"/>
                  </a:lnTo>
                  <a:lnTo>
                    <a:pt x="1082" y="787"/>
                  </a:lnTo>
                  <a:close/>
                  <a:moveTo>
                    <a:pt x="1103" y="676"/>
                  </a:moveTo>
                  <a:lnTo>
                    <a:pt x="1103" y="674"/>
                  </a:lnTo>
                  <a:lnTo>
                    <a:pt x="1101" y="674"/>
                  </a:lnTo>
                  <a:lnTo>
                    <a:pt x="1093" y="674"/>
                  </a:lnTo>
                  <a:lnTo>
                    <a:pt x="1089" y="679"/>
                  </a:lnTo>
                  <a:lnTo>
                    <a:pt x="1089" y="679"/>
                  </a:lnTo>
                  <a:lnTo>
                    <a:pt x="1089" y="681"/>
                  </a:lnTo>
                  <a:lnTo>
                    <a:pt x="1089" y="681"/>
                  </a:lnTo>
                  <a:lnTo>
                    <a:pt x="1089" y="681"/>
                  </a:lnTo>
                  <a:lnTo>
                    <a:pt x="1089" y="683"/>
                  </a:lnTo>
                  <a:lnTo>
                    <a:pt x="1089" y="683"/>
                  </a:lnTo>
                  <a:lnTo>
                    <a:pt x="1089" y="683"/>
                  </a:lnTo>
                  <a:lnTo>
                    <a:pt x="1091" y="686"/>
                  </a:lnTo>
                  <a:lnTo>
                    <a:pt x="1091" y="686"/>
                  </a:lnTo>
                  <a:lnTo>
                    <a:pt x="1089" y="686"/>
                  </a:lnTo>
                  <a:lnTo>
                    <a:pt x="1089" y="686"/>
                  </a:lnTo>
                  <a:lnTo>
                    <a:pt x="1089" y="686"/>
                  </a:lnTo>
                  <a:lnTo>
                    <a:pt x="1089" y="688"/>
                  </a:lnTo>
                  <a:lnTo>
                    <a:pt x="1089" y="688"/>
                  </a:lnTo>
                  <a:lnTo>
                    <a:pt x="1091" y="688"/>
                  </a:lnTo>
                  <a:lnTo>
                    <a:pt x="1089" y="688"/>
                  </a:lnTo>
                  <a:lnTo>
                    <a:pt x="1091" y="688"/>
                  </a:lnTo>
                  <a:lnTo>
                    <a:pt x="1091" y="688"/>
                  </a:lnTo>
                  <a:lnTo>
                    <a:pt x="1091" y="688"/>
                  </a:lnTo>
                  <a:lnTo>
                    <a:pt x="1091" y="688"/>
                  </a:lnTo>
                  <a:lnTo>
                    <a:pt x="1091" y="688"/>
                  </a:lnTo>
                  <a:lnTo>
                    <a:pt x="1093" y="688"/>
                  </a:lnTo>
                  <a:lnTo>
                    <a:pt x="1093" y="690"/>
                  </a:lnTo>
                  <a:lnTo>
                    <a:pt x="1093" y="690"/>
                  </a:lnTo>
                  <a:lnTo>
                    <a:pt x="1093" y="693"/>
                  </a:lnTo>
                  <a:lnTo>
                    <a:pt x="1093" y="695"/>
                  </a:lnTo>
                  <a:lnTo>
                    <a:pt x="1091" y="695"/>
                  </a:lnTo>
                  <a:lnTo>
                    <a:pt x="1091" y="697"/>
                  </a:lnTo>
                  <a:lnTo>
                    <a:pt x="1091" y="697"/>
                  </a:lnTo>
                  <a:lnTo>
                    <a:pt x="1093" y="697"/>
                  </a:lnTo>
                  <a:lnTo>
                    <a:pt x="1093" y="697"/>
                  </a:lnTo>
                  <a:lnTo>
                    <a:pt x="1093" y="697"/>
                  </a:lnTo>
                  <a:lnTo>
                    <a:pt x="1093" y="697"/>
                  </a:lnTo>
                  <a:lnTo>
                    <a:pt x="1093" y="700"/>
                  </a:lnTo>
                  <a:lnTo>
                    <a:pt x="1093" y="700"/>
                  </a:lnTo>
                  <a:lnTo>
                    <a:pt x="1093" y="700"/>
                  </a:lnTo>
                  <a:lnTo>
                    <a:pt x="1093" y="702"/>
                  </a:lnTo>
                  <a:lnTo>
                    <a:pt x="1093" y="702"/>
                  </a:lnTo>
                  <a:lnTo>
                    <a:pt x="1101" y="702"/>
                  </a:lnTo>
                  <a:lnTo>
                    <a:pt x="1103" y="702"/>
                  </a:lnTo>
                  <a:lnTo>
                    <a:pt x="1108" y="702"/>
                  </a:lnTo>
                  <a:lnTo>
                    <a:pt x="1112" y="702"/>
                  </a:lnTo>
                  <a:lnTo>
                    <a:pt x="1119" y="695"/>
                  </a:lnTo>
                  <a:lnTo>
                    <a:pt x="1119" y="695"/>
                  </a:lnTo>
                  <a:lnTo>
                    <a:pt x="1119" y="693"/>
                  </a:lnTo>
                  <a:lnTo>
                    <a:pt x="1119" y="693"/>
                  </a:lnTo>
                  <a:lnTo>
                    <a:pt x="1117" y="690"/>
                  </a:lnTo>
                  <a:lnTo>
                    <a:pt x="1115" y="690"/>
                  </a:lnTo>
                  <a:lnTo>
                    <a:pt x="1115" y="690"/>
                  </a:lnTo>
                  <a:lnTo>
                    <a:pt x="1115" y="690"/>
                  </a:lnTo>
                  <a:lnTo>
                    <a:pt x="1115" y="690"/>
                  </a:lnTo>
                  <a:lnTo>
                    <a:pt x="1115" y="690"/>
                  </a:lnTo>
                  <a:lnTo>
                    <a:pt x="1115" y="690"/>
                  </a:lnTo>
                  <a:lnTo>
                    <a:pt x="1115" y="688"/>
                  </a:lnTo>
                  <a:lnTo>
                    <a:pt x="1115" y="688"/>
                  </a:lnTo>
                  <a:lnTo>
                    <a:pt x="1115" y="688"/>
                  </a:lnTo>
                  <a:lnTo>
                    <a:pt x="1115" y="688"/>
                  </a:lnTo>
                  <a:lnTo>
                    <a:pt x="1115" y="688"/>
                  </a:lnTo>
                  <a:lnTo>
                    <a:pt x="1112" y="688"/>
                  </a:lnTo>
                  <a:lnTo>
                    <a:pt x="1110" y="686"/>
                  </a:lnTo>
                  <a:lnTo>
                    <a:pt x="1110" y="686"/>
                  </a:lnTo>
                  <a:lnTo>
                    <a:pt x="1110" y="686"/>
                  </a:lnTo>
                  <a:lnTo>
                    <a:pt x="1110" y="683"/>
                  </a:lnTo>
                  <a:lnTo>
                    <a:pt x="1110" y="683"/>
                  </a:lnTo>
                  <a:lnTo>
                    <a:pt x="1108" y="683"/>
                  </a:lnTo>
                  <a:lnTo>
                    <a:pt x="1108" y="681"/>
                  </a:lnTo>
                  <a:lnTo>
                    <a:pt x="1105" y="679"/>
                  </a:lnTo>
                  <a:lnTo>
                    <a:pt x="1105" y="679"/>
                  </a:lnTo>
                  <a:lnTo>
                    <a:pt x="1105" y="679"/>
                  </a:lnTo>
                  <a:lnTo>
                    <a:pt x="1103" y="679"/>
                  </a:lnTo>
                  <a:lnTo>
                    <a:pt x="1103" y="681"/>
                  </a:lnTo>
                  <a:lnTo>
                    <a:pt x="1103" y="681"/>
                  </a:lnTo>
                  <a:lnTo>
                    <a:pt x="1101" y="683"/>
                  </a:lnTo>
                  <a:lnTo>
                    <a:pt x="1101" y="683"/>
                  </a:lnTo>
                  <a:lnTo>
                    <a:pt x="1103" y="679"/>
                  </a:lnTo>
                  <a:lnTo>
                    <a:pt x="1103" y="676"/>
                  </a:lnTo>
                  <a:close/>
                  <a:moveTo>
                    <a:pt x="1006" y="915"/>
                  </a:moveTo>
                  <a:lnTo>
                    <a:pt x="1006" y="917"/>
                  </a:lnTo>
                  <a:lnTo>
                    <a:pt x="1006" y="917"/>
                  </a:lnTo>
                  <a:lnTo>
                    <a:pt x="1013" y="915"/>
                  </a:lnTo>
                  <a:lnTo>
                    <a:pt x="1013" y="915"/>
                  </a:lnTo>
                  <a:lnTo>
                    <a:pt x="1015" y="915"/>
                  </a:lnTo>
                  <a:lnTo>
                    <a:pt x="1015" y="915"/>
                  </a:lnTo>
                  <a:lnTo>
                    <a:pt x="1015" y="915"/>
                  </a:lnTo>
                  <a:lnTo>
                    <a:pt x="1015" y="913"/>
                  </a:lnTo>
                  <a:lnTo>
                    <a:pt x="1013" y="910"/>
                  </a:lnTo>
                  <a:lnTo>
                    <a:pt x="1011" y="910"/>
                  </a:lnTo>
                  <a:lnTo>
                    <a:pt x="1006" y="910"/>
                  </a:lnTo>
                  <a:lnTo>
                    <a:pt x="1006" y="913"/>
                  </a:lnTo>
                  <a:lnTo>
                    <a:pt x="1006" y="915"/>
                  </a:lnTo>
                  <a:lnTo>
                    <a:pt x="1006" y="915"/>
                  </a:lnTo>
                  <a:lnTo>
                    <a:pt x="1006" y="915"/>
                  </a:lnTo>
                  <a:close/>
                  <a:moveTo>
                    <a:pt x="1129" y="712"/>
                  </a:moveTo>
                  <a:lnTo>
                    <a:pt x="1127" y="709"/>
                  </a:lnTo>
                  <a:lnTo>
                    <a:pt x="1127" y="707"/>
                  </a:lnTo>
                  <a:lnTo>
                    <a:pt x="1127" y="707"/>
                  </a:lnTo>
                  <a:lnTo>
                    <a:pt x="1124" y="705"/>
                  </a:lnTo>
                  <a:lnTo>
                    <a:pt x="1117" y="705"/>
                  </a:lnTo>
                  <a:lnTo>
                    <a:pt x="1110" y="707"/>
                  </a:lnTo>
                  <a:lnTo>
                    <a:pt x="1110" y="707"/>
                  </a:lnTo>
                  <a:lnTo>
                    <a:pt x="1110" y="707"/>
                  </a:lnTo>
                  <a:lnTo>
                    <a:pt x="1110" y="707"/>
                  </a:lnTo>
                  <a:lnTo>
                    <a:pt x="1108" y="709"/>
                  </a:lnTo>
                  <a:lnTo>
                    <a:pt x="1105" y="707"/>
                  </a:lnTo>
                  <a:lnTo>
                    <a:pt x="1105" y="709"/>
                  </a:lnTo>
                  <a:lnTo>
                    <a:pt x="1103" y="709"/>
                  </a:lnTo>
                  <a:lnTo>
                    <a:pt x="1103" y="709"/>
                  </a:lnTo>
                  <a:lnTo>
                    <a:pt x="1098" y="709"/>
                  </a:lnTo>
                  <a:lnTo>
                    <a:pt x="1098" y="712"/>
                  </a:lnTo>
                  <a:lnTo>
                    <a:pt x="1098" y="712"/>
                  </a:lnTo>
                  <a:lnTo>
                    <a:pt x="1096" y="712"/>
                  </a:lnTo>
                  <a:lnTo>
                    <a:pt x="1093" y="712"/>
                  </a:lnTo>
                  <a:lnTo>
                    <a:pt x="1093" y="712"/>
                  </a:lnTo>
                  <a:lnTo>
                    <a:pt x="1093" y="714"/>
                  </a:lnTo>
                  <a:lnTo>
                    <a:pt x="1093" y="714"/>
                  </a:lnTo>
                  <a:lnTo>
                    <a:pt x="1091" y="714"/>
                  </a:lnTo>
                  <a:lnTo>
                    <a:pt x="1091" y="714"/>
                  </a:lnTo>
                  <a:lnTo>
                    <a:pt x="1091" y="716"/>
                  </a:lnTo>
                  <a:lnTo>
                    <a:pt x="1091" y="716"/>
                  </a:lnTo>
                  <a:lnTo>
                    <a:pt x="1091" y="716"/>
                  </a:lnTo>
                  <a:lnTo>
                    <a:pt x="1091" y="719"/>
                  </a:lnTo>
                  <a:lnTo>
                    <a:pt x="1091" y="721"/>
                  </a:lnTo>
                  <a:lnTo>
                    <a:pt x="1091" y="721"/>
                  </a:lnTo>
                  <a:lnTo>
                    <a:pt x="1093" y="723"/>
                  </a:lnTo>
                  <a:lnTo>
                    <a:pt x="1098" y="726"/>
                  </a:lnTo>
                  <a:lnTo>
                    <a:pt x="1098" y="723"/>
                  </a:lnTo>
                  <a:lnTo>
                    <a:pt x="1098" y="723"/>
                  </a:lnTo>
                  <a:lnTo>
                    <a:pt x="1103" y="726"/>
                  </a:lnTo>
                  <a:lnTo>
                    <a:pt x="1103" y="726"/>
                  </a:lnTo>
                  <a:lnTo>
                    <a:pt x="1101" y="726"/>
                  </a:lnTo>
                  <a:lnTo>
                    <a:pt x="1103" y="726"/>
                  </a:lnTo>
                  <a:lnTo>
                    <a:pt x="1110" y="726"/>
                  </a:lnTo>
                  <a:lnTo>
                    <a:pt x="1115" y="726"/>
                  </a:lnTo>
                  <a:lnTo>
                    <a:pt x="1115" y="726"/>
                  </a:lnTo>
                  <a:lnTo>
                    <a:pt x="1122" y="723"/>
                  </a:lnTo>
                  <a:lnTo>
                    <a:pt x="1127" y="721"/>
                  </a:lnTo>
                  <a:lnTo>
                    <a:pt x="1127" y="719"/>
                  </a:lnTo>
                  <a:lnTo>
                    <a:pt x="1127" y="716"/>
                  </a:lnTo>
                  <a:lnTo>
                    <a:pt x="1127" y="716"/>
                  </a:lnTo>
                  <a:lnTo>
                    <a:pt x="1129" y="716"/>
                  </a:lnTo>
                  <a:lnTo>
                    <a:pt x="1129" y="716"/>
                  </a:lnTo>
                  <a:lnTo>
                    <a:pt x="1127" y="714"/>
                  </a:lnTo>
                  <a:lnTo>
                    <a:pt x="1129" y="712"/>
                  </a:lnTo>
                  <a:lnTo>
                    <a:pt x="1129" y="712"/>
                  </a:lnTo>
                  <a:close/>
                  <a:moveTo>
                    <a:pt x="1074" y="913"/>
                  </a:moveTo>
                  <a:lnTo>
                    <a:pt x="1074" y="910"/>
                  </a:lnTo>
                  <a:lnTo>
                    <a:pt x="1072" y="910"/>
                  </a:lnTo>
                  <a:lnTo>
                    <a:pt x="1070" y="906"/>
                  </a:lnTo>
                  <a:lnTo>
                    <a:pt x="1070" y="906"/>
                  </a:lnTo>
                  <a:lnTo>
                    <a:pt x="1070" y="906"/>
                  </a:lnTo>
                  <a:lnTo>
                    <a:pt x="1067" y="906"/>
                  </a:lnTo>
                  <a:lnTo>
                    <a:pt x="1063" y="903"/>
                  </a:lnTo>
                  <a:lnTo>
                    <a:pt x="1060" y="903"/>
                  </a:lnTo>
                  <a:lnTo>
                    <a:pt x="1056" y="906"/>
                  </a:lnTo>
                  <a:lnTo>
                    <a:pt x="1046" y="906"/>
                  </a:lnTo>
                  <a:lnTo>
                    <a:pt x="1037" y="906"/>
                  </a:lnTo>
                  <a:lnTo>
                    <a:pt x="1037" y="908"/>
                  </a:lnTo>
                  <a:lnTo>
                    <a:pt x="1034" y="910"/>
                  </a:lnTo>
                  <a:lnTo>
                    <a:pt x="1032" y="915"/>
                  </a:lnTo>
                  <a:lnTo>
                    <a:pt x="1032" y="917"/>
                  </a:lnTo>
                  <a:lnTo>
                    <a:pt x="1030" y="917"/>
                  </a:lnTo>
                  <a:lnTo>
                    <a:pt x="1030" y="917"/>
                  </a:lnTo>
                  <a:lnTo>
                    <a:pt x="1030" y="917"/>
                  </a:lnTo>
                  <a:lnTo>
                    <a:pt x="1027" y="920"/>
                  </a:lnTo>
                  <a:lnTo>
                    <a:pt x="1027" y="922"/>
                  </a:lnTo>
                  <a:lnTo>
                    <a:pt x="1027" y="922"/>
                  </a:lnTo>
                  <a:lnTo>
                    <a:pt x="1027" y="925"/>
                  </a:lnTo>
                  <a:lnTo>
                    <a:pt x="1032" y="925"/>
                  </a:lnTo>
                  <a:lnTo>
                    <a:pt x="1034" y="927"/>
                  </a:lnTo>
                  <a:lnTo>
                    <a:pt x="1034" y="927"/>
                  </a:lnTo>
                  <a:lnTo>
                    <a:pt x="1037" y="929"/>
                  </a:lnTo>
                  <a:lnTo>
                    <a:pt x="1039" y="929"/>
                  </a:lnTo>
                  <a:lnTo>
                    <a:pt x="1039" y="929"/>
                  </a:lnTo>
                  <a:lnTo>
                    <a:pt x="1039" y="932"/>
                  </a:lnTo>
                  <a:lnTo>
                    <a:pt x="1039" y="932"/>
                  </a:lnTo>
                  <a:lnTo>
                    <a:pt x="1039" y="932"/>
                  </a:lnTo>
                  <a:lnTo>
                    <a:pt x="1041" y="932"/>
                  </a:lnTo>
                  <a:lnTo>
                    <a:pt x="1041" y="932"/>
                  </a:lnTo>
                  <a:lnTo>
                    <a:pt x="1041" y="934"/>
                  </a:lnTo>
                  <a:lnTo>
                    <a:pt x="1041" y="934"/>
                  </a:lnTo>
                  <a:lnTo>
                    <a:pt x="1046" y="939"/>
                  </a:lnTo>
                  <a:lnTo>
                    <a:pt x="1046" y="939"/>
                  </a:lnTo>
                  <a:lnTo>
                    <a:pt x="1044" y="939"/>
                  </a:lnTo>
                  <a:lnTo>
                    <a:pt x="1044" y="939"/>
                  </a:lnTo>
                  <a:lnTo>
                    <a:pt x="1044" y="941"/>
                  </a:lnTo>
                  <a:lnTo>
                    <a:pt x="1046" y="941"/>
                  </a:lnTo>
                  <a:lnTo>
                    <a:pt x="1046" y="941"/>
                  </a:lnTo>
                  <a:lnTo>
                    <a:pt x="1046" y="943"/>
                  </a:lnTo>
                  <a:lnTo>
                    <a:pt x="1046" y="943"/>
                  </a:lnTo>
                  <a:lnTo>
                    <a:pt x="1046" y="946"/>
                  </a:lnTo>
                  <a:lnTo>
                    <a:pt x="1046" y="946"/>
                  </a:lnTo>
                  <a:lnTo>
                    <a:pt x="1046" y="946"/>
                  </a:lnTo>
                  <a:lnTo>
                    <a:pt x="1046" y="946"/>
                  </a:lnTo>
                  <a:lnTo>
                    <a:pt x="1048" y="948"/>
                  </a:lnTo>
                  <a:lnTo>
                    <a:pt x="1048" y="948"/>
                  </a:lnTo>
                  <a:lnTo>
                    <a:pt x="1051" y="948"/>
                  </a:lnTo>
                  <a:lnTo>
                    <a:pt x="1051" y="948"/>
                  </a:lnTo>
                  <a:lnTo>
                    <a:pt x="1051" y="948"/>
                  </a:lnTo>
                  <a:lnTo>
                    <a:pt x="1051" y="948"/>
                  </a:lnTo>
                  <a:lnTo>
                    <a:pt x="1051" y="948"/>
                  </a:lnTo>
                  <a:lnTo>
                    <a:pt x="1051" y="951"/>
                  </a:lnTo>
                  <a:lnTo>
                    <a:pt x="1051" y="951"/>
                  </a:lnTo>
                  <a:lnTo>
                    <a:pt x="1051" y="953"/>
                  </a:lnTo>
                  <a:lnTo>
                    <a:pt x="1051" y="953"/>
                  </a:lnTo>
                  <a:lnTo>
                    <a:pt x="1051" y="953"/>
                  </a:lnTo>
                  <a:lnTo>
                    <a:pt x="1053" y="955"/>
                  </a:lnTo>
                  <a:lnTo>
                    <a:pt x="1053" y="958"/>
                  </a:lnTo>
                  <a:lnTo>
                    <a:pt x="1058" y="965"/>
                  </a:lnTo>
                  <a:lnTo>
                    <a:pt x="1058" y="965"/>
                  </a:lnTo>
                  <a:lnTo>
                    <a:pt x="1058" y="967"/>
                  </a:lnTo>
                  <a:lnTo>
                    <a:pt x="1058" y="967"/>
                  </a:lnTo>
                  <a:lnTo>
                    <a:pt x="1058" y="970"/>
                  </a:lnTo>
                  <a:lnTo>
                    <a:pt x="1060" y="970"/>
                  </a:lnTo>
                  <a:lnTo>
                    <a:pt x="1060" y="970"/>
                  </a:lnTo>
                  <a:lnTo>
                    <a:pt x="1060" y="970"/>
                  </a:lnTo>
                  <a:lnTo>
                    <a:pt x="1060" y="972"/>
                  </a:lnTo>
                  <a:lnTo>
                    <a:pt x="1060" y="972"/>
                  </a:lnTo>
                  <a:lnTo>
                    <a:pt x="1060" y="972"/>
                  </a:lnTo>
                  <a:lnTo>
                    <a:pt x="1063" y="972"/>
                  </a:lnTo>
                  <a:lnTo>
                    <a:pt x="1063" y="972"/>
                  </a:lnTo>
                  <a:lnTo>
                    <a:pt x="1063" y="972"/>
                  </a:lnTo>
                  <a:lnTo>
                    <a:pt x="1063" y="972"/>
                  </a:lnTo>
                  <a:lnTo>
                    <a:pt x="1063" y="972"/>
                  </a:lnTo>
                  <a:lnTo>
                    <a:pt x="1063" y="972"/>
                  </a:lnTo>
                  <a:lnTo>
                    <a:pt x="1063" y="972"/>
                  </a:lnTo>
                  <a:lnTo>
                    <a:pt x="1063" y="972"/>
                  </a:lnTo>
                  <a:lnTo>
                    <a:pt x="1065" y="972"/>
                  </a:lnTo>
                  <a:lnTo>
                    <a:pt x="1065" y="972"/>
                  </a:lnTo>
                  <a:lnTo>
                    <a:pt x="1063" y="970"/>
                  </a:lnTo>
                  <a:lnTo>
                    <a:pt x="1063" y="967"/>
                  </a:lnTo>
                  <a:lnTo>
                    <a:pt x="1063" y="967"/>
                  </a:lnTo>
                  <a:lnTo>
                    <a:pt x="1063" y="967"/>
                  </a:lnTo>
                  <a:lnTo>
                    <a:pt x="1063" y="965"/>
                  </a:lnTo>
                  <a:lnTo>
                    <a:pt x="1060" y="965"/>
                  </a:lnTo>
                  <a:lnTo>
                    <a:pt x="1063" y="965"/>
                  </a:lnTo>
                  <a:lnTo>
                    <a:pt x="1063" y="965"/>
                  </a:lnTo>
                  <a:lnTo>
                    <a:pt x="1063" y="967"/>
                  </a:lnTo>
                  <a:lnTo>
                    <a:pt x="1065" y="967"/>
                  </a:lnTo>
                  <a:lnTo>
                    <a:pt x="1065" y="965"/>
                  </a:lnTo>
                  <a:lnTo>
                    <a:pt x="1067" y="962"/>
                  </a:lnTo>
                  <a:lnTo>
                    <a:pt x="1070" y="960"/>
                  </a:lnTo>
                  <a:lnTo>
                    <a:pt x="1070" y="960"/>
                  </a:lnTo>
                  <a:lnTo>
                    <a:pt x="1070" y="955"/>
                  </a:lnTo>
                  <a:lnTo>
                    <a:pt x="1072" y="953"/>
                  </a:lnTo>
                  <a:lnTo>
                    <a:pt x="1072" y="951"/>
                  </a:lnTo>
                  <a:lnTo>
                    <a:pt x="1072" y="951"/>
                  </a:lnTo>
                  <a:lnTo>
                    <a:pt x="1074" y="948"/>
                  </a:lnTo>
                  <a:lnTo>
                    <a:pt x="1074" y="948"/>
                  </a:lnTo>
                  <a:lnTo>
                    <a:pt x="1074" y="948"/>
                  </a:lnTo>
                  <a:lnTo>
                    <a:pt x="1074" y="946"/>
                  </a:lnTo>
                  <a:lnTo>
                    <a:pt x="1077" y="941"/>
                  </a:lnTo>
                  <a:lnTo>
                    <a:pt x="1079" y="939"/>
                  </a:lnTo>
                  <a:lnTo>
                    <a:pt x="1079" y="936"/>
                  </a:lnTo>
                  <a:lnTo>
                    <a:pt x="1079" y="936"/>
                  </a:lnTo>
                  <a:lnTo>
                    <a:pt x="1079" y="934"/>
                  </a:lnTo>
                  <a:lnTo>
                    <a:pt x="1079" y="934"/>
                  </a:lnTo>
                  <a:lnTo>
                    <a:pt x="1079" y="932"/>
                  </a:lnTo>
                  <a:lnTo>
                    <a:pt x="1079" y="932"/>
                  </a:lnTo>
                  <a:lnTo>
                    <a:pt x="1079" y="929"/>
                  </a:lnTo>
                  <a:lnTo>
                    <a:pt x="1079" y="929"/>
                  </a:lnTo>
                  <a:lnTo>
                    <a:pt x="1079" y="929"/>
                  </a:lnTo>
                  <a:lnTo>
                    <a:pt x="1079" y="927"/>
                  </a:lnTo>
                  <a:lnTo>
                    <a:pt x="1082" y="927"/>
                  </a:lnTo>
                  <a:lnTo>
                    <a:pt x="1082" y="925"/>
                  </a:lnTo>
                  <a:lnTo>
                    <a:pt x="1082" y="925"/>
                  </a:lnTo>
                  <a:lnTo>
                    <a:pt x="1082" y="922"/>
                  </a:lnTo>
                  <a:lnTo>
                    <a:pt x="1082" y="922"/>
                  </a:lnTo>
                  <a:lnTo>
                    <a:pt x="1082" y="922"/>
                  </a:lnTo>
                  <a:lnTo>
                    <a:pt x="1082" y="920"/>
                  </a:lnTo>
                  <a:lnTo>
                    <a:pt x="1082" y="917"/>
                  </a:lnTo>
                  <a:lnTo>
                    <a:pt x="1079" y="915"/>
                  </a:lnTo>
                  <a:lnTo>
                    <a:pt x="1074" y="915"/>
                  </a:lnTo>
                  <a:lnTo>
                    <a:pt x="1074" y="913"/>
                  </a:lnTo>
                  <a:close/>
                  <a:moveTo>
                    <a:pt x="1186" y="681"/>
                  </a:moveTo>
                  <a:lnTo>
                    <a:pt x="1188" y="681"/>
                  </a:lnTo>
                  <a:lnTo>
                    <a:pt x="1186" y="679"/>
                  </a:lnTo>
                  <a:lnTo>
                    <a:pt x="1186" y="679"/>
                  </a:lnTo>
                  <a:lnTo>
                    <a:pt x="1183" y="679"/>
                  </a:lnTo>
                  <a:lnTo>
                    <a:pt x="1183" y="679"/>
                  </a:lnTo>
                  <a:lnTo>
                    <a:pt x="1181" y="681"/>
                  </a:lnTo>
                  <a:lnTo>
                    <a:pt x="1181" y="681"/>
                  </a:lnTo>
                  <a:lnTo>
                    <a:pt x="1174" y="676"/>
                  </a:lnTo>
                  <a:lnTo>
                    <a:pt x="1171" y="679"/>
                  </a:lnTo>
                  <a:lnTo>
                    <a:pt x="1171" y="679"/>
                  </a:lnTo>
                  <a:lnTo>
                    <a:pt x="1169" y="679"/>
                  </a:lnTo>
                  <a:lnTo>
                    <a:pt x="1167" y="683"/>
                  </a:lnTo>
                  <a:lnTo>
                    <a:pt x="1167" y="683"/>
                  </a:lnTo>
                  <a:lnTo>
                    <a:pt x="1164" y="683"/>
                  </a:lnTo>
                  <a:lnTo>
                    <a:pt x="1164" y="683"/>
                  </a:lnTo>
                  <a:lnTo>
                    <a:pt x="1164" y="686"/>
                  </a:lnTo>
                  <a:lnTo>
                    <a:pt x="1164" y="686"/>
                  </a:lnTo>
                  <a:lnTo>
                    <a:pt x="1164" y="686"/>
                  </a:lnTo>
                  <a:lnTo>
                    <a:pt x="1164" y="686"/>
                  </a:lnTo>
                  <a:lnTo>
                    <a:pt x="1164" y="688"/>
                  </a:lnTo>
                  <a:lnTo>
                    <a:pt x="1160" y="688"/>
                  </a:lnTo>
                  <a:lnTo>
                    <a:pt x="1160" y="690"/>
                  </a:lnTo>
                  <a:lnTo>
                    <a:pt x="1164" y="700"/>
                  </a:lnTo>
                  <a:lnTo>
                    <a:pt x="1171" y="700"/>
                  </a:lnTo>
                  <a:lnTo>
                    <a:pt x="1174" y="700"/>
                  </a:lnTo>
                  <a:lnTo>
                    <a:pt x="1174" y="700"/>
                  </a:lnTo>
                  <a:lnTo>
                    <a:pt x="1174" y="700"/>
                  </a:lnTo>
                  <a:lnTo>
                    <a:pt x="1176" y="700"/>
                  </a:lnTo>
                  <a:lnTo>
                    <a:pt x="1174" y="700"/>
                  </a:lnTo>
                  <a:lnTo>
                    <a:pt x="1174" y="700"/>
                  </a:lnTo>
                  <a:lnTo>
                    <a:pt x="1176" y="705"/>
                  </a:lnTo>
                  <a:lnTo>
                    <a:pt x="1179" y="705"/>
                  </a:lnTo>
                  <a:lnTo>
                    <a:pt x="1179" y="705"/>
                  </a:lnTo>
                  <a:lnTo>
                    <a:pt x="1179" y="705"/>
                  </a:lnTo>
                  <a:lnTo>
                    <a:pt x="1179" y="705"/>
                  </a:lnTo>
                  <a:lnTo>
                    <a:pt x="1179" y="705"/>
                  </a:lnTo>
                  <a:lnTo>
                    <a:pt x="1179" y="705"/>
                  </a:lnTo>
                  <a:lnTo>
                    <a:pt x="1179" y="707"/>
                  </a:lnTo>
                  <a:lnTo>
                    <a:pt x="1181" y="707"/>
                  </a:lnTo>
                  <a:lnTo>
                    <a:pt x="1181" y="707"/>
                  </a:lnTo>
                  <a:lnTo>
                    <a:pt x="1176" y="707"/>
                  </a:lnTo>
                  <a:lnTo>
                    <a:pt x="1176" y="707"/>
                  </a:lnTo>
                  <a:lnTo>
                    <a:pt x="1176" y="705"/>
                  </a:lnTo>
                  <a:lnTo>
                    <a:pt x="1174" y="705"/>
                  </a:lnTo>
                  <a:lnTo>
                    <a:pt x="1174" y="705"/>
                  </a:lnTo>
                  <a:lnTo>
                    <a:pt x="1174" y="707"/>
                  </a:lnTo>
                  <a:lnTo>
                    <a:pt x="1176" y="707"/>
                  </a:lnTo>
                  <a:lnTo>
                    <a:pt x="1176" y="707"/>
                  </a:lnTo>
                  <a:lnTo>
                    <a:pt x="1176" y="707"/>
                  </a:lnTo>
                  <a:lnTo>
                    <a:pt x="1176" y="707"/>
                  </a:lnTo>
                  <a:lnTo>
                    <a:pt x="1176" y="709"/>
                  </a:lnTo>
                  <a:lnTo>
                    <a:pt x="1169" y="707"/>
                  </a:lnTo>
                  <a:lnTo>
                    <a:pt x="1169" y="709"/>
                  </a:lnTo>
                  <a:lnTo>
                    <a:pt x="1169" y="709"/>
                  </a:lnTo>
                  <a:lnTo>
                    <a:pt x="1169" y="712"/>
                  </a:lnTo>
                  <a:lnTo>
                    <a:pt x="1174" y="714"/>
                  </a:lnTo>
                  <a:lnTo>
                    <a:pt x="1179" y="714"/>
                  </a:lnTo>
                  <a:lnTo>
                    <a:pt x="1179" y="714"/>
                  </a:lnTo>
                  <a:lnTo>
                    <a:pt x="1181" y="716"/>
                  </a:lnTo>
                  <a:lnTo>
                    <a:pt x="1183" y="716"/>
                  </a:lnTo>
                  <a:lnTo>
                    <a:pt x="1183" y="719"/>
                  </a:lnTo>
                  <a:lnTo>
                    <a:pt x="1183" y="719"/>
                  </a:lnTo>
                  <a:lnTo>
                    <a:pt x="1183" y="719"/>
                  </a:lnTo>
                  <a:lnTo>
                    <a:pt x="1190" y="716"/>
                  </a:lnTo>
                  <a:lnTo>
                    <a:pt x="1188" y="719"/>
                  </a:lnTo>
                  <a:lnTo>
                    <a:pt x="1188" y="719"/>
                  </a:lnTo>
                  <a:lnTo>
                    <a:pt x="1183" y="721"/>
                  </a:lnTo>
                  <a:lnTo>
                    <a:pt x="1183" y="721"/>
                  </a:lnTo>
                  <a:lnTo>
                    <a:pt x="1181" y="719"/>
                  </a:lnTo>
                  <a:lnTo>
                    <a:pt x="1179" y="719"/>
                  </a:lnTo>
                  <a:lnTo>
                    <a:pt x="1179" y="719"/>
                  </a:lnTo>
                  <a:lnTo>
                    <a:pt x="1176" y="716"/>
                  </a:lnTo>
                  <a:lnTo>
                    <a:pt x="1176" y="719"/>
                  </a:lnTo>
                  <a:lnTo>
                    <a:pt x="1176" y="719"/>
                  </a:lnTo>
                  <a:lnTo>
                    <a:pt x="1176" y="719"/>
                  </a:lnTo>
                  <a:lnTo>
                    <a:pt x="1174" y="719"/>
                  </a:lnTo>
                  <a:lnTo>
                    <a:pt x="1174" y="721"/>
                  </a:lnTo>
                  <a:lnTo>
                    <a:pt x="1176" y="721"/>
                  </a:lnTo>
                  <a:lnTo>
                    <a:pt x="1176" y="721"/>
                  </a:lnTo>
                  <a:lnTo>
                    <a:pt x="1176" y="723"/>
                  </a:lnTo>
                  <a:lnTo>
                    <a:pt x="1176" y="723"/>
                  </a:lnTo>
                  <a:lnTo>
                    <a:pt x="1176" y="723"/>
                  </a:lnTo>
                  <a:lnTo>
                    <a:pt x="1176" y="726"/>
                  </a:lnTo>
                  <a:lnTo>
                    <a:pt x="1176" y="728"/>
                  </a:lnTo>
                  <a:lnTo>
                    <a:pt x="1179" y="728"/>
                  </a:lnTo>
                  <a:lnTo>
                    <a:pt x="1179" y="728"/>
                  </a:lnTo>
                  <a:lnTo>
                    <a:pt x="1179" y="728"/>
                  </a:lnTo>
                  <a:lnTo>
                    <a:pt x="1179" y="728"/>
                  </a:lnTo>
                  <a:lnTo>
                    <a:pt x="1179" y="731"/>
                  </a:lnTo>
                  <a:lnTo>
                    <a:pt x="1179" y="731"/>
                  </a:lnTo>
                  <a:lnTo>
                    <a:pt x="1179" y="731"/>
                  </a:lnTo>
                  <a:lnTo>
                    <a:pt x="1179" y="731"/>
                  </a:lnTo>
                  <a:lnTo>
                    <a:pt x="1179" y="731"/>
                  </a:lnTo>
                  <a:lnTo>
                    <a:pt x="1179" y="731"/>
                  </a:lnTo>
                  <a:lnTo>
                    <a:pt x="1179" y="731"/>
                  </a:lnTo>
                  <a:lnTo>
                    <a:pt x="1179" y="731"/>
                  </a:lnTo>
                  <a:lnTo>
                    <a:pt x="1181" y="731"/>
                  </a:lnTo>
                  <a:lnTo>
                    <a:pt x="1181" y="731"/>
                  </a:lnTo>
                  <a:lnTo>
                    <a:pt x="1181" y="733"/>
                  </a:lnTo>
                  <a:lnTo>
                    <a:pt x="1181" y="733"/>
                  </a:lnTo>
                  <a:lnTo>
                    <a:pt x="1181" y="733"/>
                  </a:lnTo>
                  <a:lnTo>
                    <a:pt x="1181" y="733"/>
                  </a:lnTo>
                  <a:lnTo>
                    <a:pt x="1181" y="735"/>
                  </a:lnTo>
                  <a:lnTo>
                    <a:pt x="1181" y="735"/>
                  </a:lnTo>
                  <a:lnTo>
                    <a:pt x="1181" y="735"/>
                  </a:lnTo>
                  <a:lnTo>
                    <a:pt x="1181" y="735"/>
                  </a:lnTo>
                  <a:lnTo>
                    <a:pt x="1181" y="735"/>
                  </a:lnTo>
                  <a:lnTo>
                    <a:pt x="1181" y="735"/>
                  </a:lnTo>
                  <a:lnTo>
                    <a:pt x="1188" y="733"/>
                  </a:lnTo>
                  <a:lnTo>
                    <a:pt x="1190" y="733"/>
                  </a:lnTo>
                  <a:lnTo>
                    <a:pt x="1188" y="733"/>
                  </a:lnTo>
                  <a:lnTo>
                    <a:pt x="1188" y="733"/>
                  </a:lnTo>
                  <a:lnTo>
                    <a:pt x="1188" y="733"/>
                  </a:lnTo>
                  <a:lnTo>
                    <a:pt x="1186" y="733"/>
                  </a:lnTo>
                  <a:lnTo>
                    <a:pt x="1186" y="733"/>
                  </a:lnTo>
                  <a:lnTo>
                    <a:pt x="1186" y="735"/>
                  </a:lnTo>
                  <a:lnTo>
                    <a:pt x="1186" y="735"/>
                  </a:lnTo>
                  <a:lnTo>
                    <a:pt x="1186" y="735"/>
                  </a:lnTo>
                  <a:lnTo>
                    <a:pt x="1186" y="735"/>
                  </a:lnTo>
                  <a:lnTo>
                    <a:pt x="1186" y="735"/>
                  </a:lnTo>
                  <a:lnTo>
                    <a:pt x="1183" y="735"/>
                  </a:lnTo>
                  <a:lnTo>
                    <a:pt x="1183" y="738"/>
                  </a:lnTo>
                  <a:lnTo>
                    <a:pt x="1183" y="738"/>
                  </a:lnTo>
                  <a:lnTo>
                    <a:pt x="1181" y="738"/>
                  </a:lnTo>
                  <a:lnTo>
                    <a:pt x="1181" y="740"/>
                  </a:lnTo>
                  <a:lnTo>
                    <a:pt x="1179" y="740"/>
                  </a:lnTo>
                  <a:lnTo>
                    <a:pt x="1179" y="740"/>
                  </a:lnTo>
                  <a:lnTo>
                    <a:pt x="1179" y="740"/>
                  </a:lnTo>
                  <a:lnTo>
                    <a:pt x="1179" y="740"/>
                  </a:lnTo>
                  <a:lnTo>
                    <a:pt x="1179" y="740"/>
                  </a:lnTo>
                  <a:lnTo>
                    <a:pt x="1179" y="738"/>
                  </a:lnTo>
                  <a:lnTo>
                    <a:pt x="1179" y="738"/>
                  </a:lnTo>
                  <a:lnTo>
                    <a:pt x="1179" y="738"/>
                  </a:lnTo>
                  <a:lnTo>
                    <a:pt x="1179" y="738"/>
                  </a:lnTo>
                  <a:lnTo>
                    <a:pt x="1179" y="738"/>
                  </a:lnTo>
                  <a:lnTo>
                    <a:pt x="1179" y="738"/>
                  </a:lnTo>
                  <a:lnTo>
                    <a:pt x="1179" y="738"/>
                  </a:lnTo>
                  <a:lnTo>
                    <a:pt x="1176" y="738"/>
                  </a:lnTo>
                  <a:lnTo>
                    <a:pt x="1176" y="738"/>
                  </a:lnTo>
                  <a:lnTo>
                    <a:pt x="1176" y="738"/>
                  </a:lnTo>
                  <a:lnTo>
                    <a:pt x="1176" y="738"/>
                  </a:lnTo>
                  <a:lnTo>
                    <a:pt x="1176" y="738"/>
                  </a:lnTo>
                  <a:lnTo>
                    <a:pt x="1176" y="735"/>
                  </a:lnTo>
                  <a:lnTo>
                    <a:pt x="1176" y="735"/>
                  </a:lnTo>
                  <a:lnTo>
                    <a:pt x="1176" y="735"/>
                  </a:lnTo>
                  <a:lnTo>
                    <a:pt x="1176" y="735"/>
                  </a:lnTo>
                  <a:lnTo>
                    <a:pt x="1174" y="733"/>
                  </a:lnTo>
                  <a:lnTo>
                    <a:pt x="1174" y="733"/>
                  </a:lnTo>
                  <a:lnTo>
                    <a:pt x="1174" y="731"/>
                  </a:lnTo>
                  <a:lnTo>
                    <a:pt x="1174" y="731"/>
                  </a:lnTo>
                  <a:lnTo>
                    <a:pt x="1171" y="728"/>
                  </a:lnTo>
                  <a:lnTo>
                    <a:pt x="1171" y="728"/>
                  </a:lnTo>
                  <a:lnTo>
                    <a:pt x="1171" y="726"/>
                  </a:lnTo>
                  <a:lnTo>
                    <a:pt x="1167" y="723"/>
                  </a:lnTo>
                  <a:lnTo>
                    <a:pt x="1167" y="723"/>
                  </a:lnTo>
                  <a:lnTo>
                    <a:pt x="1169" y="723"/>
                  </a:lnTo>
                  <a:lnTo>
                    <a:pt x="1169" y="721"/>
                  </a:lnTo>
                  <a:lnTo>
                    <a:pt x="1164" y="723"/>
                  </a:lnTo>
                  <a:lnTo>
                    <a:pt x="1164" y="721"/>
                  </a:lnTo>
                  <a:lnTo>
                    <a:pt x="1167" y="721"/>
                  </a:lnTo>
                  <a:lnTo>
                    <a:pt x="1167" y="719"/>
                  </a:lnTo>
                  <a:lnTo>
                    <a:pt x="1164" y="719"/>
                  </a:lnTo>
                  <a:lnTo>
                    <a:pt x="1164" y="719"/>
                  </a:lnTo>
                  <a:lnTo>
                    <a:pt x="1164" y="719"/>
                  </a:lnTo>
                  <a:lnTo>
                    <a:pt x="1164" y="716"/>
                  </a:lnTo>
                  <a:lnTo>
                    <a:pt x="1164" y="716"/>
                  </a:lnTo>
                  <a:lnTo>
                    <a:pt x="1164" y="716"/>
                  </a:lnTo>
                  <a:lnTo>
                    <a:pt x="1162" y="714"/>
                  </a:lnTo>
                  <a:lnTo>
                    <a:pt x="1160" y="712"/>
                  </a:lnTo>
                  <a:lnTo>
                    <a:pt x="1157" y="712"/>
                  </a:lnTo>
                  <a:lnTo>
                    <a:pt x="1157" y="709"/>
                  </a:lnTo>
                  <a:lnTo>
                    <a:pt x="1157" y="709"/>
                  </a:lnTo>
                  <a:lnTo>
                    <a:pt x="1157" y="707"/>
                  </a:lnTo>
                  <a:lnTo>
                    <a:pt x="1157" y="707"/>
                  </a:lnTo>
                  <a:lnTo>
                    <a:pt x="1157" y="705"/>
                  </a:lnTo>
                  <a:lnTo>
                    <a:pt x="1157" y="705"/>
                  </a:lnTo>
                  <a:lnTo>
                    <a:pt x="1157" y="705"/>
                  </a:lnTo>
                  <a:lnTo>
                    <a:pt x="1157" y="705"/>
                  </a:lnTo>
                  <a:lnTo>
                    <a:pt x="1157" y="702"/>
                  </a:lnTo>
                  <a:lnTo>
                    <a:pt x="1155" y="700"/>
                  </a:lnTo>
                  <a:lnTo>
                    <a:pt x="1153" y="697"/>
                  </a:lnTo>
                  <a:lnTo>
                    <a:pt x="1153" y="697"/>
                  </a:lnTo>
                  <a:lnTo>
                    <a:pt x="1153" y="695"/>
                  </a:lnTo>
                  <a:lnTo>
                    <a:pt x="1150" y="695"/>
                  </a:lnTo>
                  <a:lnTo>
                    <a:pt x="1150" y="695"/>
                  </a:lnTo>
                  <a:lnTo>
                    <a:pt x="1143" y="693"/>
                  </a:lnTo>
                  <a:lnTo>
                    <a:pt x="1143" y="693"/>
                  </a:lnTo>
                  <a:lnTo>
                    <a:pt x="1141" y="695"/>
                  </a:lnTo>
                  <a:lnTo>
                    <a:pt x="1141" y="695"/>
                  </a:lnTo>
                  <a:lnTo>
                    <a:pt x="1138" y="695"/>
                  </a:lnTo>
                  <a:lnTo>
                    <a:pt x="1138" y="697"/>
                  </a:lnTo>
                  <a:lnTo>
                    <a:pt x="1138" y="697"/>
                  </a:lnTo>
                  <a:lnTo>
                    <a:pt x="1138" y="700"/>
                  </a:lnTo>
                  <a:lnTo>
                    <a:pt x="1141" y="700"/>
                  </a:lnTo>
                  <a:lnTo>
                    <a:pt x="1141" y="700"/>
                  </a:lnTo>
                  <a:lnTo>
                    <a:pt x="1141" y="702"/>
                  </a:lnTo>
                  <a:lnTo>
                    <a:pt x="1138" y="702"/>
                  </a:lnTo>
                  <a:lnTo>
                    <a:pt x="1138" y="702"/>
                  </a:lnTo>
                  <a:lnTo>
                    <a:pt x="1138" y="702"/>
                  </a:lnTo>
                  <a:lnTo>
                    <a:pt x="1138" y="705"/>
                  </a:lnTo>
                  <a:lnTo>
                    <a:pt x="1138" y="705"/>
                  </a:lnTo>
                  <a:lnTo>
                    <a:pt x="1136" y="705"/>
                  </a:lnTo>
                  <a:lnTo>
                    <a:pt x="1136" y="707"/>
                  </a:lnTo>
                  <a:lnTo>
                    <a:pt x="1136" y="707"/>
                  </a:lnTo>
                  <a:lnTo>
                    <a:pt x="1138" y="707"/>
                  </a:lnTo>
                  <a:lnTo>
                    <a:pt x="1138" y="707"/>
                  </a:lnTo>
                  <a:lnTo>
                    <a:pt x="1138" y="709"/>
                  </a:lnTo>
                  <a:lnTo>
                    <a:pt x="1138" y="709"/>
                  </a:lnTo>
                  <a:lnTo>
                    <a:pt x="1136" y="709"/>
                  </a:lnTo>
                  <a:lnTo>
                    <a:pt x="1136" y="712"/>
                  </a:lnTo>
                  <a:lnTo>
                    <a:pt x="1136" y="712"/>
                  </a:lnTo>
                  <a:lnTo>
                    <a:pt x="1143" y="712"/>
                  </a:lnTo>
                  <a:lnTo>
                    <a:pt x="1143" y="712"/>
                  </a:lnTo>
                  <a:lnTo>
                    <a:pt x="1143" y="712"/>
                  </a:lnTo>
                  <a:lnTo>
                    <a:pt x="1150" y="709"/>
                  </a:lnTo>
                  <a:lnTo>
                    <a:pt x="1148" y="714"/>
                  </a:lnTo>
                  <a:lnTo>
                    <a:pt x="1143" y="716"/>
                  </a:lnTo>
                  <a:lnTo>
                    <a:pt x="1143" y="716"/>
                  </a:lnTo>
                  <a:lnTo>
                    <a:pt x="1143" y="716"/>
                  </a:lnTo>
                  <a:lnTo>
                    <a:pt x="1143" y="719"/>
                  </a:lnTo>
                  <a:lnTo>
                    <a:pt x="1143" y="719"/>
                  </a:lnTo>
                  <a:lnTo>
                    <a:pt x="1141" y="719"/>
                  </a:lnTo>
                  <a:lnTo>
                    <a:pt x="1141" y="721"/>
                  </a:lnTo>
                  <a:lnTo>
                    <a:pt x="1141" y="721"/>
                  </a:lnTo>
                  <a:lnTo>
                    <a:pt x="1141" y="723"/>
                  </a:lnTo>
                  <a:lnTo>
                    <a:pt x="1141" y="726"/>
                  </a:lnTo>
                  <a:lnTo>
                    <a:pt x="1143" y="728"/>
                  </a:lnTo>
                  <a:lnTo>
                    <a:pt x="1143" y="731"/>
                  </a:lnTo>
                  <a:lnTo>
                    <a:pt x="1145" y="731"/>
                  </a:lnTo>
                  <a:lnTo>
                    <a:pt x="1150" y="731"/>
                  </a:lnTo>
                  <a:lnTo>
                    <a:pt x="1153" y="728"/>
                  </a:lnTo>
                  <a:lnTo>
                    <a:pt x="1153" y="728"/>
                  </a:lnTo>
                  <a:lnTo>
                    <a:pt x="1153" y="731"/>
                  </a:lnTo>
                  <a:lnTo>
                    <a:pt x="1153" y="731"/>
                  </a:lnTo>
                  <a:lnTo>
                    <a:pt x="1153" y="731"/>
                  </a:lnTo>
                  <a:lnTo>
                    <a:pt x="1153" y="731"/>
                  </a:lnTo>
                  <a:lnTo>
                    <a:pt x="1150" y="731"/>
                  </a:lnTo>
                  <a:lnTo>
                    <a:pt x="1150" y="733"/>
                  </a:lnTo>
                  <a:lnTo>
                    <a:pt x="1150" y="733"/>
                  </a:lnTo>
                  <a:lnTo>
                    <a:pt x="1148" y="733"/>
                  </a:lnTo>
                  <a:lnTo>
                    <a:pt x="1148" y="735"/>
                  </a:lnTo>
                  <a:lnTo>
                    <a:pt x="1148" y="738"/>
                  </a:lnTo>
                  <a:lnTo>
                    <a:pt x="1148" y="738"/>
                  </a:lnTo>
                  <a:lnTo>
                    <a:pt x="1148" y="738"/>
                  </a:lnTo>
                  <a:lnTo>
                    <a:pt x="1148" y="738"/>
                  </a:lnTo>
                  <a:lnTo>
                    <a:pt x="1148" y="740"/>
                  </a:lnTo>
                  <a:lnTo>
                    <a:pt x="1148" y="740"/>
                  </a:lnTo>
                  <a:lnTo>
                    <a:pt x="1148" y="742"/>
                  </a:lnTo>
                  <a:lnTo>
                    <a:pt x="1150" y="742"/>
                  </a:lnTo>
                  <a:lnTo>
                    <a:pt x="1150" y="742"/>
                  </a:lnTo>
                  <a:lnTo>
                    <a:pt x="1153" y="745"/>
                  </a:lnTo>
                  <a:lnTo>
                    <a:pt x="1153" y="745"/>
                  </a:lnTo>
                  <a:lnTo>
                    <a:pt x="1153" y="745"/>
                  </a:lnTo>
                  <a:lnTo>
                    <a:pt x="1150" y="747"/>
                  </a:lnTo>
                  <a:lnTo>
                    <a:pt x="1150" y="750"/>
                  </a:lnTo>
                  <a:lnTo>
                    <a:pt x="1155" y="750"/>
                  </a:lnTo>
                  <a:lnTo>
                    <a:pt x="1155" y="747"/>
                  </a:lnTo>
                  <a:lnTo>
                    <a:pt x="1157" y="747"/>
                  </a:lnTo>
                  <a:lnTo>
                    <a:pt x="1157" y="747"/>
                  </a:lnTo>
                  <a:lnTo>
                    <a:pt x="1157" y="747"/>
                  </a:lnTo>
                  <a:lnTo>
                    <a:pt x="1160" y="745"/>
                  </a:lnTo>
                  <a:lnTo>
                    <a:pt x="1160" y="747"/>
                  </a:lnTo>
                  <a:lnTo>
                    <a:pt x="1155" y="747"/>
                  </a:lnTo>
                  <a:lnTo>
                    <a:pt x="1155" y="750"/>
                  </a:lnTo>
                  <a:lnTo>
                    <a:pt x="1153" y="750"/>
                  </a:lnTo>
                  <a:lnTo>
                    <a:pt x="1153" y="750"/>
                  </a:lnTo>
                  <a:lnTo>
                    <a:pt x="1153" y="752"/>
                  </a:lnTo>
                  <a:lnTo>
                    <a:pt x="1153" y="752"/>
                  </a:lnTo>
                  <a:lnTo>
                    <a:pt x="1150" y="750"/>
                  </a:lnTo>
                  <a:lnTo>
                    <a:pt x="1150" y="750"/>
                  </a:lnTo>
                  <a:lnTo>
                    <a:pt x="1148" y="750"/>
                  </a:lnTo>
                  <a:lnTo>
                    <a:pt x="1150" y="747"/>
                  </a:lnTo>
                  <a:lnTo>
                    <a:pt x="1150" y="747"/>
                  </a:lnTo>
                  <a:lnTo>
                    <a:pt x="1150" y="747"/>
                  </a:lnTo>
                  <a:lnTo>
                    <a:pt x="1150" y="747"/>
                  </a:lnTo>
                  <a:lnTo>
                    <a:pt x="1150" y="747"/>
                  </a:lnTo>
                  <a:lnTo>
                    <a:pt x="1150" y="745"/>
                  </a:lnTo>
                  <a:lnTo>
                    <a:pt x="1150" y="745"/>
                  </a:lnTo>
                  <a:lnTo>
                    <a:pt x="1150" y="745"/>
                  </a:lnTo>
                  <a:lnTo>
                    <a:pt x="1148" y="745"/>
                  </a:lnTo>
                  <a:lnTo>
                    <a:pt x="1148" y="745"/>
                  </a:lnTo>
                  <a:lnTo>
                    <a:pt x="1145" y="742"/>
                  </a:lnTo>
                  <a:lnTo>
                    <a:pt x="1145" y="742"/>
                  </a:lnTo>
                  <a:lnTo>
                    <a:pt x="1143" y="740"/>
                  </a:lnTo>
                  <a:lnTo>
                    <a:pt x="1143" y="740"/>
                  </a:lnTo>
                  <a:lnTo>
                    <a:pt x="1143" y="740"/>
                  </a:lnTo>
                  <a:lnTo>
                    <a:pt x="1143" y="738"/>
                  </a:lnTo>
                  <a:lnTo>
                    <a:pt x="1143" y="738"/>
                  </a:lnTo>
                  <a:lnTo>
                    <a:pt x="1143" y="738"/>
                  </a:lnTo>
                  <a:lnTo>
                    <a:pt x="1134" y="740"/>
                  </a:lnTo>
                  <a:lnTo>
                    <a:pt x="1134" y="740"/>
                  </a:lnTo>
                  <a:lnTo>
                    <a:pt x="1131" y="742"/>
                  </a:lnTo>
                  <a:lnTo>
                    <a:pt x="1131" y="742"/>
                  </a:lnTo>
                  <a:lnTo>
                    <a:pt x="1131" y="742"/>
                  </a:lnTo>
                  <a:lnTo>
                    <a:pt x="1131" y="745"/>
                  </a:lnTo>
                  <a:lnTo>
                    <a:pt x="1131" y="745"/>
                  </a:lnTo>
                  <a:lnTo>
                    <a:pt x="1131" y="747"/>
                  </a:lnTo>
                  <a:lnTo>
                    <a:pt x="1131" y="747"/>
                  </a:lnTo>
                  <a:lnTo>
                    <a:pt x="1131" y="747"/>
                  </a:lnTo>
                  <a:lnTo>
                    <a:pt x="1136" y="747"/>
                  </a:lnTo>
                  <a:lnTo>
                    <a:pt x="1136" y="747"/>
                  </a:lnTo>
                  <a:lnTo>
                    <a:pt x="1134" y="750"/>
                  </a:lnTo>
                  <a:lnTo>
                    <a:pt x="1134" y="752"/>
                  </a:lnTo>
                  <a:lnTo>
                    <a:pt x="1134" y="752"/>
                  </a:lnTo>
                  <a:lnTo>
                    <a:pt x="1136" y="752"/>
                  </a:lnTo>
                  <a:lnTo>
                    <a:pt x="1136" y="752"/>
                  </a:lnTo>
                  <a:lnTo>
                    <a:pt x="1136" y="754"/>
                  </a:lnTo>
                  <a:lnTo>
                    <a:pt x="1136" y="754"/>
                  </a:lnTo>
                  <a:lnTo>
                    <a:pt x="1136" y="754"/>
                  </a:lnTo>
                  <a:lnTo>
                    <a:pt x="1136" y="754"/>
                  </a:lnTo>
                  <a:lnTo>
                    <a:pt x="1138" y="754"/>
                  </a:lnTo>
                  <a:lnTo>
                    <a:pt x="1138" y="754"/>
                  </a:lnTo>
                  <a:lnTo>
                    <a:pt x="1138" y="754"/>
                  </a:lnTo>
                  <a:lnTo>
                    <a:pt x="1136" y="754"/>
                  </a:lnTo>
                  <a:lnTo>
                    <a:pt x="1136" y="754"/>
                  </a:lnTo>
                  <a:lnTo>
                    <a:pt x="1134" y="752"/>
                  </a:lnTo>
                  <a:lnTo>
                    <a:pt x="1129" y="752"/>
                  </a:lnTo>
                  <a:lnTo>
                    <a:pt x="1127" y="752"/>
                  </a:lnTo>
                  <a:lnTo>
                    <a:pt x="1127" y="754"/>
                  </a:lnTo>
                  <a:lnTo>
                    <a:pt x="1127" y="754"/>
                  </a:lnTo>
                  <a:lnTo>
                    <a:pt x="1127" y="754"/>
                  </a:lnTo>
                  <a:lnTo>
                    <a:pt x="1127" y="754"/>
                  </a:lnTo>
                  <a:lnTo>
                    <a:pt x="1129" y="754"/>
                  </a:lnTo>
                  <a:lnTo>
                    <a:pt x="1127" y="754"/>
                  </a:lnTo>
                  <a:lnTo>
                    <a:pt x="1127" y="754"/>
                  </a:lnTo>
                  <a:lnTo>
                    <a:pt x="1127" y="754"/>
                  </a:lnTo>
                  <a:lnTo>
                    <a:pt x="1127" y="754"/>
                  </a:lnTo>
                  <a:lnTo>
                    <a:pt x="1124" y="757"/>
                  </a:lnTo>
                  <a:lnTo>
                    <a:pt x="1124" y="757"/>
                  </a:lnTo>
                  <a:lnTo>
                    <a:pt x="1124" y="759"/>
                  </a:lnTo>
                  <a:lnTo>
                    <a:pt x="1124" y="759"/>
                  </a:lnTo>
                  <a:lnTo>
                    <a:pt x="1124" y="759"/>
                  </a:lnTo>
                  <a:lnTo>
                    <a:pt x="1124" y="759"/>
                  </a:lnTo>
                  <a:lnTo>
                    <a:pt x="1124" y="759"/>
                  </a:lnTo>
                  <a:lnTo>
                    <a:pt x="1124" y="759"/>
                  </a:lnTo>
                  <a:lnTo>
                    <a:pt x="1127" y="761"/>
                  </a:lnTo>
                  <a:lnTo>
                    <a:pt x="1127" y="761"/>
                  </a:lnTo>
                  <a:lnTo>
                    <a:pt x="1124" y="761"/>
                  </a:lnTo>
                  <a:lnTo>
                    <a:pt x="1122" y="761"/>
                  </a:lnTo>
                  <a:lnTo>
                    <a:pt x="1122" y="759"/>
                  </a:lnTo>
                  <a:lnTo>
                    <a:pt x="1122" y="759"/>
                  </a:lnTo>
                  <a:lnTo>
                    <a:pt x="1122" y="759"/>
                  </a:lnTo>
                  <a:lnTo>
                    <a:pt x="1122" y="761"/>
                  </a:lnTo>
                  <a:lnTo>
                    <a:pt x="1119" y="761"/>
                  </a:lnTo>
                  <a:lnTo>
                    <a:pt x="1122" y="761"/>
                  </a:lnTo>
                  <a:lnTo>
                    <a:pt x="1122" y="761"/>
                  </a:lnTo>
                  <a:lnTo>
                    <a:pt x="1124" y="764"/>
                  </a:lnTo>
                  <a:lnTo>
                    <a:pt x="1124" y="764"/>
                  </a:lnTo>
                  <a:lnTo>
                    <a:pt x="1122" y="766"/>
                  </a:lnTo>
                  <a:lnTo>
                    <a:pt x="1122" y="766"/>
                  </a:lnTo>
                  <a:lnTo>
                    <a:pt x="1122" y="766"/>
                  </a:lnTo>
                  <a:lnTo>
                    <a:pt x="1124" y="766"/>
                  </a:lnTo>
                  <a:lnTo>
                    <a:pt x="1124" y="768"/>
                  </a:lnTo>
                  <a:lnTo>
                    <a:pt x="1124" y="768"/>
                  </a:lnTo>
                  <a:lnTo>
                    <a:pt x="1124" y="771"/>
                  </a:lnTo>
                  <a:lnTo>
                    <a:pt x="1124" y="771"/>
                  </a:lnTo>
                  <a:lnTo>
                    <a:pt x="1131" y="768"/>
                  </a:lnTo>
                  <a:lnTo>
                    <a:pt x="1134" y="766"/>
                  </a:lnTo>
                  <a:lnTo>
                    <a:pt x="1136" y="766"/>
                  </a:lnTo>
                  <a:lnTo>
                    <a:pt x="1143" y="764"/>
                  </a:lnTo>
                  <a:lnTo>
                    <a:pt x="1150" y="761"/>
                  </a:lnTo>
                  <a:lnTo>
                    <a:pt x="1150" y="761"/>
                  </a:lnTo>
                  <a:lnTo>
                    <a:pt x="1150" y="764"/>
                  </a:lnTo>
                  <a:lnTo>
                    <a:pt x="1150" y="764"/>
                  </a:lnTo>
                  <a:lnTo>
                    <a:pt x="1150" y="764"/>
                  </a:lnTo>
                  <a:lnTo>
                    <a:pt x="1153" y="764"/>
                  </a:lnTo>
                  <a:lnTo>
                    <a:pt x="1153" y="764"/>
                  </a:lnTo>
                  <a:lnTo>
                    <a:pt x="1155" y="764"/>
                  </a:lnTo>
                  <a:lnTo>
                    <a:pt x="1155" y="764"/>
                  </a:lnTo>
                  <a:lnTo>
                    <a:pt x="1157" y="764"/>
                  </a:lnTo>
                  <a:lnTo>
                    <a:pt x="1157" y="761"/>
                  </a:lnTo>
                  <a:lnTo>
                    <a:pt x="1162" y="761"/>
                  </a:lnTo>
                  <a:lnTo>
                    <a:pt x="1167" y="759"/>
                  </a:lnTo>
                  <a:lnTo>
                    <a:pt x="1169" y="759"/>
                  </a:lnTo>
                  <a:lnTo>
                    <a:pt x="1171" y="759"/>
                  </a:lnTo>
                  <a:lnTo>
                    <a:pt x="1171" y="759"/>
                  </a:lnTo>
                  <a:lnTo>
                    <a:pt x="1174" y="759"/>
                  </a:lnTo>
                  <a:lnTo>
                    <a:pt x="1174" y="757"/>
                  </a:lnTo>
                  <a:lnTo>
                    <a:pt x="1181" y="757"/>
                  </a:lnTo>
                  <a:lnTo>
                    <a:pt x="1188" y="754"/>
                  </a:lnTo>
                  <a:lnTo>
                    <a:pt x="1186" y="757"/>
                  </a:lnTo>
                  <a:lnTo>
                    <a:pt x="1186" y="757"/>
                  </a:lnTo>
                  <a:lnTo>
                    <a:pt x="1193" y="754"/>
                  </a:lnTo>
                  <a:lnTo>
                    <a:pt x="1200" y="754"/>
                  </a:lnTo>
                  <a:lnTo>
                    <a:pt x="1200" y="754"/>
                  </a:lnTo>
                  <a:lnTo>
                    <a:pt x="1200" y="754"/>
                  </a:lnTo>
                  <a:lnTo>
                    <a:pt x="1200" y="757"/>
                  </a:lnTo>
                  <a:lnTo>
                    <a:pt x="1200" y="757"/>
                  </a:lnTo>
                  <a:lnTo>
                    <a:pt x="1190" y="757"/>
                  </a:lnTo>
                  <a:lnTo>
                    <a:pt x="1181" y="759"/>
                  </a:lnTo>
                  <a:lnTo>
                    <a:pt x="1181" y="759"/>
                  </a:lnTo>
                  <a:lnTo>
                    <a:pt x="1181" y="759"/>
                  </a:lnTo>
                  <a:lnTo>
                    <a:pt x="1181" y="761"/>
                  </a:lnTo>
                  <a:lnTo>
                    <a:pt x="1181" y="761"/>
                  </a:lnTo>
                  <a:lnTo>
                    <a:pt x="1181" y="761"/>
                  </a:lnTo>
                  <a:lnTo>
                    <a:pt x="1186" y="761"/>
                  </a:lnTo>
                  <a:lnTo>
                    <a:pt x="1183" y="764"/>
                  </a:lnTo>
                  <a:lnTo>
                    <a:pt x="1183" y="764"/>
                  </a:lnTo>
                  <a:lnTo>
                    <a:pt x="1183" y="764"/>
                  </a:lnTo>
                  <a:lnTo>
                    <a:pt x="1179" y="766"/>
                  </a:lnTo>
                  <a:lnTo>
                    <a:pt x="1176" y="766"/>
                  </a:lnTo>
                  <a:lnTo>
                    <a:pt x="1176" y="766"/>
                  </a:lnTo>
                  <a:lnTo>
                    <a:pt x="1179" y="766"/>
                  </a:lnTo>
                  <a:lnTo>
                    <a:pt x="1179" y="766"/>
                  </a:lnTo>
                  <a:lnTo>
                    <a:pt x="1181" y="766"/>
                  </a:lnTo>
                  <a:lnTo>
                    <a:pt x="1181" y="766"/>
                  </a:lnTo>
                  <a:lnTo>
                    <a:pt x="1171" y="768"/>
                  </a:lnTo>
                  <a:lnTo>
                    <a:pt x="1171" y="768"/>
                  </a:lnTo>
                  <a:lnTo>
                    <a:pt x="1179" y="771"/>
                  </a:lnTo>
                  <a:lnTo>
                    <a:pt x="1179" y="773"/>
                  </a:lnTo>
                  <a:lnTo>
                    <a:pt x="1174" y="771"/>
                  </a:lnTo>
                  <a:lnTo>
                    <a:pt x="1171" y="773"/>
                  </a:lnTo>
                  <a:lnTo>
                    <a:pt x="1179" y="773"/>
                  </a:lnTo>
                  <a:lnTo>
                    <a:pt x="1179" y="776"/>
                  </a:lnTo>
                  <a:lnTo>
                    <a:pt x="1171" y="776"/>
                  </a:lnTo>
                  <a:lnTo>
                    <a:pt x="1164" y="776"/>
                  </a:lnTo>
                  <a:lnTo>
                    <a:pt x="1164" y="776"/>
                  </a:lnTo>
                  <a:lnTo>
                    <a:pt x="1167" y="776"/>
                  </a:lnTo>
                  <a:lnTo>
                    <a:pt x="1167" y="778"/>
                  </a:lnTo>
                  <a:lnTo>
                    <a:pt x="1167" y="778"/>
                  </a:lnTo>
                  <a:lnTo>
                    <a:pt x="1167" y="778"/>
                  </a:lnTo>
                  <a:lnTo>
                    <a:pt x="1167" y="780"/>
                  </a:lnTo>
                  <a:lnTo>
                    <a:pt x="1169" y="780"/>
                  </a:lnTo>
                  <a:lnTo>
                    <a:pt x="1169" y="780"/>
                  </a:lnTo>
                  <a:lnTo>
                    <a:pt x="1169" y="780"/>
                  </a:lnTo>
                  <a:lnTo>
                    <a:pt x="1169" y="783"/>
                  </a:lnTo>
                  <a:lnTo>
                    <a:pt x="1167" y="783"/>
                  </a:lnTo>
                  <a:lnTo>
                    <a:pt x="1167" y="783"/>
                  </a:lnTo>
                  <a:lnTo>
                    <a:pt x="1167" y="783"/>
                  </a:lnTo>
                  <a:lnTo>
                    <a:pt x="1164" y="783"/>
                  </a:lnTo>
                  <a:lnTo>
                    <a:pt x="1164" y="783"/>
                  </a:lnTo>
                  <a:lnTo>
                    <a:pt x="1164" y="783"/>
                  </a:lnTo>
                  <a:lnTo>
                    <a:pt x="1167" y="780"/>
                  </a:lnTo>
                  <a:lnTo>
                    <a:pt x="1167" y="780"/>
                  </a:lnTo>
                  <a:lnTo>
                    <a:pt x="1167" y="780"/>
                  </a:lnTo>
                  <a:lnTo>
                    <a:pt x="1164" y="780"/>
                  </a:lnTo>
                  <a:lnTo>
                    <a:pt x="1162" y="783"/>
                  </a:lnTo>
                  <a:lnTo>
                    <a:pt x="1162" y="783"/>
                  </a:lnTo>
                  <a:lnTo>
                    <a:pt x="1162" y="783"/>
                  </a:lnTo>
                  <a:lnTo>
                    <a:pt x="1164" y="785"/>
                  </a:lnTo>
                  <a:lnTo>
                    <a:pt x="1167" y="787"/>
                  </a:lnTo>
                  <a:lnTo>
                    <a:pt x="1169" y="787"/>
                  </a:lnTo>
                  <a:lnTo>
                    <a:pt x="1174" y="785"/>
                  </a:lnTo>
                  <a:lnTo>
                    <a:pt x="1171" y="787"/>
                  </a:lnTo>
                  <a:lnTo>
                    <a:pt x="1171" y="790"/>
                  </a:lnTo>
                  <a:lnTo>
                    <a:pt x="1171" y="790"/>
                  </a:lnTo>
                  <a:lnTo>
                    <a:pt x="1169" y="790"/>
                  </a:lnTo>
                  <a:lnTo>
                    <a:pt x="1171" y="790"/>
                  </a:lnTo>
                  <a:lnTo>
                    <a:pt x="1174" y="790"/>
                  </a:lnTo>
                  <a:lnTo>
                    <a:pt x="1174" y="790"/>
                  </a:lnTo>
                  <a:lnTo>
                    <a:pt x="1176" y="790"/>
                  </a:lnTo>
                  <a:lnTo>
                    <a:pt x="1176" y="792"/>
                  </a:lnTo>
                  <a:lnTo>
                    <a:pt x="1179" y="792"/>
                  </a:lnTo>
                  <a:lnTo>
                    <a:pt x="1179" y="792"/>
                  </a:lnTo>
                  <a:lnTo>
                    <a:pt x="1179" y="792"/>
                  </a:lnTo>
                  <a:lnTo>
                    <a:pt x="1169" y="792"/>
                  </a:lnTo>
                  <a:lnTo>
                    <a:pt x="1169" y="792"/>
                  </a:lnTo>
                  <a:lnTo>
                    <a:pt x="1167" y="794"/>
                  </a:lnTo>
                  <a:lnTo>
                    <a:pt x="1167" y="794"/>
                  </a:lnTo>
                  <a:lnTo>
                    <a:pt x="1167" y="797"/>
                  </a:lnTo>
                  <a:lnTo>
                    <a:pt x="1169" y="797"/>
                  </a:lnTo>
                  <a:lnTo>
                    <a:pt x="1169" y="797"/>
                  </a:lnTo>
                  <a:lnTo>
                    <a:pt x="1169" y="799"/>
                  </a:lnTo>
                  <a:lnTo>
                    <a:pt x="1169" y="799"/>
                  </a:lnTo>
                  <a:lnTo>
                    <a:pt x="1169" y="799"/>
                  </a:lnTo>
                  <a:lnTo>
                    <a:pt x="1169" y="799"/>
                  </a:lnTo>
                  <a:lnTo>
                    <a:pt x="1169" y="802"/>
                  </a:lnTo>
                  <a:lnTo>
                    <a:pt x="1171" y="802"/>
                  </a:lnTo>
                  <a:lnTo>
                    <a:pt x="1171" y="802"/>
                  </a:lnTo>
                  <a:lnTo>
                    <a:pt x="1171" y="804"/>
                  </a:lnTo>
                  <a:lnTo>
                    <a:pt x="1169" y="804"/>
                  </a:lnTo>
                  <a:lnTo>
                    <a:pt x="1169" y="806"/>
                  </a:lnTo>
                  <a:lnTo>
                    <a:pt x="1169" y="809"/>
                  </a:lnTo>
                  <a:lnTo>
                    <a:pt x="1171" y="809"/>
                  </a:lnTo>
                  <a:lnTo>
                    <a:pt x="1171" y="809"/>
                  </a:lnTo>
                  <a:lnTo>
                    <a:pt x="1179" y="811"/>
                  </a:lnTo>
                  <a:lnTo>
                    <a:pt x="1186" y="813"/>
                  </a:lnTo>
                  <a:lnTo>
                    <a:pt x="1188" y="811"/>
                  </a:lnTo>
                  <a:lnTo>
                    <a:pt x="1188" y="811"/>
                  </a:lnTo>
                  <a:lnTo>
                    <a:pt x="1188" y="811"/>
                  </a:lnTo>
                  <a:lnTo>
                    <a:pt x="1190" y="811"/>
                  </a:lnTo>
                  <a:lnTo>
                    <a:pt x="1190" y="811"/>
                  </a:lnTo>
                  <a:lnTo>
                    <a:pt x="1188" y="809"/>
                  </a:lnTo>
                  <a:lnTo>
                    <a:pt x="1188" y="809"/>
                  </a:lnTo>
                  <a:lnTo>
                    <a:pt x="1188" y="809"/>
                  </a:lnTo>
                  <a:lnTo>
                    <a:pt x="1190" y="806"/>
                  </a:lnTo>
                  <a:lnTo>
                    <a:pt x="1190" y="804"/>
                  </a:lnTo>
                  <a:lnTo>
                    <a:pt x="1190" y="804"/>
                  </a:lnTo>
                  <a:lnTo>
                    <a:pt x="1193" y="802"/>
                  </a:lnTo>
                  <a:lnTo>
                    <a:pt x="1193" y="802"/>
                  </a:lnTo>
                  <a:lnTo>
                    <a:pt x="1193" y="802"/>
                  </a:lnTo>
                  <a:lnTo>
                    <a:pt x="1193" y="802"/>
                  </a:lnTo>
                  <a:lnTo>
                    <a:pt x="1193" y="804"/>
                  </a:lnTo>
                  <a:lnTo>
                    <a:pt x="1190" y="806"/>
                  </a:lnTo>
                  <a:lnTo>
                    <a:pt x="1190" y="809"/>
                  </a:lnTo>
                  <a:lnTo>
                    <a:pt x="1190" y="809"/>
                  </a:lnTo>
                  <a:lnTo>
                    <a:pt x="1190" y="811"/>
                  </a:lnTo>
                  <a:lnTo>
                    <a:pt x="1190" y="811"/>
                  </a:lnTo>
                  <a:lnTo>
                    <a:pt x="1190" y="811"/>
                  </a:lnTo>
                  <a:lnTo>
                    <a:pt x="1200" y="811"/>
                  </a:lnTo>
                  <a:lnTo>
                    <a:pt x="1200" y="809"/>
                  </a:lnTo>
                  <a:lnTo>
                    <a:pt x="1200" y="809"/>
                  </a:lnTo>
                  <a:lnTo>
                    <a:pt x="1200" y="806"/>
                  </a:lnTo>
                  <a:lnTo>
                    <a:pt x="1200" y="806"/>
                  </a:lnTo>
                  <a:lnTo>
                    <a:pt x="1200" y="806"/>
                  </a:lnTo>
                  <a:lnTo>
                    <a:pt x="1202" y="806"/>
                  </a:lnTo>
                  <a:lnTo>
                    <a:pt x="1202" y="806"/>
                  </a:lnTo>
                  <a:lnTo>
                    <a:pt x="1202" y="806"/>
                  </a:lnTo>
                  <a:lnTo>
                    <a:pt x="1202" y="806"/>
                  </a:lnTo>
                  <a:lnTo>
                    <a:pt x="1202" y="809"/>
                  </a:lnTo>
                  <a:lnTo>
                    <a:pt x="1202" y="809"/>
                  </a:lnTo>
                  <a:lnTo>
                    <a:pt x="1202" y="809"/>
                  </a:lnTo>
                  <a:lnTo>
                    <a:pt x="1202" y="809"/>
                  </a:lnTo>
                  <a:lnTo>
                    <a:pt x="1202" y="809"/>
                  </a:lnTo>
                  <a:lnTo>
                    <a:pt x="1202" y="811"/>
                  </a:lnTo>
                  <a:lnTo>
                    <a:pt x="1202" y="809"/>
                  </a:lnTo>
                  <a:lnTo>
                    <a:pt x="1205" y="809"/>
                  </a:lnTo>
                  <a:lnTo>
                    <a:pt x="1202" y="811"/>
                  </a:lnTo>
                  <a:lnTo>
                    <a:pt x="1205" y="811"/>
                  </a:lnTo>
                  <a:lnTo>
                    <a:pt x="1212" y="811"/>
                  </a:lnTo>
                  <a:lnTo>
                    <a:pt x="1219" y="809"/>
                  </a:lnTo>
                  <a:lnTo>
                    <a:pt x="1219" y="809"/>
                  </a:lnTo>
                  <a:lnTo>
                    <a:pt x="1219" y="809"/>
                  </a:lnTo>
                  <a:lnTo>
                    <a:pt x="1221" y="809"/>
                  </a:lnTo>
                  <a:lnTo>
                    <a:pt x="1221" y="806"/>
                  </a:lnTo>
                  <a:lnTo>
                    <a:pt x="1221" y="804"/>
                  </a:lnTo>
                  <a:lnTo>
                    <a:pt x="1219" y="804"/>
                  </a:lnTo>
                  <a:lnTo>
                    <a:pt x="1219" y="804"/>
                  </a:lnTo>
                  <a:lnTo>
                    <a:pt x="1219" y="802"/>
                  </a:lnTo>
                  <a:lnTo>
                    <a:pt x="1219" y="802"/>
                  </a:lnTo>
                  <a:lnTo>
                    <a:pt x="1219" y="802"/>
                  </a:lnTo>
                  <a:lnTo>
                    <a:pt x="1219" y="802"/>
                  </a:lnTo>
                  <a:lnTo>
                    <a:pt x="1216" y="799"/>
                  </a:lnTo>
                  <a:lnTo>
                    <a:pt x="1216" y="799"/>
                  </a:lnTo>
                  <a:lnTo>
                    <a:pt x="1216" y="797"/>
                  </a:lnTo>
                  <a:lnTo>
                    <a:pt x="1216" y="797"/>
                  </a:lnTo>
                  <a:lnTo>
                    <a:pt x="1216" y="797"/>
                  </a:lnTo>
                  <a:lnTo>
                    <a:pt x="1216" y="797"/>
                  </a:lnTo>
                  <a:lnTo>
                    <a:pt x="1216" y="797"/>
                  </a:lnTo>
                  <a:lnTo>
                    <a:pt x="1216" y="794"/>
                  </a:lnTo>
                  <a:lnTo>
                    <a:pt x="1216" y="794"/>
                  </a:lnTo>
                  <a:lnTo>
                    <a:pt x="1216" y="792"/>
                  </a:lnTo>
                  <a:lnTo>
                    <a:pt x="1216" y="792"/>
                  </a:lnTo>
                  <a:lnTo>
                    <a:pt x="1219" y="792"/>
                  </a:lnTo>
                  <a:lnTo>
                    <a:pt x="1219" y="794"/>
                  </a:lnTo>
                  <a:lnTo>
                    <a:pt x="1219" y="794"/>
                  </a:lnTo>
                  <a:lnTo>
                    <a:pt x="1219" y="797"/>
                  </a:lnTo>
                  <a:lnTo>
                    <a:pt x="1219" y="797"/>
                  </a:lnTo>
                  <a:lnTo>
                    <a:pt x="1219" y="797"/>
                  </a:lnTo>
                  <a:lnTo>
                    <a:pt x="1224" y="802"/>
                  </a:lnTo>
                  <a:lnTo>
                    <a:pt x="1224" y="802"/>
                  </a:lnTo>
                  <a:lnTo>
                    <a:pt x="1226" y="799"/>
                  </a:lnTo>
                  <a:lnTo>
                    <a:pt x="1228" y="799"/>
                  </a:lnTo>
                  <a:lnTo>
                    <a:pt x="1228" y="797"/>
                  </a:lnTo>
                  <a:lnTo>
                    <a:pt x="1228" y="797"/>
                  </a:lnTo>
                  <a:lnTo>
                    <a:pt x="1226" y="797"/>
                  </a:lnTo>
                  <a:lnTo>
                    <a:pt x="1226" y="797"/>
                  </a:lnTo>
                  <a:lnTo>
                    <a:pt x="1226" y="797"/>
                  </a:lnTo>
                  <a:lnTo>
                    <a:pt x="1228" y="797"/>
                  </a:lnTo>
                  <a:lnTo>
                    <a:pt x="1226" y="799"/>
                  </a:lnTo>
                  <a:lnTo>
                    <a:pt x="1226" y="797"/>
                  </a:lnTo>
                  <a:lnTo>
                    <a:pt x="1226" y="797"/>
                  </a:lnTo>
                  <a:lnTo>
                    <a:pt x="1226" y="797"/>
                  </a:lnTo>
                  <a:lnTo>
                    <a:pt x="1226" y="797"/>
                  </a:lnTo>
                  <a:lnTo>
                    <a:pt x="1226" y="794"/>
                  </a:lnTo>
                  <a:lnTo>
                    <a:pt x="1224" y="794"/>
                  </a:lnTo>
                  <a:lnTo>
                    <a:pt x="1224" y="794"/>
                  </a:lnTo>
                  <a:lnTo>
                    <a:pt x="1224" y="794"/>
                  </a:lnTo>
                  <a:lnTo>
                    <a:pt x="1224" y="794"/>
                  </a:lnTo>
                  <a:lnTo>
                    <a:pt x="1224" y="794"/>
                  </a:lnTo>
                  <a:lnTo>
                    <a:pt x="1224" y="792"/>
                  </a:lnTo>
                  <a:lnTo>
                    <a:pt x="1221" y="790"/>
                  </a:lnTo>
                  <a:lnTo>
                    <a:pt x="1221" y="787"/>
                  </a:lnTo>
                  <a:lnTo>
                    <a:pt x="1221" y="787"/>
                  </a:lnTo>
                  <a:lnTo>
                    <a:pt x="1221" y="787"/>
                  </a:lnTo>
                  <a:lnTo>
                    <a:pt x="1221" y="787"/>
                  </a:lnTo>
                  <a:lnTo>
                    <a:pt x="1221" y="787"/>
                  </a:lnTo>
                  <a:lnTo>
                    <a:pt x="1221" y="790"/>
                  </a:lnTo>
                  <a:lnTo>
                    <a:pt x="1221" y="790"/>
                  </a:lnTo>
                  <a:lnTo>
                    <a:pt x="1221" y="790"/>
                  </a:lnTo>
                  <a:lnTo>
                    <a:pt x="1219" y="787"/>
                  </a:lnTo>
                  <a:lnTo>
                    <a:pt x="1219" y="787"/>
                  </a:lnTo>
                  <a:lnTo>
                    <a:pt x="1219" y="785"/>
                  </a:lnTo>
                  <a:lnTo>
                    <a:pt x="1219" y="785"/>
                  </a:lnTo>
                  <a:lnTo>
                    <a:pt x="1221" y="785"/>
                  </a:lnTo>
                  <a:lnTo>
                    <a:pt x="1221" y="783"/>
                  </a:lnTo>
                  <a:lnTo>
                    <a:pt x="1219" y="785"/>
                  </a:lnTo>
                  <a:lnTo>
                    <a:pt x="1219" y="785"/>
                  </a:lnTo>
                  <a:lnTo>
                    <a:pt x="1219" y="787"/>
                  </a:lnTo>
                  <a:lnTo>
                    <a:pt x="1219" y="787"/>
                  </a:lnTo>
                  <a:lnTo>
                    <a:pt x="1216" y="787"/>
                  </a:lnTo>
                  <a:lnTo>
                    <a:pt x="1216" y="787"/>
                  </a:lnTo>
                  <a:lnTo>
                    <a:pt x="1216" y="787"/>
                  </a:lnTo>
                  <a:lnTo>
                    <a:pt x="1216" y="785"/>
                  </a:lnTo>
                  <a:lnTo>
                    <a:pt x="1216" y="785"/>
                  </a:lnTo>
                  <a:lnTo>
                    <a:pt x="1216" y="785"/>
                  </a:lnTo>
                  <a:lnTo>
                    <a:pt x="1216" y="785"/>
                  </a:lnTo>
                  <a:lnTo>
                    <a:pt x="1216" y="785"/>
                  </a:lnTo>
                  <a:lnTo>
                    <a:pt x="1216" y="783"/>
                  </a:lnTo>
                  <a:lnTo>
                    <a:pt x="1216" y="783"/>
                  </a:lnTo>
                  <a:lnTo>
                    <a:pt x="1216" y="783"/>
                  </a:lnTo>
                  <a:lnTo>
                    <a:pt x="1216" y="785"/>
                  </a:lnTo>
                  <a:lnTo>
                    <a:pt x="1216" y="785"/>
                  </a:lnTo>
                  <a:lnTo>
                    <a:pt x="1216" y="785"/>
                  </a:lnTo>
                  <a:lnTo>
                    <a:pt x="1216" y="785"/>
                  </a:lnTo>
                  <a:lnTo>
                    <a:pt x="1216" y="785"/>
                  </a:lnTo>
                  <a:lnTo>
                    <a:pt x="1216" y="783"/>
                  </a:lnTo>
                  <a:lnTo>
                    <a:pt x="1216" y="780"/>
                  </a:lnTo>
                  <a:lnTo>
                    <a:pt x="1216" y="780"/>
                  </a:lnTo>
                  <a:lnTo>
                    <a:pt x="1216" y="780"/>
                  </a:lnTo>
                  <a:lnTo>
                    <a:pt x="1216" y="783"/>
                  </a:lnTo>
                  <a:lnTo>
                    <a:pt x="1216" y="783"/>
                  </a:lnTo>
                  <a:lnTo>
                    <a:pt x="1219" y="780"/>
                  </a:lnTo>
                  <a:lnTo>
                    <a:pt x="1219" y="780"/>
                  </a:lnTo>
                  <a:lnTo>
                    <a:pt x="1219" y="783"/>
                  </a:lnTo>
                  <a:lnTo>
                    <a:pt x="1219" y="783"/>
                  </a:lnTo>
                  <a:lnTo>
                    <a:pt x="1219" y="783"/>
                  </a:lnTo>
                  <a:lnTo>
                    <a:pt x="1219" y="783"/>
                  </a:lnTo>
                  <a:lnTo>
                    <a:pt x="1219" y="783"/>
                  </a:lnTo>
                  <a:lnTo>
                    <a:pt x="1221" y="783"/>
                  </a:lnTo>
                  <a:lnTo>
                    <a:pt x="1221" y="780"/>
                  </a:lnTo>
                  <a:lnTo>
                    <a:pt x="1221" y="780"/>
                  </a:lnTo>
                  <a:lnTo>
                    <a:pt x="1221" y="780"/>
                  </a:lnTo>
                  <a:lnTo>
                    <a:pt x="1219" y="780"/>
                  </a:lnTo>
                  <a:lnTo>
                    <a:pt x="1216" y="778"/>
                  </a:lnTo>
                  <a:lnTo>
                    <a:pt x="1219" y="778"/>
                  </a:lnTo>
                  <a:lnTo>
                    <a:pt x="1221" y="778"/>
                  </a:lnTo>
                  <a:lnTo>
                    <a:pt x="1221" y="778"/>
                  </a:lnTo>
                  <a:lnTo>
                    <a:pt x="1224" y="778"/>
                  </a:lnTo>
                  <a:lnTo>
                    <a:pt x="1224" y="778"/>
                  </a:lnTo>
                  <a:lnTo>
                    <a:pt x="1224" y="778"/>
                  </a:lnTo>
                  <a:lnTo>
                    <a:pt x="1224" y="778"/>
                  </a:lnTo>
                  <a:lnTo>
                    <a:pt x="1224" y="778"/>
                  </a:lnTo>
                  <a:lnTo>
                    <a:pt x="1224" y="776"/>
                  </a:lnTo>
                  <a:lnTo>
                    <a:pt x="1224" y="776"/>
                  </a:lnTo>
                  <a:lnTo>
                    <a:pt x="1219" y="773"/>
                  </a:lnTo>
                  <a:lnTo>
                    <a:pt x="1219" y="776"/>
                  </a:lnTo>
                  <a:lnTo>
                    <a:pt x="1216" y="773"/>
                  </a:lnTo>
                  <a:lnTo>
                    <a:pt x="1219" y="773"/>
                  </a:lnTo>
                  <a:lnTo>
                    <a:pt x="1219" y="773"/>
                  </a:lnTo>
                  <a:lnTo>
                    <a:pt x="1219" y="773"/>
                  </a:lnTo>
                  <a:lnTo>
                    <a:pt x="1219" y="773"/>
                  </a:lnTo>
                  <a:lnTo>
                    <a:pt x="1219" y="773"/>
                  </a:lnTo>
                  <a:lnTo>
                    <a:pt x="1216" y="771"/>
                  </a:lnTo>
                  <a:lnTo>
                    <a:pt x="1219" y="771"/>
                  </a:lnTo>
                  <a:lnTo>
                    <a:pt x="1219" y="771"/>
                  </a:lnTo>
                  <a:lnTo>
                    <a:pt x="1219" y="771"/>
                  </a:lnTo>
                  <a:lnTo>
                    <a:pt x="1219" y="768"/>
                  </a:lnTo>
                  <a:lnTo>
                    <a:pt x="1219" y="768"/>
                  </a:lnTo>
                  <a:lnTo>
                    <a:pt x="1221" y="771"/>
                  </a:lnTo>
                  <a:lnTo>
                    <a:pt x="1221" y="771"/>
                  </a:lnTo>
                  <a:lnTo>
                    <a:pt x="1221" y="771"/>
                  </a:lnTo>
                  <a:lnTo>
                    <a:pt x="1221" y="771"/>
                  </a:lnTo>
                  <a:lnTo>
                    <a:pt x="1221" y="771"/>
                  </a:lnTo>
                  <a:lnTo>
                    <a:pt x="1221" y="773"/>
                  </a:lnTo>
                  <a:lnTo>
                    <a:pt x="1221" y="773"/>
                  </a:lnTo>
                  <a:lnTo>
                    <a:pt x="1221" y="773"/>
                  </a:lnTo>
                  <a:lnTo>
                    <a:pt x="1224" y="773"/>
                  </a:lnTo>
                  <a:lnTo>
                    <a:pt x="1224" y="773"/>
                  </a:lnTo>
                  <a:lnTo>
                    <a:pt x="1224" y="773"/>
                  </a:lnTo>
                  <a:lnTo>
                    <a:pt x="1224" y="773"/>
                  </a:lnTo>
                  <a:lnTo>
                    <a:pt x="1224" y="771"/>
                  </a:lnTo>
                  <a:lnTo>
                    <a:pt x="1224" y="771"/>
                  </a:lnTo>
                  <a:lnTo>
                    <a:pt x="1224" y="771"/>
                  </a:lnTo>
                  <a:lnTo>
                    <a:pt x="1224" y="768"/>
                  </a:lnTo>
                  <a:lnTo>
                    <a:pt x="1221" y="768"/>
                  </a:lnTo>
                  <a:lnTo>
                    <a:pt x="1221" y="766"/>
                  </a:lnTo>
                  <a:lnTo>
                    <a:pt x="1221" y="766"/>
                  </a:lnTo>
                  <a:lnTo>
                    <a:pt x="1224" y="766"/>
                  </a:lnTo>
                  <a:lnTo>
                    <a:pt x="1224" y="766"/>
                  </a:lnTo>
                  <a:lnTo>
                    <a:pt x="1224" y="764"/>
                  </a:lnTo>
                  <a:lnTo>
                    <a:pt x="1224" y="764"/>
                  </a:lnTo>
                  <a:lnTo>
                    <a:pt x="1228" y="771"/>
                  </a:lnTo>
                  <a:lnTo>
                    <a:pt x="1228" y="771"/>
                  </a:lnTo>
                  <a:lnTo>
                    <a:pt x="1228" y="771"/>
                  </a:lnTo>
                  <a:lnTo>
                    <a:pt x="1228" y="773"/>
                  </a:lnTo>
                  <a:lnTo>
                    <a:pt x="1228" y="773"/>
                  </a:lnTo>
                  <a:lnTo>
                    <a:pt x="1228" y="773"/>
                  </a:lnTo>
                  <a:lnTo>
                    <a:pt x="1228" y="776"/>
                  </a:lnTo>
                  <a:lnTo>
                    <a:pt x="1228" y="776"/>
                  </a:lnTo>
                  <a:lnTo>
                    <a:pt x="1228" y="776"/>
                  </a:lnTo>
                  <a:lnTo>
                    <a:pt x="1233" y="778"/>
                  </a:lnTo>
                  <a:lnTo>
                    <a:pt x="1233" y="778"/>
                  </a:lnTo>
                  <a:lnTo>
                    <a:pt x="1233" y="778"/>
                  </a:lnTo>
                  <a:lnTo>
                    <a:pt x="1231" y="776"/>
                  </a:lnTo>
                  <a:lnTo>
                    <a:pt x="1231" y="773"/>
                  </a:lnTo>
                  <a:lnTo>
                    <a:pt x="1231" y="768"/>
                  </a:lnTo>
                  <a:lnTo>
                    <a:pt x="1231" y="768"/>
                  </a:lnTo>
                  <a:lnTo>
                    <a:pt x="1231" y="766"/>
                  </a:lnTo>
                  <a:lnTo>
                    <a:pt x="1231" y="766"/>
                  </a:lnTo>
                  <a:lnTo>
                    <a:pt x="1231" y="766"/>
                  </a:lnTo>
                  <a:lnTo>
                    <a:pt x="1231" y="766"/>
                  </a:lnTo>
                  <a:lnTo>
                    <a:pt x="1231" y="766"/>
                  </a:lnTo>
                  <a:lnTo>
                    <a:pt x="1231" y="764"/>
                  </a:lnTo>
                  <a:lnTo>
                    <a:pt x="1231" y="764"/>
                  </a:lnTo>
                  <a:lnTo>
                    <a:pt x="1231" y="764"/>
                  </a:lnTo>
                  <a:lnTo>
                    <a:pt x="1231" y="761"/>
                  </a:lnTo>
                  <a:lnTo>
                    <a:pt x="1231" y="761"/>
                  </a:lnTo>
                  <a:lnTo>
                    <a:pt x="1231" y="759"/>
                  </a:lnTo>
                  <a:lnTo>
                    <a:pt x="1231" y="759"/>
                  </a:lnTo>
                  <a:lnTo>
                    <a:pt x="1231" y="759"/>
                  </a:lnTo>
                  <a:lnTo>
                    <a:pt x="1231" y="757"/>
                  </a:lnTo>
                  <a:lnTo>
                    <a:pt x="1231" y="757"/>
                  </a:lnTo>
                  <a:lnTo>
                    <a:pt x="1231" y="757"/>
                  </a:lnTo>
                  <a:lnTo>
                    <a:pt x="1231" y="754"/>
                  </a:lnTo>
                  <a:lnTo>
                    <a:pt x="1226" y="754"/>
                  </a:lnTo>
                  <a:lnTo>
                    <a:pt x="1226" y="754"/>
                  </a:lnTo>
                  <a:lnTo>
                    <a:pt x="1226" y="752"/>
                  </a:lnTo>
                  <a:lnTo>
                    <a:pt x="1224" y="752"/>
                  </a:lnTo>
                  <a:lnTo>
                    <a:pt x="1221" y="752"/>
                  </a:lnTo>
                  <a:lnTo>
                    <a:pt x="1219" y="752"/>
                  </a:lnTo>
                  <a:lnTo>
                    <a:pt x="1221" y="750"/>
                  </a:lnTo>
                  <a:lnTo>
                    <a:pt x="1221" y="747"/>
                  </a:lnTo>
                  <a:lnTo>
                    <a:pt x="1224" y="747"/>
                  </a:lnTo>
                  <a:lnTo>
                    <a:pt x="1224" y="747"/>
                  </a:lnTo>
                  <a:lnTo>
                    <a:pt x="1224" y="745"/>
                  </a:lnTo>
                  <a:lnTo>
                    <a:pt x="1226" y="745"/>
                  </a:lnTo>
                  <a:lnTo>
                    <a:pt x="1226" y="745"/>
                  </a:lnTo>
                  <a:lnTo>
                    <a:pt x="1226" y="742"/>
                  </a:lnTo>
                  <a:lnTo>
                    <a:pt x="1226" y="740"/>
                  </a:lnTo>
                  <a:lnTo>
                    <a:pt x="1226" y="740"/>
                  </a:lnTo>
                  <a:lnTo>
                    <a:pt x="1226" y="738"/>
                  </a:lnTo>
                  <a:lnTo>
                    <a:pt x="1226" y="735"/>
                  </a:lnTo>
                  <a:lnTo>
                    <a:pt x="1226" y="735"/>
                  </a:lnTo>
                  <a:lnTo>
                    <a:pt x="1224" y="733"/>
                  </a:lnTo>
                  <a:lnTo>
                    <a:pt x="1226" y="733"/>
                  </a:lnTo>
                  <a:lnTo>
                    <a:pt x="1224" y="733"/>
                  </a:lnTo>
                  <a:lnTo>
                    <a:pt x="1224" y="733"/>
                  </a:lnTo>
                  <a:lnTo>
                    <a:pt x="1224" y="731"/>
                  </a:lnTo>
                  <a:lnTo>
                    <a:pt x="1224" y="731"/>
                  </a:lnTo>
                  <a:lnTo>
                    <a:pt x="1226" y="731"/>
                  </a:lnTo>
                  <a:lnTo>
                    <a:pt x="1226" y="731"/>
                  </a:lnTo>
                  <a:lnTo>
                    <a:pt x="1226" y="728"/>
                  </a:lnTo>
                  <a:lnTo>
                    <a:pt x="1226" y="728"/>
                  </a:lnTo>
                  <a:lnTo>
                    <a:pt x="1226" y="728"/>
                  </a:lnTo>
                  <a:lnTo>
                    <a:pt x="1226" y="728"/>
                  </a:lnTo>
                  <a:lnTo>
                    <a:pt x="1226" y="726"/>
                  </a:lnTo>
                  <a:lnTo>
                    <a:pt x="1226" y="726"/>
                  </a:lnTo>
                  <a:lnTo>
                    <a:pt x="1226" y="723"/>
                  </a:lnTo>
                  <a:lnTo>
                    <a:pt x="1226" y="723"/>
                  </a:lnTo>
                  <a:lnTo>
                    <a:pt x="1226" y="721"/>
                  </a:lnTo>
                  <a:lnTo>
                    <a:pt x="1226" y="721"/>
                  </a:lnTo>
                  <a:lnTo>
                    <a:pt x="1226" y="719"/>
                  </a:lnTo>
                  <a:lnTo>
                    <a:pt x="1228" y="719"/>
                  </a:lnTo>
                  <a:lnTo>
                    <a:pt x="1228" y="716"/>
                  </a:lnTo>
                  <a:lnTo>
                    <a:pt x="1226" y="714"/>
                  </a:lnTo>
                  <a:lnTo>
                    <a:pt x="1226" y="714"/>
                  </a:lnTo>
                  <a:lnTo>
                    <a:pt x="1226" y="714"/>
                  </a:lnTo>
                  <a:lnTo>
                    <a:pt x="1226" y="712"/>
                  </a:lnTo>
                  <a:lnTo>
                    <a:pt x="1224" y="707"/>
                  </a:lnTo>
                  <a:lnTo>
                    <a:pt x="1224" y="707"/>
                  </a:lnTo>
                  <a:lnTo>
                    <a:pt x="1224" y="707"/>
                  </a:lnTo>
                  <a:lnTo>
                    <a:pt x="1224" y="705"/>
                  </a:lnTo>
                  <a:lnTo>
                    <a:pt x="1224" y="705"/>
                  </a:lnTo>
                  <a:lnTo>
                    <a:pt x="1221" y="705"/>
                  </a:lnTo>
                  <a:lnTo>
                    <a:pt x="1221" y="705"/>
                  </a:lnTo>
                  <a:lnTo>
                    <a:pt x="1221" y="705"/>
                  </a:lnTo>
                  <a:lnTo>
                    <a:pt x="1221" y="702"/>
                  </a:lnTo>
                  <a:lnTo>
                    <a:pt x="1221" y="702"/>
                  </a:lnTo>
                  <a:lnTo>
                    <a:pt x="1221" y="702"/>
                  </a:lnTo>
                  <a:lnTo>
                    <a:pt x="1221" y="700"/>
                  </a:lnTo>
                  <a:lnTo>
                    <a:pt x="1221" y="700"/>
                  </a:lnTo>
                  <a:lnTo>
                    <a:pt x="1221" y="700"/>
                  </a:lnTo>
                  <a:lnTo>
                    <a:pt x="1221" y="697"/>
                  </a:lnTo>
                  <a:lnTo>
                    <a:pt x="1224" y="697"/>
                  </a:lnTo>
                  <a:lnTo>
                    <a:pt x="1224" y="697"/>
                  </a:lnTo>
                  <a:lnTo>
                    <a:pt x="1224" y="695"/>
                  </a:lnTo>
                  <a:lnTo>
                    <a:pt x="1224" y="695"/>
                  </a:lnTo>
                  <a:lnTo>
                    <a:pt x="1224" y="693"/>
                  </a:lnTo>
                  <a:lnTo>
                    <a:pt x="1224" y="693"/>
                  </a:lnTo>
                  <a:lnTo>
                    <a:pt x="1224" y="693"/>
                  </a:lnTo>
                  <a:lnTo>
                    <a:pt x="1224" y="690"/>
                  </a:lnTo>
                  <a:lnTo>
                    <a:pt x="1224" y="690"/>
                  </a:lnTo>
                  <a:lnTo>
                    <a:pt x="1221" y="688"/>
                  </a:lnTo>
                  <a:lnTo>
                    <a:pt x="1216" y="686"/>
                  </a:lnTo>
                  <a:lnTo>
                    <a:pt x="1214" y="686"/>
                  </a:lnTo>
                  <a:lnTo>
                    <a:pt x="1214" y="686"/>
                  </a:lnTo>
                  <a:lnTo>
                    <a:pt x="1214" y="683"/>
                  </a:lnTo>
                  <a:lnTo>
                    <a:pt x="1214" y="683"/>
                  </a:lnTo>
                  <a:lnTo>
                    <a:pt x="1214" y="686"/>
                  </a:lnTo>
                  <a:lnTo>
                    <a:pt x="1214" y="686"/>
                  </a:lnTo>
                  <a:lnTo>
                    <a:pt x="1214" y="686"/>
                  </a:lnTo>
                  <a:lnTo>
                    <a:pt x="1214" y="686"/>
                  </a:lnTo>
                  <a:lnTo>
                    <a:pt x="1212" y="683"/>
                  </a:lnTo>
                  <a:lnTo>
                    <a:pt x="1212" y="683"/>
                  </a:lnTo>
                  <a:lnTo>
                    <a:pt x="1212" y="683"/>
                  </a:lnTo>
                  <a:lnTo>
                    <a:pt x="1209" y="683"/>
                  </a:lnTo>
                  <a:lnTo>
                    <a:pt x="1209" y="681"/>
                  </a:lnTo>
                  <a:lnTo>
                    <a:pt x="1209" y="681"/>
                  </a:lnTo>
                  <a:lnTo>
                    <a:pt x="1212" y="683"/>
                  </a:lnTo>
                  <a:lnTo>
                    <a:pt x="1212" y="683"/>
                  </a:lnTo>
                  <a:lnTo>
                    <a:pt x="1214" y="681"/>
                  </a:lnTo>
                  <a:lnTo>
                    <a:pt x="1214" y="681"/>
                  </a:lnTo>
                  <a:lnTo>
                    <a:pt x="1212" y="681"/>
                  </a:lnTo>
                  <a:lnTo>
                    <a:pt x="1209" y="681"/>
                  </a:lnTo>
                  <a:lnTo>
                    <a:pt x="1209" y="679"/>
                  </a:lnTo>
                  <a:lnTo>
                    <a:pt x="1209" y="679"/>
                  </a:lnTo>
                  <a:lnTo>
                    <a:pt x="1209" y="679"/>
                  </a:lnTo>
                  <a:lnTo>
                    <a:pt x="1209" y="676"/>
                  </a:lnTo>
                  <a:lnTo>
                    <a:pt x="1209" y="676"/>
                  </a:lnTo>
                  <a:lnTo>
                    <a:pt x="1209" y="674"/>
                  </a:lnTo>
                  <a:lnTo>
                    <a:pt x="1207" y="674"/>
                  </a:lnTo>
                  <a:lnTo>
                    <a:pt x="1200" y="674"/>
                  </a:lnTo>
                  <a:lnTo>
                    <a:pt x="1200" y="676"/>
                  </a:lnTo>
                  <a:lnTo>
                    <a:pt x="1202" y="676"/>
                  </a:lnTo>
                  <a:lnTo>
                    <a:pt x="1205" y="676"/>
                  </a:lnTo>
                  <a:lnTo>
                    <a:pt x="1207" y="676"/>
                  </a:lnTo>
                  <a:lnTo>
                    <a:pt x="1207" y="676"/>
                  </a:lnTo>
                  <a:lnTo>
                    <a:pt x="1207" y="676"/>
                  </a:lnTo>
                  <a:lnTo>
                    <a:pt x="1207" y="676"/>
                  </a:lnTo>
                  <a:lnTo>
                    <a:pt x="1207" y="676"/>
                  </a:lnTo>
                  <a:lnTo>
                    <a:pt x="1207" y="679"/>
                  </a:lnTo>
                  <a:lnTo>
                    <a:pt x="1207" y="679"/>
                  </a:lnTo>
                  <a:lnTo>
                    <a:pt x="1207" y="679"/>
                  </a:lnTo>
                  <a:lnTo>
                    <a:pt x="1207" y="681"/>
                  </a:lnTo>
                  <a:lnTo>
                    <a:pt x="1205" y="681"/>
                  </a:lnTo>
                  <a:lnTo>
                    <a:pt x="1202" y="681"/>
                  </a:lnTo>
                  <a:lnTo>
                    <a:pt x="1202" y="681"/>
                  </a:lnTo>
                  <a:lnTo>
                    <a:pt x="1202" y="683"/>
                  </a:lnTo>
                  <a:lnTo>
                    <a:pt x="1202" y="681"/>
                  </a:lnTo>
                  <a:lnTo>
                    <a:pt x="1202" y="681"/>
                  </a:lnTo>
                  <a:lnTo>
                    <a:pt x="1200" y="679"/>
                  </a:lnTo>
                  <a:lnTo>
                    <a:pt x="1200" y="679"/>
                  </a:lnTo>
                  <a:lnTo>
                    <a:pt x="1198" y="681"/>
                  </a:lnTo>
                  <a:lnTo>
                    <a:pt x="1198" y="681"/>
                  </a:lnTo>
                  <a:lnTo>
                    <a:pt x="1198" y="681"/>
                  </a:lnTo>
                  <a:lnTo>
                    <a:pt x="1198" y="681"/>
                  </a:lnTo>
                  <a:lnTo>
                    <a:pt x="1198" y="683"/>
                  </a:lnTo>
                  <a:lnTo>
                    <a:pt x="1198" y="683"/>
                  </a:lnTo>
                  <a:lnTo>
                    <a:pt x="1198" y="683"/>
                  </a:lnTo>
                  <a:lnTo>
                    <a:pt x="1198" y="683"/>
                  </a:lnTo>
                  <a:lnTo>
                    <a:pt x="1198" y="683"/>
                  </a:lnTo>
                  <a:lnTo>
                    <a:pt x="1198" y="683"/>
                  </a:lnTo>
                  <a:lnTo>
                    <a:pt x="1198" y="683"/>
                  </a:lnTo>
                  <a:lnTo>
                    <a:pt x="1198" y="686"/>
                  </a:lnTo>
                  <a:lnTo>
                    <a:pt x="1198" y="686"/>
                  </a:lnTo>
                  <a:lnTo>
                    <a:pt x="1198" y="686"/>
                  </a:lnTo>
                  <a:lnTo>
                    <a:pt x="1198" y="686"/>
                  </a:lnTo>
                  <a:lnTo>
                    <a:pt x="1198" y="686"/>
                  </a:lnTo>
                  <a:lnTo>
                    <a:pt x="1198" y="688"/>
                  </a:lnTo>
                  <a:lnTo>
                    <a:pt x="1198" y="688"/>
                  </a:lnTo>
                  <a:lnTo>
                    <a:pt x="1198" y="688"/>
                  </a:lnTo>
                  <a:lnTo>
                    <a:pt x="1198" y="688"/>
                  </a:lnTo>
                  <a:lnTo>
                    <a:pt x="1200" y="690"/>
                  </a:lnTo>
                  <a:lnTo>
                    <a:pt x="1200" y="690"/>
                  </a:lnTo>
                  <a:lnTo>
                    <a:pt x="1200" y="690"/>
                  </a:lnTo>
                  <a:lnTo>
                    <a:pt x="1200" y="693"/>
                  </a:lnTo>
                  <a:lnTo>
                    <a:pt x="1200" y="693"/>
                  </a:lnTo>
                  <a:lnTo>
                    <a:pt x="1200" y="695"/>
                  </a:lnTo>
                  <a:lnTo>
                    <a:pt x="1200" y="695"/>
                  </a:lnTo>
                  <a:lnTo>
                    <a:pt x="1200" y="695"/>
                  </a:lnTo>
                  <a:lnTo>
                    <a:pt x="1200" y="695"/>
                  </a:lnTo>
                  <a:lnTo>
                    <a:pt x="1200" y="695"/>
                  </a:lnTo>
                  <a:lnTo>
                    <a:pt x="1200" y="695"/>
                  </a:lnTo>
                  <a:lnTo>
                    <a:pt x="1198" y="693"/>
                  </a:lnTo>
                  <a:lnTo>
                    <a:pt x="1198" y="693"/>
                  </a:lnTo>
                  <a:lnTo>
                    <a:pt x="1198" y="693"/>
                  </a:lnTo>
                  <a:lnTo>
                    <a:pt x="1198" y="693"/>
                  </a:lnTo>
                  <a:lnTo>
                    <a:pt x="1198" y="693"/>
                  </a:lnTo>
                  <a:lnTo>
                    <a:pt x="1198" y="693"/>
                  </a:lnTo>
                  <a:lnTo>
                    <a:pt x="1198" y="693"/>
                  </a:lnTo>
                  <a:lnTo>
                    <a:pt x="1198" y="693"/>
                  </a:lnTo>
                  <a:lnTo>
                    <a:pt x="1195" y="693"/>
                  </a:lnTo>
                  <a:lnTo>
                    <a:pt x="1195" y="693"/>
                  </a:lnTo>
                  <a:lnTo>
                    <a:pt x="1195" y="695"/>
                  </a:lnTo>
                  <a:lnTo>
                    <a:pt x="1195" y="695"/>
                  </a:lnTo>
                  <a:lnTo>
                    <a:pt x="1195" y="697"/>
                  </a:lnTo>
                  <a:lnTo>
                    <a:pt x="1195" y="697"/>
                  </a:lnTo>
                  <a:lnTo>
                    <a:pt x="1195" y="697"/>
                  </a:lnTo>
                  <a:lnTo>
                    <a:pt x="1195" y="697"/>
                  </a:lnTo>
                  <a:lnTo>
                    <a:pt x="1193" y="693"/>
                  </a:lnTo>
                  <a:lnTo>
                    <a:pt x="1193" y="693"/>
                  </a:lnTo>
                  <a:lnTo>
                    <a:pt x="1193" y="690"/>
                  </a:lnTo>
                  <a:lnTo>
                    <a:pt x="1195" y="690"/>
                  </a:lnTo>
                  <a:lnTo>
                    <a:pt x="1195" y="688"/>
                  </a:lnTo>
                  <a:lnTo>
                    <a:pt x="1193" y="688"/>
                  </a:lnTo>
                  <a:lnTo>
                    <a:pt x="1193" y="688"/>
                  </a:lnTo>
                  <a:lnTo>
                    <a:pt x="1193" y="688"/>
                  </a:lnTo>
                  <a:lnTo>
                    <a:pt x="1193" y="688"/>
                  </a:lnTo>
                  <a:lnTo>
                    <a:pt x="1193" y="690"/>
                  </a:lnTo>
                  <a:lnTo>
                    <a:pt x="1193" y="690"/>
                  </a:lnTo>
                  <a:lnTo>
                    <a:pt x="1188" y="681"/>
                  </a:lnTo>
                  <a:lnTo>
                    <a:pt x="1183" y="681"/>
                  </a:lnTo>
                  <a:lnTo>
                    <a:pt x="1186" y="681"/>
                  </a:lnTo>
                  <a:lnTo>
                    <a:pt x="1186" y="681"/>
                  </a:lnTo>
                  <a:close/>
                  <a:moveTo>
                    <a:pt x="1247" y="596"/>
                  </a:moveTo>
                  <a:lnTo>
                    <a:pt x="1247" y="596"/>
                  </a:lnTo>
                  <a:lnTo>
                    <a:pt x="1247" y="596"/>
                  </a:lnTo>
                  <a:lnTo>
                    <a:pt x="1250" y="600"/>
                  </a:lnTo>
                  <a:lnTo>
                    <a:pt x="1252" y="603"/>
                  </a:lnTo>
                  <a:lnTo>
                    <a:pt x="1252" y="605"/>
                  </a:lnTo>
                  <a:lnTo>
                    <a:pt x="1252" y="605"/>
                  </a:lnTo>
                  <a:lnTo>
                    <a:pt x="1261" y="605"/>
                  </a:lnTo>
                  <a:lnTo>
                    <a:pt x="1269" y="605"/>
                  </a:lnTo>
                  <a:lnTo>
                    <a:pt x="1276" y="605"/>
                  </a:lnTo>
                  <a:lnTo>
                    <a:pt x="1283" y="605"/>
                  </a:lnTo>
                  <a:lnTo>
                    <a:pt x="1285" y="605"/>
                  </a:lnTo>
                  <a:lnTo>
                    <a:pt x="1287" y="608"/>
                  </a:lnTo>
                  <a:lnTo>
                    <a:pt x="1290" y="605"/>
                  </a:lnTo>
                  <a:lnTo>
                    <a:pt x="1290" y="605"/>
                  </a:lnTo>
                  <a:lnTo>
                    <a:pt x="1290" y="605"/>
                  </a:lnTo>
                  <a:lnTo>
                    <a:pt x="1290" y="608"/>
                  </a:lnTo>
                  <a:lnTo>
                    <a:pt x="1290" y="608"/>
                  </a:lnTo>
                  <a:lnTo>
                    <a:pt x="1290" y="608"/>
                  </a:lnTo>
                  <a:lnTo>
                    <a:pt x="1290" y="608"/>
                  </a:lnTo>
                  <a:lnTo>
                    <a:pt x="1292" y="608"/>
                  </a:lnTo>
                  <a:lnTo>
                    <a:pt x="1295" y="608"/>
                  </a:lnTo>
                  <a:lnTo>
                    <a:pt x="1295" y="608"/>
                  </a:lnTo>
                  <a:lnTo>
                    <a:pt x="1295" y="608"/>
                  </a:lnTo>
                  <a:lnTo>
                    <a:pt x="1295" y="608"/>
                  </a:lnTo>
                  <a:lnTo>
                    <a:pt x="1292" y="605"/>
                  </a:lnTo>
                  <a:lnTo>
                    <a:pt x="1292" y="605"/>
                  </a:lnTo>
                  <a:lnTo>
                    <a:pt x="1295" y="605"/>
                  </a:lnTo>
                  <a:lnTo>
                    <a:pt x="1295" y="608"/>
                  </a:lnTo>
                  <a:lnTo>
                    <a:pt x="1295" y="608"/>
                  </a:lnTo>
                  <a:lnTo>
                    <a:pt x="1297" y="605"/>
                  </a:lnTo>
                  <a:lnTo>
                    <a:pt x="1297" y="605"/>
                  </a:lnTo>
                  <a:lnTo>
                    <a:pt x="1297" y="608"/>
                  </a:lnTo>
                  <a:lnTo>
                    <a:pt x="1299" y="608"/>
                  </a:lnTo>
                  <a:lnTo>
                    <a:pt x="1299" y="605"/>
                  </a:lnTo>
                  <a:lnTo>
                    <a:pt x="1299" y="603"/>
                  </a:lnTo>
                  <a:lnTo>
                    <a:pt x="1299" y="600"/>
                  </a:lnTo>
                  <a:lnTo>
                    <a:pt x="1299" y="600"/>
                  </a:lnTo>
                  <a:lnTo>
                    <a:pt x="1299" y="600"/>
                  </a:lnTo>
                  <a:lnTo>
                    <a:pt x="1299" y="600"/>
                  </a:lnTo>
                  <a:lnTo>
                    <a:pt x="1299" y="598"/>
                  </a:lnTo>
                  <a:lnTo>
                    <a:pt x="1299" y="598"/>
                  </a:lnTo>
                  <a:lnTo>
                    <a:pt x="1299" y="598"/>
                  </a:lnTo>
                  <a:lnTo>
                    <a:pt x="1299" y="596"/>
                  </a:lnTo>
                  <a:lnTo>
                    <a:pt x="1302" y="593"/>
                  </a:lnTo>
                  <a:lnTo>
                    <a:pt x="1302" y="593"/>
                  </a:lnTo>
                  <a:lnTo>
                    <a:pt x="1302" y="593"/>
                  </a:lnTo>
                  <a:lnTo>
                    <a:pt x="1299" y="593"/>
                  </a:lnTo>
                  <a:lnTo>
                    <a:pt x="1299" y="593"/>
                  </a:lnTo>
                  <a:lnTo>
                    <a:pt x="1302" y="591"/>
                  </a:lnTo>
                  <a:lnTo>
                    <a:pt x="1302" y="589"/>
                  </a:lnTo>
                  <a:lnTo>
                    <a:pt x="1304" y="589"/>
                  </a:lnTo>
                  <a:lnTo>
                    <a:pt x="1304" y="589"/>
                  </a:lnTo>
                  <a:lnTo>
                    <a:pt x="1306" y="586"/>
                  </a:lnTo>
                  <a:lnTo>
                    <a:pt x="1304" y="584"/>
                  </a:lnTo>
                  <a:lnTo>
                    <a:pt x="1304" y="584"/>
                  </a:lnTo>
                  <a:lnTo>
                    <a:pt x="1304" y="582"/>
                  </a:lnTo>
                  <a:lnTo>
                    <a:pt x="1302" y="582"/>
                  </a:lnTo>
                  <a:lnTo>
                    <a:pt x="1302" y="582"/>
                  </a:lnTo>
                  <a:lnTo>
                    <a:pt x="1302" y="582"/>
                  </a:lnTo>
                  <a:lnTo>
                    <a:pt x="1299" y="582"/>
                  </a:lnTo>
                  <a:lnTo>
                    <a:pt x="1299" y="579"/>
                  </a:lnTo>
                  <a:lnTo>
                    <a:pt x="1299" y="579"/>
                  </a:lnTo>
                  <a:lnTo>
                    <a:pt x="1299" y="579"/>
                  </a:lnTo>
                  <a:lnTo>
                    <a:pt x="1297" y="577"/>
                  </a:lnTo>
                  <a:lnTo>
                    <a:pt x="1295" y="577"/>
                  </a:lnTo>
                  <a:lnTo>
                    <a:pt x="1292" y="579"/>
                  </a:lnTo>
                  <a:lnTo>
                    <a:pt x="1292" y="579"/>
                  </a:lnTo>
                  <a:lnTo>
                    <a:pt x="1292" y="579"/>
                  </a:lnTo>
                  <a:lnTo>
                    <a:pt x="1292" y="582"/>
                  </a:lnTo>
                  <a:lnTo>
                    <a:pt x="1292" y="582"/>
                  </a:lnTo>
                  <a:lnTo>
                    <a:pt x="1292" y="582"/>
                  </a:lnTo>
                  <a:lnTo>
                    <a:pt x="1290" y="582"/>
                  </a:lnTo>
                  <a:lnTo>
                    <a:pt x="1290" y="582"/>
                  </a:lnTo>
                  <a:lnTo>
                    <a:pt x="1290" y="582"/>
                  </a:lnTo>
                  <a:lnTo>
                    <a:pt x="1290" y="582"/>
                  </a:lnTo>
                  <a:lnTo>
                    <a:pt x="1290" y="582"/>
                  </a:lnTo>
                  <a:lnTo>
                    <a:pt x="1287" y="579"/>
                  </a:lnTo>
                  <a:lnTo>
                    <a:pt x="1287" y="579"/>
                  </a:lnTo>
                  <a:lnTo>
                    <a:pt x="1287" y="579"/>
                  </a:lnTo>
                  <a:lnTo>
                    <a:pt x="1285" y="579"/>
                  </a:lnTo>
                  <a:lnTo>
                    <a:pt x="1285" y="579"/>
                  </a:lnTo>
                  <a:lnTo>
                    <a:pt x="1283" y="579"/>
                  </a:lnTo>
                  <a:lnTo>
                    <a:pt x="1283" y="579"/>
                  </a:lnTo>
                  <a:lnTo>
                    <a:pt x="1283" y="579"/>
                  </a:lnTo>
                  <a:lnTo>
                    <a:pt x="1283" y="579"/>
                  </a:lnTo>
                  <a:lnTo>
                    <a:pt x="1283" y="579"/>
                  </a:lnTo>
                  <a:lnTo>
                    <a:pt x="1276" y="579"/>
                  </a:lnTo>
                  <a:lnTo>
                    <a:pt x="1271" y="577"/>
                  </a:lnTo>
                  <a:lnTo>
                    <a:pt x="1271" y="579"/>
                  </a:lnTo>
                  <a:lnTo>
                    <a:pt x="1269" y="582"/>
                  </a:lnTo>
                  <a:lnTo>
                    <a:pt x="1266" y="582"/>
                  </a:lnTo>
                  <a:lnTo>
                    <a:pt x="1266" y="582"/>
                  </a:lnTo>
                  <a:lnTo>
                    <a:pt x="1264" y="579"/>
                  </a:lnTo>
                  <a:lnTo>
                    <a:pt x="1264" y="582"/>
                  </a:lnTo>
                  <a:lnTo>
                    <a:pt x="1264" y="582"/>
                  </a:lnTo>
                  <a:lnTo>
                    <a:pt x="1264" y="584"/>
                  </a:lnTo>
                  <a:lnTo>
                    <a:pt x="1264" y="582"/>
                  </a:lnTo>
                  <a:lnTo>
                    <a:pt x="1264" y="582"/>
                  </a:lnTo>
                  <a:lnTo>
                    <a:pt x="1261" y="582"/>
                  </a:lnTo>
                  <a:lnTo>
                    <a:pt x="1264" y="579"/>
                  </a:lnTo>
                  <a:lnTo>
                    <a:pt x="1261" y="577"/>
                  </a:lnTo>
                  <a:lnTo>
                    <a:pt x="1261" y="577"/>
                  </a:lnTo>
                  <a:lnTo>
                    <a:pt x="1259" y="579"/>
                  </a:lnTo>
                  <a:lnTo>
                    <a:pt x="1259" y="579"/>
                  </a:lnTo>
                  <a:lnTo>
                    <a:pt x="1257" y="579"/>
                  </a:lnTo>
                  <a:lnTo>
                    <a:pt x="1257" y="579"/>
                  </a:lnTo>
                  <a:lnTo>
                    <a:pt x="1257" y="579"/>
                  </a:lnTo>
                  <a:lnTo>
                    <a:pt x="1254" y="582"/>
                  </a:lnTo>
                  <a:lnTo>
                    <a:pt x="1252" y="584"/>
                  </a:lnTo>
                  <a:lnTo>
                    <a:pt x="1252" y="584"/>
                  </a:lnTo>
                  <a:lnTo>
                    <a:pt x="1250" y="586"/>
                  </a:lnTo>
                  <a:lnTo>
                    <a:pt x="1247" y="586"/>
                  </a:lnTo>
                  <a:lnTo>
                    <a:pt x="1247" y="589"/>
                  </a:lnTo>
                  <a:lnTo>
                    <a:pt x="1247" y="589"/>
                  </a:lnTo>
                  <a:lnTo>
                    <a:pt x="1247" y="589"/>
                  </a:lnTo>
                  <a:lnTo>
                    <a:pt x="1247" y="591"/>
                  </a:lnTo>
                  <a:lnTo>
                    <a:pt x="1247" y="591"/>
                  </a:lnTo>
                  <a:lnTo>
                    <a:pt x="1247" y="591"/>
                  </a:lnTo>
                  <a:lnTo>
                    <a:pt x="1247" y="591"/>
                  </a:lnTo>
                  <a:lnTo>
                    <a:pt x="1247" y="593"/>
                  </a:lnTo>
                  <a:lnTo>
                    <a:pt x="1247" y="593"/>
                  </a:lnTo>
                  <a:lnTo>
                    <a:pt x="1247" y="593"/>
                  </a:lnTo>
                  <a:lnTo>
                    <a:pt x="1247" y="593"/>
                  </a:lnTo>
                  <a:lnTo>
                    <a:pt x="1247" y="596"/>
                  </a:lnTo>
                  <a:close/>
                  <a:moveTo>
                    <a:pt x="1384" y="683"/>
                  </a:moveTo>
                  <a:lnTo>
                    <a:pt x="1382" y="683"/>
                  </a:lnTo>
                  <a:lnTo>
                    <a:pt x="1382" y="681"/>
                  </a:lnTo>
                  <a:lnTo>
                    <a:pt x="1382" y="683"/>
                  </a:lnTo>
                  <a:lnTo>
                    <a:pt x="1380" y="681"/>
                  </a:lnTo>
                  <a:lnTo>
                    <a:pt x="1380" y="683"/>
                  </a:lnTo>
                  <a:lnTo>
                    <a:pt x="1380" y="683"/>
                  </a:lnTo>
                  <a:lnTo>
                    <a:pt x="1380" y="686"/>
                  </a:lnTo>
                  <a:lnTo>
                    <a:pt x="1384" y="686"/>
                  </a:lnTo>
                  <a:lnTo>
                    <a:pt x="1384" y="683"/>
                  </a:lnTo>
                  <a:close/>
                  <a:moveTo>
                    <a:pt x="1375" y="662"/>
                  </a:moveTo>
                  <a:lnTo>
                    <a:pt x="1375" y="660"/>
                  </a:lnTo>
                  <a:lnTo>
                    <a:pt x="1373" y="655"/>
                  </a:lnTo>
                  <a:lnTo>
                    <a:pt x="1370" y="653"/>
                  </a:lnTo>
                  <a:lnTo>
                    <a:pt x="1370" y="653"/>
                  </a:lnTo>
                  <a:lnTo>
                    <a:pt x="1366" y="653"/>
                  </a:lnTo>
                  <a:lnTo>
                    <a:pt x="1363" y="655"/>
                  </a:lnTo>
                  <a:lnTo>
                    <a:pt x="1358" y="657"/>
                  </a:lnTo>
                  <a:lnTo>
                    <a:pt x="1358" y="660"/>
                  </a:lnTo>
                  <a:lnTo>
                    <a:pt x="1358" y="662"/>
                  </a:lnTo>
                  <a:lnTo>
                    <a:pt x="1358" y="662"/>
                  </a:lnTo>
                  <a:lnTo>
                    <a:pt x="1358" y="664"/>
                  </a:lnTo>
                  <a:lnTo>
                    <a:pt x="1366" y="676"/>
                  </a:lnTo>
                  <a:lnTo>
                    <a:pt x="1368" y="679"/>
                  </a:lnTo>
                  <a:lnTo>
                    <a:pt x="1368" y="681"/>
                  </a:lnTo>
                  <a:lnTo>
                    <a:pt x="1370" y="681"/>
                  </a:lnTo>
                  <a:lnTo>
                    <a:pt x="1373" y="683"/>
                  </a:lnTo>
                  <a:lnTo>
                    <a:pt x="1373" y="681"/>
                  </a:lnTo>
                  <a:lnTo>
                    <a:pt x="1373" y="681"/>
                  </a:lnTo>
                  <a:lnTo>
                    <a:pt x="1373" y="679"/>
                  </a:lnTo>
                  <a:lnTo>
                    <a:pt x="1373" y="681"/>
                  </a:lnTo>
                  <a:lnTo>
                    <a:pt x="1375" y="681"/>
                  </a:lnTo>
                  <a:lnTo>
                    <a:pt x="1375" y="681"/>
                  </a:lnTo>
                  <a:lnTo>
                    <a:pt x="1377" y="681"/>
                  </a:lnTo>
                  <a:lnTo>
                    <a:pt x="1377" y="679"/>
                  </a:lnTo>
                  <a:lnTo>
                    <a:pt x="1377" y="679"/>
                  </a:lnTo>
                  <a:lnTo>
                    <a:pt x="1375" y="679"/>
                  </a:lnTo>
                  <a:lnTo>
                    <a:pt x="1375" y="676"/>
                  </a:lnTo>
                  <a:lnTo>
                    <a:pt x="1373" y="674"/>
                  </a:lnTo>
                  <a:lnTo>
                    <a:pt x="1373" y="671"/>
                  </a:lnTo>
                  <a:lnTo>
                    <a:pt x="1373" y="671"/>
                  </a:lnTo>
                  <a:lnTo>
                    <a:pt x="1373" y="669"/>
                  </a:lnTo>
                  <a:lnTo>
                    <a:pt x="1373" y="667"/>
                  </a:lnTo>
                  <a:lnTo>
                    <a:pt x="1373" y="667"/>
                  </a:lnTo>
                  <a:lnTo>
                    <a:pt x="1375" y="664"/>
                  </a:lnTo>
                  <a:lnTo>
                    <a:pt x="1375" y="664"/>
                  </a:lnTo>
                  <a:lnTo>
                    <a:pt x="1375" y="662"/>
                  </a:lnTo>
                  <a:lnTo>
                    <a:pt x="1375" y="662"/>
                  </a:lnTo>
                  <a:lnTo>
                    <a:pt x="1375" y="662"/>
                  </a:lnTo>
                  <a:lnTo>
                    <a:pt x="1375" y="662"/>
                  </a:lnTo>
                  <a:lnTo>
                    <a:pt x="1375" y="662"/>
                  </a:lnTo>
                  <a:close/>
                  <a:moveTo>
                    <a:pt x="1368" y="598"/>
                  </a:moveTo>
                  <a:lnTo>
                    <a:pt x="1361" y="591"/>
                  </a:lnTo>
                  <a:lnTo>
                    <a:pt x="1361" y="589"/>
                  </a:lnTo>
                  <a:lnTo>
                    <a:pt x="1358" y="589"/>
                  </a:lnTo>
                  <a:lnTo>
                    <a:pt x="1358" y="589"/>
                  </a:lnTo>
                  <a:lnTo>
                    <a:pt x="1358" y="589"/>
                  </a:lnTo>
                  <a:lnTo>
                    <a:pt x="1358" y="589"/>
                  </a:lnTo>
                  <a:lnTo>
                    <a:pt x="1358" y="589"/>
                  </a:lnTo>
                  <a:lnTo>
                    <a:pt x="1358" y="586"/>
                  </a:lnTo>
                  <a:lnTo>
                    <a:pt x="1351" y="586"/>
                  </a:lnTo>
                  <a:lnTo>
                    <a:pt x="1347" y="584"/>
                  </a:lnTo>
                  <a:lnTo>
                    <a:pt x="1344" y="586"/>
                  </a:lnTo>
                  <a:lnTo>
                    <a:pt x="1344" y="589"/>
                  </a:lnTo>
                  <a:lnTo>
                    <a:pt x="1342" y="589"/>
                  </a:lnTo>
                  <a:lnTo>
                    <a:pt x="1342" y="589"/>
                  </a:lnTo>
                  <a:lnTo>
                    <a:pt x="1342" y="589"/>
                  </a:lnTo>
                  <a:lnTo>
                    <a:pt x="1342" y="589"/>
                  </a:lnTo>
                  <a:lnTo>
                    <a:pt x="1342" y="591"/>
                  </a:lnTo>
                  <a:lnTo>
                    <a:pt x="1342" y="591"/>
                  </a:lnTo>
                  <a:lnTo>
                    <a:pt x="1342" y="591"/>
                  </a:lnTo>
                  <a:lnTo>
                    <a:pt x="1342" y="593"/>
                  </a:lnTo>
                  <a:lnTo>
                    <a:pt x="1342" y="593"/>
                  </a:lnTo>
                  <a:lnTo>
                    <a:pt x="1342" y="596"/>
                  </a:lnTo>
                  <a:lnTo>
                    <a:pt x="1342" y="596"/>
                  </a:lnTo>
                  <a:lnTo>
                    <a:pt x="1342" y="596"/>
                  </a:lnTo>
                  <a:lnTo>
                    <a:pt x="1342" y="598"/>
                  </a:lnTo>
                  <a:lnTo>
                    <a:pt x="1342" y="598"/>
                  </a:lnTo>
                  <a:lnTo>
                    <a:pt x="1342" y="603"/>
                  </a:lnTo>
                  <a:lnTo>
                    <a:pt x="1342" y="603"/>
                  </a:lnTo>
                  <a:lnTo>
                    <a:pt x="1342" y="605"/>
                  </a:lnTo>
                  <a:lnTo>
                    <a:pt x="1342" y="605"/>
                  </a:lnTo>
                  <a:lnTo>
                    <a:pt x="1342" y="608"/>
                  </a:lnTo>
                  <a:lnTo>
                    <a:pt x="1342" y="608"/>
                  </a:lnTo>
                  <a:lnTo>
                    <a:pt x="1344" y="608"/>
                  </a:lnTo>
                  <a:lnTo>
                    <a:pt x="1344" y="610"/>
                  </a:lnTo>
                  <a:lnTo>
                    <a:pt x="1344" y="610"/>
                  </a:lnTo>
                  <a:lnTo>
                    <a:pt x="1344" y="610"/>
                  </a:lnTo>
                  <a:lnTo>
                    <a:pt x="1349" y="615"/>
                  </a:lnTo>
                  <a:lnTo>
                    <a:pt x="1354" y="617"/>
                  </a:lnTo>
                  <a:lnTo>
                    <a:pt x="1358" y="619"/>
                  </a:lnTo>
                  <a:lnTo>
                    <a:pt x="1358" y="622"/>
                  </a:lnTo>
                  <a:lnTo>
                    <a:pt x="1358" y="622"/>
                  </a:lnTo>
                  <a:lnTo>
                    <a:pt x="1358" y="622"/>
                  </a:lnTo>
                  <a:lnTo>
                    <a:pt x="1358" y="622"/>
                  </a:lnTo>
                  <a:lnTo>
                    <a:pt x="1358" y="624"/>
                  </a:lnTo>
                  <a:lnTo>
                    <a:pt x="1361" y="622"/>
                  </a:lnTo>
                  <a:lnTo>
                    <a:pt x="1363" y="622"/>
                  </a:lnTo>
                  <a:lnTo>
                    <a:pt x="1363" y="622"/>
                  </a:lnTo>
                  <a:lnTo>
                    <a:pt x="1366" y="622"/>
                  </a:lnTo>
                  <a:lnTo>
                    <a:pt x="1370" y="617"/>
                  </a:lnTo>
                  <a:lnTo>
                    <a:pt x="1373" y="612"/>
                  </a:lnTo>
                  <a:lnTo>
                    <a:pt x="1373" y="610"/>
                  </a:lnTo>
                  <a:lnTo>
                    <a:pt x="1373" y="610"/>
                  </a:lnTo>
                  <a:lnTo>
                    <a:pt x="1370" y="608"/>
                  </a:lnTo>
                  <a:lnTo>
                    <a:pt x="1370" y="608"/>
                  </a:lnTo>
                  <a:lnTo>
                    <a:pt x="1370" y="608"/>
                  </a:lnTo>
                  <a:lnTo>
                    <a:pt x="1370" y="608"/>
                  </a:lnTo>
                  <a:lnTo>
                    <a:pt x="1370" y="608"/>
                  </a:lnTo>
                  <a:lnTo>
                    <a:pt x="1370" y="608"/>
                  </a:lnTo>
                  <a:lnTo>
                    <a:pt x="1370" y="605"/>
                  </a:lnTo>
                  <a:lnTo>
                    <a:pt x="1370" y="605"/>
                  </a:lnTo>
                  <a:lnTo>
                    <a:pt x="1370" y="605"/>
                  </a:lnTo>
                  <a:lnTo>
                    <a:pt x="1370" y="605"/>
                  </a:lnTo>
                  <a:lnTo>
                    <a:pt x="1370" y="603"/>
                  </a:lnTo>
                  <a:lnTo>
                    <a:pt x="1370" y="600"/>
                  </a:lnTo>
                  <a:lnTo>
                    <a:pt x="1370" y="600"/>
                  </a:lnTo>
                  <a:lnTo>
                    <a:pt x="1368" y="598"/>
                  </a:lnTo>
                  <a:close/>
                  <a:moveTo>
                    <a:pt x="1486" y="671"/>
                  </a:moveTo>
                  <a:lnTo>
                    <a:pt x="1489" y="674"/>
                  </a:lnTo>
                  <a:lnTo>
                    <a:pt x="1489" y="674"/>
                  </a:lnTo>
                  <a:lnTo>
                    <a:pt x="1489" y="671"/>
                  </a:lnTo>
                  <a:lnTo>
                    <a:pt x="1489" y="669"/>
                  </a:lnTo>
                  <a:lnTo>
                    <a:pt x="1489" y="669"/>
                  </a:lnTo>
                  <a:lnTo>
                    <a:pt x="1486" y="667"/>
                  </a:lnTo>
                  <a:lnTo>
                    <a:pt x="1486" y="667"/>
                  </a:lnTo>
                  <a:lnTo>
                    <a:pt x="1486" y="667"/>
                  </a:lnTo>
                  <a:lnTo>
                    <a:pt x="1484" y="667"/>
                  </a:lnTo>
                  <a:lnTo>
                    <a:pt x="1484" y="667"/>
                  </a:lnTo>
                  <a:lnTo>
                    <a:pt x="1484" y="667"/>
                  </a:lnTo>
                  <a:lnTo>
                    <a:pt x="1484" y="669"/>
                  </a:lnTo>
                  <a:lnTo>
                    <a:pt x="1484" y="669"/>
                  </a:lnTo>
                  <a:lnTo>
                    <a:pt x="1486" y="669"/>
                  </a:lnTo>
                  <a:lnTo>
                    <a:pt x="1484" y="671"/>
                  </a:lnTo>
                  <a:lnTo>
                    <a:pt x="1486" y="671"/>
                  </a:lnTo>
                  <a:close/>
                  <a:moveTo>
                    <a:pt x="1543" y="688"/>
                  </a:moveTo>
                  <a:lnTo>
                    <a:pt x="1543" y="686"/>
                  </a:lnTo>
                  <a:lnTo>
                    <a:pt x="1545" y="686"/>
                  </a:lnTo>
                  <a:lnTo>
                    <a:pt x="1545" y="683"/>
                  </a:lnTo>
                  <a:lnTo>
                    <a:pt x="1543" y="683"/>
                  </a:lnTo>
                  <a:lnTo>
                    <a:pt x="1543" y="683"/>
                  </a:lnTo>
                  <a:lnTo>
                    <a:pt x="1541" y="683"/>
                  </a:lnTo>
                  <a:lnTo>
                    <a:pt x="1541" y="686"/>
                  </a:lnTo>
                  <a:lnTo>
                    <a:pt x="1541" y="686"/>
                  </a:lnTo>
                  <a:lnTo>
                    <a:pt x="1541" y="688"/>
                  </a:lnTo>
                  <a:lnTo>
                    <a:pt x="1543" y="688"/>
                  </a:lnTo>
                  <a:lnTo>
                    <a:pt x="1543" y="688"/>
                  </a:lnTo>
                  <a:close/>
                  <a:moveTo>
                    <a:pt x="947" y="984"/>
                  </a:moveTo>
                  <a:lnTo>
                    <a:pt x="947" y="984"/>
                  </a:lnTo>
                  <a:lnTo>
                    <a:pt x="947" y="984"/>
                  </a:lnTo>
                  <a:lnTo>
                    <a:pt x="944" y="984"/>
                  </a:lnTo>
                  <a:lnTo>
                    <a:pt x="944" y="984"/>
                  </a:lnTo>
                  <a:lnTo>
                    <a:pt x="944" y="984"/>
                  </a:lnTo>
                  <a:lnTo>
                    <a:pt x="944" y="986"/>
                  </a:lnTo>
                  <a:lnTo>
                    <a:pt x="947" y="986"/>
                  </a:lnTo>
                  <a:lnTo>
                    <a:pt x="947" y="984"/>
                  </a:lnTo>
                  <a:lnTo>
                    <a:pt x="947" y="984"/>
                  </a:lnTo>
                  <a:lnTo>
                    <a:pt x="947" y="984"/>
                  </a:lnTo>
                  <a:close/>
                  <a:moveTo>
                    <a:pt x="1250" y="951"/>
                  </a:moveTo>
                  <a:lnTo>
                    <a:pt x="1250" y="951"/>
                  </a:lnTo>
                  <a:lnTo>
                    <a:pt x="1250" y="951"/>
                  </a:lnTo>
                  <a:lnTo>
                    <a:pt x="1247" y="951"/>
                  </a:lnTo>
                  <a:lnTo>
                    <a:pt x="1247" y="948"/>
                  </a:lnTo>
                  <a:lnTo>
                    <a:pt x="1247" y="948"/>
                  </a:lnTo>
                  <a:lnTo>
                    <a:pt x="1245" y="948"/>
                  </a:lnTo>
                  <a:lnTo>
                    <a:pt x="1245" y="951"/>
                  </a:lnTo>
                  <a:lnTo>
                    <a:pt x="1242" y="953"/>
                  </a:lnTo>
                  <a:lnTo>
                    <a:pt x="1242" y="953"/>
                  </a:lnTo>
                  <a:lnTo>
                    <a:pt x="1242" y="955"/>
                  </a:lnTo>
                  <a:lnTo>
                    <a:pt x="1240" y="955"/>
                  </a:lnTo>
                  <a:lnTo>
                    <a:pt x="1240" y="955"/>
                  </a:lnTo>
                  <a:lnTo>
                    <a:pt x="1240" y="958"/>
                  </a:lnTo>
                  <a:lnTo>
                    <a:pt x="1240" y="960"/>
                  </a:lnTo>
                  <a:lnTo>
                    <a:pt x="1240" y="960"/>
                  </a:lnTo>
                  <a:lnTo>
                    <a:pt x="1242" y="962"/>
                  </a:lnTo>
                  <a:lnTo>
                    <a:pt x="1242" y="965"/>
                  </a:lnTo>
                  <a:lnTo>
                    <a:pt x="1242" y="967"/>
                  </a:lnTo>
                  <a:lnTo>
                    <a:pt x="1245" y="970"/>
                  </a:lnTo>
                  <a:lnTo>
                    <a:pt x="1245" y="970"/>
                  </a:lnTo>
                  <a:lnTo>
                    <a:pt x="1250" y="970"/>
                  </a:lnTo>
                  <a:lnTo>
                    <a:pt x="1250" y="967"/>
                  </a:lnTo>
                  <a:lnTo>
                    <a:pt x="1252" y="965"/>
                  </a:lnTo>
                  <a:lnTo>
                    <a:pt x="1252" y="965"/>
                  </a:lnTo>
                  <a:lnTo>
                    <a:pt x="1252" y="965"/>
                  </a:lnTo>
                  <a:lnTo>
                    <a:pt x="1252" y="965"/>
                  </a:lnTo>
                  <a:lnTo>
                    <a:pt x="1252" y="962"/>
                  </a:lnTo>
                  <a:lnTo>
                    <a:pt x="1252" y="962"/>
                  </a:lnTo>
                  <a:lnTo>
                    <a:pt x="1252" y="962"/>
                  </a:lnTo>
                  <a:lnTo>
                    <a:pt x="1252" y="960"/>
                  </a:lnTo>
                  <a:lnTo>
                    <a:pt x="1252" y="960"/>
                  </a:lnTo>
                  <a:lnTo>
                    <a:pt x="1252" y="960"/>
                  </a:lnTo>
                  <a:lnTo>
                    <a:pt x="1252" y="958"/>
                  </a:lnTo>
                  <a:lnTo>
                    <a:pt x="1252" y="953"/>
                  </a:lnTo>
                  <a:lnTo>
                    <a:pt x="1252" y="953"/>
                  </a:lnTo>
                  <a:lnTo>
                    <a:pt x="1250" y="953"/>
                  </a:lnTo>
                  <a:lnTo>
                    <a:pt x="1250" y="953"/>
                  </a:lnTo>
                  <a:lnTo>
                    <a:pt x="1250" y="955"/>
                  </a:lnTo>
                  <a:lnTo>
                    <a:pt x="1250" y="955"/>
                  </a:lnTo>
                  <a:lnTo>
                    <a:pt x="1250" y="953"/>
                  </a:lnTo>
                  <a:lnTo>
                    <a:pt x="1250" y="953"/>
                  </a:lnTo>
                  <a:lnTo>
                    <a:pt x="1250" y="951"/>
                  </a:lnTo>
                  <a:close/>
                  <a:moveTo>
                    <a:pt x="1271" y="972"/>
                  </a:moveTo>
                  <a:lnTo>
                    <a:pt x="1271" y="972"/>
                  </a:lnTo>
                  <a:lnTo>
                    <a:pt x="1271" y="972"/>
                  </a:lnTo>
                  <a:lnTo>
                    <a:pt x="1271" y="972"/>
                  </a:lnTo>
                  <a:lnTo>
                    <a:pt x="1269" y="972"/>
                  </a:lnTo>
                  <a:lnTo>
                    <a:pt x="1271" y="977"/>
                  </a:lnTo>
                  <a:lnTo>
                    <a:pt x="1271" y="977"/>
                  </a:lnTo>
                  <a:lnTo>
                    <a:pt x="1271" y="977"/>
                  </a:lnTo>
                  <a:lnTo>
                    <a:pt x="1271" y="977"/>
                  </a:lnTo>
                  <a:lnTo>
                    <a:pt x="1273" y="977"/>
                  </a:lnTo>
                  <a:lnTo>
                    <a:pt x="1273" y="974"/>
                  </a:lnTo>
                  <a:lnTo>
                    <a:pt x="1273" y="974"/>
                  </a:lnTo>
                  <a:lnTo>
                    <a:pt x="1271" y="972"/>
                  </a:lnTo>
                  <a:close/>
                  <a:moveTo>
                    <a:pt x="1250" y="764"/>
                  </a:moveTo>
                  <a:lnTo>
                    <a:pt x="1247" y="764"/>
                  </a:lnTo>
                  <a:lnTo>
                    <a:pt x="1245" y="766"/>
                  </a:lnTo>
                  <a:lnTo>
                    <a:pt x="1245" y="764"/>
                  </a:lnTo>
                  <a:lnTo>
                    <a:pt x="1238" y="771"/>
                  </a:lnTo>
                  <a:lnTo>
                    <a:pt x="1238" y="771"/>
                  </a:lnTo>
                  <a:lnTo>
                    <a:pt x="1238" y="773"/>
                  </a:lnTo>
                  <a:lnTo>
                    <a:pt x="1238" y="773"/>
                  </a:lnTo>
                  <a:lnTo>
                    <a:pt x="1238" y="773"/>
                  </a:lnTo>
                  <a:lnTo>
                    <a:pt x="1238" y="773"/>
                  </a:lnTo>
                  <a:lnTo>
                    <a:pt x="1238" y="776"/>
                  </a:lnTo>
                  <a:lnTo>
                    <a:pt x="1240" y="776"/>
                  </a:lnTo>
                  <a:lnTo>
                    <a:pt x="1240" y="776"/>
                  </a:lnTo>
                  <a:lnTo>
                    <a:pt x="1240" y="778"/>
                  </a:lnTo>
                  <a:lnTo>
                    <a:pt x="1240" y="778"/>
                  </a:lnTo>
                  <a:lnTo>
                    <a:pt x="1240" y="778"/>
                  </a:lnTo>
                  <a:lnTo>
                    <a:pt x="1240" y="778"/>
                  </a:lnTo>
                  <a:lnTo>
                    <a:pt x="1240" y="778"/>
                  </a:lnTo>
                  <a:lnTo>
                    <a:pt x="1240" y="778"/>
                  </a:lnTo>
                  <a:lnTo>
                    <a:pt x="1240" y="780"/>
                  </a:lnTo>
                  <a:lnTo>
                    <a:pt x="1240" y="780"/>
                  </a:lnTo>
                  <a:lnTo>
                    <a:pt x="1242" y="780"/>
                  </a:lnTo>
                  <a:lnTo>
                    <a:pt x="1242" y="783"/>
                  </a:lnTo>
                  <a:lnTo>
                    <a:pt x="1242" y="783"/>
                  </a:lnTo>
                  <a:lnTo>
                    <a:pt x="1242" y="780"/>
                  </a:lnTo>
                  <a:lnTo>
                    <a:pt x="1245" y="778"/>
                  </a:lnTo>
                  <a:lnTo>
                    <a:pt x="1247" y="778"/>
                  </a:lnTo>
                  <a:lnTo>
                    <a:pt x="1245" y="778"/>
                  </a:lnTo>
                  <a:lnTo>
                    <a:pt x="1245" y="778"/>
                  </a:lnTo>
                  <a:lnTo>
                    <a:pt x="1245" y="778"/>
                  </a:lnTo>
                  <a:lnTo>
                    <a:pt x="1245" y="776"/>
                  </a:lnTo>
                  <a:lnTo>
                    <a:pt x="1245" y="776"/>
                  </a:lnTo>
                  <a:lnTo>
                    <a:pt x="1247" y="776"/>
                  </a:lnTo>
                  <a:lnTo>
                    <a:pt x="1247" y="776"/>
                  </a:lnTo>
                  <a:lnTo>
                    <a:pt x="1247" y="773"/>
                  </a:lnTo>
                  <a:lnTo>
                    <a:pt x="1250" y="773"/>
                  </a:lnTo>
                  <a:lnTo>
                    <a:pt x="1250" y="773"/>
                  </a:lnTo>
                  <a:lnTo>
                    <a:pt x="1247" y="771"/>
                  </a:lnTo>
                  <a:lnTo>
                    <a:pt x="1247" y="771"/>
                  </a:lnTo>
                  <a:lnTo>
                    <a:pt x="1247" y="768"/>
                  </a:lnTo>
                  <a:lnTo>
                    <a:pt x="1247" y="768"/>
                  </a:lnTo>
                  <a:lnTo>
                    <a:pt x="1247" y="768"/>
                  </a:lnTo>
                  <a:lnTo>
                    <a:pt x="1247" y="766"/>
                  </a:lnTo>
                  <a:lnTo>
                    <a:pt x="1250" y="766"/>
                  </a:lnTo>
                  <a:lnTo>
                    <a:pt x="1250" y="764"/>
                  </a:lnTo>
                  <a:lnTo>
                    <a:pt x="1250" y="764"/>
                  </a:lnTo>
                  <a:lnTo>
                    <a:pt x="1250" y="764"/>
                  </a:lnTo>
                  <a:lnTo>
                    <a:pt x="1250" y="764"/>
                  </a:lnTo>
                  <a:lnTo>
                    <a:pt x="1252" y="764"/>
                  </a:lnTo>
                  <a:lnTo>
                    <a:pt x="1252" y="764"/>
                  </a:lnTo>
                  <a:lnTo>
                    <a:pt x="1252" y="766"/>
                  </a:lnTo>
                  <a:lnTo>
                    <a:pt x="1250" y="766"/>
                  </a:lnTo>
                  <a:lnTo>
                    <a:pt x="1250" y="766"/>
                  </a:lnTo>
                  <a:lnTo>
                    <a:pt x="1250" y="766"/>
                  </a:lnTo>
                  <a:lnTo>
                    <a:pt x="1250" y="768"/>
                  </a:lnTo>
                  <a:lnTo>
                    <a:pt x="1252" y="768"/>
                  </a:lnTo>
                  <a:lnTo>
                    <a:pt x="1252" y="771"/>
                  </a:lnTo>
                  <a:lnTo>
                    <a:pt x="1254" y="771"/>
                  </a:lnTo>
                  <a:lnTo>
                    <a:pt x="1254" y="773"/>
                  </a:lnTo>
                  <a:lnTo>
                    <a:pt x="1254" y="773"/>
                  </a:lnTo>
                  <a:lnTo>
                    <a:pt x="1254" y="773"/>
                  </a:lnTo>
                  <a:lnTo>
                    <a:pt x="1257" y="771"/>
                  </a:lnTo>
                  <a:lnTo>
                    <a:pt x="1257" y="771"/>
                  </a:lnTo>
                  <a:lnTo>
                    <a:pt x="1257" y="771"/>
                  </a:lnTo>
                  <a:lnTo>
                    <a:pt x="1257" y="768"/>
                  </a:lnTo>
                  <a:lnTo>
                    <a:pt x="1257" y="768"/>
                  </a:lnTo>
                  <a:lnTo>
                    <a:pt x="1259" y="768"/>
                  </a:lnTo>
                  <a:lnTo>
                    <a:pt x="1257" y="768"/>
                  </a:lnTo>
                  <a:lnTo>
                    <a:pt x="1259" y="766"/>
                  </a:lnTo>
                  <a:lnTo>
                    <a:pt x="1259" y="766"/>
                  </a:lnTo>
                  <a:lnTo>
                    <a:pt x="1259" y="766"/>
                  </a:lnTo>
                  <a:lnTo>
                    <a:pt x="1259" y="764"/>
                  </a:lnTo>
                  <a:lnTo>
                    <a:pt x="1259" y="764"/>
                  </a:lnTo>
                  <a:lnTo>
                    <a:pt x="1259" y="761"/>
                  </a:lnTo>
                  <a:lnTo>
                    <a:pt x="1257" y="761"/>
                  </a:lnTo>
                  <a:lnTo>
                    <a:pt x="1257" y="761"/>
                  </a:lnTo>
                  <a:lnTo>
                    <a:pt x="1257" y="761"/>
                  </a:lnTo>
                  <a:lnTo>
                    <a:pt x="1257" y="761"/>
                  </a:lnTo>
                  <a:lnTo>
                    <a:pt x="1257" y="761"/>
                  </a:lnTo>
                  <a:lnTo>
                    <a:pt x="1252" y="757"/>
                  </a:lnTo>
                  <a:lnTo>
                    <a:pt x="1250" y="757"/>
                  </a:lnTo>
                  <a:lnTo>
                    <a:pt x="1250" y="759"/>
                  </a:lnTo>
                  <a:lnTo>
                    <a:pt x="1250" y="759"/>
                  </a:lnTo>
                  <a:lnTo>
                    <a:pt x="1250" y="761"/>
                  </a:lnTo>
                  <a:lnTo>
                    <a:pt x="1250" y="761"/>
                  </a:lnTo>
                  <a:lnTo>
                    <a:pt x="1250" y="764"/>
                  </a:lnTo>
                  <a:close/>
                  <a:moveTo>
                    <a:pt x="1245" y="979"/>
                  </a:moveTo>
                  <a:lnTo>
                    <a:pt x="1245" y="981"/>
                  </a:lnTo>
                  <a:lnTo>
                    <a:pt x="1245" y="984"/>
                  </a:lnTo>
                  <a:lnTo>
                    <a:pt x="1247" y="984"/>
                  </a:lnTo>
                  <a:lnTo>
                    <a:pt x="1247" y="984"/>
                  </a:lnTo>
                  <a:lnTo>
                    <a:pt x="1247" y="984"/>
                  </a:lnTo>
                  <a:lnTo>
                    <a:pt x="1250" y="984"/>
                  </a:lnTo>
                  <a:lnTo>
                    <a:pt x="1250" y="984"/>
                  </a:lnTo>
                  <a:lnTo>
                    <a:pt x="1250" y="984"/>
                  </a:lnTo>
                  <a:lnTo>
                    <a:pt x="1250" y="981"/>
                  </a:lnTo>
                  <a:lnTo>
                    <a:pt x="1252" y="979"/>
                  </a:lnTo>
                  <a:lnTo>
                    <a:pt x="1252" y="979"/>
                  </a:lnTo>
                  <a:lnTo>
                    <a:pt x="1252" y="977"/>
                  </a:lnTo>
                  <a:lnTo>
                    <a:pt x="1250" y="977"/>
                  </a:lnTo>
                  <a:lnTo>
                    <a:pt x="1250" y="974"/>
                  </a:lnTo>
                  <a:lnTo>
                    <a:pt x="1252" y="972"/>
                  </a:lnTo>
                  <a:lnTo>
                    <a:pt x="1250" y="972"/>
                  </a:lnTo>
                  <a:lnTo>
                    <a:pt x="1250" y="972"/>
                  </a:lnTo>
                  <a:lnTo>
                    <a:pt x="1250" y="972"/>
                  </a:lnTo>
                  <a:lnTo>
                    <a:pt x="1250" y="972"/>
                  </a:lnTo>
                  <a:lnTo>
                    <a:pt x="1247" y="974"/>
                  </a:lnTo>
                  <a:lnTo>
                    <a:pt x="1245" y="974"/>
                  </a:lnTo>
                  <a:lnTo>
                    <a:pt x="1245" y="977"/>
                  </a:lnTo>
                  <a:lnTo>
                    <a:pt x="1245" y="979"/>
                  </a:lnTo>
                  <a:lnTo>
                    <a:pt x="1245" y="979"/>
                  </a:lnTo>
                  <a:lnTo>
                    <a:pt x="1245" y="979"/>
                  </a:lnTo>
                  <a:close/>
                  <a:moveTo>
                    <a:pt x="1266" y="844"/>
                  </a:moveTo>
                  <a:lnTo>
                    <a:pt x="1266" y="846"/>
                  </a:lnTo>
                  <a:lnTo>
                    <a:pt x="1276" y="849"/>
                  </a:lnTo>
                  <a:lnTo>
                    <a:pt x="1276" y="849"/>
                  </a:lnTo>
                  <a:lnTo>
                    <a:pt x="1278" y="846"/>
                  </a:lnTo>
                  <a:lnTo>
                    <a:pt x="1276" y="844"/>
                  </a:lnTo>
                  <a:lnTo>
                    <a:pt x="1273" y="842"/>
                  </a:lnTo>
                  <a:lnTo>
                    <a:pt x="1273" y="839"/>
                  </a:lnTo>
                  <a:lnTo>
                    <a:pt x="1271" y="837"/>
                  </a:lnTo>
                  <a:lnTo>
                    <a:pt x="1271" y="837"/>
                  </a:lnTo>
                  <a:lnTo>
                    <a:pt x="1269" y="837"/>
                  </a:lnTo>
                  <a:lnTo>
                    <a:pt x="1266" y="837"/>
                  </a:lnTo>
                  <a:lnTo>
                    <a:pt x="1266" y="839"/>
                  </a:lnTo>
                  <a:lnTo>
                    <a:pt x="1266" y="842"/>
                  </a:lnTo>
                  <a:lnTo>
                    <a:pt x="1266" y="842"/>
                  </a:lnTo>
                  <a:lnTo>
                    <a:pt x="1266" y="842"/>
                  </a:lnTo>
                  <a:lnTo>
                    <a:pt x="1266" y="842"/>
                  </a:lnTo>
                  <a:lnTo>
                    <a:pt x="1264" y="842"/>
                  </a:lnTo>
                  <a:lnTo>
                    <a:pt x="1264" y="844"/>
                  </a:lnTo>
                  <a:lnTo>
                    <a:pt x="1266" y="844"/>
                  </a:lnTo>
                  <a:close/>
                  <a:moveTo>
                    <a:pt x="1280" y="735"/>
                  </a:moveTo>
                  <a:lnTo>
                    <a:pt x="1280" y="738"/>
                  </a:lnTo>
                  <a:lnTo>
                    <a:pt x="1280" y="738"/>
                  </a:lnTo>
                  <a:lnTo>
                    <a:pt x="1280" y="740"/>
                  </a:lnTo>
                  <a:lnTo>
                    <a:pt x="1280" y="745"/>
                  </a:lnTo>
                  <a:lnTo>
                    <a:pt x="1283" y="745"/>
                  </a:lnTo>
                  <a:lnTo>
                    <a:pt x="1283" y="747"/>
                  </a:lnTo>
                  <a:lnTo>
                    <a:pt x="1285" y="750"/>
                  </a:lnTo>
                  <a:lnTo>
                    <a:pt x="1292" y="747"/>
                  </a:lnTo>
                  <a:lnTo>
                    <a:pt x="1292" y="745"/>
                  </a:lnTo>
                  <a:lnTo>
                    <a:pt x="1292" y="745"/>
                  </a:lnTo>
                  <a:lnTo>
                    <a:pt x="1292" y="742"/>
                  </a:lnTo>
                  <a:lnTo>
                    <a:pt x="1290" y="740"/>
                  </a:lnTo>
                  <a:lnTo>
                    <a:pt x="1290" y="738"/>
                  </a:lnTo>
                  <a:lnTo>
                    <a:pt x="1290" y="738"/>
                  </a:lnTo>
                  <a:lnTo>
                    <a:pt x="1290" y="738"/>
                  </a:lnTo>
                  <a:lnTo>
                    <a:pt x="1290" y="738"/>
                  </a:lnTo>
                  <a:lnTo>
                    <a:pt x="1287" y="735"/>
                  </a:lnTo>
                  <a:lnTo>
                    <a:pt x="1287" y="733"/>
                  </a:lnTo>
                  <a:lnTo>
                    <a:pt x="1287" y="731"/>
                  </a:lnTo>
                  <a:lnTo>
                    <a:pt x="1287" y="731"/>
                  </a:lnTo>
                  <a:lnTo>
                    <a:pt x="1287" y="731"/>
                  </a:lnTo>
                  <a:lnTo>
                    <a:pt x="1287" y="728"/>
                  </a:lnTo>
                  <a:lnTo>
                    <a:pt x="1285" y="728"/>
                  </a:lnTo>
                  <a:lnTo>
                    <a:pt x="1285" y="728"/>
                  </a:lnTo>
                  <a:lnTo>
                    <a:pt x="1283" y="731"/>
                  </a:lnTo>
                  <a:lnTo>
                    <a:pt x="1280" y="733"/>
                  </a:lnTo>
                  <a:lnTo>
                    <a:pt x="1278" y="733"/>
                  </a:lnTo>
                  <a:lnTo>
                    <a:pt x="1278" y="735"/>
                  </a:lnTo>
                  <a:lnTo>
                    <a:pt x="1280" y="735"/>
                  </a:lnTo>
                  <a:close/>
                  <a:moveTo>
                    <a:pt x="1124" y="723"/>
                  </a:moveTo>
                  <a:lnTo>
                    <a:pt x="1119" y="726"/>
                  </a:lnTo>
                  <a:lnTo>
                    <a:pt x="1117" y="726"/>
                  </a:lnTo>
                  <a:lnTo>
                    <a:pt x="1117" y="726"/>
                  </a:lnTo>
                  <a:lnTo>
                    <a:pt x="1115" y="728"/>
                  </a:lnTo>
                  <a:lnTo>
                    <a:pt x="1115" y="728"/>
                  </a:lnTo>
                  <a:lnTo>
                    <a:pt x="1112" y="728"/>
                  </a:lnTo>
                  <a:lnTo>
                    <a:pt x="1110" y="731"/>
                  </a:lnTo>
                  <a:lnTo>
                    <a:pt x="1105" y="731"/>
                  </a:lnTo>
                  <a:lnTo>
                    <a:pt x="1103" y="733"/>
                  </a:lnTo>
                  <a:lnTo>
                    <a:pt x="1101" y="733"/>
                  </a:lnTo>
                  <a:lnTo>
                    <a:pt x="1101" y="735"/>
                  </a:lnTo>
                  <a:lnTo>
                    <a:pt x="1101" y="735"/>
                  </a:lnTo>
                  <a:lnTo>
                    <a:pt x="1101" y="735"/>
                  </a:lnTo>
                  <a:lnTo>
                    <a:pt x="1101" y="738"/>
                  </a:lnTo>
                  <a:lnTo>
                    <a:pt x="1101" y="738"/>
                  </a:lnTo>
                  <a:lnTo>
                    <a:pt x="1103" y="738"/>
                  </a:lnTo>
                  <a:lnTo>
                    <a:pt x="1105" y="738"/>
                  </a:lnTo>
                  <a:lnTo>
                    <a:pt x="1112" y="735"/>
                  </a:lnTo>
                  <a:lnTo>
                    <a:pt x="1119" y="733"/>
                  </a:lnTo>
                  <a:lnTo>
                    <a:pt x="1127" y="731"/>
                  </a:lnTo>
                  <a:lnTo>
                    <a:pt x="1131" y="728"/>
                  </a:lnTo>
                  <a:lnTo>
                    <a:pt x="1131" y="728"/>
                  </a:lnTo>
                  <a:lnTo>
                    <a:pt x="1134" y="726"/>
                  </a:lnTo>
                  <a:lnTo>
                    <a:pt x="1134" y="726"/>
                  </a:lnTo>
                  <a:lnTo>
                    <a:pt x="1131" y="723"/>
                  </a:lnTo>
                  <a:lnTo>
                    <a:pt x="1131" y="723"/>
                  </a:lnTo>
                  <a:lnTo>
                    <a:pt x="1124" y="723"/>
                  </a:lnTo>
                  <a:close/>
                  <a:moveTo>
                    <a:pt x="902" y="1310"/>
                  </a:moveTo>
                  <a:lnTo>
                    <a:pt x="899" y="1310"/>
                  </a:lnTo>
                  <a:lnTo>
                    <a:pt x="899" y="1313"/>
                  </a:lnTo>
                  <a:lnTo>
                    <a:pt x="902" y="1313"/>
                  </a:lnTo>
                  <a:lnTo>
                    <a:pt x="904" y="1310"/>
                  </a:lnTo>
                  <a:lnTo>
                    <a:pt x="906" y="1310"/>
                  </a:lnTo>
                  <a:lnTo>
                    <a:pt x="906" y="1310"/>
                  </a:lnTo>
                  <a:lnTo>
                    <a:pt x="906" y="1308"/>
                  </a:lnTo>
                  <a:lnTo>
                    <a:pt x="906" y="1305"/>
                  </a:lnTo>
                  <a:lnTo>
                    <a:pt x="909" y="1305"/>
                  </a:lnTo>
                  <a:lnTo>
                    <a:pt x="909" y="1305"/>
                  </a:lnTo>
                  <a:lnTo>
                    <a:pt x="909" y="1305"/>
                  </a:lnTo>
                  <a:lnTo>
                    <a:pt x="906" y="1305"/>
                  </a:lnTo>
                  <a:lnTo>
                    <a:pt x="904" y="1308"/>
                  </a:lnTo>
                  <a:lnTo>
                    <a:pt x="902" y="1310"/>
                  </a:lnTo>
                  <a:close/>
                  <a:moveTo>
                    <a:pt x="914" y="1270"/>
                  </a:moveTo>
                  <a:lnTo>
                    <a:pt x="914" y="1270"/>
                  </a:lnTo>
                  <a:lnTo>
                    <a:pt x="914" y="1270"/>
                  </a:lnTo>
                  <a:lnTo>
                    <a:pt x="914" y="1270"/>
                  </a:lnTo>
                  <a:lnTo>
                    <a:pt x="914" y="1268"/>
                  </a:lnTo>
                  <a:lnTo>
                    <a:pt x="911" y="1268"/>
                  </a:lnTo>
                  <a:lnTo>
                    <a:pt x="911" y="1265"/>
                  </a:lnTo>
                  <a:lnTo>
                    <a:pt x="906" y="1268"/>
                  </a:lnTo>
                  <a:lnTo>
                    <a:pt x="904" y="1270"/>
                  </a:lnTo>
                  <a:lnTo>
                    <a:pt x="904" y="1270"/>
                  </a:lnTo>
                  <a:lnTo>
                    <a:pt x="904" y="1270"/>
                  </a:lnTo>
                  <a:lnTo>
                    <a:pt x="909" y="1272"/>
                  </a:lnTo>
                  <a:lnTo>
                    <a:pt x="914" y="1270"/>
                  </a:lnTo>
                  <a:close/>
                  <a:moveTo>
                    <a:pt x="928" y="1298"/>
                  </a:moveTo>
                  <a:lnTo>
                    <a:pt x="928" y="1298"/>
                  </a:lnTo>
                  <a:lnTo>
                    <a:pt x="925" y="1298"/>
                  </a:lnTo>
                  <a:lnTo>
                    <a:pt x="925" y="1298"/>
                  </a:lnTo>
                  <a:lnTo>
                    <a:pt x="923" y="1301"/>
                  </a:lnTo>
                  <a:lnTo>
                    <a:pt x="923" y="1301"/>
                  </a:lnTo>
                  <a:lnTo>
                    <a:pt x="923" y="1303"/>
                  </a:lnTo>
                  <a:lnTo>
                    <a:pt x="923" y="1301"/>
                  </a:lnTo>
                  <a:lnTo>
                    <a:pt x="923" y="1301"/>
                  </a:lnTo>
                  <a:lnTo>
                    <a:pt x="925" y="1301"/>
                  </a:lnTo>
                  <a:lnTo>
                    <a:pt x="925" y="1301"/>
                  </a:lnTo>
                  <a:lnTo>
                    <a:pt x="928" y="1301"/>
                  </a:lnTo>
                  <a:lnTo>
                    <a:pt x="928" y="1301"/>
                  </a:lnTo>
                  <a:lnTo>
                    <a:pt x="930" y="1301"/>
                  </a:lnTo>
                  <a:lnTo>
                    <a:pt x="930" y="1298"/>
                  </a:lnTo>
                  <a:lnTo>
                    <a:pt x="932" y="1296"/>
                  </a:lnTo>
                  <a:lnTo>
                    <a:pt x="932" y="1296"/>
                  </a:lnTo>
                  <a:lnTo>
                    <a:pt x="932" y="1296"/>
                  </a:lnTo>
                  <a:lnTo>
                    <a:pt x="930" y="1296"/>
                  </a:lnTo>
                  <a:lnTo>
                    <a:pt x="930" y="1296"/>
                  </a:lnTo>
                  <a:lnTo>
                    <a:pt x="928" y="1298"/>
                  </a:lnTo>
                  <a:close/>
                  <a:moveTo>
                    <a:pt x="916" y="1268"/>
                  </a:moveTo>
                  <a:lnTo>
                    <a:pt x="918" y="1268"/>
                  </a:lnTo>
                  <a:lnTo>
                    <a:pt x="918" y="1268"/>
                  </a:lnTo>
                  <a:lnTo>
                    <a:pt x="916" y="1268"/>
                  </a:lnTo>
                  <a:lnTo>
                    <a:pt x="916" y="1265"/>
                  </a:lnTo>
                  <a:lnTo>
                    <a:pt x="916" y="1265"/>
                  </a:lnTo>
                  <a:lnTo>
                    <a:pt x="916" y="1265"/>
                  </a:lnTo>
                  <a:lnTo>
                    <a:pt x="916" y="1265"/>
                  </a:lnTo>
                  <a:lnTo>
                    <a:pt x="916" y="1265"/>
                  </a:lnTo>
                  <a:lnTo>
                    <a:pt x="916" y="1265"/>
                  </a:lnTo>
                  <a:lnTo>
                    <a:pt x="916" y="1265"/>
                  </a:lnTo>
                  <a:lnTo>
                    <a:pt x="916" y="1265"/>
                  </a:lnTo>
                  <a:lnTo>
                    <a:pt x="916" y="1265"/>
                  </a:lnTo>
                  <a:lnTo>
                    <a:pt x="914" y="1265"/>
                  </a:lnTo>
                  <a:lnTo>
                    <a:pt x="914" y="1265"/>
                  </a:lnTo>
                  <a:lnTo>
                    <a:pt x="914" y="1265"/>
                  </a:lnTo>
                  <a:lnTo>
                    <a:pt x="914" y="1268"/>
                  </a:lnTo>
                  <a:lnTo>
                    <a:pt x="914" y="1268"/>
                  </a:lnTo>
                  <a:lnTo>
                    <a:pt x="914" y="1268"/>
                  </a:lnTo>
                  <a:lnTo>
                    <a:pt x="916" y="1268"/>
                  </a:lnTo>
                  <a:close/>
                  <a:moveTo>
                    <a:pt x="861" y="1289"/>
                  </a:moveTo>
                  <a:lnTo>
                    <a:pt x="861" y="1286"/>
                  </a:lnTo>
                  <a:lnTo>
                    <a:pt x="861" y="1286"/>
                  </a:lnTo>
                  <a:lnTo>
                    <a:pt x="859" y="1286"/>
                  </a:lnTo>
                  <a:lnTo>
                    <a:pt x="859" y="1286"/>
                  </a:lnTo>
                  <a:lnTo>
                    <a:pt x="857" y="1286"/>
                  </a:lnTo>
                  <a:lnTo>
                    <a:pt x="857" y="1286"/>
                  </a:lnTo>
                  <a:lnTo>
                    <a:pt x="857" y="1289"/>
                  </a:lnTo>
                  <a:lnTo>
                    <a:pt x="857" y="1289"/>
                  </a:lnTo>
                  <a:lnTo>
                    <a:pt x="859" y="1289"/>
                  </a:lnTo>
                  <a:lnTo>
                    <a:pt x="859" y="1289"/>
                  </a:lnTo>
                  <a:lnTo>
                    <a:pt x="861" y="1289"/>
                  </a:lnTo>
                  <a:close/>
                  <a:moveTo>
                    <a:pt x="888" y="1282"/>
                  </a:moveTo>
                  <a:lnTo>
                    <a:pt x="885" y="1282"/>
                  </a:lnTo>
                  <a:lnTo>
                    <a:pt x="885" y="1284"/>
                  </a:lnTo>
                  <a:lnTo>
                    <a:pt x="885" y="1286"/>
                  </a:lnTo>
                  <a:lnTo>
                    <a:pt x="888" y="1286"/>
                  </a:lnTo>
                  <a:lnTo>
                    <a:pt x="888" y="1286"/>
                  </a:lnTo>
                  <a:lnTo>
                    <a:pt x="890" y="1284"/>
                  </a:lnTo>
                  <a:lnTo>
                    <a:pt x="890" y="1284"/>
                  </a:lnTo>
                  <a:lnTo>
                    <a:pt x="890" y="1284"/>
                  </a:lnTo>
                  <a:lnTo>
                    <a:pt x="890" y="1282"/>
                  </a:lnTo>
                  <a:lnTo>
                    <a:pt x="890" y="1282"/>
                  </a:lnTo>
                  <a:lnTo>
                    <a:pt x="892" y="1282"/>
                  </a:lnTo>
                  <a:lnTo>
                    <a:pt x="892" y="1282"/>
                  </a:lnTo>
                  <a:lnTo>
                    <a:pt x="892" y="1282"/>
                  </a:lnTo>
                  <a:lnTo>
                    <a:pt x="892" y="1282"/>
                  </a:lnTo>
                  <a:lnTo>
                    <a:pt x="892" y="1279"/>
                  </a:lnTo>
                  <a:lnTo>
                    <a:pt x="890" y="1282"/>
                  </a:lnTo>
                  <a:lnTo>
                    <a:pt x="888" y="1279"/>
                  </a:lnTo>
                  <a:lnTo>
                    <a:pt x="888" y="1282"/>
                  </a:lnTo>
                  <a:lnTo>
                    <a:pt x="888" y="1282"/>
                  </a:lnTo>
                  <a:lnTo>
                    <a:pt x="888" y="1282"/>
                  </a:lnTo>
                  <a:lnTo>
                    <a:pt x="888" y="1282"/>
                  </a:lnTo>
                  <a:lnTo>
                    <a:pt x="888" y="1282"/>
                  </a:lnTo>
                  <a:close/>
                  <a:moveTo>
                    <a:pt x="857" y="1301"/>
                  </a:moveTo>
                  <a:lnTo>
                    <a:pt x="854" y="1301"/>
                  </a:lnTo>
                  <a:lnTo>
                    <a:pt x="852" y="1301"/>
                  </a:lnTo>
                  <a:lnTo>
                    <a:pt x="850" y="1301"/>
                  </a:lnTo>
                  <a:lnTo>
                    <a:pt x="850" y="1303"/>
                  </a:lnTo>
                  <a:lnTo>
                    <a:pt x="850" y="1303"/>
                  </a:lnTo>
                  <a:lnTo>
                    <a:pt x="852" y="1303"/>
                  </a:lnTo>
                  <a:lnTo>
                    <a:pt x="854" y="1303"/>
                  </a:lnTo>
                  <a:lnTo>
                    <a:pt x="857" y="1303"/>
                  </a:lnTo>
                  <a:lnTo>
                    <a:pt x="857" y="1301"/>
                  </a:lnTo>
                  <a:lnTo>
                    <a:pt x="857" y="1301"/>
                  </a:lnTo>
                  <a:lnTo>
                    <a:pt x="859" y="1301"/>
                  </a:lnTo>
                  <a:lnTo>
                    <a:pt x="857" y="1301"/>
                  </a:lnTo>
                  <a:lnTo>
                    <a:pt x="857" y="1301"/>
                  </a:lnTo>
                  <a:close/>
                  <a:moveTo>
                    <a:pt x="954" y="1315"/>
                  </a:moveTo>
                  <a:lnTo>
                    <a:pt x="956" y="1315"/>
                  </a:lnTo>
                  <a:lnTo>
                    <a:pt x="956" y="1315"/>
                  </a:lnTo>
                  <a:lnTo>
                    <a:pt x="956" y="1313"/>
                  </a:lnTo>
                  <a:lnTo>
                    <a:pt x="956" y="1313"/>
                  </a:lnTo>
                  <a:lnTo>
                    <a:pt x="956" y="1310"/>
                  </a:lnTo>
                  <a:lnTo>
                    <a:pt x="956" y="1310"/>
                  </a:lnTo>
                  <a:lnTo>
                    <a:pt x="956" y="1310"/>
                  </a:lnTo>
                  <a:lnTo>
                    <a:pt x="954" y="1310"/>
                  </a:lnTo>
                  <a:lnTo>
                    <a:pt x="954" y="1308"/>
                  </a:lnTo>
                  <a:lnTo>
                    <a:pt x="954" y="1308"/>
                  </a:lnTo>
                  <a:lnTo>
                    <a:pt x="954" y="1308"/>
                  </a:lnTo>
                  <a:lnTo>
                    <a:pt x="954" y="1310"/>
                  </a:lnTo>
                  <a:lnTo>
                    <a:pt x="954" y="1310"/>
                  </a:lnTo>
                  <a:lnTo>
                    <a:pt x="951" y="1308"/>
                  </a:lnTo>
                  <a:lnTo>
                    <a:pt x="951" y="1308"/>
                  </a:lnTo>
                  <a:lnTo>
                    <a:pt x="951" y="1308"/>
                  </a:lnTo>
                  <a:lnTo>
                    <a:pt x="951" y="1310"/>
                  </a:lnTo>
                  <a:lnTo>
                    <a:pt x="949" y="1308"/>
                  </a:lnTo>
                  <a:lnTo>
                    <a:pt x="949" y="1308"/>
                  </a:lnTo>
                  <a:lnTo>
                    <a:pt x="949" y="1310"/>
                  </a:lnTo>
                  <a:lnTo>
                    <a:pt x="949" y="1310"/>
                  </a:lnTo>
                  <a:lnTo>
                    <a:pt x="954" y="1315"/>
                  </a:lnTo>
                  <a:lnTo>
                    <a:pt x="954" y="1315"/>
                  </a:lnTo>
                  <a:close/>
                  <a:moveTo>
                    <a:pt x="940" y="1289"/>
                  </a:moveTo>
                  <a:lnTo>
                    <a:pt x="940" y="1289"/>
                  </a:lnTo>
                  <a:lnTo>
                    <a:pt x="935" y="1294"/>
                  </a:lnTo>
                  <a:lnTo>
                    <a:pt x="932" y="1294"/>
                  </a:lnTo>
                  <a:lnTo>
                    <a:pt x="932" y="1296"/>
                  </a:lnTo>
                  <a:lnTo>
                    <a:pt x="935" y="1296"/>
                  </a:lnTo>
                  <a:lnTo>
                    <a:pt x="937" y="1294"/>
                  </a:lnTo>
                  <a:lnTo>
                    <a:pt x="937" y="1294"/>
                  </a:lnTo>
                  <a:lnTo>
                    <a:pt x="937" y="1294"/>
                  </a:lnTo>
                  <a:lnTo>
                    <a:pt x="937" y="1291"/>
                  </a:lnTo>
                  <a:lnTo>
                    <a:pt x="937" y="1291"/>
                  </a:lnTo>
                  <a:lnTo>
                    <a:pt x="940" y="1291"/>
                  </a:lnTo>
                  <a:lnTo>
                    <a:pt x="940" y="1291"/>
                  </a:lnTo>
                  <a:lnTo>
                    <a:pt x="940" y="1291"/>
                  </a:lnTo>
                  <a:lnTo>
                    <a:pt x="940" y="1291"/>
                  </a:lnTo>
                  <a:lnTo>
                    <a:pt x="940" y="1289"/>
                  </a:lnTo>
                  <a:lnTo>
                    <a:pt x="940" y="1289"/>
                  </a:lnTo>
                  <a:close/>
                  <a:moveTo>
                    <a:pt x="1815" y="1220"/>
                  </a:moveTo>
                  <a:lnTo>
                    <a:pt x="1815" y="1220"/>
                  </a:lnTo>
                  <a:lnTo>
                    <a:pt x="1815" y="1218"/>
                  </a:lnTo>
                  <a:lnTo>
                    <a:pt x="1815" y="1218"/>
                  </a:lnTo>
                  <a:lnTo>
                    <a:pt x="1815" y="1218"/>
                  </a:lnTo>
                  <a:lnTo>
                    <a:pt x="1813" y="1216"/>
                  </a:lnTo>
                  <a:lnTo>
                    <a:pt x="1810" y="1213"/>
                  </a:lnTo>
                  <a:lnTo>
                    <a:pt x="1808" y="1211"/>
                  </a:lnTo>
                  <a:lnTo>
                    <a:pt x="1808" y="1211"/>
                  </a:lnTo>
                  <a:lnTo>
                    <a:pt x="1808" y="1211"/>
                  </a:lnTo>
                  <a:lnTo>
                    <a:pt x="1806" y="1213"/>
                  </a:lnTo>
                  <a:lnTo>
                    <a:pt x="1806" y="1213"/>
                  </a:lnTo>
                  <a:lnTo>
                    <a:pt x="1806" y="1213"/>
                  </a:lnTo>
                  <a:lnTo>
                    <a:pt x="1806" y="1216"/>
                  </a:lnTo>
                  <a:lnTo>
                    <a:pt x="1808" y="1216"/>
                  </a:lnTo>
                  <a:lnTo>
                    <a:pt x="1808" y="1218"/>
                  </a:lnTo>
                  <a:lnTo>
                    <a:pt x="1810" y="1218"/>
                  </a:lnTo>
                  <a:lnTo>
                    <a:pt x="1810" y="1220"/>
                  </a:lnTo>
                  <a:lnTo>
                    <a:pt x="1813" y="1220"/>
                  </a:lnTo>
                  <a:lnTo>
                    <a:pt x="1813" y="1220"/>
                  </a:lnTo>
                  <a:lnTo>
                    <a:pt x="1813" y="1220"/>
                  </a:lnTo>
                  <a:lnTo>
                    <a:pt x="1813" y="1223"/>
                  </a:lnTo>
                  <a:lnTo>
                    <a:pt x="1813" y="1225"/>
                  </a:lnTo>
                  <a:lnTo>
                    <a:pt x="1813" y="1225"/>
                  </a:lnTo>
                  <a:lnTo>
                    <a:pt x="1815" y="1225"/>
                  </a:lnTo>
                  <a:lnTo>
                    <a:pt x="1815" y="1225"/>
                  </a:lnTo>
                  <a:lnTo>
                    <a:pt x="1815" y="1225"/>
                  </a:lnTo>
                  <a:lnTo>
                    <a:pt x="1815" y="1223"/>
                  </a:lnTo>
                  <a:lnTo>
                    <a:pt x="1815" y="1220"/>
                  </a:lnTo>
                  <a:lnTo>
                    <a:pt x="1815" y="1220"/>
                  </a:lnTo>
                  <a:close/>
                  <a:moveTo>
                    <a:pt x="1067" y="1279"/>
                  </a:moveTo>
                  <a:lnTo>
                    <a:pt x="1067" y="1279"/>
                  </a:lnTo>
                  <a:lnTo>
                    <a:pt x="1067" y="1279"/>
                  </a:lnTo>
                  <a:lnTo>
                    <a:pt x="1065" y="1277"/>
                  </a:lnTo>
                  <a:lnTo>
                    <a:pt x="1063" y="1277"/>
                  </a:lnTo>
                  <a:lnTo>
                    <a:pt x="1063" y="1275"/>
                  </a:lnTo>
                  <a:lnTo>
                    <a:pt x="1058" y="1275"/>
                  </a:lnTo>
                  <a:lnTo>
                    <a:pt x="1056" y="1275"/>
                  </a:lnTo>
                  <a:lnTo>
                    <a:pt x="1053" y="1277"/>
                  </a:lnTo>
                  <a:lnTo>
                    <a:pt x="1053" y="1277"/>
                  </a:lnTo>
                  <a:lnTo>
                    <a:pt x="1053" y="1277"/>
                  </a:lnTo>
                  <a:lnTo>
                    <a:pt x="1056" y="1279"/>
                  </a:lnTo>
                  <a:lnTo>
                    <a:pt x="1058" y="1282"/>
                  </a:lnTo>
                  <a:lnTo>
                    <a:pt x="1058" y="1284"/>
                  </a:lnTo>
                  <a:lnTo>
                    <a:pt x="1060" y="1284"/>
                  </a:lnTo>
                  <a:lnTo>
                    <a:pt x="1060" y="1286"/>
                  </a:lnTo>
                  <a:lnTo>
                    <a:pt x="1060" y="1286"/>
                  </a:lnTo>
                  <a:lnTo>
                    <a:pt x="1063" y="1286"/>
                  </a:lnTo>
                  <a:lnTo>
                    <a:pt x="1065" y="1286"/>
                  </a:lnTo>
                  <a:lnTo>
                    <a:pt x="1067" y="1286"/>
                  </a:lnTo>
                  <a:lnTo>
                    <a:pt x="1070" y="1284"/>
                  </a:lnTo>
                  <a:lnTo>
                    <a:pt x="1067" y="1282"/>
                  </a:lnTo>
                  <a:lnTo>
                    <a:pt x="1067" y="1279"/>
                  </a:lnTo>
                  <a:lnTo>
                    <a:pt x="1067" y="1279"/>
                  </a:lnTo>
                  <a:close/>
                  <a:moveTo>
                    <a:pt x="947" y="1320"/>
                  </a:moveTo>
                  <a:lnTo>
                    <a:pt x="947" y="1322"/>
                  </a:lnTo>
                  <a:lnTo>
                    <a:pt x="949" y="1322"/>
                  </a:lnTo>
                  <a:lnTo>
                    <a:pt x="951" y="1322"/>
                  </a:lnTo>
                  <a:lnTo>
                    <a:pt x="951" y="1322"/>
                  </a:lnTo>
                  <a:lnTo>
                    <a:pt x="951" y="1322"/>
                  </a:lnTo>
                  <a:lnTo>
                    <a:pt x="951" y="1322"/>
                  </a:lnTo>
                  <a:lnTo>
                    <a:pt x="951" y="1322"/>
                  </a:lnTo>
                  <a:lnTo>
                    <a:pt x="951" y="1320"/>
                  </a:lnTo>
                  <a:lnTo>
                    <a:pt x="949" y="1320"/>
                  </a:lnTo>
                  <a:lnTo>
                    <a:pt x="947" y="1320"/>
                  </a:lnTo>
                  <a:close/>
                  <a:moveTo>
                    <a:pt x="944" y="1308"/>
                  </a:moveTo>
                  <a:lnTo>
                    <a:pt x="944" y="1308"/>
                  </a:lnTo>
                  <a:lnTo>
                    <a:pt x="944" y="1308"/>
                  </a:lnTo>
                  <a:lnTo>
                    <a:pt x="947" y="1305"/>
                  </a:lnTo>
                  <a:lnTo>
                    <a:pt x="944" y="1305"/>
                  </a:lnTo>
                  <a:lnTo>
                    <a:pt x="944" y="1303"/>
                  </a:lnTo>
                  <a:lnTo>
                    <a:pt x="944" y="1303"/>
                  </a:lnTo>
                  <a:lnTo>
                    <a:pt x="944" y="1303"/>
                  </a:lnTo>
                  <a:lnTo>
                    <a:pt x="944" y="1303"/>
                  </a:lnTo>
                  <a:lnTo>
                    <a:pt x="944" y="1301"/>
                  </a:lnTo>
                  <a:lnTo>
                    <a:pt x="944" y="1301"/>
                  </a:lnTo>
                  <a:lnTo>
                    <a:pt x="942" y="1301"/>
                  </a:lnTo>
                  <a:lnTo>
                    <a:pt x="942" y="1301"/>
                  </a:lnTo>
                  <a:lnTo>
                    <a:pt x="942" y="1301"/>
                  </a:lnTo>
                  <a:lnTo>
                    <a:pt x="942" y="1301"/>
                  </a:lnTo>
                  <a:lnTo>
                    <a:pt x="942" y="1301"/>
                  </a:lnTo>
                  <a:lnTo>
                    <a:pt x="942" y="1301"/>
                  </a:lnTo>
                  <a:lnTo>
                    <a:pt x="942" y="1301"/>
                  </a:lnTo>
                  <a:lnTo>
                    <a:pt x="942" y="1303"/>
                  </a:lnTo>
                  <a:lnTo>
                    <a:pt x="942" y="1303"/>
                  </a:lnTo>
                  <a:lnTo>
                    <a:pt x="942" y="1303"/>
                  </a:lnTo>
                  <a:lnTo>
                    <a:pt x="942" y="1303"/>
                  </a:lnTo>
                  <a:lnTo>
                    <a:pt x="940" y="1303"/>
                  </a:lnTo>
                  <a:lnTo>
                    <a:pt x="940" y="1303"/>
                  </a:lnTo>
                  <a:lnTo>
                    <a:pt x="940" y="1303"/>
                  </a:lnTo>
                  <a:lnTo>
                    <a:pt x="944" y="1308"/>
                  </a:lnTo>
                  <a:close/>
                  <a:moveTo>
                    <a:pt x="1127" y="1199"/>
                  </a:moveTo>
                  <a:lnTo>
                    <a:pt x="1124" y="1199"/>
                  </a:lnTo>
                  <a:lnTo>
                    <a:pt x="1124" y="1199"/>
                  </a:lnTo>
                  <a:lnTo>
                    <a:pt x="1124" y="1199"/>
                  </a:lnTo>
                  <a:lnTo>
                    <a:pt x="1124" y="1201"/>
                  </a:lnTo>
                  <a:lnTo>
                    <a:pt x="1124" y="1204"/>
                  </a:lnTo>
                  <a:lnTo>
                    <a:pt x="1127" y="1204"/>
                  </a:lnTo>
                  <a:lnTo>
                    <a:pt x="1127" y="1201"/>
                  </a:lnTo>
                  <a:lnTo>
                    <a:pt x="1127" y="1199"/>
                  </a:lnTo>
                  <a:lnTo>
                    <a:pt x="1127" y="1199"/>
                  </a:lnTo>
                  <a:lnTo>
                    <a:pt x="1127" y="1199"/>
                  </a:lnTo>
                  <a:close/>
                  <a:moveTo>
                    <a:pt x="873" y="1142"/>
                  </a:moveTo>
                  <a:lnTo>
                    <a:pt x="873" y="1142"/>
                  </a:lnTo>
                  <a:lnTo>
                    <a:pt x="873" y="1142"/>
                  </a:lnTo>
                  <a:lnTo>
                    <a:pt x="871" y="1140"/>
                  </a:lnTo>
                  <a:lnTo>
                    <a:pt x="869" y="1140"/>
                  </a:lnTo>
                  <a:lnTo>
                    <a:pt x="869" y="1140"/>
                  </a:lnTo>
                  <a:lnTo>
                    <a:pt x="869" y="1140"/>
                  </a:lnTo>
                  <a:lnTo>
                    <a:pt x="869" y="1140"/>
                  </a:lnTo>
                  <a:lnTo>
                    <a:pt x="866" y="1140"/>
                  </a:lnTo>
                  <a:lnTo>
                    <a:pt x="869" y="1142"/>
                  </a:lnTo>
                  <a:lnTo>
                    <a:pt x="873" y="1142"/>
                  </a:lnTo>
                  <a:lnTo>
                    <a:pt x="873" y="1142"/>
                  </a:lnTo>
                  <a:close/>
                  <a:moveTo>
                    <a:pt x="838" y="1256"/>
                  </a:moveTo>
                  <a:lnTo>
                    <a:pt x="840" y="1256"/>
                  </a:lnTo>
                  <a:lnTo>
                    <a:pt x="838" y="1253"/>
                  </a:lnTo>
                  <a:lnTo>
                    <a:pt x="835" y="1253"/>
                  </a:lnTo>
                  <a:lnTo>
                    <a:pt x="835" y="1253"/>
                  </a:lnTo>
                  <a:lnTo>
                    <a:pt x="835" y="1253"/>
                  </a:lnTo>
                  <a:lnTo>
                    <a:pt x="835" y="1253"/>
                  </a:lnTo>
                  <a:lnTo>
                    <a:pt x="835" y="1253"/>
                  </a:lnTo>
                  <a:lnTo>
                    <a:pt x="838" y="1256"/>
                  </a:lnTo>
                  <a:close/>
                  <a:moveTo>
                    <a:pt x="793" y="1114"/>
                  </a:moveTo>
                  <a:lnTo>
                    <a:pt x="793" y="1111"/>
                  </a:lnTo>
                  <a:lnTo>
                    <a:pt x="791" y="1111"/>
                  </a:lnTo>
                  <a:lnTo>
                    <a:pt x="788" y="1111"/>
                  </a:lnTo>
                  <a:lnTo>
                    <a:pt x="788" y="1111"/>
                  </a:lnTo>
                  <a:lnTo>
                    <a:pt x="788" y="1111"/>
                  </a:lnTo>
                  <a:lnTo>
                    <a:pt x="788" y="1111"/>
                  </a:lnTo>
                  <a:lnTo>
                    <a:pt x="786" y="1111"/>
                  </a:lnTo>
                  <a:lnTo>
                    <a:pt x="788" y="1111"/>
                  </a:lnTo>
                  <a:lnTo>
                    <a:pt x="793" y="1114"/>
                  </a:lnTo>
                  <a:lnTo>
                    <a:pt x="793" y="1114"/>
                  </a:lnTo>
                  <a:close/>
                  <a:moveTo>
                    <a:pt x="795" y="1116"/>
                  </a:moveTo>
                  <a:lnTo>
                    <a:pt x="798" y="1116"/>
                  </a:lnTo>
                  <a:lnTo>
                    <a:pt x="798" y="1116"/>
                  </a:lnTo>
                  <a:lnTo>
                    <a:pt x="798" y="1114"/>
                  </a:lnTo>
                  <a:lnTo>
                    <a:pt x="800" y="1114"/>
                  </a:lnTo>
                  <a:lnTo>
                    <a:pt x="802" y="1114"/>
                  </a:lnTo>
                  <a:lnTo>
                    <a:pt x="800" y="1114"/>
                  </a:lnTo>
                  <a:lnTo>
                    <a:pt x="798" y="1114"/>
                  </a:lnTo>
                  <a:lnTo>
                    <a:pt x="798" y="1114"/>
                  </a:lnTo>
                  <a:lnTo>
                    <a:pt x="795" y="1114"/>
                  </a:lnTo>
                  <a:lnTo>
                    <a:pt x="795" y="1114"/>
                  </a:lnTo>
                  <a:lnTo>
                    <a:pt x="795" y="1114"/>
                  </a:lnTo>
                  <a:lnTo>
                    <a:pt x="793" y="1114"/>
                  </a:lnTo>
                  <a:lnTo>
                    <a:pt x="793" y="1114"/>
                  </a:lnTo>
                  <a:lnTo>
                    <a:pt x="793" y="1114"/>
                  </a:lnTo>
                  <a:lnTo>
                    <a:pt x="793" y="1116"/>
                  </a:lnTo>
                  <a:lnTo>
                    <a:pt x="793" y="1116"/>
                  </a:lnTo>
                  <a:lnTo>
                    <a:pt x="795" y="1116"/>
                  </a:lnTo>
                  <a:close/>
                  <a:moveTo>
                    <a:pt x="947" y="981"/>
                  </a:moveTo>
                  <a:lnTo>
                    <a:pt x="949" y="984"/>
                  </a:lnTo>
                  <a:lnTo>
                    <a:pt x="949" y="981"/>
                  </a:lnTo>
                  <a:lnTo>
                    <a:pt x="949" y="981"/>
                  </a:lnTo>
                  <a:lnTo>
                    <a:pt x="949" y="981"/>
                  </a:lnTo>
                  <a:lnTo>
                    <a:pt x="949" y="981"/>
                  </a:lnTo>
                  <a:lnTo>
                    <a:pt x="947" y="981"/>
                  </a:lnTo>
                  <a:lnTo>
                    <a:pt x="947" y="981"/>
                  </a:lnTo>
                  <a:close/>
                  <a:moveTo>
                    <a:pt x="904" y="1145"/>
                  </a:moveTo>
                  <a:lnTo>
                    <a:pt x="899" y="1142"/>
                  </a:lnTo>
                  <a:lnTo>
                    <a:pt x="897" y="1142"/>
                  </a:lnTo>
                  <a:lnTo>
                    <a:pt x="895" y="1140"/>
                  </a:lnTo>
                  <a:lnTo>
                    <a:pt x="890" y="1137"/>
                  </a:lnTo>
                  <a:lnTo>
                    <a:pt x="888" y="1137"/>
                  </a:lnTo>
                  <a:lnTo>
                    <a:pt x="888" y="1140"/>
                  </a:lnTo>
                  <a:lnTo>
                    <a:pt x="888" y="1140"/>
                  </a:lnTo>
                  <a:lnTo>
                    <a:pt x="892" y="1145"/>
                  </a:lnTo>
                  <a:lnTo>
                    <a:pt x="904" y="1145"/>
                  </a:lnTo>
                  <a:close/>
                  <a:moveTo>
                    <a:pt x="809" y="1114"/>
                  </a:moveTo>
                  <a:lnTo>
                    <a:pt x="809" y="1114"/>
                  </a:lnTo>
                  <a:lnTo>
                    <a:pt x="809" y="1114"/>
                  </a:lnTo>
                  <a:lnTo>
                    <a:pt x="807" y="1111"/>
                  </a:lnTo>
                  <a:lnTo>
                    <a:pt x="807" y="1114"/>
                  </a:lnTo>
                  <a:lnTo>
                    <a:pt x="807" y="1114"/>
                  </a:lnTo>
                  <a:lnTo>
                    <a:pt x="805" y="1114"/>
                  </a:lnTo>
                  <a:lnTo>
                    <a:pt x="805" y="1114"/>
                  </a:lnTo>
                  <a:lnTo>
                    <a:pt x="802" y="1114"/>
                  </a:lnTo>
                  <a:lnTo>
                    <a:pt x="805" y="1116"/>
                  </a:lnTo>
                  <a:lnTo>
                    <a:pt x="807" y="1116"/>
                  </a:lnTo>
                  <a:lnTo>
                    <a:pt x="809" y="1114"/>
                  </a:lnTo>
                  <a:close/>
                  <a:moveTo>
                    <a:pt x="831" y="1249"/>
                  </a:moveTo>
                  <a:lnTo>
                    <a:pt x="831" y="1249"/>
                  </a:lnTo>
                  <a:lnTo>
                    <a:pt x="831" y="1249"/>
                  </a:lnTo>
                  <a:lnTo>
                    <a:pt x="831" y="1249"/>
                  </a:lnTo>
                  <a:lnTo>
                    <a:pt x="831" y="1249"/>
                  </a:lnTo>
                  <a:lnTo>
                    <a:pt x="831" y="1251"/>
                  </a:lnTo>
                  <a:lnTo>
                    <a:pt x="833" y="1253"/>
                  </a:lnTo>
                  <a:lnTo>
                    <a:pt x="833" y="1253"/>
                  </a:lnTo>
                  <a:lnTo>
                    <a:pt x="833" y="1251"/>
                  </a:lnTo>
                  <a:lnTo>
                    <a:pt x="831" y="1249"/>
                  </a:lnTo>
                  <a:lnTo>
                    <a:pt x="831" y="1249"/>
                  </a:lnTo>
                  <a:close/>
                  <a:moveTo>
                    <a:pt x="786" y="1114"/>
                  </a:moveTo>
                  <a:lnTo>
                    <a:pt x="786" y="1116"/>
                  </a:lnTo>
                  <a:lnTo>
                    <a:pt x="786" y="1116"/>
                  </a:lnTo>
                  <a:lnTo>
                    <a:pt x="786" y="1116"/>
                  </a:lnTo>
                  <a:lnTo>
                    <a:pt x="791" y="1119"/>
                  </a:lnTo>
                  <a:lnTo>
                    <a:pt x="791" y="1119"/>
                  </a:lnTo>
                  <a:lnTo>
                    <a:pt x="791" y="1116"/>
                  </a:lnTo>
                  <a:lnTo>
                    <a:pt x="791" y="1116"/>
                  </a:lnTo>
                  <a:lnTo>
                    <a:pt x="788" y="1116"/>
                  </a:lnTo>
                  <a:lnTo>
                    <a:pt x="786" y="1114"/>
                  </a:lnTo>
                  <a:lnTo>
                    <a:pt x="786" y="1114"/>
                  </a:lnTo>
                  <a:close/>
                  <a:moveTo>
                    <a:pt x="845" y="1303"/>
                  </a:moveTo>
                  <a:lnTo>
                    <a:pt x="847" y="1303"/>
                  </a:lnTo>
                  <a:lnTo>
                    <a:pt x="847" y="1301"/>
                  </a:lnTo>
                  <a:lnTo>
                    <a:pt x="845" y="1301"/>
                  </a:lnTo>
                  <a:lnTo>
                    <a:pt x="845" y="1301"/>
                  </a:lnTo>
                  <a:lnTo>
                    <a:pt x="843" y="1301"/>
                  </a:lnTo>
                  <a:lnTo>
                    <a:pt x="843" y="1301"/>
                  </a:lnTo>
                  <a:lnTo>
                    <a:pt x="843" y="1301"/>
                  </a:lnTo>
                  <a:lnTo>
                    <a:pt x="843" y="1301"/>
                  </a:lnTo>
                  <a:lnTo>
                    <a:pt x="843" y="1301"/>
                  </a:lnTo>
                  <a:lnTo>
                    <a:pt x="843" y="1301"/>
                  </a:lnTo>
                  <a:lnTo>
                    <a:pt x="843" y="1303"/>
                  </a:lnTo>
                  <a:lnTo>
                    <a:pt x="838" y="1301"/>
                  </a:lnTo>
                  <a:lnTo>
                    <a:pt x="838" y="1301"/>
                  </a:lnTo>
                  <a:lnTo>
                    <a:pt x="838" y="1301"/>
                  </a:lnTo>
                  <a:lnTo>
                    <a:pt x="840" y="1303"/>
                  </a:lnTo>
                  <a:lnTo>
                    <a:pt x="845" y="1303"/>
                  </a:lnTo>
                  <a:close/>
                  <a:moveTo>
                    <a:pt x="826" y="1232"/>
                  </a:moveTo>
                  <a:lnTo>
                    <a:pt x="826" y="1232"/>
                  </a:lnTo>
                  <a:lnTo>
                    <a:pt x="826" y="1232"/>
                  </a:lnTo>
                  <a:lnTo>
                    <a:pt x="826" y="1234"/>
                  </a:lnTo>
                  <a:lnTo>
                    <a:pt x="826" y="1234"/>
                  </a:lnTo>
                  <a:lnTo>
                    <a:pt x="826" y="1234"/>
                  </a:lnTo>
                  <a:lnTo>
                    <a:pt x="828" y="1234"/>
                  </a:lnTo>
                  <a:lnTo>
                    <a:pt x="828" y="1234"/>
                  </a:lnTo>
                  <a:lnTo>
                    <a:pt x="828" y="1234"/>
                  </a:lnTo>
                  <a:lnTo>
                    <a:pt x="826" y="1232"/>
                  </a:lnTo>
                  <a:lnTo>
                    <a:pt x="826" y="1232"/>
                  </a:lnTo>
                  <a:close/>
                  <a:moveTo>
                    <a:pt x="781" y="1111"/>
                  </a:moveTo>
                  <a:lnTo>
                    <a:pt x="783" y="1111"/>
                  </a:lnTo>
                  <a:lnTo>
                    <a:pt x="783" y="1111"/>
                  </a:lnTo>
                  <a:lnTo>
                    <a:pt x="783" y="1109"/>
                  </a:lnTo>
                  <a:lnTo>
                    <a:pt x="781" y="1109"/>
                  </a:lnTo>
                  <a:lnTo>
                    <a:pt x="776" y="1107"/>
                  </a:lnTo>
                  <a:lnTo>
                    <a:pt x="776" y="1107"/>
                  </a:lnTo>
                  <a:lnTo>
                    <a:pt x="774" y="1109"/>
                  </a:lnTo>
                  <a:lnTo>
                    <a:pt x="774" y="1109"/>
                  </a:lnTo>
                  <a:lnTo>
                    <a:pt x="776" y="1111"/>
                  </a:lnTo>
                  <a:lnTo>
                    <a:pt x="781" y="1111"/>
                  </a:lnTo>
                  <a:close/>
                  <a:moveTo>
                    <a:pt x="1721" y="1537"/>
                  </a:moveTo>
                  <a:lnTo>
                    <a:pt x="1721" y="1537"/>
                  </a:lnTo>
                  <a:lnTo>
                    <a:pt x="1718" y="1537"/>
                  </a:lnTo>
                  <a:lnTo>
                    <a:pt x="1718" y="1537"/>
                  </a:lnTo>
                  <a:lnTo>
                    <a:pt x="1718" y="1537"/>
                  </a:lnTo>
                  <a:lnTo>
                    <a:pt x="1718" y="1537"/>
                  </a:lnTo>
                  <a:lnTo>
                    <a:pt x="1713" y="1535"/>
                  </a:lnTo>
                  <a:lnTo>
                    <a:pt x="1706" y="1535"/>
                  </a:lnTo>
                  <a:lnTo>
                    <a:pt x="1706" y="1535"/>
                  </a:lnTo>
                  <a:lnTo>
                    <a:pt x="1704" y="1532"/>
                  </a:lnTo>
                  <a:lnTo>
                    <a:pt x="1706" y="1532"/>
                  </a:lnTo>
                  <a:lnTo>
                    <a:pt x="1709" y="1532"/>
                  </a:lnTo>
                  <a:lnTo>
                    <a:pt x="1709" y="1532"/>
                  </a:lnTo>
                  <a:lnTo>
                    <a:pt x="1711" y="1532"/>
                  </a:lnTo>
                  <a:lnTo>
                    <a:pt x="1709" y="1532"/>
                  </a:lnTo>
                  <a:lnTo>
                    <a:pt x="1709" y="1530"/>
                  </a:lnTo>
                  <a:lnTo>
                    <a:pt x="1709" y="1530"/>
                  </a:lnTo>
                  <a:lnTo>
                    <a:pt x="1709" y="1528"/>
                  </a:lnTo>
                  <a:lnTo>
                    <a:pt x="1706" y="1528"/>
                  </a:lnTo>
                  <a:lnTo>
                    <a:pt x="1704" y="1528"/>
                  </a:lnTo>
                  <a:lnTo>
                    <a:pt x="1704" y="1528"/>
                  </a:lnTo>
                  <a:lnTo>
                    <a:pt x="1704" y="1525"/>
                  </a:lnTo>
                  <a:lnTo>
                    <a:pt x="1704" y="1525"/>
                  </a:lnTo>
                  <a:lnTo>
                    <a:pt x="1702" y="1523"/>
                  </a:lnTo>
                  <a:lnTo>
                    <a:pt x="1699" y="1523"/>
                  </a:lnTo>
                  <a:lnTo>
                    <a:pt x="1697" y="1521"/>
                  </a:lnTo>
                  <a:lnTo>
                    <a:pt x="1694" y="1521"/>
                  </a:lnTo>
                  <a:lnTo>
                    <a:pt x="1697" y="1521"/>
                  </a:lnTo>
                  <a:lnTo>
                    <a:pt x="1697" y="1523"/>
                  </a:lnTo>
                  <a:lnTo>
                    <a:pt x="1697" y="1523"/>
                  </a:lnTo>
                  <a:lnTo>
                    <a:pt x="1697" y="1523"/>
                  </a:lnTo>
                  <a:lnTo>
                    <a:pt x="1694" y="1525"/>
                  </a:lnTo>
                  <a:lnTo>
                    <a:pt x="1697" y="1525"/>
                  </a:lnTo>
                  <a:lnTo>
                    <a:pt x="1697" y="1528"/>
                  </a:lnTo>
                  <a:lnTo>
                    <a:pt x="1699" y="1528"/>
                  </a:lnTo>
                  <a:lnTo>
                    <a:pt x="1697" y="1530"/>
                  </a:lnTo>
                  <a:lnTo>
                    <a:pt x="1697" y="1530"/>
                  </a:lnTo>
                  <a:lnTo>
                    <a:pt x="1694" y="1528"/>
                  </a:lnTo>
                  <a:lnTo>
                    <a:pt x="1687" y="1528"/>
                  </a:lnTo>
                  <a:lnTo>
                    <a:pt x="1687" y="1525"/>
                  </a:lnTo>
                  <a:lnTo>
                    <a:pt x="1685" y="1525"/>
                  </a:lnTo>
                  <a:lnTo>
                    <a:pt x="1683" y="1525"/>
                  </a:lnTo>
                  <a:lnTo>
                    <a:pt x="1685" y="1525"/>
                  </a:lnTo>
                  <a:lnTo>
                    <a:pt x="1685" y="1525"/>
                  </a:lnTo>
                  <a:lnTo>
                    <a:pt x="1685" y="1525"/>
                  </a:lnTo>
                  <a:lnTo>
                    <a:pt x="1683" y="1525"/>
                  </a:lnTo>
                  <a:lnTo>
                    <a:pt x="1683" y="1525"/>
                  </a:lnTo>
                  <a:lnTo>
                    <a:pt x="1683" y="1525"/>
                  </a:lnTo>
                  <a:lnTo>
                    <a:pt x="1683" y="1528"/>
                  </a:lnTo>
                  <a:lnTo>
                    <a:pt x="1683" y="1528"/>
                  </a:lnTo>
                  <a:lnTo>
                    <a:pt x="1683" y="1530"/>
                  </a:lnTo>
                  <a:lnTo>
                    <a:pt x="1683" y="1530"/>
                  </a:lnTo>
                  <a:lnTo>
                    <a:pt x="1680" y="1530"/>
                  </a:lnTo>
                  <a:lnTo>
                    <a:pt x="1678" y="1530"/>
                  </a:lnTo>
                  <a:lnTo>
                    <a:pt x="1676" y="1532"/>
                  </a:lnTo>
                  <a:lnTo>
                    <a:pt x="1671" y="1532"/>
                  </a:lnTo>
                  <a:lnTo>
                    <a:pt x="1668" y="1535"/>
                  </a:lnTo>
                  <a:lnTo>
                    <a:pt x="1668" y="1535"/>
                  </a:lnTo>
                  <a:lnTo>
                    <a:pt x="1668" y="1532"/>
                  </a:lnTo>
                  <a:lnTo>
                    <a:pt x="1668" y="1532"/>
                  </a:lnTo>
                  <a:lnTo>
                    <a:pt x="1668" y="1532"/>
                  </a:lnTo>
                  <a:lnTo>
                    <a:pt x="1668" y="1532"/>
                  </a:lnTo>
                  <a:lnTo>
                    <a:pt x="1668" y="1530"/>
                  </a:lnTo>
                  <a:lnTo>
                    <a:pt x="1668" y="1530"/>
                  </a:lnTo>
                  <a:lnTo>
                    <a:pt x="1668" y="1530"/>
                  </a:lnTo>
                  <a:lnTo>
                    <a:pt x="1668" y="1530"/>
                  </a:lnTo>
                  <a:lnTo>
                    <a:pt x="1668" y="1530"/>
                  </a:lnTo>
                  <a:lnTo>
                    <a:pt x="1671" y="1530"/>
                  </a:lnTo>
                  <a:lnTo>
                    <a:pt x="1671" y="1530"/>
                  </a:lnTo>
                  <a:lnTo>
                    <a:pt x="1671" y="1530"/>
                  </a:lnTo>
                  <a:lnTo>
                    <a:pt x="1671" y="1528"/>
                  </a:lnTo>
                  <a:lnTo>
                    <a:pt x="1671" y="1528"/>
                  </a:lnTo>
                  <a:lnTo>
                    <a:pt x="1673" y="1528"/>
                  </a:lnTo>
                  <a:lnTo>
                    <a:pt x="1676" y="1525"/>
                  </a:lnTo>
                  <a:lnTo>
                    <a:pt x="1678" y="1525"/>
                  </a:lnTo>
                  <a:lnTo>
                    <a:pt x="1678" y="1523"/>
                  </a:lnTo>
                  <a:lnTo>
                    <a:pt x="1678" y="1523"/>
                  </a:lnTo>
                  <a:lnTo>
                    <a:pt x="1678" y="1523"/>
                  </a:lnTo>
                  <a:lnTo>
                    <a:pt x="1678" y="1521"/>
                  </a:lnTo>
                  <a:lnTo>
                    <a:pt x="1678" y="1518"/>
                  </a:lnTo>
                  <a:lnTo>
                    <a:pt x="1676" y="1518"/>
                  </a:lnTo>
                  <a:lnTo>
                    <a:pt x="1676" y="1518"/>
                  </a:lnTo>
                  <a:lnTo>
                    <a:pt x="1676" y="1518"/>
                  </a:lnTo>
                  <a:lnTo>
                    <a:pt x="1673" y="1516"/>
                  </a:lnTo>
                  <a:lnTo>
                    <a:pt x="1673" y="1516"/>
                  </a:lnTo>
                  <a:lnTo>
                    <a:pt x="1671" y="1514"/>
                  </a:lnTo>
                  <a:lnTo>
                    <a:pt x="1671" y="1514"/>
                  </a:lnTo>
                  <a:lnTo>
                    <a:pt x="1671" y="1511"/>
                  </a:lnTo>
                  <a:lnTo>
                    <a:pt x="1671" y="1511"/>
                  </a:lnTo>
                  <a:lnTo>
                    <a:pt x="1671" y="1511"/>
                  </a:lnTo>
                  <a:lnTo>
                    <a:pt x="1671" y="1509"/>
                  </a:lnTo>
                  <a:lnTo>
                    <a:pt x="1671" y="1509"/>
                  </a:lnTo>
                  <a:lnTo>
                    <a:pt x="1671" y="1506"/>
                  </a:lnTo>
                  <a:lnTo>
                    <a:pt x="1671" y="1506"/>
                  </a:lnTo>
                  <a:lnTo>
                    <a:pt x="1671" y="1506"/>
                  </a:lnTo>
                  <a:lnTo>
                    <a:pt x="1671" y="1504"/>
                  </a:lnTo>
                  <a:lnTo>
                    <a:pt x="1671" y="1504"/>
                  </a:lnTo>
                  <a:lnTo>
                    <a:pt x="1671" y="1504"/>
                  </a:lnTo>
                  <a:lnTo>
                    <a:pt x="1671" y="1504"/>
                  </a:lnTo>
                  <a:lnTo>
                    <a:pt x="1671" y="1502"/>
                  </a:lnTo>
                  <a:lnTo>
                    <a:pt x="1671" y="1502"/>
                  </a:lnTo>
                  <a:lnTo>
                    <a:pt x="1671" y="1502"/>
                  </a:lnTo>
                  <a:lnTo>
                    <a:pt x="1668" y="1502"/>
                  </a:lnTo>
                  <a:lnTo>
                    <a:pt x="1668" y="1502"/>
                  </a:lnTo>
                  <a:lnTo>
                    <a:pt x="1668" y="1499"/>
                  </a:lnTo>
                  <a:lnTo>
                    <a:pt x="1668" y="1499"/>
                  </a:lnTo>
                  <a:lnTo>
                    <a:pt x="1661" y="1495"/>
                  </a:lnTo>
                  <a:lnTo>
                    <a:pt x="1661" y="1495"/>
                  </a:lnTo>
                  <a:lnTo>
                    <a:pt x="1659" y="1492"/>
                  </a:lnTo>
                  <a:lnTo>
                    <a:pt x="1659" y="1492"/>
                  </a:lnTo>
                  <a:lnTo>
                    <a:pt x="1659" y="1492"/>
                  </a:lnTo>
                  <a:lnTo>
                    <a:pt x="1659" y="1492"/>
                  </a:lnTo>
                  <a:lnTo>
                    <a:pt x="1657" y="1492"/>
                  </a:lnTo>
                  <a:lnTo>
                    <a:pt x="1657" y="1492"/>
                  </a:lnTo>
                  <a:lnTo>
                    <a:pt x="1657" y="1490"/>
                  </a:lnTo>
                  <a:lnTo>
                    <a:pt x="1657" y="1490"/>
                  </a:lnTo>
                  <a:lnTo>
                    <a:pt x="1654" y="1490"/>
                  </a:lnTo>
                  <a:lnTo>
                    <a:pt x="1654" y="1490"/>
                  </a:lnTo>
                  <a:lnTo>
                    <a:pt x="1652" y="1490"/>
                  </a:lnTo>
                  <a:lnTo>
                    <a:pt x="1652" y="1488"/>
                  </a:lnTo>
                  <a:lnTo>
                    <a:pt x="1652" y="1488"/>
                  </a:lnTo>
                  <a:lnTo>
                    <a:pt x="1650" y="1488"/>
                  </a:lnTo>
                  <a:lnTo>
                    <a:pt x="1650" y="1488"/>
                  </a:lnTo>
                  <a:lnTo>
                    <a:pt x="1650" y="1490"/>
                  </a:lnTo>
                  <a:lnTo>
                    <a:pt x="1647" y="1490"/>
                  </a:lnTo>
                  <a:lnTo>
                    <a:pt x="1647" y="1490"/>
                  </a:lnTo>
                  <a:lnTo>
                    <a:pt x="1647" y="1490"/>
                  </a:lnTo>
                  <a:lnTo>
                    <a:pt x="1645" y="1488"/>
                  </a:lnTo>
                  <a:lnTo>
                    <a:pt x="1645" y="1488"/>
                  </a:lnTo>
                  <a:lnTo>
                    <a:pt x="1642" y="1488"/>
                  </a:lnTo>
                  <a:lnTo>
                    <a:pt x="1640" y="1488"/>
                  </a:lnTo>
                  <a:lnTo>
                    <a:pt x="1640" y="1488"/>
                  </a:lnTo>
                  <a:lnTo>
                    <a:pt x="1640" y="1488"/>
                  </a:lnTo>
                  <a:lnTo>
                    <a:pt x="1638" y="1485"/>
                  </a:lnTo>
                  <a:lnTo>
                    <a:pt x="1638" y="1483"/>
                  </a:lnTo>
                  <a:lnTo>
                    <a:pt x="1635" y="1483"/>
                  </a:lnTo>
                  <a:lnTo>
                    <a:pt x="1635" y="1483"/>
                  </a:lnTo>
                  <a:lnTo>
                    <a:pt x="1635" y="1483"/>
                  </a:lnTo>
                  <a:lnTo>
                    <a:pt x="1633" y="1483"/>
                  </a:lnTo>
                  <a:lnTo>
                    <a:pt x="1633" y="1483"/>
                  </a:lnTo>
                  <a:lnTo>
                    <a:pt x="1633" y="1480"/>
                  </a:lnTo>
                  <a:lnTo>
                    <a:pt x="1633" y="1480"/>
                  </a:lnTo>
                  <a:lnTo>
                    <a:pt x="1631" y="1480"/>
                  </a:lnTo>
                  <a:lnTo>
                    <a:pt x="1631" y="1480"/>
                  </a:lnTo>
                  <a:lnTo>
                    <a:pt x="1626" y="1480"/>
                  </a:lnTo>
                  <a:lnTo>
                    <a:pt x="1626" y="1480"/>
                  </a:lnTo>
                  <a:lnTo>
                    <a:pt x="1626" y="1480"/>
                  </a:lnTo>
                  <a:lnTo>
                    <a:pt x="1626" y="1478"/>
                  </a:lnTo>
                  <a:lnTo>
                    <a:pt x="1623" y="1476"/>
                  </a:lnTo>
                  <a:lnTo>
                    <a:pt x="1623" y="1476"/>
                  </a:lnTo>
                  <a:lnTo>
                    <a:pt x="1623" y="1473"/>
                  </a:lnTo>
                  <a:lnTo>
                    <a:pt x="1621" y="1471"/>
                  </a:lnTo>
                  <a:lnTo>
                    <a:pt x="1621" y="1471"/>
                  </a:lnTo>
                  <a:lnTo>
                    <a:pt x="1621" y="1469"/>
                  </a:lnTo>
                  <a:lnTo>
                    <a:pt x="1619" y="1469"/>
                  </a:lnTo>
                  <a:lnTo>
                    <a:pt x="1619" y="1469"/>
                  </a:lnTo>
                  <a:lnTo>
                    <a:pt x="1616" y="1469"/>
                  </a:lnTo>
                  <a:lnTo>
                    <a:pt x="1612" y="1469"/>
                  </a:lnTo>
                  <a:lnTo>
                    <a:pt x="1609" y="1469"/>
                  </a:lnTo>
                  <a:lnTo>
                    <a:pt x="1609" y="1469"/>
                  </a:lnTo>
                  <a:lnTo>
                    <a:pt x="1607" y="1469"/>
                  </a:lnTo>
                  <a:lnTo>
                    <a:pt x="1607" y="1469"/>
                  </a:lnTo>
                  <a:lnTo>
                    <a:pt x="1607" y="1469"/>
                  </a:lnTo>
                  <a:lnTo>
                    <a:pt x="1607" y="1469"/>
                  </a:lnTo>
                  <a:lnTo>
                    <a:pt x="1605" y="1469"/>
                  </a:lnTo>
                  <a:lnTo>
                    <a:pt x="1602" y="1469"/>
                  </a:lnTo>
                  <a:lnTo>
                    <a:pt x="1602" y="1469"/>
                  </a:lnTo>
                  <a:lnTo>
                    <a:pt x="1602" y="1466"/>
                  </a:lnTo>
                  <a:lnTo>
                    <a:pt x="1597" y="1466"/>
                  </a:lnTo>
                  <a:lnTo>
                    <a:pt x="1597" y="1464"/>
                  </a:lnTo>
                  <a:lnTo>
                    <a:pt x="1597" y="1464"/>
                  </a:lnTo>
                  <a:lnTo>
                    <a:pt x="1597" y="1464"/>
                  </a:lnTo>
                  <a:lnTo>
                    <a:pt x="1597" y="1464"/>
                  </a:lnTo>
                  <a:lnTo>
                    <a:pt x="1597" y="1462"/>
                  </a:lnTo>
                  <a:lnTo>
                    <a:pt x="1597" y="1462"/>
                  </a:lnTo>
                  <a:lnTo>
                    <a:pt x="1597" y="1462"/>
                  </a:lnTo>
                  <a:lnTo>
                    <a:pt x="1597" y="1462"/>
                  </a:lnTo>
                  <a:lnTo>
                    <a:pt x="1597" y="1459"/>
                  </a:lnTo>
                  <a:lnTo>
                    <a:pt x="1597" y="1459"/>
                  </a:lnTo>
                  <a:lnTo>
                    <a:pt x="1597" y="1459"/>
                  </a:lnTo>
                  <a:lnTo>
                    <a:pt x="1597" y="1459"/>
                  </a:lnTo>
                  <a:lnTo>
                    <a:pt x="1597" y="1459"/>
                  </a:lnTo>
                  <a:lnTo>
                    <a:pt x="1597" y="1459"/>
                  </a:lnTo>
                  <a:lnTo>
                    <a:pt x="1597" y="1459"/>
                  </a:lnTo>
                  <a:lnTo>
                    <a:pt x="1595" y="1457"/>
                  </a:lnTo>
                  <a:lnTo>
                    <a:pt x="1593" y="1457"/>
                  </a:lnTo>
                  <a:lnTo>
                    <a:pt x="1593" y="1457"/>
                  </a:lnTo>
                  <a:lnTo>
                    <a:pt x="1590" y="1457"/>
                  </a:lnTo>
                  <a:lnTo>
                    <a:pt x="1590" y="1457"/>
                  </a:lnTo>
                  <a:lnTo>
                    <a:pt x="1590" y="1457"/>
                  </a:lnTo>
                  <a:lnTo>
                    <a:pt x="1590" y="1457"/>
                  </a:lnTo>
                  <a:lnTo>
                    <a:pt x="1590" y="1454"/>
                  </a:lnTo>
                  <a:lnTo>
                    <a:pt x="1590" y="1454"/>
                  </a:lnTo>
                  <a:lnTo>
                    <a:pt x="1590" y="1454"/>
                  </a:lnTo>
                  <a:lnTo>
                    <a:pt x="1590" y="1452"/>
                  </a:lnTo>
                  <a:lnTo>
                    <a:pt x="1588" y="1452"/>
                  </a:lnTo>
                  <a:lnTo>
                    <a:pt x="1586" y="1452"/>
                  </a:lnTo>
                  <a:lnTo>
                    <a:pt x="1586" y="1452"/>
                  </a:lnTo>
                  <a:lnTo>
                    <a:pt x="1586" y="1452"/>
                  </a:lnTo>
                  <a:lnTo>
                    <a:pt x="1586" y="1454"/>
                  </a:lnTo>
                  <a:lnTo>
                    <a:pt x="1586" y="1454"/>
                  </a:lnTo>
                  <a:lnTo>
                    <a:pt x="1583" y="1454"/>
                  </a:lnTo>
                  <a:lnTo>
                    <a:pt x="1583" y="1459"/>
                  </a:lnTo>
                  <a:lnTo>
                    <a:pt x="1583" y="1459"/>
                  </a:lnTo>
                  <a:lnTo>
                    <a:pt x="1583" y="1462"/>
                  </a:lnTo>
                  <a:lnTo>
                    <a:pt x="1583" y="1462"/>
                  </a:lnTo>
                  <a:lnTo>
                    <a:pt x="1583" y="1464"/>
                  </a:lnTo>
                  <a:lnTo>
                    <a:pt x="1583" y="1464"/>
                  </a:lnTo>
                  <a:lnTo>
                    <a:pt x="1583" y="1464"/>
                  </a:lnTo>
                  <a:lnTo>
                    <a:pt x="1583" y="1464"/>
                  </a:lnTo>
                  <a:lnTo>
                    <a:pt x="1583" y="1464"/>
                  </a:lnTo>
                  <a:lnTo>
                    <a:pt x="1583" y="1464"/>
                  </a:lnTo>
                  <a:lnTo>
                    <a:pt x="1583" y="1464"/>
                  </a:lnTo>
                  <a:lnTo>
                    <a:pt x="1583" y="1466"/>
                  </a:lnTo>
                  <a:lnTo>
                    <a:pt x="1583" y="1466"/>
                  </a:lnTo>
                  <a:lnTo>
                    <a:pt x="1583" y="1469"/>
                  </a:lnTo>
                  <a:lnTo>
                    <a:pt x="1581" y="1469"/>
                  </a:lnTo>
                  <a:lnTo>
                    <a:pt x="1581" y="1471"/>
                  </a:lnTo>
                  <a:lnTo>
                    <a:pt x="1579" y="1471"/>
                  </a:lnTo>
                  <a:lnTo>
                    <a:pt x="1579" y="1471"/>
                  </a:lnTo>
                  <a:lnTo>
                    <a:pt x="1579" y="1469"/>
                  </a:lnTo>
                  <a:lnTo>
                    <a:pt x="1579" y="1469"/>
                  </a:lnTo>
                  <a:lnTo>
                    <a:pt x="1579" y="1469"/>
                  </a:lnTo>
                  <a:lnTo>
                    <a:pt x="1579" y="1466"/>
                  </a:lnTo>
                  <a:lnTo>
                    <a:pt x="1576" y="1464"/>
                  </a:lnTo>
                  <a:lnTo>
                    <a:pt x="1576" y="1462"/>
                  </a:lnTo>
                  <a:lnTo>
                    <a:pt x="1576" y="1462"/>
                  </a:lnTo>
                  <a:lnTo>
                    <a:pt x="1576" y="1459"/>
                  </a:lnTo>
                  <a:lnTo>
                    <a:pt x="1576" y="1459"/>
                  </a:lnTo>
                  <a:lnTo>
                    <a:pt x="1576" y="1457"/>
                  </a:lnTo>
                  <a:lnTo>
                    <a:pt x="1574" y="1457"/>
                  </a:lnTo>
                  <a:lnTo>
                    <a:pt x="1574" y="1454"/>
                  </a:lnTo>
                  <a:lnTo>
                    <a:pt x="1571" y="1454"/>
                  </a:lnTo>
                  <a:lnTo>
                    <a:pt x="1569" y="1454"/>
                  </a:lnTo>
                  <a:lnTo>
                    <a:pt x="1567" y="1452"/>
                  </a:lnTo>
                  <a:lnTo>
                    <a:pt x="1567" y="1452"/>
                  </a:lnTo>
                  <a:lnTo>
                    <a:pt x="1567" y="1450"/>
                  </a:lnTo>
                  <a:lnTo>
                    <a:pt x="1567" y="1450"/>
                  </a:lnTo>
                  <a:lnTo>
                    <a:pt x="1567" y="1450"/>
                  </a:lnTo>
                  <a:lnTo>
                    <a:pt x="1571" y="1447"/>
                  </a:lnTo>
                  <a:lnTo>
                    <a:pt x="1571" y="1447"/>
                  </a:lnTo>
                  <a:lnTo>
                    <a:pt x="1571" y="1445"/>
                  </a:lnTo>
                  <a:lnTo>
                    <a:pt x="1571" y="1445"/>
                  </a:lnTo>
                  <a:lnTo>
                    <a:pt x="1571" y="1443"/>
                  </a:lnTo>
                  <a:lnTo>
                    <a:pt x="1569" y="1440"/>
                  </a:lnTo>
                  <a:lnTo>
                    <a:pt x="1569" y="1438"/>
                  </a:lnTo>
                  <a:lnTo>
                    <a:pt x="1569" y="1438"/>
                  </a:lnTo>
                  <a:lnTo>
                    <a:pt x="1569" y="1438"/>
                  </a:lnTo>
                  <a:lnTo>
                    <a:pt x="1569" y="1438"/>
                  </a:lnTo>
                  <a:lnTo>
                    <a:pt x="1569" y="1438"/>
                  </a:lnTo>
                  <a:lnTo>
                    <a:pt x="1569" y="1436"/>
                  </a:lnTo>
                  <a:lnTo>
                    <a:pt x="1569" y="1436"/>
                  </a:lnTo>
                  <a:lnTo>
                    <a:pt x="1569" y="1436"/>
                  </a:lnTo>
                  <a:lnTo>
                    <a:pt x="1569" y="1436"/>
                  </a:lnTo>
                  <a:lnTo>
                    <a:pt x="1567" y="1436"/>
                  </a:lnTo>
                  <a:lnTo>
                    <a:pt x="1567" y="1433"/>
                  </a:lnTo>
                  <a:lnTo>
                    <a:pt x="1564" y="1433"/>
                  </a:lnTo>
                  <a:lnTo>
                    <a:pt x="1562" y="1433"/>
                  </a:lnTo>
                  <a:lnTo>
                    <a:pt x="1562" y="1433"/>
                  </a:lnTo>
                  <a:lnTo>
                    <a:pt x="1562" y="1433"/>
                  </a:lnTo>
                  <a:lnTo>
                    <a:pt x="1562" y="1433"/>
                  </a:lnTo>
                  <a:lnTo>
                    <a:pt x="1562" y="1436"/>
                  </a:lnTo>
                  <a:lnTo>
                    <a:pt x="1560" y="1436"/>
                  </a:lnTo>
                  <a:lnTo>
                    <a:pt x="1560" y="1436"/>
                  </a:lnTo>
                  <a:lnTo>
                    <a:pt x="1560" y="1433"/>
                  </a:lnTo>
                  <a:lnTo>
                    <a:pt x="1560" y="1433"/>
                  </a:lnTo>
                  <a:lnTo>
                    <a:pt x="1560" y="1431"/>
                  </a:lnTo>
                  <a:lnTo>
                    <a:pt x="1560" y="1431"/>
                  </a:lnTo>
                  <a:lnTo>
                    <a:pt x="1557" y="1426"/>
                  </a:lnTo>
                  <a:lnTo>
                    <a:pt x="1557" y="1428"/>
                  </a:lnTo>
                  <a:lnTo>
                    <a:pt x="1555" y="1428"/>
                  </a:lnTo>
                  <a:lnTo>
                    <a:pt x="1552" y="1431"/>
                  </a:lnTo>
                  <a:lnTo>
                    <a:pt x="1548" y="1438"/>
                  </a:lnTo>
                  <a:lnTo>
                    <a:pt x="1548" y="1443"/>
                  </a:lnTo>
                  <a:lnTo>
                    <a:pt x="1545" y="1445"/>
                  </a:lnTo>
                  <a:lnTo>
                    <a:pt x="1548" y="1447"/>
                  </a:lnTo>
                  <a:lnTo>
                    <a:pt x="1548" y="1450"/>
                  </a:lnTo>
                  <a:lnTo>
                    <a:pt x="1545" y="1450"/>
                  </a:lnTo>
                  <a:lnTo>
                    <a:pt x="1545" y="1452"/>
                  </a:lnTo>
                  <a:lnTo>
                    <a:pt x="1545" y="1454"/>
                  </a:lnTo>
                  <a:lnTo>
                    <a:pt x="1545" y="1459"/>
                  </a:lnTo>
                  <a:lnTo>
                    <a:pt x="1545" y="1462"/>
                  </a:lnTo>
                  <a:lnTo>
                    <a:pt x="1545" y="1462"/>
                  </a:lnTo>
                  <a:lnTo>
                    <a:pt x="1545" y="1462"/>
                  </a:lnTo>
                  <a:lnTo>
                    <a:pt x="1545" y="1464"/>
                  </a:lnTo>
                  <a:lnTo>
                    <a:pt x="1545" y="1464"/>
                  </a:lnTo>
                  <a:lnTo>
                    <a:pt x="1545" y="1464"/>
                  </a:lnTo>
                  <a:lnTo>
                    <a:pt x="1548" y="1464"/>
                  </a:lnTo>
                  <a:lnTo>
                    <a:pt x="1548" y="1466"/>
                  </a:lnTo>
                  <a:lnTo>
                    <a:pt x="1548" y="1466"/>
                  </a:lnTo>
                  <a:lnTo>
                    <a:pt x="1545" y="1469"/>
                  </a:lnTo>
                  <a:lnTo>
                    <a:pt x="1545" y="1471"/>
                  </a:lnTo>
                  <a:lnTo>
                    <a:pt x="1545" y="1471"/>
                  </a:lnTo>
                  <a:lnTo>
                    <a:pt x="1545" y="1471"/>
                  </a:lnTo>
                  <a:lnTo>
                    <a:pt x="1545" y="1473"/>
                  </a:lnTo>
                  <a:lnTo>
                    <a:pt x="1548" y="1473"/>
                  </a:lnTo>
                  <a:lnTo>
                    <a:pt x="1548" y="1476"/>
                  </a:lnTo>
                  <a:lnTo>
                    <a:pt x="1548" y="1476"/>
                  </a:lnTo>
                  <a:lnTo>
                    <a:pt x="1548" y="1480"/>
                  </a:lnTo>
                  <a:lnTo>
                    <a:pt x="1548" y="1483"/>
                  </a:lnTo>
                  <a:lnTo>
                    <a:pt x="1548" y="1483"/>
                  </a:lnTo>
                  <a:lnTo>
                    <a:pt x="1548" y="1483"/>
                  </a:lnTo>
                  <a:lnTo>
                    <a:pt x="1548" y="1485"/>
                  </a:lnTo>
                  <a:lnTo>
                    <a:pt x="1545" y="1485"/>
                  </a:lnTo>
                  <a:lnTo>
                    <a:pt x="1545" y="1488"/>
                  </a:lnTo>
                  <a:lnTo>
                    <a:pt x="1545" y="1488"/>
                  </a:lnTo>
                  <a:lnTo>
                    <a:pt x="1545" y="1490"/>
                  </a:lnTo>
                  <a:lnTo>
                    <a:pt x="1548" y="1490"/>
                  </a:lnTo>
                  <a:lnTo>
                    <a:pt x="1548" y="1490"/>
                  </a:lnTo>
                  <a:lnTo>
                    <a:pt x="1548" y="1492"/>
                  </a:lnTo>
                  <a:lnTo>
                    <a:pt x="1548" y="1492"/>
                  </a:lnTo>
                  <a:lnTo>
                    <a:pt x="1548" y="1495"/>
                  </a:lnTo>
                  <a:lnTo>
                    <a:pt x="1548" y="1495"/>
                  </a:lnTo>
                  <a:lnTo>
                    <a:pt x="1548" y="1495"/>
                  </a:lnTo>
                  <a:lnTo>
                    <a:pt x="1548" y="1497"/>
                  </a:lnTo>
                  <a:lnTo>
                    <a:pt x="1548" y="1497"/>
                  </a:lnTo>
                  <a:lnTo>
                    <a:pt x="1548" y="1497"/>
                  </a:lnTo>
                  <a:lnTo>
                    <a:pt x="1548" y="1497"/>
                  </a:lnTo>
                  <a:lnTo>
                    <a:pt x="1548" y="1499"/>
                  </a:lnTo>
                  <a:lnTo>
                    <a:pt x="1550" y="1499"/>
                  </a:lnTo>
                  <a:lnTo>
                    <a:pt x="1550" y="1499"/>
                  </a:lnTo>
                  <a:lnTo>
                    <a:pt x="1548" y="1499"/>
                  </a:lnTo>
                  <a:lnTo>
                    <a:pt x="1548" y="1499"/>
                  </a:lnTo>
                  <a:lnTo>
                    <a:pt x="1548" y="1499"/>
                  </a:lnTo>
                  <a:lnTo>
                    <a:pt x="1548" y="1499"/>
                  </a:lnTo>
                  <a:lnTo>
                    <a:pt x="1545" y="1511"/>
                  </a:lnTo>
                  <a:lnTo>
                    <a:pt x="1545" y="1514"/>
                  </a:lnTo>
                  <a:lnTo>
                    <a:pt x="1545" y="1514"/>
                  </a:lnTo>
                  <a:lnTo>
                    <a:pt x="1545" y="1516"/>
                  </a:lnTo>
                  <a:lnTo>
                    <a:pt x="1545" y="1518"/>
                  </a:lnTo>
                  <a:lnTo>
                    <a:pt x="1545" y="1521"/>
                  </a:lnTo>
                  <a:lnTo>
                    <a:pt x="1545" y="1523"/>
                  </a:lnTo>
                  <a:lnTo>
                    <a:pt x="1545" y="1523"/>
                  </a:lnTo>
                  <a:lnTo>
                    <a:pt x="1548" y="1525"/>
                  </a:lnTo>
                  <a:lnTo>
                    <a:pt x="1548" y="1525"/>
                  </a:lnTo>
                  <a:lnTo>
                    <a:pt x="1548" y="1525"/>
                  </a:lnTo>
                  <a:lnTo>
                    <a:pt x="1548" y="1528"/>
                  </a:lnTo>
                  <a:lnTo>
                    <a:pt x="1548" y="1528"/>
                  </a:lnTo>
                  <a:lnTo>
                    <a:pt x="1548" y="1528"/>
                  </a:lnTo>
                  <a:lnTo>
                    <a:pt x="1548" y="1530"/>
                  </a:lnTo>
                  <a:lnTo>
                    <a:pt x="1548" y="1530"/>
                  </a:lnTo>
                  <a:lnTo>
                    <a:pt x="1548" y="1530"/>
                  </a:lnTo>
                  <a:lnTo>
                    <a:pt x="1548" y="1532"/>
                  </a:lnTo>
                  <a:lnTo>
                    <a:pt x="1548" y="1532"/>
                  </a:lnTo>
                  <a:lnTo>
                    <a:pt x="1550" y="1532"/>
                  </a:lnTo>
                  <a:lnTo>
                    <a:pt x="1550" y="1535"/>
                  </a:lnTo>
                  <a:lnTo>
                    <a:pt x="1550" y="1535"/>
                  </a:lnTo>
                  <a:lnTo>
                    <a:pt x="1550" y="1535"/>
                  </a:lnTo>
                  <a:lnTo>
                    <a:pt x="1550" y="1535"/>
                  </a:lnTo>
                  <a:lnTo>
                    <a:pt x="1550" y="1535"/>
                  </a:lnTo>
                  <a:lnTo>
                    <a:pt x="1550" y="1537"/>
                  </a:lnTo>
                  <a:lnTo>
                    <a:pt x="1550" y="1537"/>
                  </a:lnTo>
                  <a:lnTo>
                    <a:pt x="1552" y="1540"/>
                  </a:lnTo>
                  <a:lnTo>
                    <a:pt x="1552" y="1540"/>
                  </a:lnTo>
                  <a:lnTo>
                    <a:pt x="1555" y="1540"/>
                  </a:lnTo>
                  <a:lnTo>
                    <a:pt x="1555" y="1542"/>
                  </a:lnTo>
                  <a:lnTo>
                    <a:pt x="1555" y="1542"/>
                  </a:lnTo>
                  <a:lnTo>
                    <a:pt x="1555" y="1544"/>
                  </a:lnTo>
                  <a:lnTo>
                    <a:pt x="1555" y="1544"/>
                  </a:lnTo>
                  <a:lnTo>
                    <a:pt x="1552" y="1547"/>
                  </a:lnTo>
                  <a:lnTo>
                    <a:pt x="1550" y="1547"/>
                  </a:lnTo>
                  <a:lnTo>
                    <a:pt x="1548" y="1547"/>
                  </a:lnTo>
                  <a:lnTo>
                    <a:pt x="1548" y="1549"/>
                  </a:lnTo>
                  <a:lnTo>
                    <a:pt x="1545" y="1551"/>
                  </a:lnTo>
                  <a:lnTo>
                    <a:pt x="1543" y="1551"/>
                  </a:lnTo>
                  <a:lnTo>
                    <a:pt x="1536" y="1556"/>
                  </a:lnTo>
                  <a:lnTo>
                    <a:pt x="1536" y="1559"/>
                  </a:lnTo>
                  <a:lnTo>
                    <a:pt x="1531" y="1570"/>
                  </a:lnTo>
                  <a:lnTo>
                    <a:pt x="1529" y="1573"/>
                  </a:lnTo>
                  <a:lnTo>
                    <a:pt x="1529" y="1575"/>
                  </a:lnTo>
                  <a:lnTo>
                    <a:pt x="1531" y="1577"/>
                  </a:lnTo>
                  <a:lnTo>
                    <a:pt x="1531" y="1580"/>
                  </a:lnTo>
                  <a:lnTo>
                    <a:pt x="1534" y="1580"/>
                  </a:lnTo>
                  <a:lnTo>
                    <a:pt x="1534" y="1580"/>
                  </a:lnTo>
                  <a:lnTo>
                    <a:pt x="1541" y="1580"/>
                  </a:lnTo>
                  <a:lnTo>
                    <a:pt x="1541" y="1580"/>
                  </a:lnTo>
                  <a:lnTo>
                    <a:pt x="1543" y="1577"/>
                  </a:lnTo>
                  <a:lnTo>
                    <a:pt x="1545" y="1575"/>
                  </a:lnTo>
                  <a:lnTo>
                    <a:pt x="1545" y="1573"/>
                  </a:lnTo>
                  <a:lnTo>
                    <a:pt x="1545" y="1573"/>
                  </a:lnTo>
                  <a:lnTo>
                    <a:pt x="1550" y="1573"/>
                  </a:lnTo>
                  <a:lnTo>
                    <a:pt x="1555" y="1573"/>
                  </a:lnTo>
                  <a:lnTo>
                    <a:pt x="1557" y="1573"/>
                  </a:lnTo>
                  <a:lnTo>
                    <a:pt x="1564" y="1568"/>
                  </a:lnTo>
                  <a:lnTo>
                    <a:pt x="1567" y="1568"/>
                  </a:lnTo>
                  <a:lnTo>
                    <a:pt x="1569" y="1566"/>
                  </a:lnTo>
                  <a:lnTo>
                    <a:pt x="1569" y="1566"/>
                  </a:lnTo>
                  <a:lnTo>
                    <a:pt x="1569" y="1563"/>
                  </a:lnTo>
                  <a:lnTo>
                    <a:pt x="1569" y="1563"/>
                  </a:lnTo>
                  <a:lnTo>
                    <a:pt x="1569" y="1563"/>
                  </a:lnTo>
                  <a:lnTo>
                    <a:pt x="1571" y="1566"/>
                  </a:lnTo>
                  <a:lnTo>
                    <a:pt x="1571" y="1566"/>
                  </a:lnTo>
                  <a:lnTo>
                    <a:pt x="1571" y="1568"/>
                  </a:lnTo>
                  <a:lnTo>
                    <a:pt x="1571" y="1568"/>
                  </a:lnTo>
                  <a:lnTo>
                    <a:pt x="1571" y="1568"/>
                  </a:lnTo>
                  <a:lnTo>
                    <a:pt x="1574" y="1568"/>
                  </a:lnTo>
                  <a:lnTo>
                    <a:pt x="1574" y="1570"/>
                  </a:lnTo>
                  <a:lnTo>
                    <a:pt x="1574" y="1570"/>
                  </a:lnTo>
                  <a:lnTo>
                    <a:pt x="1574" y="1570"/>
                  </a:lnTo>
                  <a:lnTo>
                    <a:pt x="1574" y="1573"/>
                  </a:lnTo>
                  <a:lnTo>
                    <a:pt x="1574" y="1573"/>
                  </a:lnTo>
                  <a:lnTo>
                    <a:pt x="1574" y="1573"/>
                  </a:lnTo>
                  <a:lnTo>
                    <a:pt x="1574" y="1575"/>
                  </a:lnTo>
                  <a:lnTo>
                    <a:pt x="1574" y="1575"/>
                  </a:lnTo>
                  <a:lnTo>
                    <a:pt x="1574" y="1575"/>
                  </a:lnTo>
                  <a:lnTo>
                    <a:pt x="1574" y="1577"/>
                  </a:lnTo>
                  <a:lnTo>
                    <a:pt x="1576" y="1577"/>
                  </a:lnTo>
                  <a:lnTo>
                    <a:pt x="1574" y="1577"/>
                  </a:lnTo>
                  <a:lnTo>
                    <a:pt x="1576" y="1580"/>
                  </a:lnTo>
                  <a:lnTo>
                    <a:pt x="1574" y="1580"/>
                  </a:lnTo>
                  <a:lnTo>
                    <a:pt x="1574" y="1582"/>
                  </a:lnTo>
                  <a:lnTo>
                    <a:pt x="1574" y="1582"/>
                  </a:lnTo>
                  <a:lnTo>
                    <a:pt x="1574" y="1585"/>
                  </a:lnTo>
                  <a:lnTo>
                    <a:pt x="1574" y="1587"/>
                  </a:lnTo>
                  <a:lnTo>
                    <a:pt x="1576" y="1589"/>
                  </a:lnTo>
                  <a:lnTo>
                    <a:pt x="1576" y="1589"/>
                  </a:lnTo>
                  <a:lnTo>
                    <a:pt x="1576" y="1592"/>
                  </a:lnTo>
                  <a:lnTo>
                    <a:pt x="1576" y="1594"/>
                  </a:lnTo>
                  <a:lnTo>
                    <a:pt x="1576" y="1594"/>
                  </a:lnTo>
                  <a:lnTo>
                    <a:pt x="1576" y="1594"/>
                  </a:lnTo>
                  <a:lnTo>
                    <a:pt x="1576" y="1594"/>
                  </a:lnTo>
                  <a:lnTo>
                    <a:pt x="1579" y="1596"/>
                  </a:lnTo>
                  <a:lnTo>
                    <a:pt x="1579" y="1599"/>
                  </a:lnTo>
                  <a:lnTo>
                    <a:pt x="1579" y="1599"/>
                  </a:lnTo>
                  <a:lnTo>
                    <a:pt x="1581" y="1601"/>
                  </a:lnTo>
                  <a:lnTo>
                    <a:pt x="1583" y="1601"/>
                  </a:lnTo>
                  <a:lnTo>
                    <a:pt x="1588" y="1601"/>
                  </a:lnTo>
                  <a:lnTo>
                    <a:pt x="1593" y="1599"/>
                  </a:lnTo>
                  <a:lnTo>
                    <a:pt x="1595" y="1596"/>
                  </a:lnTo>
                  <a:lnTo>
                    <a:pt x="1600" y="1592"/>
                  </a:lnTo>
                  <a:lnTo>
                    <a:pt x="1600" y="1589"/>
                  </a:lnTo>
                  <a:lnTo>
                    <a:pt x="1602" y="1589"/>
                  </a:lnTo>
                  <a:lnTo>
                    <a:pt x="1602" y="1587"/>
                  </a:lnTo>
                  <a:lnTo>
                    <a:pt x="1605" y="1587"/>
                  </a:lnTo>
                  <a:lnTo>
                    <a:pt x="1605" y="1587"/>
                  </a:lnTo>
                  <a:lnTo>
                    <a:pt x="1607" y="1582"/>
                  </a:lnTo>
                  <a:lnTo>
                    <a:pt x="1607" y="1582"/>
                  </a:lnTo>
                  <a:lnTo>
                    <a:pt x="1607" y="1582"/>
                  </a:lnTo>
                  <a:lnTo>
                    <a:pt x="1607" y="1577"/>
                  </a:lnTo>
                  <a:lnTo>
                    <a:pt x="1607" y="1575"/>
                  </a:lnTo>
                  <a:lnTo>
                    <a:pt x="1607" y="1573"/>
                  </a:lnTo>
                  <a:lnTo>
                    <a:pt x="1607" y="1570"/>
                  </a:lnTo>
                  <a:lnTo>
                    <a:pt x="1607" y="1570"/>
                  </a:lnTo>
                  <a:lnTo>
                    <a:pt x="1609" y="1570"/>
                  </a:lnTo>
                  <a:lnTo>
                    <a:pt x="1609" y="1568"/>
                  </a:lnTo>
                  <a:lnTo>
                    <a:pt x="1609" y="1568"/>
                  </a:lnTo>
                  <a:lnTo>
                    <a:pt x="1609" y="1568"/>
                  </a:lnTo>
                  <a:lnTo>
                    <a:pt x="1609" y="1566"/>
                  </a:lnTo>
                  <a:lnTo>
                    <a:pt x="1609" y="1566"/>
                  </a:lnTo>
                  <a:lnTo>
                    <a:pt x="1609" y="1566"/>
                  </a:lnTo>
                  <a:lnTo>
                    <a:pt x="1612" y="1566"/>
                  </a:lnTo>
                  <a:lnTo>
                    <a:pt x="1612" y="1566"/>
                  </a:lnTo>
                  <a:lnTo>
                    <a:pt x="1614" y="1566"/>
                  </a:lnTo>
                  <a:lnTo>
                    <a:pt x="1614" y="1566"/>
                  </a:lnTo>
                  <a:lnTo>
                    <a:pt x="1616" y="1566"/>
                  </a:lnTo>
                  <a:lnTo>
                    <a:pt x="1616" y="1566"/>
                  </a:lnTo>
                  <a:lnTo>
                    <a:pt x="1616" y="1563"/>
                  </a:lnTo>
                  <a:lnTo>
                    <a:pt x="1619" y="1563"/>
                  </a:lnTo>
                  <a:lnTo>
                    <a:pt x="1619" y="1561"/>
                  </a:lnTo>
                  <a:lnTo>
                    <a:pt x="1619" y="1561"/>
                  </a:lnTo>
                  <a:lnTo>
                    <a:pt x="1619" y="1561"/>
                  </a:lnTo>
                  <a:lnTo>
                    <a:pt x="1619" y="1561"/>
                  </a:lnTo>
                  <a:lnTo>
                    <a:pt x="1621" y="1559"/>
                  </a:lnTo>
                  <a:lnTo>
                    <a:pt x="1623" y="1556"/>
                  </a:lnTo>
                  <a:lnTo>
                    <a:pt x="1623" y="1556"/>
                  </a:lnTo>
                  <a:lnTo>
                    <a:pt x="1623" y="1554"/>
                  </a:lnTo>
                  <a:lnTo>
                    <a:pt x="1626" y="1554"/>
                  </a:lnTo>
                  <a:lnTo>
                    <a:pt x="1626" y="1556"/>
                  </a:lnTo>
                  <a:lnTo>
                    <a:pt x="1626" y="1556"/>
                  </a:lnTo>
                  <a:lnTo>
                    <a:pt x="1626" y="1554"/>
                  </a:lnTo>
                  <a:lnTo>
                    <a:pt x="1626" y="1554"/>
                  </a:lnTo>
                  <a:lnTo>
                    <a:pt x="1626" y="1551"/>
                  </a:lnTo>
                  <a:lnTo>
                    <a:pt x="1626" y="1551"/>
                  </a:lnTo>
                  <a:lnTo>
                    <a:pt x="1626" y="1551"/>
                  </a:lnTo>
                  <a:lnTo>
                    <a:pt x="1626" y="1551"/>
                  </a:lnTo>
                  <a:lnTo>
                    <a:pt x="1628" y="1551"/>
                  </a:lnTo>
                  <a:lnTo>
                    <a:pt x="1626" y="1551"/>
                  </a:lnTo>
                  <a:lnTo>
                    <a:pt x="1626" y="1549"/>
                  </a:lnTo>
                  <a:lnTo>
                    <a:pt x="1626" y="1549"/>
                  </a:lnTo>
                  <a:lnTo>
                    <a:pt x="1626" y="1549"/>
                  </a:lnTo>
                  <a:lnTo>
                    <a:pt x="1626" y="1549"/>
                  </a:lnTo>
                  <a:lnTo>
                    <a:pt x="1626" y="1547"/>
                  </a:lnTo>
                  <a:lnTo>
                    <a:pt x="1626" y="1547"/>
                  </a:lnTo>
                  <a:lnTo>
                    <a:pt x="1626" y="1547"/>
                  </a:lnTo>
                  <a:lnTo>
                    <a:pt x="1626" y="1544"/>
                  </a:lnTo>
                  <a:lnTo>
                    <a:pt x="1626" y="1544"/>
                  </a:lnTo>
                  <a:lnTo>
                    <a:pt x="1626" y="1544"/>
                  </a:lnTo>
                  <a:lnTo>
                    <a:pt x="1626" y="1544"/>
                  </a:lnTo>
                  <a:lnTo>
                    <a:pt x="1626" y="1544"/>
                  </a:lnTo>
                  <a:lnTo>
                    <a:pt x="1626" y="1544"/>
                  </a:lnTo>
                  <a:lnTo>
                    <a:pt x="1626" y="1544"/>
                  </a:lnTo>
                  <a:lnTo>
                    <a:pt x="1623" y="1542"/>
                  </a:lnTo>
                  <a:lnTo>
                    <a:pt x="1623" y="1542"/>
                  </a:lnTo>
                  <a:lnTo>
                    <a:pt x="1623" y="1540"/>
                  </a:lnTo>
                  <a:lnTo>
                    <a:pt x="1623" y="1540"/>
                  </a:lnTo>
                  <a:lnTo>
                    <a:pt x="1623" y="1540"/>
                  </a:lnTo>
                  <a:lnTo>
                    <a:pt x="1623" y="1537"/>
                  </a:lnTo>
                  <a:lnTo>
                    <a:pt x="1626" y="1537"/>
                  </a:lnTo>
                  <a:lnTo>
                    <a:pt x="1626" y="1537"/>
                  </a:lnTo>
                  <a:lnTo>
                    <a:pt x="1626" y="1535"/>
                  </a:lnTo>
                  <a:lnTo>
                    <a:pt x="1626" y="1535"/>
                  </a:lnTo>
                  <a:lnTo>
                    <a:pt x="1626" y="1532"/>
                  </a:lnTo>
                  <a:lnTo>
                    <a:pt x="1626" y="1532"/>
                  </a:lnTo>
                  <a:lnTo>
                    <a:pt x="1628" y="1532"/>
                  </a:lnTo>
                  <a:lnTo>
                    <a:pt x="1628" y="1532"/>
                  </a:lnTo>
                  <a:lnTo>
                    <a:pt x="1628" y="1532"/>
                  </a:lnTo>
                  <a:lnTo>
                    <a:pt x="1628" y="1532"/>
                  </a:lnTo>
                  <a:lnTo>
                    <a:pt x="1628" y="1532"/>
                  </a:lnTo>
                  <a:lnTo>
                    <a:pt x="1631" y="1532"/>
                  </a:lnTo>
                  <a:lnTo>
                    <a:pt x="1631" y="1532"/>
                  </a:lnTo>
                  <a:lnTo>
                    <a:pt x="1631" y="1532"/>
                  </a:lnTo>
                  <a:lnTo>
                    <a:pt x="1631" y="1530"/>
                  </a:lnTo>
                  <a:lnTo>
                    <a:pt x="1633" y="1530"/>
                  </a:lnTo>
                  <a:lnTo>
                    <a:pt x="1633" y="1530"/>
                  </a:lnTo>
                  <a:lnTo>
                    <a:pt x="1635" y="1532"/>
                  </a:lnTo>
                  <a:lnTo>
                    <a:pt x="1635" y="1532"/>
                  </a:lnTo>
                  <a:lnTo>
                    <a:pt x="1635" y="1530"/>
                  </a:lnTo>
                  <a:lnTo>
                    <a:pt x="1635" y="1530"/>
                  </a:lnTo>
                  <a:lnTo>
                    <a:pt x="1635" y="1528"/>
                  </a:lnTo>
                  <a:lnTo>
                    <a:pt x="1638" y="1528"/>
                  </a:lnTo>
                  <a:lnTo>
                    <a:pt x="1638" y="1528"/>
                  </a:lnTo>
                  <a:lnTo>
                    <a:pt x="1640" y="1525"/>
                  </a:lnTo>
                  <a:lnTo>
                    <a:pt x="1640" y="1528"/>
                  </a:lnTo>
                  <a:lnTo>
                    <a:pt x="1640" y="1528"/>
                  </a:lnTo>
                  <a:lnTo>
                    <a:pt x="1640" y="1530"/>
                  </a:lnTo>
                  <a:lnTo>
                    <a:pt x="1642" y="1530"/>
                  </a:lnTo>
                  <a:lnTo>
                    <a:pt x="1642" y="1530"/>
                  </a:lnTo>
                  <a:lnTo>
                    <a:pt x="1640" y="1530"/>
                  </a:lnTo>
                  <a:lnTo>
                    <a:pt x="1640" y="1535"/>
                  </a:lnTo>
                  <a:lnTo>
                    <a:pt x="1640" y="1535"/>
                  </a:lnTo>
                  <a:lnTo>
                    <a:pt x="1638" y="1537"/>
                  </a:lnTo>
                  <a:lnTo>
                    <a:pt x="1638" y="1540"/>
                  </a:lnTo>
                  <a:lnTo>
                    <a:pt x="1638" y="1540"/>
                  </a:lnTo>
                  <a:lnTo>
                    <a:pt x="1638" y="1540"/>
                  </a:lnTo>
                  <a:lnTo>
                    <a:pt x="1638" y="1540"/>
                  </a:lnTo>
                  <a:lnTo>
                    <a:pt x="1638" y="1540"/>
                  </a:lnTo>
                  <a:lnTo>
                    <a:pt x="1638" y="1540"/>
                  </a:lnTo>
                  <a:lnTo>
                    <a:pt x="1640" y="1542"/>
                  </a:lnTo>
                  <a:lnTo>
                    <a:pt x="1640" y="1542"/>
                  </a:lnTo>
                  <a:lnTo>
                    <a:pt x="1642" y="1540"/>
                  </a:lnTo>
                  <a:lnTo>
                    <a:pt x="1642" y="1540"/>
                  </a:lnTo>
                  <a:lnTo>
                    <a:pt x="1642" y="1540"/>
                  </a:lnTo>
                  <a:lnTo>
                    <a:pt x="1645" y="1540"/>
                  </a:lnTo>
                  <a:lnTo>
                    <a:pt x="1647" y="1537"/>
                  </a:lnTo>
                  <a:lnTo>
                    <a:pt x="1650" y="1540"/>
                  </a:lnTo>
                  <a:lnTo>
                    <a:pt x="1654" y="1537"/>
                  </a:lnTo>
                  <a:lnTo>
                    <a:pt x="1654" y="1537"/>
                  </a:lnTo>
                  <a:lnTo>
                    <a:pt x="1657" y="1540"/>
                  </a:lnTo>
                  <a:lnTo>
                    <a:pt x="1657" y="1540"/>
                  </a:lnTo>
                  <a:lnTo>
                    <a:pt x="1657" y="1540"/>
                  </a:lnTo>
                  <a:lnTo>
                    <a:pt x="1659" y="1540"/>
                  </a:lnTo>
                  <a:lnTo>
                    <a:pt x="1659" y="1542"/>
                  </a:lnTo>
                  <a:lnTo>
                    <a:pt x="1659" y="1542"/>
                  </a:lnTo>
                  <a:lnTo>
                    <a:pt x="1659" y="1542"/>
                  </a:lnTo>
                  <a:lnTo>
                    <a:pt x="1659" y="1542"/>
                  </a:lnTo>
                  <a:lnTo>
                    <a:pt x="1661" y="1544"/>
                  </a:lnTo>
                  <a:lnTo>
                    <a:pt x="1661" y="1544"/>
                  </a:lnTo>
                  <a:lnTo>
                    <a:pt x="1661" y="1544"/>
                  </a:lnTo>
                  <a:lnTo>
                    <a:pt x="1661" y="1544"/>
                  </a:lnTo>
                  <a:lnTo>
                    <a:pt x="1659" y="1547"/>
                  </a:lnTo>
                  <a:lnTo>
                    <a:pt x="1661" y="1547"/>
                  </a:lnTo>
                  <a:lnTo>
                    <a:pt x="1659" y="1547"/>
                  </a:lnTo>
                  <a:lnTo>
                    <a:pt x="1659" y="1547"/>
                  </a:lnTo>
                  <a:lnTo>
                    <a:pt x="1659" y="1547"/>
                  </a:lnTo>
                  <a:lnTo>
                    <a:pt x="1659" y="1547"/>
                  </a:lnTo>
                  <a:lnTo>
                    <a:pt x="1657" y="1549"/>
                  </a:lnTo>
                  <a:lnTo>
                    <a:pt x="1657" y="1549"/>
                  </a:lnTo>
                  <a:lnTo>
                    <a:pt x="1657" y="1549"/>
                  </a:lnTo>
                  <a:lnTo>
                    <a:pt x="1657" y="1549"/>
                  </a:lnTo>
                  <a:lnTo>
                    <a:pt x="1657" y="1551"/>
                  </a:lnTo>
                  <a:lnTo>
                    <a:pt x="1657" y="1551"/>
                  </a:lnTo>
                  <a:lnTo>
                    <a:pt x="1657" y="1554"/>
                  </a:lnTo>
                  <a:lnTo>
                    <a:pt x="1659" y="1554"/>
                  </a:lnTo>
                  <a:lnTo>
                    <a:pt x="1659" y="1554"/>
                  </a:lnTo>
                  <a:lnTo>
                    <a:pt x="1659" y="1554"/>
                  </a:lnTo>
                  <a:lnTo>
                    <a:pt x="1659" y="1556"/>
                  </a:lnTo>
                  <a:lnTo>
                    <a:pt x="1659" y="1556"/>
                  </a:lnTo>
                  <a:lnTo>
                    <a:pt x="1661" y="1556"/>
                  </a:lnTo>
                  <a:lnTo>
                    <a:pt x="1664" y="1556"/>
                  </a:lnTo>
                  <a:lnTo>
                    <a:pt x="1664" y="1554"/>
                  </a:lnTo>
                  <a:lnTo>
                    <a:pt x="1666" y="1556"/>
                  </a:lnTo>
                  <a:lnTo>
                    <a:pt x="1664" y="1554"/>
                  </a:lnTo>
                  <a:lnTo>
                    <a:pt x="1666" y="1554"/>
                  </a:lnTo>
                  <a:lnTo>
                    <a:pt x="1671" y="1554"/>
                  </a:lnTo>
                  <a:lnTo>
                    <a:pt x="1671" y="1554"/>
                  </a:lnTo>
                  <a:lnTo>
                    <a:pt x="1673" y="1554"/>
                  </a:lnTo>
                  <a:lnTo>
                    <a:pt x="1673" y="1554"/>
                  </a:lnTo>
                  <a:lnTo>
                    <a:pt x="1676" y="1556"/>
                  </a:lnTo>
                  <a:lnTo>
                    <a:pt x="1676" y="1556"/>
                  </a:lnTo>
                  <a:lnTo>
                    <a:pt x="1676" y="1556"/>
                  </a:lnTo>
                  <a:lnTo>
                    <a:pt x="1678" y="1556"/>
                  </a:lnTo>
                  <a:lnTo>
                    <a:pt x="1678" y="1554"/>
                  </a:lnTo>
                  <a:lnTo>
                    <a:pt x="1678" y="1554"/>
                  </a:lnTo>
                  <a:lnTo>
                    <a:pt x="1680" y="1556"/>
                  </a:lnTo>
                  <a:lnTo>
                    <a:pt x="1680" y="1556"/>
                  </a:lnTo>
                  <a:lnTo>
                    <a:pt x="1683" y="1556"/>
                  </a:lnTo>
                  <a:lnTo>
                    <a:pt x="1683" y="1559"/>
                  </a:lnTo>
                  <a:lnTo>
                    <a:pt x="1683" y="1559"/>
                  </a:lnTo>
                  <a:lnTo>
                    <a:pt x="1685" y="1559"/>
                  </a:lnTo>
                  <a:lnTo>
                    <a:pt x="1687" y="1559"/>
                  </a:lnTo>
                  <a:lnTo>
                    <a:pt x="1687" y="1559"/>
                  </a:lnTo>
                  <a:lnTo>
                    <a:pt x="1694" y="1561"/>
                  </a:lnTo>
                  <a:lnTo>
                    <a:pt x="1697" y="1563"/>
                  </a:lnTo>
                  <a:lnTo>
                    <a:pt x="1702" y="1563"/>
                  </a:lnTo>
                  <a:lnTo>
                    <a:pt x="1702" y="1563"/>
                  </a:lnTo>
                  <a:lnTo>
                    <a:pt x="1702" y="1563"/>
                  </a:lnTo>
                  <a:lnTo>
                    <a:pt x="1704" y="1561"/>
                  </a:lnTo>
                  <a:lnTo>
                    <a:pt x="1704" y="1561"/>
                  </a:lnTo>
                  <a:lnTo>
                    <a:pt x="1704" y="1561"/>
                  </a:lnTo>
                  <a:lnTo>
                    <a:pt x="1702" y="1559"/>
                  </a:lnTo>
                  <a:lnTo>
                    <a:pt x="1702" y="1559"/>
                  </a:lnTo>
                  <a:lnTo>
                    <a:pt x="1704" y="1559"/>
                  </a:lnTo>
                  <a:lnTo>
                    <a:pt x="1704" y="1559"/>
                  </a:lnTo>
                  <a:lnTo>
                    <a:pt x="1704" y="1556"/>
                  </a:lnTo>
                  <a:lnTo>
                    <a:pt x="1704" y="1556"/>
                  </a:lnTo>
                  <a:lnTo>
                    <a:pt x="1704" y="1556"/>
                  </a:lnTo>
                  <a:lnTo>
                    <a:pt x="1704" y="1556"/>
                  </a:lnTo>
                  <a:lnTo>
                    <a:pt x="1706" y="1556"/>
                  </a:lnTo>
                  <a:lnTo>
                    <a:pt x="1706" y="1556"/>
                  </a:lnTo>
                  <a:lnTo>
                    <a:pt x="1706" y="1556"/>
                  </a:lnTo>
                  <a:lnTo>
                    <a:pt x="1706" y="1556"/>
                  </a:lnTo>
                  <a:lnTo>
                    <a:pt x="1706" y="1554"/>
                  </a:lnTo>
                  <a:lnTo>
                    <a:pt x="1706" y="1554"/>
                  </a:lnTo>
                  <a:lnTo>
                    <a:pt x="1709" y="1549"/>
                  </a:lnTo>
                  <a:lnTo>
                    <a:pt x="1711" y="1549"/>
                  </a:lnTo>
                  <a:lnTo>
                    <a:pt x="1711" y="1549"/>
                  </a:lnTo>
                  <a:lnTo>
                    <a:pt x="1711" y="1549"/>
                  </a:lnTo>
                  <a:lnTo>
                    <a:pt x="1711" y="1547"/>
                  </a:lnTo>
                  <a:lnTo>
                    <a:pt x="1711" y="1547"/>
                  </a:lnTo>
                  <a:lnTo>
                    <a:pt x="1713" y="1547"/>
                  </a:lnTo>
                  <a:lnTo>
                    <a:pt x="1713" y="1547"/>
                  </a:lnTo>
                  <a:lnTo>
                    <a:pt x="1713" y="1544"/>
                  </a:lnTo>
                  <a:lnTo>
                    <a:pt x="1713" y="1544"/>
                  </a:lnTo>
                  <a:lnTo>
                    <a:pt x="1713" y="1544"/>
                  </a:lnTo>
                  <a:lnTo>
                    <a:pt x="1718" y="1542"/>
                  </a:lnTo>
                  <a:lnTo>
                    <a:pt x="1718" y="1540"/>
                  </a:lnTo>
                  <a:lnTo>
                    <a:pt x="1721" y="1540"/>
                  </a:lnTo>
                  <a:lnTo>
                    <a:pt x="1721" y="1540"/>
                  </a:lnTo>
                  <a:lnTo>
                    <a:pt x="1721" y="1540"/>
                  </a:lnTo>
                  <a:lnTo>
                    <a:pt x="1721" y="1540"/>
                  </a:lnTo>
                  <a:lnTo>
                    <a:pt x="1721" y="1537"/>
                  </a:lnTo>
                  <a:close/>
                  <a:moveTo>
                    <a:pt x="2144" y="1561"/>
                  </a:moveTo>
                  <a:lnTo>
                    <a:pt x="2144" y="1561"/>
                  </a:lnTo>
                  <a:lnTo>
                    <a:pt x="2144" y="1561"/>
                  </a:lnTo>
                  <a:lnTo>
                    <a:pt x="2144" y="1559"/>
                  </a:lnTo>
                  <a:lnTo>
                    <a:pt x="2144" y="1559"/>
                  </a:lnTo>
                  <a:lnTo>
                    <a:pt x="2144" y="1559"/>
                  </a:lnTo>
                  <a:lnTo>
                    <a:pt x="2142" y="1556"/>
                  </a:lnTo>
                  <a:lnTo>
                    <a:pt x="2142" y="1556"/>
                  </a:lnTo>
                  <a:lnTo>
                    <a:pt x="2142" y="1556"/>
                  </a:lnTo>
                  <a:lnTo>
                    <a:pt x="2142" y="1556"/>
                  </a:lnTo>
                  <a:lnTo>
                    <a:pt x="2142" y="1556"/>
                  </a:lnTo>
                  <a:lnTo>
                    <a:pt x="2142" y="1556"/>
                  </a:lnTo>
                  <a:lnTo>
                    <a:pt x="2142" y="1556"/>
                  </a:lnTo>
                  <a:lnTo>
                    <a:pt x="2139" y="1556"/>
                  </a:lnTo>
                  <a:lnTo>
                    <a:pt x="2139" y="1556"/>
                  </a:lnTo>
                  <a:lnTo>
                    <a:pt x="2139" y="1556"/>
                  </a:lnTo>
                  <a:lnTo>
                    <a:pt x="2142" y="1556"/>
                  </a:lnTo>
                  <a:lnTo>
                    <a:pt x="2142" y="1556"/>
                  </a:lnTo>
                  <a:lnTo>
                    <a:pt x="2139" y="1554"/>
                  </a:lnTo>
                  <a:lnTo>
                    <a:pt x="2139" y="1556"/>
                  </a:lnTo>
                  <a:lnTo>
                    <a:pt x="2137" y="1559"/>
                  </a:lnTo>
                  <a:lnTo>
                    <a:pt x="2137" y="1561"/>
                  </a:lnTo>
                  <a:lnTo>
                    <a:pt x="2137" y="1561"/>
                  </a:lnTo>
                  <a:lnTo>
                    <a:pt x="2139" y="1561"/>
                  </a:lnTo>
                  <a:lnTo>
                    <a:pt x="2139" y="1561"/>
                  </a:lnTo>
                  <a:lnTo>
                    <a:pt x="2142" y="1561"/>
                  </a:lnTo>
                  <a:lnTo>
                    <a:pt x="2142" y="1561"/>
                  </a:lnTo>
                  <a:lnTo>
                    <a:pt x="2142" y="1559"/>
                  </a:lnTo>
                  <a:lnTo>
                    <a:pt x="2142" y="1561"/>
                  </a:lnTo>
                  <a:lnTo>
                    <a:pt x="2144" y="1561"/>
                  </a:lnTo>
                  <a:close/>
                  <a:moveTo>
                    <a:pt x="2146" y="1509"/>
                  </a:moveTo>
                  <a:lnTo>
                    <a:pt x="2149" y="1509"/>
                  </a:lnTo>
                  <a:lnTo>
                    <a:pt x="2149" y="1509"/>
                  </a:lnTo>
                  <a:lnTo>
                    <a:pt x="2149" y="1509"/>
                  </a:lnTo>
                  <a:lnTo>
                    <a:pt x="2149" y="1509"/>
                  </a:lnTo>
                  <a:lnTo>
                    <a:pt x="2149" y="1506"/>
                  </a:lnTo>
                  <a:lnTo>
                    <a:pt x="2151" y="1506"/>
                  </a:lnTo>
                  <a:lnTo>
                    <a:pt x="2151" y="1506"/>
                  </a:lnTo>
                  <a:lnTo>
                    <a:pt x="2151" y="1506"/>
                  </a:lnTo>
                  <a:lnTo>
                    <a:pt x="2151" y="1506"/>
                  </a:lnTo>
                  <a:lnTo>
                    <a:pt x="2151" y="1504"/>
                  </a:lnTo>
                  <a:lnTo>
                    <a:pt x="2151" y="1504"/>
                  </a:lnTo>
                  <a:lnTo>
                    <a:pt x="2149" y="1504"/>
                  </a:lnTo>
                  <a:lnTo>
                    <a:pt x="2149" y="1504"/>
                  </a:lnTo>
                  <a:lnTo>
                    <a:pt x="2146" y="1504"/>
                  </a:lnTo>
                  <a:lnTo>
                    <a:pt x="2146" y="1506"/>
                  </a:lnTo>
                  <a:lnTo>
                    <a:pt x="2146" y="1506"/>
                  </a:lnTo>
                  <a:lnTo>
                    <a:pt x="2146" y="1506"/>
                  </a:lnTo>
                  <a:lnTo>
                    <a:pt x="2146" y="1506"/>
                  </a:lnTo>
                  <a:lnTo>
                    <a:pt x="2146" y="1509"/>
                  </a:lnTo>
                  <a:lnTo>
                    <a:pt x="2146" y="1509"/>
                  </a:lnTo>
                  <a:lnTo>
                    <a:pt x="2144" y="1509"/>
                  </a:lnTo>
                  <a:lnTo>
                    <a:pt x="2144" y="1511"/>
                  </a:lnTo>
                  <a:lnTo>
                    <a:pt x="2146" y="1509"/>
                  </a:lnTo>
                  <a:close/>
                  <a:moveTo>
                    <a:pt x="2172" y="1559"/>
                  </a:moveTo>
                  <a:lnTo>
                    <a:pt x="2172" y="1556"/>
                  </a:lnTo>
                  <a:lnTo>
                    <a:pt x="2165" y="1559"/>
                  </a:lnTo>
                  <a:lnTo>
                    <a:pt x="2163" y="1559"/>
                  </a:lnTo>
                  <a:lnTo>
                    <a:pt x="2163" y="1559"/>
                  </a:lnTo>
                  <a:lnTo>
                    <a:pt x="2154" y="1563"/>
                  </a:lnTo>
                  <a:lnTo>
                    <a:pt x="2154" y="1563"/>
                  </a:lnTo>
                  <a:lnTo>
                    <a:pt x="2154" y="1566"/>
                  </a:lnTo>
                  <a:lnTo>
                    <a:pt x="2154" y="1566"/>
                  </a:lnTo>
                  <a:lnTo>
                    <a:pt x="2154" y="1568"/>
                  </a:lnTo>
                  <a:lnTo>
                    <a:pt x="2154" y="1568"/>
                  </a:lnTo>
                  <a:lnTo>
                    <a:pt x="2154" y="1568"/>
                  </a:lnTo>
                  <a:lnTo>
                    <a:pt x="2156" y="1568"/>
                  </a:lnTo>
                  <a:lnTo>
                    <a:pt x="2156" y="1568"/>
                  </a:lnTo>
                  <a:lnTo>
                    <a:pt x="2156" y="1570"/>
                  </a:lnTo>
                  <a:lnTo>
                    <a:pt x="2158" y="1570"/>
                  </a:lnTo>
                  <a:lnTo>
                    <a:pt x="2158" y="1570"/>
                  </a:lnTo>
                  <a:lnTo>
                    <a:pt x="2158" y="1570"/>
                  </a:lnTo>
                  <a:lnTo>
                    <a:pt x="2161" y="1570"/>
                  </a:lnTo>
                  <a:lnTo>
                    <a:pt x="2161" y="1570"/>
                  </a:lnTo>
                  <a:lnTo>
                    <a:pt x="2161" y="1570"/>
                  </a:lnTo>
                  <a:lnTo>
                    <a:pt x="2161" y="1570"/>
                  </a:lnTo>
                  <a:lnTo>
                    <a:pt x="2161" y="1570"/>
                  </a:lnTo>
                  <a:lnTo>
                    <a:pt x="2163" y="1570"/>
                  </a:lnTo>
                  <a:lnTo>
                    <a:pt x="2163" y="1570"/>
                  </a:lnTo>
                  <a:lnTo>
                    <a:pt x="2163" y="1570"/>
                  </a:lnTo>
                  <a:lnTo>
                    <a:pt x="2163" y="1573"/>
                  </a:lnTo>
                  <a:lnTo>
                    <a:pt x="2163" y="1573"/>
                  </a:lnTo>
                  <a:lnTo>
                    <a:pt x="2165" y="1573"/>
                  </a:lnTo>
                  <a:lnTo>
                    <a:pt x="2165" y="1573"/>
                  </a:lnTo>
                  <a:lnTo>
                    <a:pt x="2165" y="1573"/>
                  </a:lnTo>
                  <a:lnTo>
                    <a:pt x="2165" y="1573"/>
                  </a:lnTo>
                  <a:lnTo>
                    <a:pt x="2165" y="1573"/>
                  </a:lnTo>
                  <a:lnTo>
                    <a:pt x="2165" y="1573"/>
                  </a:lnTo>
                  <a:lnTo>
                    <a:pt x="2165" y="1573"/>
                  </a:lnTo>
                  <a:lnTo>
                    <a:pt x="2165" y="1573"/>
                  </a:lnTo>
                  <a:lnTo>
                    <a:pt x="2168" y="1575"/>
                  </a:lnTo>
                  <a:lnTo>
                    <a:pt x="2170" y="1573"/>
                  </a:lnTo>
                  <a:lnTo>
                    <a:pt x="2172" y="1573"/>
                  </a:lnTo>
                  <a:lnTo>
                    <a:pt x="2172" y="1575"/>
                  </a:lnTo>
                  <a:lnTo>
                    <a:pt x="2170" y="1575"/>
                  </a:lnTo>
                  <a:lnTo>
                    <a:pt x="2170" y="1575"/>
                  </a:lnTo>
                  <a:lnTo>
                    <a:pt x="2170" y="1577"/>
                  </a:lnTo>
                  <a:lnTo>
                    <a:pt x="2172" y="1577"/>
                  </a:lnTo>
                  <a:lnTo>
                    <a:pt x="2172" y="1577"/>
                  </a:lnTo>
                  <a:lnTo>
                    <a:pt x="2172" y="1577"/>
                  </a:lnTo>
                  <a:lnTo>
                    <a:pt x="2172" y="1575"/>
                  </a:lnTo>
                  <a:lnTo>
                    <a:pt x="2172" y="1577"/>
                  </a:lnTo>
                  <a:lnTo>
                    <a:pt x="2175" y="1577"/>
                  </a:lnTo>
                  <a:lnTo>
                    <a:pt x="2175" y="1577"/>
                  </a:lnTo>
                  <a:lnTo>
                    <a:pt x="2175" y="1575"/>
                  </a:lnTo>
                  <a:lnTo>
                    <a:pt x="2175" y="1575"/>
                  </a:lnTo>
                  <a:lnTo>
                    <a:pt x="2175" y="1573"/>
                  </a:lnTo>
                  <a:lnTo>
                    <a:pt x="2175" y="1573"/>
                  </a:lnTo>
                  <a:lnTo>
                    <a:pt x="2175" y="1570"/>
                  </a:lnTo>
                  <a:lnTo>
                    <a:pt x="2177" y="1570"/>
                  </a:lnTo>
                  <a:lnTo>
                    <a:pt x="2177" y="1568"/>
                  </a:lnTo>
                  <a:lnTo>
                    <a:pt x="2177" y="1568"/>
                  </a:lnTo>
                  <a:lnTo>
                    <a:pt x="2177" y="1566"/>
                  </a:lnTo>
                  <a:lnTo>
                    <a:pt x="2177" y="1566"/>
                  </a:lnTo>
                  <a:lnTo>
                    <a:pt x="2177" y="1566"/>
                  </a:lnTo>
                  <a:lnTo>
                    <a:pt x="2177" y="1566"/>
                  </a:lnTo>
                  <a:lnTo>
                    <a:pt x="2175" y="1566"/>
                  </a:lnTo>
                  <a:lnTo>
                    <a:pt x="2175" y="1563"/>
                  </a:lnTo>
                  <a:lnTo>
                    <a:pt x="2175" y="1563"/>
                  </a:lnTo>
                  <a:lnTo>
                    <a:pt x="2175" y="1563"/>
                  </a:lnTo>
                  <a:lnTo>
                    <a:pt x="2175" y="1563"/>
                  </a:lnTo>
                  <a:lnTo>
                    <a:pt x="2175" y="1563"/>
                  </a:lnTo>
                  <a:lnTo>
                    <a:pt x="2175" y="1563"/>
                  </a:lnTo>
                  <a:lnTo>
                    <a:pt x="2175" y="1563"/>
                  </a:lnTo>
                  <a:lnTo>
                    <a:pt x="2175" y="1563"/>
                  </a:lnTo>
                  <a:lnTo>
                    <a:pt x="2175" y="1563"/>
                  </a:lnTo>
                  <a:lnTo>
                    <a:pt x="2175" y="1561"/>
                  </a:lnTo>
                  <a:lnTo>
                    <a:pt x="2175" y="1561"/>
                  </a:lnTo>
                  <a:lnTo>
                    <a:pt x="2175" y="1561"/>
                  </a:lnTo>
                  <a:lnTo>
                    <a:pt x="2175" y="1559"/>
                  </a:lnTo>
                  <a:lnTo>
                    <a:pt x="2175" y="1559"/>
                  </a:lnTo>
                  <a:lnTo>
                    <a:pt x="2175" y="1559"/>
                  </a:lnTo>
                  <a:lnTo>
                    <a:pt x="2175" y="1559"/>
                  </a:lnTo>
                  <a:lnTo>
                    <a:pt x="2172" y="1561"/>
                  </a:lnTo>
                  <a:lnTo>
                    <a:pt x="2172" y="1559"/>
                  </a:lnTo>
                  <a:lnTo>
                    <a:pt x="2172" y="1559"/>
                  </a:lnTo>
                  <a:lnTo>
                    <a:pt x="2172" y="1559"/>
                  </a:lnTo>
                  <a:lnTo>
                    <a:pt x="2172" y="1559"/>
                  </a:lnTo>
                  <a:lnTo>
                    <a:pt x="2172" y="1559"/>
                  </a:lnTo>
                  <a:lnTo>
                    <a:pt x="2172" y="1561"/>
                  </a:lnTo>
                  <a:lnTo>
                    <a:pt x="2170" y="1561"/>
                  </a:lnTo>
                  <a:lnTo>
                    <a:pt x="2172" y="1559"/>
                  </a:lnTo>
                  <a:lnTo>
                    <a:pt x="2172" y="1559"/>
                  </a:lnTo>
                  <a:close/>
                  <a:moveTo>
                    <a:pt x="2128" y="1431"/>
                  </a:moveTo>
                  <a:lnTo>
                    <a:pt x="2128" y="1428"/>
                  </a:lnTo>
                  <a:lnTo>
                    <a:pt x="2125" y="1431"/>
                  </a:lnTo>
                  <a:lnTo>
                    <a:pt x="2125" y="1433"/>
                  </a:lnTo>
                  <a:lnTo>
                    <a:pt x="2128" y="1436"/>
                  </a:lnTo>
                  <a:lnTo>
                    <a:pt x="2128" y="1436"/>
                  </a:lnTo>
                  <a:lnTo>
                    <a:pt x="2130" y="1436"/>
                  </a:lnTo>
                  <a:lnTo>
                    <a:pt x="2130" y="1436"/>
                  </a:lnTo>
                  <a:lnTo>
                    <a:pt x="2132" y="1433"/>
                  </a:lnTo>
                  <a:lnTo>
                    <a:pt x="2132" y="1433"/>
                  </a:lnTo>
                  <a:lnTo>
                    <a:pt x="2132" y="1433"/>
                  </a:lnTo>
                  <a:lnTo>
                    <a:pt x="2135" y="1436"/>
                  </a:lnTo>
                  <a:lnTo>
                    <a:pt x="2135" y="1436"/>
                  </a:lnTo>
                  <a:lnTo>
                    <a:pt x="2137" y="1436"/>
                  </a:lnTo>
                  <a:lnTo>
                    <a:pt x="2137" y="1436"/>
                  </a:lnTo>
                  <a:lnTo>
                    <a:pt x="2137" y="1436"/>
                  </a:lnTo>
                  <a:lnTo>
                    <a:pt x="2137" y="1436"/>
                  </a:lnTo>
                  <a:lnTo>
                    <a:pt x="2139" y="1436"/>
                  </a:lnTo>
                  <a:lnTo>
                    <a:pt x="2139" y="1438"/>
                  </a:lnTo>
                  <a:lnTo>
                    <a:pt x="2139" y="1438"/>
                  </a:lnTo>
                  <a:lnTo>
                    <a:pt x="2139" y="1438"/>
                  </a:lnTo>
                  <a:lnTo>
                    <a:pt x="2142" y="1438"/>
                  </a:lnTo>
                  <a:lnTo>
                    <a:pt x="2142" y="1438"/>
                  </a:lnTo>
                  <a:lnTo>
                    <a:pt x="2142" y="1438"/>
                  </a:lnTo>
                  <a:lnTo>
                    <a:pt x="2142" y="1436"/>
                  </a:lnTo>
                  <a:lnTo>
                    <a:pt x="2142" y="1436"/>
                  </a:lnTo>
                  <a:lnTo>
                    <a:pt x="2142" y="1436"/>
                  </a:lnTo>
                  <a:lnTo>
                    <a:pt x="2142" y="1433"/>
                  </a:lnTo>
                  <a:lnTo>
                    <a:pt x="2142" y="1433"/>
                  </a:lnTo>
                  <a:lnTo>
                    <a:pt x="2139" y="1431"/>
                  </a:lnTo>
                  <a:lnTo>
                    <a:pt x="2139" y="1431"/>
                  </a:lnTo>
                  <a:lnTo>
                    <a:pt x="2139" y="1431"/>
                  </a:lnTo>
                  <a:lnTo>
                    <a:pt x="2139" y="1431"/>
                  </a:lnTo>
                  <a:lnTo>
                    <a:pt x="2139" y="1433"/>
                  </a:lnTo>
                  <a:lnTo>
                    <a:pt x="2139" y="1433"/>
                  </a:lnTo>
                  <a:lnTo>
                    <a:pt x="2137" y="1433"/>
                  </a:lnTo>
                  <a:lnTo>
                    <a:pt x="2137" y="1433"/>
                  </a:lnTo>
                  <a:lnTo>
                    <a:pt x="2137" y="1433"/>
                  </a:lnTo>
                  <a:lnTo>
                    <a:pt x="2137" y="1433"/>
                  </a:lnTo>
                  <a:lnTo>
                    <a:pt x="2135" y="1433"/>
                  </a:lnTo>
                  <a:lnTo>
                    <a:pt x="2135" y="1433"/>
                  </a:lnTo>
                  <a:lnTo>
                    <a:pt x="2135" y="1433"/>
                  </a:lnTo>
                  <a:lnTo>
                    <a:pt x="2135" y="1431"/>
                  </a:lnTo>
                  <a:lnTo>
                    <a:pt x="2137" y="1428"/>
                  </a:lnTo>
                  <a:lnTo>
                    <a:pt x="2135" y="1428"/>
                  </a:lnTo>
                  <a:lnTo>
                    <a:pt x="2135" y="1428"/>
                  </a:lnTo>
                  <a:lnTo>
                    <a:pt x="2135" y="1428"/>
                  </a:lnTo>
                  <a:lnTo>
                    <a:pt x="2135" y="1428"/>
                  </a:lnTo>
                  <a:lnTo>
                    <a:pt x="2135" y="1426"/>
                  </a:lnTo>
                  <a:lnTo>
                    <a:pt x="2135" y="1426"/>
                  </a:lnTo>
                  <a:lnTo>
                    <a:pt x="2132" y="1426"/>
                  </a:lnTo>
                  <a:lnTo>
                    <a:pt x="2132" y="1426"/>
                  </a:lnTo>
                  <a:lnTo>
                    <a:pt x="2132" y="1426"/>
                  </a:lnTo>
                  <a:lnTo>
                    <a:pt x="2132" y="1426"/>
                  </a:lnTo>
                  <a:lnTo>
                    <a:pt x="2130" y="1426"/>
                  </a:lnTo>
                  <a:lnTo>
                    <a:pt x="2130" y="1426"/>
                  </a:lnTo>
                  <a:lnTo>
                    <a:pt x="2130" y="1428"/>
                  </a:lnTo>
                  <a:lnTo>
                    <a:pt x="2130" y="1428"/>
                  </a:lnTo>
                  <a:lnTo>
                    <a:pt x="2130" y="1428"/>
                  </a:lnTo>
                  <a:lnTo>
                    <a:pt x="2128" y="1428"/>
                  </a:lnTo>
                  <a:lnTo>
                    <a:pt x="2128" y="1431"/>
                  </a:lnTo>
                  <a:lnTo>
                    <a:pt x="2130" y="1431"/>
                  </a:lnTo>
                  <a:lnTo>
                    <a:pt x="2130" y="1431"/>
                  </a:lnTo>
                  <a:lnTo>
                    <a:pt x="2130" y="1431"/>
                  </a:lnTo>
                  <a:lnTo>
                    <a:pt x="2130" y="1431"/>
                  </a:lnTo>
                  <a:lnTo>
                    <a:pt x="2130" y="1431"/>
                  </a:lnTo>
                  <a:lnTo>
                    <a:pt x="2128" y="1431"/>
                  </a:lnTo>
                  <a:close/>
                  <a:moveTo>
                    <a:pt x="2146" y="1428"/>
                  </a:moveTo>
                  <a:lnTo>
                    <a:pt x="2144" y="1426"/>
                  </a:lnTo>
                  <a:lnTo>
                    <a:pt x="2142" y="1426"/>
                  </a:lnTo>
                  <a:lnTo>
                    <a:pt x="2142" y="1428"/>
                  </a:lnTo>
                  <a:lnTo>
                    <a:pt x="2142" y="1431"/>
                  </a:lnTo>
                  <a:lnTo>
                    <a:pt x="2144" y="1433"/>
                  </a:lnTo>
                  <a:lnTo>
                    <a:pt x="2144" y="1433"/>
                  </a:lnTo>
                  <a:lnTo>
                    <a:pt x="2144" y="1431"/>
                  </a:lnTo>
                  <a:lnTo>
                    <a:pt x="2144" y="1428"/>
                  </a:lnTo>
                  <a:lnTo>
                    <a:pt x="2146" y="1428"/>
                  </a:lnTo>
                  <a:close/>
                  <a:moveTo>
                    <a:pt x="2146" y="1450"/>
                  </a:moveTo>
                  <a:lnTo>
                    <a:pt x="2146" y="1450"/>
                  </a:lnTo>
                  <a:lnTo>
                    <a:pt x="2146" y="1450"/>
                  </a:lnTo>
                  <a:lnTo>
                    <a:pt x="2146" y="1450"/>
                  </a:lnTo>
                  <a:lnTo>
                    <a:pt x="2146" y="1450"/>
                  </a:lnTo>
                  <a:lnTo>
                    <a:pt x="2146" y="1452"/>
                  </a:lnTo>
                  <a:lnTo>
                    <a:pt x="2146" y="1452"/>
                  </a:lnTo>
                  <a:lnTo>
                    <a:pt x="2149" y="1452"/>
                  </a:lnTo>
                  <a:lnTo>
                    <a:pt x="2149" y="1452"/>
                  </a:lnTo>
                  <a:lnTo>
                    <a:pt x="2149" y="1452"/>
                  </a:lnTo>
                  <a:lnTo>
                    <a:pt x="2149" y="1452"/>
                  </a:lnTo>
                  <a:lnTo>
                    <a:pt x="2149" y="1452"/>
                  </a:lnTo>
                  <a:lnTo>
                    <a:pt x="2149" y="1454"/>
                  </a:lnTo>
                  <a:lnTo>
                    <a:pt x="2149" y="1454"/>
                  </a:lnTo>
                  <a:lnTo>
                    <a:pt x="2149" y="1454"/>
                  </a:lnTo>
                  <a:lnTo>
                    <a:pt x="2149" y="1454"/>
                  </a:lnTo>
                  <a:lnTo>
                    <a:pt x="2151" y="1454"/>
                  </a:lnTo>
                  <a:lnTo>
                    <a:pt x="2151" y="1454"/>
                  </a:lnTo>
                  <a:lnTo>
                    <a:pt x="2151" y="1457"/>
                  </a:lnTo>
                  <a:lnTo>
                    <a:pt x="2154" y="1457"/>
                  </a:lnTo>
                  <a:lnTo>
                    <a:pt x="2154" y="1457"/>
                  </a:lnTo>
                  <a:lnTo>
                    <a:pt x="2154" y="1457"/>
                  </a:lnTo>
                  <a:lnTo>
                    <a:pt x="2156" y="1457"/>
                  </a:lnTo>
                  <a:lnTo>
                    <a:pt x="2156" y="1457"/>
                  </a:lnTo>
                  <a:lnTo>
                    <a:pt x="2156" y="1457"/>
                  </a:lnTo>
                  <a:lnTo>
                    <a:pt x="2156" y="1457"/>
                  </a:lnTo>
                  <a:lnTo>
                    <a:pt x="2156" y="1457"/>
                  </a:lnTo>
                  <a:lnTo>
                    <a:pt x="2156" y="1457"/>
                  </a:lnTo>
                  <a:lnTo>
                    <a:pt x="2158" y="1457"/>
                  </a:lnTo>
                  <a:lnTo>
                    <a:pt x="2158" y="1457"/>
                  </a:lnTo>
                  <a:lnTo>
                    <a:pt x="2158" y="1457"/>
                  </a:lnTo>
                  <a:lnTo>
                    <a:pt x="2158" y="1457"/>
                  </a:lnTo>
                  <a:lnTo>
                    <a:pt x="2156" y="1454"/>
                  </a:lnTo>
                  <a:lnTo>
                    <a:pt x="2158" y="1454"/>
                  </a:lnTo>
                  <a:lnTo>
                    <a:pt x="2156" y="1454"/>
                  </a:lnTo>
                  <a:lnTo>
                    <a:pt x="2156" y="1454"/>
                  </a:lnTo>
                  <a:lnTo>
                    <a:pt x="2156" y="1454"/>
                  </a:lnTo>
                  <a:lnTo>
                    <a:pt x="2154" y="1454"/>
                  </a:lnTo>
                  <a:lnTo>
                    <a:pt x="2154" y="1454"/>
                  </a:lnTo>
                  <a:lnTo>
                    <a:pt x="2154" y="1454"/>
                  </a:lnTo>
                  <a:lnTo>
                    <a:pt x="2154" y="1452"/>
                  </a:lnTo>
                  <a:lnTo>
                    <a:pt x="2154" y="1452"/>
                  </a:lnTo>
                  <a:lnTo>
                    <a:pt x="2154" y="1452"/>
                  </a:lnTo>
                  <a:lnTo>
                    <a:pt x="2154" y="1452"/>
                  </a:lnTo>
                  <a:lnTo>
                    <a:pt x="2154" y="1452"/>
                  </a:lnTo>
                  <a:lnTo>
                    <a:pt x="2154" y="1452"/>
                  </a:lnTo>
                  <a:lnTo>
                    <a:pt x="2154" y="1452"/>
                  </a:lnTo>
                  <a:lnTo>
                    <a:pt x="2151" y="1452"/>
                  </a:lnTo>
                  <a:lnTo>
                    <a:pt x="2151" y="1452"/>
                  </a:lnTo>
                  <a:lnTo>
                    <a:pt x="2151" y="1452"/>
                  </a:lnTo>
                  <a:lnTo>
                    <a:pt x="2151" y="1452"/>
                  </a:lnTo>
                  <a:lnTo>
                    <a:pt x="2151" y="1452"/>
                  </a:lnTo>
                  <a:lnTo>
                    <a:pt x="2151" y="1450"/>
                  </a:lnTo>
                  <a:lnTo>
                    <a:pt x="2151" y="1450"/>
                  </a:lnTo>
                  <a:lnTo>
                    <a:pt x="2151" y="1450"/>
                  </a:lnTo>
                  <a:lnTo>
                    <a:pt x="2151" y="1450"/>
                  </a:lnTo>
                  <a:lnTo>
                    <a:pt x="2149" y="1450"/>
                  </a:lnTo>
                  <a:lnTo>
                    <a:pt x="2149" y="1450"/>
                  </a:lnTo>
                  <a:lnTo>
                    <a:pt x="2151" y="1450"/>
                  </a:lnTo>
                  <a:lnTo>
                    <a:pt x="2151" y="1450"/>
                  </a:lnTo>
                  <a:lnTo>
                    <a:pt x="2149" y="1447"/>
                  </a:lnTo>
                  <a:lnTo>
                    <a:pt x="2149" y="1447"/>
                  </a:lnTo>
                  <a:lnTo>
                    <a:pt x="2149" y="1447"/>
                  </a:lnTo>
                  <a:lnTo>
                    <a:pt x="2149" y="1447"/>
                  </a:lnTo>
                  <a:lnTo>
                    <a:pt x="2149" y="1445"/>
                  </a:lnTo>
                  <a:lnTo>
                    <a:pt x="2149" y="1445"/>
                  </a:lnTo>
                  <a:lnTo>
                    <a:pt x="2146" y="1443"/>
                  </a:lnTo>
                  <a:lnTo>
                    <a:pt x="2146" y="1443"/>
                  </a:lnTo>
                  <a:lnTo>
                    <a:pt x="2146" y="1443"/>
                  </a:lnTo>
                  <a:lnTo>
                    <a:pt x="2144" y="1438"/>
                  </a:lnTo>
                  <a:lnTo>
                    <a:pt x="2144" y="1438"/>
                  </a:lnTo>
                  <a:lnTo>
                    <a:pt x="2144" y="1438"/>
                  </a:lnTo>
                  <a:lnTo>
                    <a:pt x="2142" y="1438"/>
                  </a:lnTo>
                  <a:lnTo>
                    <a:pt x="2142" y="1438"/>
                  </a:lnTo>
                  <a:lnTo>
                    <a:pt x="2142" y="1438"/>
                  </a:lnTo>
                  <a:lnTo>
                    <a:pt x="2142" y="1438"/>
                  </a:lnTo>
                  <a:lnTo>
                    <a:pt x="2142" y="1438"/>
                  </a:lnTo>
                  <a:lnTo>
                    <a:pt x="2142" y="1440"/>
                  </a:lnTo>
                  <a:lnTo>
                    <a:pt x="2142" y="1440"/>
                  </a:lnTo>
                  <a:lnTo>
                    <a:pt x="2142" y="1440"/>
                  </a:lnTo>
                  <a:lnTo>
                    <a:pt x="2142" y="1440"/>
                  </a:lnTo>
                  <a:lnTo>
                    <a:pt x="2142" y="1443"/>
                  </a:lnTo>
                  <a:lnTo>
                    <a:pt x="2142" y="1443"/>
                  </a:lnTo>
                  <a:lnTo>
                    <a:pt x="2142" y="1445"/>
                  </a:lnTo>
                  <a:lnTo>
                    <a:pt x="2144" y="1445"/>
                  </a:lnTo>
                  <a:lnTo>
                    <a:pt x="2144" y="1445"/>
                  </a:lnTo>
                  <a:lnTo>
                    <a:pt x="2144" y="1445"/>
                  </a:lnTo>
                  <a:lnTo>
                    <a:pt x="2144" y="1447"/>
                  </a:lnTo>
                  <a:lnTo>
                    <a:pt x="2146" y="1447"/>
                  </a:lnTo>
                  <a:lnTo>
                    <a:pt x="2146" y="1447"/>
                  </a:lnTo>
                  <a:lnTo>
                    <a:pt x="2146" y="1447"/>
                  </a:lnTo>
                  <a:lnTo>
                    <a:pt x="2146" y="1447"/>
                  </a:lnTo>
                  <a:lnTo>
                    <a:pt x="2146" y="1450"/>
                  </a:lnTo>
                  <a:lnTo>
                    <a:pt x="2146" y="1450"/>
                  </a:lnTo>
                  <a:close/>
                  <a:moveTo>
                    <a:pt x="2194" y="1629"/>
                  </a:moveTo>
                  <a:lnTo>
                    <a:pt x="2196" y="1629"/>
                  </a:lnTo>
                  <a:lnTo>
                    <a:pt x="2196" y="1632"/>
                  </a:lnTo>
                  <a:lnTo>
                    <a:pt x="2199" y="1632"/>
                  </a:lnTo>
                  <a:lnTo>
                    <a:pt x="2199" y="1629"/>
                  </a:lnTo>
                  <a:lnTo>
                    <a:pt x="2201" y="1629"/>
                  </a:lnTo>
                  <a:lnTo>
                    <a:pt x="2201" y="1629"/>
                  </a:lnTo>
                  <a:lnTo>
                    <a:pt x="2203" y="1632"/>
                  </a:lnTo>
                  <a:lnTo>
                    <a:pt x="2206" y="1632"/>
                  </a:lnTo>
                  <a:lnTo>
                    <a:pt x="2206" y="1632"/>
                  </a:lnTo>
                  <a:lnTo>
                    <a:pt x="2206" y="1632"/>
                  </a:lnTo>
                  <a:lnTo>
                    <a:pt x="2206" y="1632"/>
                  </a:lnTo>
                  <a:lnTo>
                    <a:pt x="2203" y="1629"/>
                  </a:lnTo>
                  <a:lnTo>
                    <a:pt x="2203" y="1629"/>
                  </a:lnTo>
                  <a:lnTo>
                    <a:pt x="2203" y="1629"/>
                  </a:lnTo>
                  <a:lnTo>
                    <a:pt x="2203" y="1629"/>
                  </a:lnTo>
                  <a:lnTo>
                    <a:pt x="2203" y="1629"/>
                  </a:lnTo>
                  <a:lnTo>
                    <a:pt x="2203" y="1629"/>
                  </a:lnTo>
                  <a:lnTo>
                    <a:pt x="2206" y="1627"/>
                  </a:lnTo>
                  <a:lnTo>
                    <a:pt x="2206" y="1627"/>
                  </a:lnTo>
                  <a:lnTo>
                    <a:pt x="2206" y="1627"/>
                  </a:lnTo>
                  <a:lnTo>
                    <a:pt x="2206" y="1627"/>
                  </a:lnTo>
                  <a:lnTo>
                    <a:pt x="2206" y="1627"/>
                  </a:lnTo>
                  <a:lnTo>
                    <a:pt x="2206" y="1627"/>
                  </a:lnTo>
                  <a:lnTo>
                    <a:pt x="2203" y="1625"/>
                  </a:lnTo>
                  <a:lnTo>
                    <a:pt x="2203" y="1627"/>
                  </a:lnTo>
                  <a:lnTo>
                    <a:pt x="2203" y="1627"/>
                  </a:lnTo>
                  <a:lnTo>
                    <a:pt x="2203" y="1627"/>
                  </a:lnTo>
                  <a:lnTo>
                    <a:pt x="2201" y="1629"/>
                  </a:lnTo>
                  <a:lnTo>
                    <a:pt x="2201" y="1627"/>
                  </a:lnTo>
                  <a:lnTo>
                    <a:pt x="2201" y="1627"/>
                  </a:lnTo>
                  <a:lnTo>
                    <a:pt x="2201" y="1625"/>
                  </a:lnTo>
                  <a:lnTo>
                    <a:pt x="2201" y="1625"/>
                  </a:lnTo>
                  <a:lnTo>
                    <a:pt x="2201" y="1625"/>
                  </a:lnTo>
                  <a:lnTo>
                    <a:pt x="2199" y="1625"/>
                  </a:lnTo>
                  <a:lnTo>
                    <a:pt x="2199" y="1625"/>
                  </a:lnTo>
                  <a:lnTo>
                    <a:pt x="2199" y="1625"/>
                  </a:lnTo>
                  <a:lnTo>
                    <a:pt x="2199" y="1625"/>
                  </a:lnTo>
                  <a:lnTo>
                    <a:pt x="2199" y="1622"/>
                  </a:lnTo>
                  <a:lnTo>
                    <a:pt x="2196" y="1622"/>
                  </a:lnTo>
                  <a:lnTo>
                    <a:pt x="2196" y="1622"/>
                  </a:lnTo>
                  <a:lnTo>
                    <a:pt x="2196" y="1622"/>
                  </a:lnTo>
                  <a:lnTo>
                    <a:pt x="2196" y="1625"/>
                  </a:lnTo>
                  <a:lnTo>
                    <a:pt x="2194" y="1625"/>
                  </a:lnTo>
                  <a:lnTo>
                    <a:pt x="2191" y="1625"/>
                  </a:lnTo>
                  <a:lnTo>
                    <a:pt x="2191" y="1625"/>
                  </a:lnTo>
                  <a:lnTo>
                    <a:pt x="2191" y="1627"/>
                  </a:lnTo>
                  <a:lnTo>
                    <a:pt x="2191" y="1627"/>
                  </a:lnTo>
                  <a:lnTo>
                    <a:pt x="2194" y="1629"/>
                  </a:lnTo>
                  <a:close/>
                  <a:moveTo>
                    <a:pt x="2329" y="1745"/>
                  </a:moveTo>
                  <a:lnTo>
                    <a:pt x="2329" y="1745"/>
                  </a:lnTo>
                  <a:lnTo>
                    <a:pt x="2329" y="1745"/>
                  </a:lnTo>
                  <a:lnTo>
                    <a:pt x="2329" y="1745"/>
                  </a:lnTo>
                  <a:lnTo>
                    <a:pt x="2329" y="1745"/>
                  </a:lnTo>
                  <a:lnTo>
                    <a:pt x="2329" y="1745"/>
                  </a:lnTo>
                  <a:lnTo>
                    <a:pt x="2329" y="1745"/>
                  </a:lnTo>
                  <a:lnTo>
                    <a:pt x="2329" y="1745"/>
                  </a:lnTo>
                  <a:lnTo>
                    <a:pt x="2329" y="1745"/>
                  </a:lnTo>
                  <a:lnTo>
                    <a:pt x="2331" y="1748"/>
                  </a:lnTo>
                  <a:lnTo>
                    <a:pt x="2331" y="1748"/>
                  </a:lnTo>
                  <a:lnTo>
                    <a:pt x="2331" y="1748"/>
                  </a:lnTo>
                  <a:lnTo>
                    <a:pt x="2333" y="1748"/>
                  </a:lnTo>
                  <a:lnTo>
                    <a:pt x="2333" y="1745"/>
                  </a:lnTo>
                  <a:lnTo>
                    <a:pt x="2333" y="1745"/>
                  </a:lnTo>
                  <a:lnTo>
                    <a:pt x="2333" y="1745"/>
                  </a:lnTo>
                  <a:lnTo>
                    <a:pt x="2333" y="1745"/>
                  </a:lnTo>
                  <a:lnTo>
                    <a:pt x="2333" y="1745"/>
                  </a:lnTo>
                  <a:lnTo>
                    <a:pt x="2333" y="1743"/>
                  </a:lnTo>
                  <a:lnTo>
                    <a:pt x="2333" y="1743"/>
                  </a:lnTo>
                  <a:lnTo>
                    <a:pt x="2333" y="1743"/>
                  </a:lnTo>
                  <a:lnTo>
                    <a:pt x="2333" y="1743"/>
                  </a:lnTo>
                  <a:lnTo>
                    <a:pt x="2333" y="1743"/>
                  </a:lnTo>
                  <a:lnTo>
                    <a:pt x="2333" y="1743"/>
                  </a:lnTo>
                  <a:lnTo>
                    <a:pt x="2331" y="1743"/>
                  </a:lnTo>
                  <a:lnTo>
                    <a:pt x="2331" y="1743"/>
                  </a:lnTo>
                  <a:lnTo>
                    <a:pt x="2331" y="1741"/>
                  </a:lnTo>
                  <a:lnTo>
                    <a:pt x="2331" y="1741"/>
                  </a:lnTo>
                  <a:lnTo>
                    <a:pt x="2331" y="1741"/>
                  </a:lnTo>
                  <a:lnTo>
                    <a:pt x="2331" y="1741"/>
                  </a:lnTo>
                  <a:lnTo>
                    <a:pt x="2331" y="1741"/>
                  </a:lnTo>
                  <a:lnTo>
                    <a:pt x="2331" y="1741"/>
                  </a:lnTo>
                  <a:lnTo>
                    <a:pt x="2331" y="1741"/>
                  </a:lnTo>
                  <a:lnTo>
                    <a:pt x="2329" y="1741"/>
                  </a:lnTo>
                  <a:lnTo>
                    <a:pt x="2329" y="1741"/>
                  </a:lnTo>
                  <a:lnTo>
                    <a:pt x="2329" y="1741"/>
                  </a:lnTo>
                  <a:lnTo>
                    <a:pt x="2326" y="1745"/>
                  </a:lnTo>
                  <a:lnTo>
                    <a:pt x="2326" y="1745"/>
                  </a:lnTo>
                  <a:lnTo>
                    <a:pt x="2326" y="1748"/>
                  </a:lnTo>
                  <a:lnTo>
                    <a:pt x="2329" y="1745"/>
                  </a:lnTo>
                  <a:close/>
                  <a:moveTo>
                    <a:pt x="2331" y="1755"/>
                  </a:moveTo>
                  <a:lnTo>
                    <a:pt x="2331" y="1755"/>
                  </a:lnTo>
                  <a:lnTo>
                    <a:pt x="2331" y="1755"/>
                  </a:lnTo>
                  <a:lnTo>
                    <a:pt x="2329" y="1757"/>
                  </a:lnTo>
                  <a:lnTo>
                    <a:pt x="2329" y="1757"/>
                  </a:lnTo>
                  <a:lnTo>
                    <a:pt x="2329" y="1757"/>
                  </a:lnTo>
                  <a:lnTo>
                    <a:pt x="2329" y="1757"/>
                  </a:lnTo>
                  <a:lnTo>
                    <a:pt x="2329" y="1757"/>
                  </a:lnTo>
                  <a:lnTo>
                    <a:pt x="2329" y="1757"/>
                  </a:lnTo>
                  <a:lnTo>
                    <a:pt x="2329" y="1757"/>
                  </a:lnTo>
                  <a:lnTo>
                    <a:pt x="2326" y="1757"/>
                  </a:lnTo>
                  <a:lnTo>
                    <a:pt x="2326" y="1760"/>
                  </a:lnTo>
                  <a:lnTo>
                    <a:pt x="2329" y="1762"/>
                  </a:lnTo>
                  <a:lnTo>
                    <a:pt x="2329" y="1762"/>
                  </a:lnTo>
                  <a:lnTo>
                    <a:pt x="2331" y="1762"/>
                  </a:lnTo>
                  <a:lnTo>
                    <a:pt x="2331" y="1764"/>
                  </a:lnTo>
                  <a:lnTo>
                    <a:pt x="2331" y="1762"/>
                  </a:lnTo>
                  <a:lnTo>
                    <a:pt x="2333" y="1760"/>
                  </a:lnTo>
                  <a:lnTo>
                    <a:pt x="2336" y="1760"/>
                  </a:lnTo>
                  <a:lnTo>
                    <a:pt x="2333" y="1757"/>
                  </a:lnTo>
                  <a:lnTo>
                    <a:pt x="2333" y="1757"/>
                  </a:lnTo>
                  <a:lnTo>
                    <a:pt x="2331" y="1755"/>
                  </a:lnTo>
                  <a:lnTo>
                    <a:pt x="2331" y="1755"/>
                  </a:lnTo>
                  <a:close/>
                  <a:moveTo>
                    <a:pt x="2194" y="1618"/>
                  </a:moveTo>
                  <a:lnTo>
                    <a:pt x="2194" y="1618"/>
                  </a:lnTo>
                  <a:lnTo>
                    <a:pt x="2194" y="1618"/>
                  </a:lnTo>
                  <a:lnTo>
                    <a:pt x="2194" y="1615"/>
                  </a:lnTo>
                  <a:lnTo>
                    <a:pt x="2196" y="1615"/>
                  </a:lnTo>
                  <a:lnTo>
                    <a:pt x="2194" y="1613"/>
                  </a:lnTo>
                  <a:lnTo>
                    <a:pt x="2194" y="1613"/>
                  </a:lnTo>
                  <a:lnTo>
                    <a:pt x="2194" y="1613"/>
                  </a:lnTo>
                  <a:lnTo>
                    <a:pt x="2194" y="1611"/>
                  </a:lnTo>
                  <a:lnTo>
                    <a:pt x="2194" y="1611"/>
                  </a:lnTo>
                  <a:lnTo>
                    <a:pt x="2194" y="1611"/>
                  </a:lnTo>
                  <a:lnTo>
                    <a:pt x="2194" y="1611"/>
                  </a:lnTo>
                  <a:lnTo>
                    <a:pt x="2194" y="1613"/>
                  </a:lnTo>
                  <a:lnTo>
                    <a:pt x="2194" y="1615"/>
                  </a:lnTo>
                  <a:lnTo>
                    <a:pt x="2191" y="1618"/>
                  </a:lnTo>
                  <a:lnTo>
                    <a:pt x="2194" y="1618"/>
                  </a:lnTo>
                  <a:lnTo>
                    <a:pt x="2194" y="1618"/>
                  </a:lnTo>
                  <a:close/>
                  <a:moveTo>
                    <a:pt x="2333" y="1762"/>
                  </a:moveTo>
                  <a:lnTo>
                    <a:pt x="2333" y="1764"/>
                  </a:lnTo>
                  <a:lnTo>
                    <a:pt x="2333" y="1764"/>
                  </a:lnTo>
                  <a:lnTo>
                    <a:pt x="2336" y="1764"/>
                  </a:lnTo>
                  <a:lnTo>
                    <a:pt x="2341" y="1764"/>
                  </a:lnTo>
                  <a:lnTo>
                    <a:pt x="2341" y="1764"/>
                  </a:lnTo>
                  <a:lnTo>
                    <a:pt x="2341" y="1762"/>
                  </a:lnTo>
                  <a:lnTo>
                    <a:pt x="2341" y="1762"/>
                  </a:lnTo>
                  <a:lnTo>
                    <a:pt x="2341" y="1762"/>
                  </a:lnTo>
                  <a:lnTo>
                    <a:pt x="2338" y="1762"/>
                  </a:lnTo>
                  <a:lnTo>
                    <a:pt x="2336" y="1762"/>
                  </a:lnTo>
                  <a:lnTo>
                    <a:pt x="2336" y="1762"/>
                  </a:lnTo>
                  <a:lnTo>
                    <a:pt x="2336" y="1764"/>
                  </a:lnTo>
                  <a:lnTo>
                    <a:pt x="2336" y="1764"/>
                  </a:lnTo>
                  <a:lnTo>
                    <a:pt x="2336" y="1764"/>
                  </a:lnTo>
                  <a:lnTo>
                    <a:pt x="2336" y="1764"/>
                  </a:lnTo>
                  <a:lnTo>
                    <a:pt x="2336" y="1762"/>
                  </a:lnTo>
                  <a:lnTo>
                    <a:pt x="2336" y="1762"/>
                  </a:lnTo>
                  <a:lnTo>
                    <a:pt x="2336" y="1762"/>
                  </a:lnTo>
                  <a:lnTo>
                    <a:pt x="2338" y="1760"/>
                  </a:lnTo>
                  <a:lnTo>
                    <a:pt x="2338" y="1760"/>
                  </a:lnTo>
                  <a:lnTo>
                    <a:pt x="2338" y="1760"/>
                  </a:lnTo>
                  <a:lnTo>
                    <a:pt x="2338" y="1760"/>
                  </a:lnTo>
                  <a:lnTo>
                    <a:pt x="2341" y="1760"/>
                  </a:lnTo>
                  <a:lnTo>
                    <a:pt x="2338" y="1760"/>
                  </a:lnTo>
                  <a:lnTo>
                    <a:pt x="2338" y="1760"/>
                  </a:lnTo>
                  <a:lnTo>
                    <a:pt x="2338" y="1760"/>
                  </a:lnTo>
                  <a:lnTo>
                    <a:pt x="2338" y="1760"/>
                  </a:lnTo>
                  <a:lnTo>
                    <a:pt x="2338" y="1760"/>
                  </a:lnTo>
                  <a:lnTo>
                    <a:pt x="2338" y="1757"/>
                  </a:lnTo>
                  <a:lnTo>
                    <a:pt x="2338" y="1757"/>
                  </a:lnTo>
                  <a:lnTo>
                    <a:pt x="2338" y="1757"/>
                  </a:lnTo>
                  <a:lnTo>
                    <a:pt x="2338" y="1757"/>
                  </a:lnTo>
                  <a:lnTo>
                    <a:pt x="2338" y="1757"/>
                  </a:lnTo>
                  <a:lnTo>
                    <a:pt x="2338" y="1757"/>
                  </a:lnTo>
                  <a:lnTo>
                    <a:pt x="2338" y="1757"/>
                  </a:lnTo>
                  <a:lnTo>
                    <a:pt x="2338" y="1757"/>
                  </a:lnTo>
                  <a:lnTo>
                    <a:pt x="2338" y="1757"/>
                  </a:lnTo>
                  <a:lnTo>
                    <a:pt x="2336" y="1757"/>
                  </a:lnTo>
                  <a:lnTo>
                    <a:pt x="2336" y="1757"/>
                  </a:lnTo>
                  <a:lnTo>
                    <a:pt x="2336" y="1757"/>
                  </a:lnTo>
                  <a:lnTo>
                    <a:pt x="2336" y="1760"/>
                  </a:lnTo>
                  <a:lnTo>
                    <a:pt x="2336" y="1760"/>
                  </a:lnTo>
                  <a:lnTo>
                    <a:pt x="2336" y="1760"/>
                  </a:lnTo>
                  <a:lnTo>
                    <a:pt x="2333" y="1762"/>
                  </a:lnTo>
                  <a:lnTo>
                    <a:pt x="2333" y="1762"/>
                  </a:lnTo>
                  <a:close/>
                  <a:moveTo>
                    <a:pt x="2225" y="1660"/>
                  </a:moveTo>
                  <a:lnTo>
                    <a:pt x="2225" y="1660"/>
                  </a:lnTo>
                  <a:lnTo>
                    <a:pt x="2225" y="1660"/>
                  </a:lnTo>
                  <a:lnTo>
                    <a:pt x="2225" y="1660"/>
                  </a:lnTo>
                  <a:lnTo>
                    <a:pt x="2225" y="1660"/>
                  </a:lnTo>
                  <a:lnTo>
                    <a:pt x="2225" y="1663"/>
                  </a:lnTo>
                  <a:lnTo>
                    <a:pt x="2225" y="1663"/>
                  </a:lnTo>
                  <a:lnTo>
                    <a:pt x="2227" y="1663"/>
                  </a:lnTo>
                  <a:lnTo>
                    <a:pt x="2227" y="1663"/>
                  </a:lnTo>
                  <a:lnTo>
                    <a:pt x="2227" y="1660"/>
                  </a:lnTo>
                  <a:lnTo>
                    <a:pt x="2227" y="1660"/>
                  </a:lnTo>
                  <a:lnTo>
                    <a:pt x="2229" y="1660"/>
                  </a:lnTo>
                  <a:lnTo>
                    <a:pt x="2229" y="1660"/>
                  </a:lnTo>
                  <a:lnTo>
                    <a:pt x="2229" y="1658"/>
                  </a:lnTo>
                  <a:lnTo>
                    <a:pt x="2229" y="1658"/>
                  </a:lnTo>
                  <a:lnTo>
                    <a:pt x="2229" y="1658"/>
                  </a:lnTo>
                  <a:lnTo>
                    <a:pt x="2227" y="1658"/>
                  </a:lnTo>
                  <a:lnTo>
                    <a:pt x="2225" y="1656"/>
                  </a:lnTo>
                  <a:lnTo>
                    <a:pt x="2227" y="1656"/>
                  </a:lnTo>
                  <a:lnTo>
                    <a:pt x="2225" y="1656"/>
                  </a:lnTo>
                  <a:lnTo>
                    <a:pt x="2225" y="1653"/>
                  </a:lnTo>
                  <a:lnTo>
                    <a:pt x="2225" y="1653"/>
                  </a:lnTo>
                  <a:lnTo>
                    <a:pt x="2225" y="1653"/>
                  </a:lnTo>
                  <a:lnTo>
                    <a:pt x="2225" y="1653"/>
                  </a:lnTo>
                  <a:lnTo>
                    <a:pt x="2225" y="1653"/>
                  </a:lnTo>
                  <a:lnTo>
                    <a:pt x="2225" y="1653"/>
                  </a:lnTo>
                  <a:lnTo>
                    <a:pt x="2222" y="1653"/>
                  </a:lnTo>
                  <a:lnTo>
                    <a:pt x="2222" y="1656"/>
                  </a:lnTo>
                  <a:lnTo>
                    <a:pt x="2225" y="1658"/>
                  </a:lnTo>
                  <a:lnTo>
                    <a:pt x="2225" y="1658"/>
                  </a:lnTo>
                  <a:lnTo>
                    <a:pt x="2225" y="1658"/>
                  </a:lnTo>
                  <a:lnTo>
                    <a:pt x="2225" y="1658"/>
                  </a:lnTo>
                  <a:lnTo>
                    <a:pt x="2225" y="1660"/>
                  </a:lnTo>
                  <a:lnTo>
                    <a:pt x="2225" y="1658"/>
                  </a:lnTo>
                  <a:lnTo>
                    <a:pt x="2225" y="1658"/>
                  </a:lnTo>
                  <a:lnTo>
                    <a:pt x="2225" y="1658"/>
                  </a:lnTo>
                  <a:lnTo>
                    <a:pt x="2222" y="1658"/>
                  </a:lnTo>
                  <a:lnTo>
                    <a:pt x="2222" y="1660"/>
                  </a:lnTo>
                  <a:lnTo>
                    <a:pt x="2222" y="1660"/>
                  </a:lnTo>
                  <a:lnTo>
                    <a:pt x="2222" y="1660"/>
                  </a:lnTo>
                  <a:lnTo>
                    <a:pt x="2225" y="1660"/>
                  </a:lnTo>
                  <a:close/>
                  <a:moveTo>
                    <a:pt x="2319" y="1745"/>
                  </a:moveTo>
                  <a:lnTo>
                    <a:pt x="2319" y="1745"/>
                  </a:lnTo>
                  <a:lnTo>
                    <a:pt x="2319" y="1745"/>
                  </a:lnTo>
                  <a:lnTo>
                    <a:pt x="2319" y="1745"/>
                  </a:lnTo>
                  <a:lnTo>
                    <a:pt x="2322" y="1745"/>
                  </a:lnTo>
                  <a:lnTo>
                    <a:pt x="2322" y="1745"/>
                  </a:lnTo>
                  <a:lnTo>
                    <a:pt x="2322" y="1745"/>
                  </a:lnTo>
                  <a:lnTo>
                    <a:pt x="2324" y="1745"/>
                  </a:lnTo>
                  <a:lnTo>
                    <a:pt x="2324" y="1745"/>
                  </a:lnTo>
                  <a:lnTo>
                    <a:pt x="2324" y="1745"/>
                  </a:lnTo>
                  <a:lnTo>
                    <a:pt x="2326" y="1745"/>
                  </a:lnTo>
                  <a:lnTo>
                    <a:pt x="2326" y="1743"/>
                  </a:lnTo>
                  <a:lnTo>
                    <a:pt x="2326" y="1743"/>
                  </a:lnTo>
                  <a:lnTo>
                    <a:pt x="2326" y="1743"/>
                  </a:lnTo>
                  <a:lnTo>
                    <a:pt x="2326" y="1741"/>
                  </a:lnTo>
                  <a:lnTo>
                    <a:pt x="2324" y="1741"/>
                  </a:lnTo>
                  <a:lnTo>
                    <a:pt x="2324" y="1741"/>
                  </a:lnTo>
                  <a:lnTo>
                    <a:pt x="2324" y="1741"/>
                  </a:lnTo>
                  <a:lnTo>
                    <a:pt x="2324" y="1738"/>
                  </a:lnTo>
                  <a:lnTo>
                    <a:pt x="2322" y="1738"/>
                  </a:lnTo>
                  <a:lnTo>
                    <a:pt x="2322" y="1738"/>
                  </a:lnTo>
                  <a:lnTo>
                    <a:pt x="2322" y="1741"/>
                  </a:lnTo>
                  <a:lnTo>
                    <a:pt x="2319" y="1741"/>
                  </a:lnTo>
                  <a:lnTo>
                    <a:pt x="2319" y="1743"/>
                  </a:lnTo>
                  <a:lnTo>
                    <a:pt x="2319" y="1745"/>
                  </a:lnTo>
                  <a:lnTo>
                    <a:pt x="2319" y="1745"/>
                  </a:lnTo>
                  <a:close/>
                  <a:moveTo>
                    <a:pt x="1794" y="996"/>
                  </a:moveTo>
                  <a:lnTo>
                    <a:pt x="1794" y="993"/>
                  </a:lnTo>
                  <a:lnTo>
                    <a:pt x="1794" y="991"/>
                  </a:lnTo>
                  <a:lnTo>
                    <a:pt x="1794" y="988"/>
                  </a:lnTo>
                  <a:lnTo>
                    <a:pt x="1791" y="986"/>
                  </a:lnTo>
                  <a:lnTo>
                    <a:pt x="1791" y="986"/>
                  </a:lnTo>
                  <a:lnTo>
                    <a:pt x="1787" y="988"/>
                  </a:lnTo>
                  <a:lnTo>
                    <a:pt x="1787" y="991"/>
                  </a:lnTo>
                  <a:lnTo>
                    <a:pt x="1787" y="991"/>
                  </a:lnTo>
                  <a:lnTo>
                    <a:pt x="1787" y="993"/>
                  </a:lnTo>
                  <a:lnTo>
                    <a:pt x="1787" y="996"/>
                  </a:lnTo>
                  <a:lnTo>
                    <a:pt x="1794" y="996"/>
                  </a:lnTo>
                  <a:close/>
                  <a:moveTo>
                    <a:pt x="2073" y="1194"/>
                  </a:moveTo>
                  <a:lnTo>
                    <a:pt x="2073" y="1197"/>
                  </a:lnTo>
                  <a:lnTo>
                    <a:pt x="2073" y="1199"/>
                  </a:lnTo>
                  <a:lnTo>
                    <a:pt x="2073" y="1199"/>
                  </a:lnTo>
                  <a:lnTo>
                    <a:pt x="2073" y="1201"/>
                  </a:lnTo>
                  <a:lnTo>
                    <a:pt x="2073" y="1201"/>
                  </a:lnTo>
                  <a:lnTo>
                    <a:pt x="2075" y="1201"/>
                  </a:lnTo>
                  <a:lnTo>
                    <a:pt x="2078" y="1199"/>
                  </a:lnTo>
                  <a:lnTo>
                    <a:pt x="2080" y="1199"/>
                  </a:lnTo>
                  <a:lnTo>
                    <a:pt x="2078" y="1197"/>
                  </a:lnTo>
                  <a:lnTo>
                    <a:pt x="2075" y="1194"/>
                  </a:lnTo>
                  <a:lnTo>
                    <a:pt x="2073" y="1192"/>
                  </a:lnTo>
                  <a:lnTo>
                    <a:pt x="2073" y="1192"/>
                  </a:lnTo>
                  <a:lnTo>
                    <a:pt x="2073" y="1192"/>
                  </a:lnTo>
                  <a:lnTo>
                    <a:pt x="2071" y="1192"/>
                  </a:lnTo>
                  <a:lnTo>
                    <a:pt x="2071" y="1192"/>
                  </a:lnTo>
                  <a:lnTo>
                    <a:pt x="2073" y="1194"/>
                  </a:lnTo>
                  <a:lnTo>
                    <a:pt x="2073" y="1194"/>
                  </a:lnTo>
                  <a:close/>
                  <a:moveTo>
                    <a:pt x="2357" y="1786"/>
                  </a:moveTo>
                  <a:lnTo>
                    <a:pt x="2357" y="1786"/>
                  </a:lnTo>
                  <a:lnTo>
                    <a:pt x="2357" y="1786"/>
                  </a:lnTo>
                  <a:lnTo>
                    <a:pt x="2357" y="1786"/>
                  </a:lnTo>
                  <a:lnTo>
                    <a:pt x="2355" y="1786"/>
                  </a:lnTo>
                  <a:lnTo>
                    <a:pt x="2355" y="1786"/>
                  </a:lnTo>
                  <a:lnTo>
                    <a:pt x="2355" y="1786"/>
                  </a:lnTo>
                  <a:lnTo>
                    <a:pt x="2355" y="1786"/>
                  </a:lnTo>
                  <a:lnTo>
                    <a:pt x="2355" y="1786"/>
                  </a:lnTo>
                  <a:lnTo>
                    <a:pt x="2352" y="1786"/>
                  </a:lnTo>
                  <a:lnTo>
                    <a:pt x="2352" y="1786"/>
                  </a:lnTo>
                  <a:lnTo>
                    <a:pt x="2355" y="1788"/>
                  </a:lnTo>
                  <a:lnTo>
                    <a:pt x="2355" y="1788"/>
                  </a:lnTo>
                  <a:lnTo>
                    <a:pt x="2355" y="1788"/>
                  </a:lnTo>
                  <a:lnTo>
                    <a:pt x="2352" y="1790"/>
                  </a:lnTo>
                  <a:lnTo>
                    <a:pt x="2352" y="1790"/>
                  </a:lnTo>
                  <a:lnTo>
                    <a:pt x="2352" y="1793"/>
                  </a:lnTo>
                  <a:lnTo>
                    <a:pt x="2352" y="1793"/>
                  </a:lnTo>
                  <a:lnTo>
                    <a:pt x="2352" y="1793"/>
                  </a:lnTo>
                  <a:lnTo>
                    <a:pt x="2352" y="1793"/>
                  </a:lnTo>
                  <a:lnTo>
                    <a:pt x="2352" y="1795"/>
                  </a:lnTo>
                  <a:lnTo>
                    <a:pt x="2355" y="1797"/>
                  </a:lnTo>
                  <a:lnTo>
                    <a:pt x="2355" y="1800"/>
                  </a:lnTo>
                  <a:lnTo>
                    <a:pt x="2355" y="1800"/>
                  </a:lnTo>
                  <a:lnTo>
                    <a:pt x="2355" y="1800"/>
                  </a:lnTo>
                  <a:lnTo>
                    <a:pt x="2355" y="1800"/>
                  </a:lnTo>
                  <a:lnTo>
                    <a:pt x="2355" y="1800"/>
                  </a:lnTo>
                  <a:lnTo>
                    <a:pt x="2357" y="1800"/>
                  </a:lnTo>
                  <a:lnTo>
                    <a:pt x="2357" y="1800"/>
                  </a:lnTo>
                  <a:lnTo>
                    <a:pt x="2357" y="1802"/>
                  </a:lnTo>
                  <a:lnTo>
                    <a:pt x="2357" y="1802"/>
                  </a:lnTo>
                  <a:lnTo>
                    <a:pt x="2359" y="1802"/>
                  </a:lnTo>
                  <a:lnTo>
                    <a:pt x="2359" y="1802"/>
                  </a:lnTo>
                  <a:lnTo>
                    <a:pt x="2362" y="1802"/>
                  </a:lnTo>
                  <a:lnTo>
                    <a:pt x="2362" y="1802"/>
                  </a:lnTo>
                  <a:lnTo>
                    <a:pt x="2364" y="1802"/>
                  </a:lnTo>
                  <a:lnTo>
                    <a:pt x="2364" y="1802"/>
                  </a:lnTo>
                  <a:lnTo>
                    <a:pt x="2364" y="1802"/>
                  </a:lnTo>
                  <a:lnTo>
                    <a:pt x="2364" y="1802"/>
                  </a:lnTo>
                  <a:lnTo>
                    <a:pt x="2362" y="1800"/>
                  </a:lnTo>
                  <a:lnTo>
                    <a:pt x="2362" y="1800"/>
                  </a:lnTo>
                  <a:lnTo>
                    <a:pt x="2362" y="1800"/>
                  </a:lnTo>
                  <a:lnTo>
                    <a:pt x="2362" y="1800"/>
                  </a:lnTo>
                  <a:lnTo>
                    <a:pt x="2362" y="1800"/>
                  </a:lnTo>
                  <a:lnTo>
                    <a:pt x="2362" y="1797"/>
                  </a:lnTo>
                  <a:lnTo>
                    <a:pt x="2362" y="1797"/>
                  </a:lnTo>
                  <a:lnTo>
                    <a:pt x="2362" y="1795"/>
                  </a:lnTo>
                  <a:lnTo>
                    <a:pt x="2362" y="1795"/>
                  </a:lnTo>
                  <a:lnTo>
                    <a:pt x="2359" y="1795"/>
                  </a:lnTo>
                  <a:lnTo>
                    <a:pt x="2357" y="1795"/>
                  </a:lnTo>
                  <a:lnTo>
                    <a:pt x="2357" y="1795"/>
                  </a:lnTo>
                  <a:lnTo>
                    <a:pt x="2357" y="1795"/>
                  </a:lnTo>
                  <a:lnTo>
                    <a:pt x="2357" y="1795"/>
                  </a:lnTo>
                  <a:lnTo>
                    <a:pt x="2357" y="1797"/>
                  </a:lnTo>
                  <a:lnTo>
                    <a:pt x="2357" y="1797"/>
                  </a:lnTo>
                  <a:lnTo>
                    <a:pt x="2357" y="1797"/>
                  </a:lnTo>
                  <a:lnTo>
                    <a:pt x="2355" y="1797"/>
                  </a:lnTo>
                  <a:lnTo>
                    <a:pt x="2355" y="1797"/>
                  </a:lnTo>
                  <a:lnTo>
                    <a:pt x="2355" y="1797"/>
                  </a:lnTo>
                  <a:lnTo>
                    <a:pt x="2355" y="1795"/>
                  </a:lnTo>
                  <a:lnTo>
                    <a:pt x="2355" y="1795"/>
                  </a:lnTo>
                  <a:lnTo>
                    <a:pt x="2355" y="1795"/>
                  </a:lnTo>
                  <a:lnTo>
                    <a:pt x="2357" y="1795"/>
                  </a:lnTo>
                  <a:lnTo>
                    <a:pt x="2357" y="1795"/>
                  </a:lnTo>
                  <a:lnTo>
                    <a:pt x="2357" y="1795"/>
                  </a:lnTo>
                  <a:lnTo>
                    <a:pt x="2357" y="1793"/>
                  </a:lnTo>
                  <a:lnTo>
                    <a:pt x="2357" y="1793"/>
                  </a:lnTo>
                  <a:lnTo>
                    <a:pt x="2357" y="1793"/>
                  </a:lnTo>
                  <a:lnTo>
                    <a:pt x="2357" y="1793"/>
                  </a:lnTo>
                  <a:lnTo>
                    <a:pt x="2357" y="1793"/>
                  </a:lnTo>
                  <a:lnTo>
                    <a:pt x="2357" y="1790"/>
                  </a:lnTo>
                  <a:lnTo>
                    <a:pt x="2357" y="1790"/>
                  </a:lnTo>
                  <a:lnTo>
                    <a:pt x="2357" y="1790"/>
                  </a:lnTo>
                  <a:lnTo>
                    <a:pt x="2357" y="1793"/>
                  </a:lnTo>
                  <a:lnTo>
                    <a:pt x="2357" y="1793"/>
                  </a:lnTo>
                  <a:lnTo>
                    <a:pt x="2359" y="1793"/>
                  </a:lnTo>
                  <a:lnTo>
                    <a:pt x="2359" y="1790"/>
                  </a:lnTo>
                  <a:lnTo>
                    <a:pt x="2359" y="1790"/>
                  </a:lnTo>
                  <a:lnTo>
                    <a:pt x="2359" y="1790"/>
                  </a:lnTo>
                  <a:lnTo>
                    <a:pt x="2359" y="1788"/>
                  </a:lnTo>
                  <a:lnTo>
                    <a:pt x="2359" y="1788"/>
                  </a:lnTo>
                  <a:lnTo>
                    <a:pt x="2359" y="1788"/>
                  </a:lnTo>
                  <a:lnTo>
                    <a:pt x="2357" y="1788"/>
                  </a:lnTo>
                  <a:lnTo>
                    <a:pt x="2359" y="1788"/>
                  </a:lnTo>
                  <a:lnTo>
                    <a:pt x="2359" y="1788"/>
                  </a:lnTo>
                  <a:lnTo>
                    <a:pt x="2359" y="1786"/>
                  </a:lnTo>
                  <a:lnTo>
                    <a:pt x="2359" y="1786"/>
                  </a:lnTo>
                  <a:lnTo>
                    <a:pt x="2359" y="1786"/>
                  </a:lnTo>
                  <a:lnTo>
                    <a:pt x="2357" y="1786"/>
                  </a:lnTo>
                  <a:close/>
                  <a:moveTo>
                    <a:pt x="1997" y="1178"/>
                  </a:moveTo>
                  <a:lnTo>
                    <a:pt x="1997" y="1180"/>
                  </a:lnTo>
                  <a:lnTo>
                    <a:pt x="1997" y="1180"/>
                  </a:lnTo>
                  <a:lnTo>
                    <a:pt x="1997" y="1178"/>
                  </a:lnTo>
                  <a:lnTo>
                    <a:pt x="2004" y="1178"/>
                  </a:lnTo>
                  <a:lnTo>
                    <a:pt x="2007" y="1178"/>
                  </a:lnTo>
                  <a:lnTo>
                    <a:pt x="2007" y="1178"/>
                  </a:lnTo>
                  <a:lnTo>
                    <a:pt x="2004" y="1175"/>
                  </a:lnTo>
                  <a:lnTo>
                    <a:pt x="2004" y="1173"/>
                  </a:lnTo>
                  <a:lnTo>
                    <a:pt x="2004" y="1173"/>
                  </a:lnTo>
                  <a:lnTo>
                    <a:pt x="2007" y="1173"/>
                  </a:lnTo>
                  <a:lnTo>
                    <a:pt x="2007" y="1173"/>
                  </a:lnTo>
                  <a:lnTo>
                    <a:pt x="2007" y="1171"/>
                  </a:lnTo>
                  <a:lnTo>
                    <a:pt x="2007" y="1171"/>
                  </a:lnTo>
                  <a:lnTo>
                    <a:pt x="2007" y="1171"/>
                  </a:lnTo>
                  <a:lnTo>
                    <a:pt x="2004" y="1171"/>
                  </a:lnTo>
                  <a:lnTo>
                    <a:pt x="2004" y="1171"/>
                  </a:lnTo>
                  <a:lnTo>
                    <a:pt x="2004" y="1171"/>
                  </a:lnTo>
                  <a:lnTo>
                    <a:pt x="2004" y="1173"/>
                  </a:lnTo>
                  <a:lnTo>
                    <a:pt x="2004" y="1173"/>
                  </a:lnTo>
                  <a:lnTo>
                    <a:pt x="2004" y="1173"/>
                  </a:lnTo>
                  <a:lnTo>
                    <a:pt x="2002" y="1173"/>
                  </a:lnTo>
                  <a:lnTo>
                    <a:pt x="2000" y="1173"/>
                  </a:lnTo>
                  <a:lnTo>
                    <a:pt x="2000" y="1175"/>
                  </a:lnTo>
                  <a:lnTo>
                    <a:pt x="2000" y="1175"/>
                  </a:lnTo>
                  <a:lnTo>
                    <a:pt x="2000" y="1178"/>
                  </a:lnTo>
                  <a:lnTo>
                    <a:pt x="1997" y="1178"/>
                  </a:lnTo>
                  <a:lnTo>
                    <a:pt x="1997" y="1178"/>
                  </a:lnTo>
                  <a:lnTo>
                    <a:pt x="1997" y="1178"/>
                  </a:lnTo>
                  <a:lnTo>
                    <a:pt x="1995" y="1178"/>
                  </a:lnTo>
                  <a:lnTo>
                    <a:pt x="1995" y="1178"/>
                  </a:lnTo>
                  <a:lnTo>
                    <a:pt x="1995" y="1178"/>
                  </a:lnTo>
                  <a:lnTo>
                    <a:pt x="1997" y="1178"/>
                  </a:lnTo>
                  <a:close/>
                  <a:moveTo>
                    <a:pt x="1834" y="1026"/>
                  </a:moveTo>
                  <a:lnTo>
                    <a:pt x="1834" y="1024"/>
                  </a:lnTo>
                  <a:lnTo>
                    <a:pt x="1834" y="1024"/>
                  </a:lnTo>
                  <a:lnTo>
                    <a:pt x="1832" y="1024"/>
                  </a:lnTo>
                  <a:lnTo>
                    <a:pt x="1822" y="1024"/>
                  </a:lnTo>
                  <a:lnTo>
                    <a:pt x="1822" y="1024"/>
                  </a:lnTo>
                  <a:lnTo>
                    <a:pt x="1822" y="1024"/>
                  </a:lnTo>
                  <a:lnTo>
                    <a:pt x="1822" y="1022"/>
                  </a:lnTo>
                  <a:lnTo>
                    <a:pt x="1822" y="1022"/>
                  </a:lnTo>
                  <a:lnTo>
                    <a:pt x="1822" y="1022"/>
                  </a:lnTo>
                  <a:lnTo>
                    <a:pt x="1818" y="1024"/>
                  </a:lnTo>
                  <a:lnTo>
                    <a:pt x="1818" y="1024"/>
                  </a:lnTo>
                  <a:lnTo>
                    <a:pt x="1818" y="1026"/>
                  </a:lnTo>
                  <a:lnTo>
                    <a:pt x="1820" y="1026"/>
                  </a:lnTo>
                  <a:lnTo>
                    <a:pt x="1820" y="1026"/>
                  </a:lnTo>
                  <a:lnTo>
                    <a:pt x="1820" y="1026"/>
                  </a:lnTo>
                  <a:lnTo>
                    <a:pt x="1820" y="1029"/>
                  </a:lnTo>
                  <a:lnTo>
                    <a:pt x="1820" y="1031"/>
                  </a:lnTo>
                  <a:lnTo>
                    <a:pt x="1820" y="1031"/>
                  </a:lnTo>
                  <a:lnTo>
                    <a:pt x="1820" y="1033"/>
                  </a:lnTo>
                  <a:lnTo>
                    <a:pt x="1820" y="1033"/>
                  </a:lnTo>
                  <a:lnTo>
                    <a:pt x="1818" y="1033"/>
                  </a:lnTo>
                  <a:lnTo>
                    <a:pt x="1818" y="1033"/>
                  </a:lnTo>
                  <a:lnTo>
                    <a:pt x="1818" y="1033"/>
                  </a:lnTo>
                  <a:lnTo>
                    <a:pt x="1818" y="1033"/>
                  </a:lnTo>
                  <a:lnTo>
                    <a:pt x="1818" y="1033"/>
                  </a:lnTo>
                  <a:lnTo>
                    <a:pt x="1815" y="1033"/>
                  </a:lnTo>
                  <a:lnTo>
                    <a:pt x="1815" y="1033"/>
                  </a:lnTo>
                  <a:lnTo>
                    <a:pt x="1815" y="1033"/>
                  </a:lnTo>
                  <a:lnTo>
                    <a:pt x="1815" y="1036"/>
                  </a:lnTo>
                  <a:lnTo>
                    <a:pt x="1818" y="1036"/>
                  </a:lnTo>
                  <a:lnTo>
                    <a:pt x="1818" y="1038"/>
                  </a:lnTo>
                  <a:lnTo>
                    <a:pt x="1818" y="1038"/>
                  </a:lnTo>
                  <a:lnTo>
                    <a:pt x="1820" y="1038"/>
                  </a:lnTo>
                  <a:lnTo>
                    <a:pt x="1820" y="1038"/>
                  </a:lnTo>
                  <a:lnTo>
                    <a:pt x="1820" y="1038"/>
                  </a:lnTo>
                  <a:lnTo>
                    <a:pt x="1820" y="1038"/>
                  </a:lnTo>
                  <a:lnTo>
                    <a:pt x="1820" y="1040"/>
                  </a:lnTo>
                  <a:lnTo>
                    <a:pt x="1820" y="1040"/>
                  </a:lnTo>
                  <a:lnTo>
                    <a:pt x="1820" y="1040"/>
                  </a:lnTo>
                  <a:lnTo>
                    <a:pt x="1822" y="1040"/>
                  </a:lnTo>
                  <a:lnTo>
                    <a:pt x="1822" y="1040"/>
                  </a:lnTo>
                  <a:lnTo>
                    <a:pt x="1822" y="1040"/>
                  </a:lnTo>
                  <a:lnTo>
                    <a:pt x="1825" y="1040"/>
                  </a:lnTo>
                  <a:lnTo>
                    <a:pt x="1825" y="1040"/>
                  </a:lnTo>
                  <a:lnTo>
                    <a:pt x="1825" y="1038"/>
                  </a:lnTo>
                  <a:lnTo>
                    <a:pt x="1825" y="1038"/>
                  </a:lnTo>
                  <a:lnTo>
                    <a:pt x="1829" y="1033"/>
                  </a:lnTo>
                  <a:lnTo>
                    <a:pt x="1834" y="1031"/>
                  </a:lnTo>
                  <a:lnTo>
                    <a:pt x="1834" y="1031"/>
                  </a:lnTo>
                  <a:lnTo>
                    <a:pt x="1834" y="1029"/>
                  </a:lnTo>
                  <a:lnTo>
                    <a:pt x="1834" y="1029"/>
                  </a:lnTo>
                  <a:lnTo>
                    <a:pt x="1834" y="1026"/>
                  </a:lnTo>
                  <a:lnTo>
                    <a:pt x="1834" y="1026"/>
                  </a:lnTo>
                  <a:close/>
                  <a:moveTo>
                    <a:pt x="1780" y="1000"/>
                  </a:moveTo>
                  <a:lnTo>
                    <a:pt x="1780" y="1000"/>
                  </a:lnTo>
                  <a:lnTo>
                    <a:pt x="1780" y="1003"/>
                  </a:lnTo>
                  <a:lnTo>
                    <a:pt x="1782" y="1003"/>
                  </a:lnTo>
                  <a:lnTo>
                    <a:pt x="1782" y="1005"/>
                  </a:lnTo>
                  <a:lnTo>
                    <a:pt x="1784" y="1005"/>
                  </a:lnTo>
                  <a:lnTo>
                    <a:pt x="1784" y="1005"/>
                  </a:lnTo>
                  <a:lnTo>
                    <a:pt x="1784" y="1005"/>
                  </a:lnTo>
                  <a:lnTo>
                    <a:pt x="1784" y="1010"/>
                  </a:lnTo>
                  <a:lnTo>
                    <a:pt x="1787" y="1012"/>
                  </a:lnTo>
                  <a:lnTo>
                    <a:pt x="1789" y="1012"/>
                  </a:lnTo>
                  <a:lnTo>
                    <a:pt x="1791" y="1012"/>
                  </a:lnTo>
                  <a:lnTo>
                    <a:pt x="1789" y="1012"/>
                  </a:lnTo>
                  <a:lnTo>
                    <a:pt x="1789" y="1012"/>
                  </a:lnTo>
                  <a:lnTo>
                    <a:pt x="1789" y="1012"/>
                  </a:lnTo>
                  <a:lnTo>
                    <a:pt x="1791" y="1014"/>
                  </a:lnTo>
                  <a:lnTo>
                    <a:pt x="1791" y="1014"/>
                  </a:lnTo>
                  <a:lnTo>
                    <a:pt x="1791" y="1014"/>
                  </a:lnTo>
                  <a:lnTo>
                    <a:pt x="1791" y="1012"/>
                  </a:lnTo>
                  <a:lnTo>
                    <a:pt x="1791" y="1012"/>
                  </a:lnTo>
                  <a:lnTo>
                    <a:pt x="1791" y="1012"/>
                  </a:lnTo>
                  <a:lnTo>
                    <a:pt x="1791" y="1012"/>
                  </a:lnTo>
                  <a:lnTo>
                    <a:pt x="1791" y="1012"/>
                  </a:lnTo>
                  <a:lnTo>
                    <a:pt x="1791" y="1010"/>
                  </a:lnTo>
                  <a:lnTo>
                    <a:pt x="1791" y="1010"/>
                  </a:lnTo>
                  <a:lnTo>
                    <a:pt x="1791" y="1010"/>
                  </a:lnTo>
                  <a:lnTo>
                    <a:pt x="1791" y="1010"/>
                  </a:lnTo>
                  <a:lnTo>
                    <a:pt x="1791" y="1010"/>
                  </a:lnTo>
                  <a:lnTo>
                    <a:pt x="1791" y="1010"/>
                  </a:lnTo>
                  <a:lnTo>
                    <a:pt x="1791" y="1010"/>
                  </a:lnTo>
                  <a:lnTo>
                    <a:pt x="1791" y="1007"/>
                  </a:lnTo>
                  <a:lnTo>
                    <a:pt x="1789" y="1007"/>
                  </a:lnTo>
                  <a:lnTo>
                    <a:pt x="1789" y="1007"/>
                  </a:lnTo>
                  <a:lnTo>
                    <a:pt x="1789" y="1005"/>
                  </a:lnTo>
                  <a:lnTo>
                    <a:pt x="1789" y="1005"/>
                  </a:lnTo>
                  <a:lnTo>
                    <a:pt x="1791" y="1003"/>
                  </a:lnTo>
                  <a:lnTo>
                    <a:pt x="1794" y="1003"/>
                  </a:lnTo>
                  <a:lnTo>
                    <a:pt x="1794" y="1003"/>
                  </a:lnTo>
                  <a:lnTo>
                    <a:pt x="1794" y="1000"/>
                  </a:lnTo>
                  <a:lnTo>
                    <a:pt x="1791" y="1000"/>
                  </a:lnTo>
                  <a:lnTo>
                    <a:pt x="1791" y="1000"/>
                  </a:lnTo>
                  <a:lnTo>
                    <a:pt x="1791" y="1000"/>
                  </a:lnTo>
                  <a:lnTo>
                    <a:pt x="1791" y="998"/>
                  </a:lnTo>
                  <a:lnTo>
                    <a:pt x="1789" y="998"/>
                  </a:lnTo>
                  <a:lnTo>
                    <a:pt x="1789" y="998"/>
                  </a:lnTo>
                  <a:lnTo>
                    <a:pt x="1789" y="998"/>
                  </a:lnTo>
                  <a:lnTo>
                    <a:pt x="1789" y="998"/>
                  </a:lnTo>
                  <a:lnTo>
                    <a:pt x="1789" y="1000"/>
                  </a:lnTo>
                  <a:lnTo>
                    <a:pt x="1789" y="1000"/>
                  </a:lnTo>
                  <a:lnTo>
                    <a:pt x="1787" y="1003"/>
                  </a:lnTo>
                  <a:lnTo>
                    <a:pt x="1787" y="1003"/>
                  </a:lnTo>
                  <a:lnTo>
                    <a:pt x="1787" y="1003"/>
                  </a:lnTo>
                  <a:lnTo>
                    <a:pt x="1787" y="1005"/>
                  </a:lnTo>
                  <a:lnTo>
                    <a:pt x="1787" y="1005"/>
                  </a:lnTo>
                  <a:lnTo>
                    <a:pt x="1787" y="1005"/>
                  </a:lnTo>
                  <a:lnTo>
                    <a:pt x="1787" y="1005"/>
                  </a:lnTo>
                  <a:lnTo>
                    <a:pt x="1784" y="1003"/>
                  </a:lnTo>
                  <a:lnTo>
                    <a:pt x="1787" y="1003"/>
                  </a:lnTo>
                  <a:lnTo>
                    <a:pt x="1787" y="1000"/>
                  </a:lnTo>
                  <a:lnTo>
                    <a:pt x="1787" y="1000"/>
                  </a:lnTo>
                  <a:lnTo>
                    <a:pt x="1787" y="1000"/>
                  </a:lnTo>
                  <a:lnTo>
                    <a:pt x="1787" y="998"/>
                  </a:lnTo>
                  <a:lnTo>
                    <a:pt x="1787" y="998"/>
                  </a:lnTo>
                  <a:lnTo>
                    <a:pt x="1787" y="996"/>
                  </a:lnTo>
                  <a:lnTo>
                    <a:pt x="1784" y="996"/>
                  </a:lnTo>
                  <a:lnTo>
                    <a:pt x="1784" y="996"/>
                  </a:lnTo>
                  <a:lnTo>
                    <a:pt x="1780" y="998"/>
                  </a:lnTo>
                  <a:lnTo>
                    <a:pt x="1780" y="1000"/>
                  </a:lnTo>
                  <a:lnTo>
                    <a:pt x="1780" y="1000"/>
                  </a:lnTo>
                  <a:lnTo>
                    <a:pt x="1780" y="1000"/>
                  </a:lnTo>
                  <a:lnTo>
                    <a:pt x="1780" y="1000"/>
                  </a:lnTo>
                  <a:close/>
                  <a:moveTo>
                    <a:pt x="1730" y="948"/>
                  </a:moveTo>
                  <a:lnTo>
                    <a:pt x="1725" y="946"/>
                  </a:lnTo>
                  <a:lnTo>
                    <a:pt x="1725" y="946"/>
                  </a:lnTo>
                  <a:lnTo>
                    <a:pt x="1725" y="943"/>
                  </a:lnTo>
                  <a:lnTo>
                    <a:pt x="1725" y="943"/>
                  </a:lnTo>
                  <a:lnTo>
                    <a:pt x="1725" y="943"/>
                  </a:lnTo>
                  <a:lnTo>
                    <a:pt x="1725" y="941"/>
                  </a:lnTo>
                  <a:lnTo>
                    <a:pt x="1725" y="941"/>
                  </a:lnTo>
                  <a:lnTo>
                    <a:pt x="1723" y="941"/>
                  </a:lnTo>
                  <a:lnTo>
                    <a:pt x="1723" y="941"/>
                  </a:lnTo>
                  <a:lnTo>
                    <a:pt x="1718" y="939"/>
                  </a:lnTo>
                  <a:lnTo>
                    <a:pt x="1716" y="939"/>
                  </a:lnTo>
                  <a:lnTo>
                    <a:pt x="1716" y="936"/>
                  </a:lnTo>
                  <a:lnTo>
                    <a:pt x="1713" y="936"/>
                  </a:lnTo>
                  <a:lnTo>
                    <a:pt x="1711" y="936"/>
                  </a:lnTo>
                  <a:lnTo>
                    <a:pt x="1706" y="936"/>
                  </a:lnTo>
                  <a:lnTo>
                    <a:pt x="1706" y="936"/>
                  </a:lnTo>
                  <a:lnTo>
                    <a:pt x="1704" y="939"/>
                  </a:lnTo>
                  <a:lnTo>
                    <a:pt x="1704" y="939"/>
                  </a:lnTo>
                  <a:lnTo>
                    <a:pt x="1704" y="941"/>
                  </a:lnTo>
                  <a:lnTo>
                    <a:pt x="1704" y="941"/>
                  </a:lnTo>
                  <a:lnTo>
                    <a:pt x="1706" y="943"/>
                  </a:lnTo>
                  <a:lnTo>
                    <a:pt x="1706" y="943"/>
                  </a:lnTo>
                  <a:lnTo>
                    <a:pt x="1704" y="946"/>
                  </a:lnTo>
                  <a:lnTo>
                    <a:pt x="1704" y="946"/>
                  </a:lnTo>
                  <a:lnTo>
                    <a:pt x="1704" y="946"/>
                  </a:lnTo>
                  <a:lnTo>
                    <a:pt x="1702" y="943"/>
                  </a:lnTo>
                  <a:lnTo>
                    <a:pt x="1702" y="941"/>
                  </a:lnTo>
                  <a:lnTo>
                    <a:pt x="1702" y="941"/>
                  </a:lnTo>
                  <a:lnTo>
                    <a:pt x="1702" y="941"/>
                  </a:lnTo>
                  <a:lnTo>
                    <a:pt x="1702" y="939"/>
                  </a:lnTo>
                  <a:lnTo>
                    <a:pt x="1702" y="939"/>
                  </a:lnTo>
                  <a:lnTo>
                    <a:pt x="1702" y="939"/>
                  </a:lnTo>
                  <a:lnTo>
                    <a:pt x="1702" y="936"/>
                  </a:lnTo>
                  <a:lnTo>
                    <a:pt x="1690" y="936"/>
                  </a:lnTo>
                  <a:lnTo>
                    <a:pt x="1690" y="936"/>
                  </a:lnTo>
                  <a:lnTo>
                    <a:pt x="1690" y="936"/>
                  </a:lnTo>
                  <a:lnTo>
                    <a:pt x="1690" y="934"/>
                  </a:lnTo>
                  <a:lnTo>
                    <a:pt x="1690" y="934"/>
                  </a:lnTo>
                  <a:lnTo>
                    <a:pt x="1690" y="934"/>
                  </a:lnTo>
                  <a:lnTo>
                    <a:pt x="1687" y="932"/>
                  </a:lnTo>
                  <a:lnTo>
                    <a:pt x="1685" y="932"/>
                  </a:lnTo>
                  <a:lnTo>
                    <a:pt x="1683" y="929"/>
                  </a:lnTo>
                  <a:lnTo>
                    <a:pt x="1676" y="932"/>
                  </a:lnTo>
                  <a:lnTo>
                    <a:pt x="1668" y="932"/>
                  </a:lnTo>
                  <a:lnTo>
                    <a:pt x="1666" y="934"/>
                  </a:lnTo>
                  <a:lnTo>
                    <a:pt x="1666" y="936"/>
                  </a:lnTo>
                  <a:lnTo>
                    <a:pt x="1664" y="936"/>
                  </a:lnTo>
                  <a:lnTo>
                    <a:pt x="1661" y="939"/>
                  </a:lnTo>
                  <a:lnTo>
                    <a:pt x="1661" y="939"/>
                  </a:lnTo>
                  <a:lnTo>
                    <a:pt x="1659" y="941"/>
                  </a:lnTo>
                  <a:lnTo>
                    <a:pt x="1659" y="941"/>
                  </a:lnTo>
                  <a:lnTo>
                    <a:pt x="1657" y="943"/>
                  </a:lnTo>
                  <a:lnTo>
                    <a:pt x="1654" y="948"/>
                  </a:lnTo>
                  <a:lnTo>
                    <a:pt x="1654" y="948"/>
                  </a:lnTo>
                  <a:lnTo>
                    <a:pt x="1652" y="948"/>
                  </a:lnTo>
                  <a:lnTo>
                    <a:pt x="1652" y="948"/>
                  </a:lnTo>
                  <a:lnTo>
                    <a:pt x="1652" y="948"/>
                  </a:lnTo>
                  <a:lnTo>
                    <a:pt x="1652" y="948"/>
                  </a:lnTo>
                  <a:lnTo>
                    <a:pt x="1652" y="951"/>
                  </a:lnTo>
                  <a:lnTo>
                    <a:pt x="1652" y="951"/>
                  </a:lnTo>
                  <a:lnTo>
                    <a:pt x="1652" y="955"/>
                  </a:lnTo>
                  <a:lnTo>
                    <a:pt x="1650" y="955"/>
                  </a:lnTo>
                  <a:lnTo>
                    <a:pt x="1652" y="955"/>
                  </a:lnTo>
                  <a:lnTo>
                    <a:pt x="1652" y="958"/>
                  </a:lnTo>
                  <a:lnTo>
                    <a:pt x="1652" y="960"/>
                  </a:lnTo>
                  <a:lnTo>
                    <a:pt x="1652" y="960"/>
                  </a:lnTo>
                  <a:lnTo>
                    <a:pt x="1661" y="965"/>
                  </a:lnTo>
                  <a:lnTo>
                    <a:pt x="1666" y="967"/>
                  </a:lnTo>
                  <a:lnTo>
                    <a:pt x="1666" y="967"/>
                  </a:lnTo>
                  <a:lnTo>
                    <a:pt x="1671" y="967"/>
                  </a:lnTo>
                  <a:lnTo>
                    <a:pt x="1673" y="970"/>
                  </a:lnTo>
                  <a:lnTo>
                    <a:pt x="1676" y="972"/>
                  </a:lnTo>
                  <a:lnTo>
                    <a:pt x="1678" y="972"/>
                  </a:lnTo>
                  <a:lnTo>
                    <a:pt x="1683" y="972"/>
                  </a:lnTo>
                  <a:lnTo>
                    <a:pt x="1687" y="972"/>
                  </a:lnTo>
                  <a:lnTo>
                    <a:pt x="1690" y="974"/>
                  </a:lnTo>
                  <a:lnTo>
                    <a:pt x="1685" y="974"/>
                  </a:lnTo>
                  <a:lnTo>
                    <a:pt x="1683" y="972"/>
                  </a:lnTo>
                  <a:lnTo>
                    <a:pt x="1683" y="972"/>
                  </a:lnTo>
                  <a:lnTo>
                    <a:pt x="1676" y="974"/>
                  </a:lnTo>
                  <a:lnTo>
                    <a:pt x="1676" y="974"/>
                  </a:lnTo>
                  <a:lnTo>
                    <a:pt x="1676" y="974"/>
                  </a:lnTo>
                  <a:lnTo>
                    <a:pt x="1676" y="977"/>
                  </a:lnTo>
                  <a:lnTo>
                    <a:pt x="1678" y="977"/>
                  </a:lnTo>
                  <a:lnTo>
                    <a:pt x="1678" y="979"/>
                  </a:lnTo>
                  <a:lnTo>
                    <a:pt x="1678" y="979"/>
                  </a:lnTo>
                  <a:lnTo>
                    <a:pt x="1676" y="979"/>
                  </a:lnTo>
                  <a:lnTo>
                    <a:pt x="1676" y="979"/>
                  </a:lnTo>
                  <a:lnTo>
                    <a:pt x="1676" y="979"/>
                  </a:lnTo>
                  <a:lnTo>
                    <a:pt x="1676" y="979"/>
                  </a:lnTo>
                  <a:lnTo>
                    <a:pt x="1676" y="979"/>
                  </a:lnTo>
                  <a:lnTo>
                    <a:pt x="1676" y="977"/>
                  </a:lnTo>
                  <a:lnTo>
                    <a:pt x="1676" y="977"/>
                  </a:lnTo>
                  <a:lnTo>
                    <a:pt x="1676" y="977"/>
                  </a:lnTo>
                  <a:lnTo>
                    <a:pt x="1676" y="977"/>
                  </a:lnTo>
                  <a:lnTo>
                    <a:pt x="1676" y="974"/>
                  </a:lnTo>
                  <a:lnTo>
                    <a:pt x="1676" y="974"/>
                  </a:lnTo>
                  <a:lnTo>
                    <a:pt x="1673" y="972"/>
                  </a:lnTo>
                  <a:lnTo>
                    <a:pt x="1671" y="970"/>
                  </a:lnTo>
                  <a:lnTo>
                    <a:pt x="1668" y="970"/>
                  </a:lnTo>
                  <a:lnTo>
                    <a:pt x="1668" y="970"/>
                  </a:lnTo>
                  <a:lnTo>
                    <a:pt x="1666" y="972"/>
                  </a:lnTo>
                  <a:lnTo>
                    <a:pt x="1666" y="970"/>
                  </a:lnTo>
                  <a:lnTo>
                    <a:pt x="1666" y="970"/>
                  </a:lnTo>
                  <a:lnTo>
                    <a:pt x="1657" y="967"/>
                  </a:lnTo>
                  <a:lnTo>
                    <a:pt x="1654" y="967"/>
                  </a:lnTo>
                  <a:lnTo>
                    <a:pt x="1657" y="970"/>
                  </a:lnTo>
                  <a:lnTo>
                    <a:pt x="1657" y="970"/>
                  </a:lnTo>
                  <a:lnTo>
                    <a:pt x="1657" y="974"/>
                  </a:lnTo>
                  <a:lnTo>
                    <a:pt x="1657" y="974"/>
                  </a:lnTo>
                  <a:lnTo>
                    <a:pt x="1659" y="974"/>
                  </a:lnTo>
                  <a:lnTo>
                    <a:pt x="1659" y="974"/>
                  </a:lnTo>
                  <a:lnTo>
                    <a:pt x="1659" y="977"/>
                  </a:lnTo>
                  <a:lnTo>
                    <a:pt x="1659" y="977"/>
                  </a:lnTo>
                  <a:lnTo>
                    <a:pt x="1659" y="977"/>
                  </a:lnTo>
                  <a:lnTo>
                    <a:pt x="1659" y="977"/>
                  </a:lnTo>
                  <a:lnTo>
                    <a:pt x="1659" y="977"/>
                  </a:lnTo>
                  <a:lnTo>
                    <a:pt x="1659" y="977"/>
                  </a:lnTo>
                  <a:lnTo>
                    <a:pt x="1659" y="979"/>
                  </a:lnTo>
                  <a:lnTo>
                    <a:pt x="1659" y="979"/>
                  </a:lnTo>
                  <a:lnTo>
                    <a:pt x="1657" y="977"/>
                  </a:lnTo>
                  <a:lnTo>
                    <a:pt x="1657" y="974"/>
                  </a:lnTo>
                  <a:lnTo>
                    <a:pt x="1657" y="974"/>
                  </a:lnTo>
                  <a:lnTo>
                    <a:pt x="1657" y="974"/>
                  </a:lnTo>
                  <a:lnTo>
                    <a:pt x="1654" y="974"/>
                  </a:lnTo>
                  <a:lnTo>
                    <a:pt x="1654" y="974"/>
                  </a:lnTo>
                  <a:lnTo>
                    <a:pt x="1654" y="972"/>
                  </a:lnTo>
                  <a:lnTo>
                    <a:pt x="1654" y="972"/>
                  </a:lnTo>
                  <a:lnTo>
                    <a:pt x="1654" y="970"/>
                  </a:lnTo>
                  <a:lnTo>
                    <a:pt x="1654" y="970"/>
                  </a:lnTo>
                  <a:lnTo>
                    <a:pt x="1654" y="967"/>
                  </a:lnTo>
                  <a:lnTo>
                    <a:pt x="1654" y="967"/>
                  </a:lnTo>
                  <a:lnTo>
                    <a:pt x="1654" y="967"/>
                  </a:lnTo>
                  <a:lnTo>
                    <a:pt x="1654" y="967"/>
                  </a:lnTo>
                  <a:lnTo>
                    <a:pt x="1652" y="965"/>
                  </a:lnTo>
                  <a:lnTo>
                    <a:pt x="1652" y="965"/>
                  </a:lnTo>
                  <a:lnTo>
                    <a:pt x="1652" y="967"/>
                  </a:lnTo>
                  <a:lnTo>
                    <a:pt x="1650" y="967"/>
                  </a:lnTo>
                  <a:lnTo>
                    <a:pt x="1650" y="967"/>
                  </a:lnTo>
                  <a:lnTo>
                    <a:pt x="1647" y="967"/>
                  </a:lnTo>
                  <a:lnTo>
                    <a:pt x="1647" y="967"/>
                  </a:lnTo>
                  <a:lnTo>
                    <a:pt x="1647" y="970"/>
                  </a:lnTo>
                  <a:lnTo>
                    <a:pt x="1647" y="970"/>
                  </a:lnTo>
                  <a:lnTo>
                    <a:pt x="1647" y="970"/>
                  </a:lnTo>
                  <a:lnTo>
                    <a:pt x="1647" y="970"/>
                  </a:lnTo>
                  <a:lnTo>
                    <a:pt x="1650" y="970"/>
                  </a:lnTo>
                  <a:lnTo>
                    <a:pt x="1650" y="970"/>
                  </a:lnTo>
                  <a:lnTo>
                    <a:pt x="1650" y="972"/>
                  </a:lnTo>
                  <a:lnTo>
                    <a:pt x="1650" y="974"/>
                  </a:lnTo>
                  <a:lnTo>
                    <a:pt x="1650" y="974"/>
                  </a:lnTo>
                  <a:lnTo>
                    <a:pt x="1647" y="977"/>
                  </a:lnTo>
                  <a:lnTo>
                    <a:pt x="1650" y="977"/>
                  </a:lnTo>
                  <a:lnTo>
                    <a:pt x="1652" y="979"/>
                  </a:lnTo>
                  <a:lnTo>
                    <a:pt x="1654" y="981"/>
                  </a:lnTo>
                  <a:lnTo>
                    <a:pt x="1657" y="981"/>
                  </a:lnTo>
                  <a:lnTo>
                    <a:pt x="1659" y="981"/>
                  </a:lnTo>
                  <a:lnTo>
                    <a:pt x="1659" y="981"/>
                  </a:lnTo>
                  <a:lnTo>
                    <a:pt x="1659" y="984"/>
                  </a:lnTo>
                  <a:lnTo>
                    <a:pt x="1661" y="984"/>
                  </a:lnTo>
                  <a:lnTo>
                    <a:pt x="1661" y="984"/>
                  </a:lnTo>
                  <a:lnTo>
                    <a:pt x="1661" y="986"/>
                  </a:lnTo>
                  <a:lnTo>
                    <a:pt x="1661" y="986"/>
                  </a:lnTo>
                  <a:lnTo>
                    <a:pt x="1664" y="991"/>
                  </a:lnTo>
                  <a:lnTo>
                    <a:pt x="1664" y="991"/>
                  </a:lnTo>
                  <a:lnTo>
                    <a:pt x="1664" y="991"/>
                  </a:lnTo>
                  <a:lnTo>
                    <a:pt x="1664" y="991"/>
                  </a:lnTo>
                  <a:lnTo>
                    <a:pt x="1666" y="991"/>
                  </a:lnTo>
                  <a:lnTo>
                    <a:pt x="1668" y="991"/>
                  </a:lnTo>
                  <a:lnTo>
                    <a:pt x="1668" y="991"/>
                  </a:lnTo>
                  <a:lnTo>
                    <a:pt x="1668" y="993"/>
                  </a:lnTo>
                  <a:lnTo>
                    <a:pt x="1668" y="993"/>
                  </a:lnTo>
                  <a:lnTo>
                    <a:pt x="1671" y="996"/>
                  </a:lnTo>
                  <a:lnTo>
                    <a:pt x="1673" y="998"/>
                  </a:lnTo>
                  <a:lnTo>
                    <a:pt x="1673" y="998"/>
                  </a:lnTo>
                  <a:lnTo>
                    <a:pt x="1676" y="1000"/>
                  </a:lnTo>
                  <a:lnTo>
                    <a:pt x="1676" y="1000"/>
                  </a:lnTo>
                  <a:lnTo>
                    <a:pt x="1676" y="1000"/>
                  </a:lnTo>
                  <a:lnTo>
                    <a:pt x="1678" y="1000"/>
                  </a:lnTo>
                  <a:lnTo>
                    <a:pt x="1678" y="1000"/>
                  </a:lnTo>
                  <a:lnTo>
                    <a:pt x="1678" y="1000"/>
                  </a:lnTo>
                  <a:lnTo>
                    <a:pt x="1680" y="1000"/>
                  </a:lnTo>
                  <a:lnTo>
                    <a:pt x="1680" y="1000"/>
                  </a:lnTo>
                  <a:lnTo>
                    <a:pt x="1680" y="1000"/>
                  </a:lnTo>
                  <a:lnTo>
                    <a:pt x="1680" y="1003"/>
                  </a:lnTo>
                  <a:lnTo>
                    <a:pt x="1678" y="1003"/>
                  </a:lnTo>
                  <a:lnTo>
                    <a:pt x="1680" y="1005"/>
                  </a:lnTo>
                  <a:lnTo>
                    <a:pt x="1680" y="1005"/>
                  </a:lnTo>
                  <a:lnTo>
                    <a:pt x="1678" y="1003"/>
                  </a:lnTo>
                  <a:lnTo>
                    <a:pt x="1678" y="1003"/>
                  </a:lnTo>
                  <a:lnTo>
                    <a:pt x="1673" y="1000"/>
                  </a:lnTo>
                  <a:lnTo>
                    <a:pt x="1673" y="1000"/>
                  </a:lnTo>
                  <a:lnTo>
                    <a:pt x="1673" y="998"/>
                  </a:lnTo>
                  <a:lnTo>
                    <a:pt x="1671" y="996"/>
                  </a:lnTo>
                  <a:lnTo>
                    <a:pt x="1668" y="996"/>
                  </a:lnTo>
                  <a:lnTo>
                    <a:pt x="1668" y="993"/>
                  </a:lnTo>
                  <a:lnTo>
                    <a:pt x="1668" y="993"/>
                  </a:lnTo>
                  <a:lnTo>
                    <a:pt x="1668" y="993"/>
                  </a:lnTo>
                  <a:lnTo>
                    <a:pt x="1668" y="993"/>
                  </a:lnTo>
                  <a:lnTo>
                    <a:pt x="1668" y="991"/>
                  </a:lnTo>
                  <a:lnTo>
                    <a:pt x="1666" y="991"/>
                  </a:lnTo>
                  <a:lnTo>
                    <a:pt x="1666" y="991"/>
                  </a:lnTo>
                  <a:lnTo>
                    <a:pt x="1664" y="993"/>
                  </a:lnTo>
                  <a:lnTo>
                    <a:pt x="1664" y="993"/>
                  </a:lnTo>
                  <a:lnTo>
                    <a:pt x="1664" y="996"/>
                  </a:lnTo>
                  <a:lnTo>
                    <a:pt x="1664" y="996"/>
                  </a:lnTo>
                  <a:lnTo>
                    <a:pt x="1666" y="998"/>
                  </a:lnTo>
                  <a:lnTo>
                    <a:pt x="1666" y="998"/>
                  </a:lnTo>
                  <a:lnTo>
                    <a:pt x="1668" y="1000"/>
                  </a:lnTo>
                  <a:lnTo>
                    <a:pt x="1671" y="1003"/>
                  </a:lnTo>
                  <a:lnTo>
                    <a:pt x="1673" y="1003"/>
                  </a:lnTo>
                  <a:lnTo>
                    <a:pt x="1676" y="1005"/>
                  </a:lnTo>
                  <a:lnTo>
                    <a:pt x="1676" y="1005"/>
                  </a:lnTo>
                  <a:lnTo>
                    <a:pt x="1676" y="1005"/>
                  </a:lnTo>
                  <a:lnTo>
                    <a:pt x="1676" y="1005"/>
                  </a:lnTo>
                  <a:lnTo>
                    <a:pt x="1673" y="1005"/>
                  </a:lnTo>
                  <a:lnTo>
                    <a:pt x="1671" y="1003"/>
                  </a:lnTo>
                  <a:lnTo>
                    <a:pt x="1668" y="1003"/>
                  </a:lnTo>
                  <a:lnTo>
                    <a:pt x="1664" y="996"/>
                  </a:lnTo>
                  <a:lnTo>
                    <a:pt x="1661" y="993"/>
                  </a:lnTo>
                  <a:lnTo>
                    <a:pt x="1659" y="988"/>
                  </a:lnTo>
                  <a:lnTo>
                    <a:pt x="1659" y="986"/>
                  </a:lnTo>
                  <a:lnTo>
                    <a:pt x="1657" y="984"/>
                  </a:lnTo>
                  <a:lnTo>
                    <a:pt x="1650" y="979"/>
                  </a:lnTo>
                  <a:lnTo>
                    <a:pt x="1650" y="979"/>
                  </a:lnTo>
                  <a:lnTo>
                    <a:pt x="1650" y="981"/>
                  </a:lnTo>
                  <a:lnTo>
                    <a:pt x="1650" y="981"/>
                  </a:lnTo>
                  <a:lnTo>
                    <a:pt x="1650" y="981"/>
                  </a:lnTo>
                  <a:lnTo>
                    <a:pt x="1650" y="984"/>
                  </a:lnTo>
                  <a:lnTo>
                    <a:pt x="1650" y="986"/>
                  </a:lnTo>
                  <a:lnTo>
                    <a:pt x="1650" y="986"/>
                  </a:lnTo>
                  <a:lnTo>
                    <a:pt x="1650" y="986"/>
                  </a:lnTo>
                  <a:lnTo>
                    <a:pt x="1650" y="986"/>
                  </a:lnTo>
                  <a:lnTo>
                    <a:pt x="1650" y="986"/>
                  </a:lnTo>
                  <a:lnTo>
                    <a:pt x="1650" y="986"/>
                  </a:lnTo>
                  <a:lnTo>
                    <a:pt x="1650" y="988"/>
                  </a:lnTo>
                  <a:lnTo>
                    <a:pt x="1650" y="988"/>
                  </a:lnTo>
                  <a:lnTo>
                    <a:pt x="1650" y="988"/>
                  </a:lnTo>
                  <a:lnTo>
                    <a:pt x="1650" y="988"/>
                  </a:lnTo>
                  <a:lnTo>
                    <a:pt x="1650" y="991"/>
                  </a:lnTo>
                  <a:lnTo>
                    <a:pt x="1650" y="991"/>
                  </a:lnTo>
                  <a:lnTo>
                    <a:pt x="1650" y="991"/>
                  </a:lnTo>
                  <a:lnTo>
                    <a:pt x="1650" y="993"/>
                  </a:lnTo>
                  <a:lnTo>
                    <a:pt x="1652" y="993"/>
                  </a:lnTo>
                  <a:lnTo>
                    <a:pt x="1652" y="993"/>
                  </a:lnTo>
                  <a:lnTo>
                    <a:pt x="1654" y="996"/>
                  </a:lnTo>
                  <a:lnTo>
                    <a:pt x="1657" y="996"/>
                  </a:lnTo>
                  <a:lnTo>
                    <a:pt x="1657" y="996"/>
                  </a:lnTo>
                  <a:lnTo>
                    <a:pt x="1659" y="996"/>
                  </a:lnTo>
                  <a:lnTo>
                    <a:pt x="1659" y="998"/>
                  </a:lnTo>
                  <a:lnTo>
                    <a:pt x="1659" y="998"/>
                  </a:lnTo>
                  <a:lnTo>
                    <a:pt x="1659" y="998"/>
                  </a:lnTo>
                  <a:lnTo>
                    <a:pt x="1659" y="998"/>
                  </a:lnTo>
                  <a:lnTo>
                    <a:pt x="1659" y="998"/>
                  </a:lnTo>
                  <a:lnTo>
                    <a:pt x="1661" y="1000"/>
                  </a:lnTo>
                  <a:lnTo>
                    <a:pt x="1661" y="1000"/>
                  </a:lnTo>
                  <a:lnTo>
                    <a:pt x="1659" y="1000"/>
                  </a:lnTo>
                  <a:lnTo>
                    <a:pt x="1659" y="1000"/>
                  </a:lnTo>
                  <a:lnTo>
                    <a:pt x="1654" y="998"/>
                  </a:lnTo>
                  <a:lnTo>
                    <a:pt x="1647" y="996"/>
                  </a:lnTo>
                  <a:lnTo>
                    <a:pt x="1647" y="996"/>
                  </a:lnTo>
                  <a:lnTo>
                    <a:pt x="1645" y="996"/>
                  </a:lnTo>
                  <a:lnTo>
                    <a:pt x="1645" y="998"/>
                  </a:lnTo>
                  <a:lnTo>
                    <a:pt x="1645" y="998"/>
                  </a:lnTo>
                  <a:lnTo>
                    <a:pt x="1642" y="996"/>
                  </a:lnTo>
                  <a:lnTo>
                    <a:pt x="1645" y="996"/>
                  </a:lnTo>
                  <a:lnTo>
                    <a:pt x="1645" y="993"/>
                  </a:lnTo>
                  <a:lnTo>
                    <a:pt x="1645" y="991"/>
                  </a:lnTo>
                  <a:lnTo>
                    <a:pt x="1647" y="988"/>
                  </a:lnTo>
                  <a:lnTo>
                    <a:pt x="1647" y="988"/>
                  </a:lnTo>
                  <a:lnTo>
                    <a:pt x="1647" y="986"/>
                  </a:lnTo>
                  <a:lnTo>
                    <a:pt x="1647" y="984"/>
                  </a:lnTo>
                  <a:lnTo>
                    <a:pt x="1645" y="984"/>
                  </a:lnTo>
                  <a:lnTo>
                    <a:pt x="1645" y="981"/>
                  </a:lnTo>
                  <a:lnTo>
                    <a:pt x="1647" y="981"/>
                  </a:lnTo>
                  <a:lnTo>
                    <a:pt x="1647" y="979"/>
                  </a:lnTo>
                  <a:lnTo>
                    <a:pt x="1645" y="977"/>
                  </a:lnTo>
                  <a:lnTo>
                    <a:pt x="1645" y="977"/>
                  </a:lnTo>
                  <a:lnTo>
                    <a:pt x="1645" y="977"/>
                  </a:lnTo>
                  <a:lnTo>
                    <a:pt x="1645" y="974"/>
                  </a:lnTo>
                  <a:lnTo>
                    <a:pt x="1645" y="974"/>
                  </a:lnTo>
                  <a:lnTo>
                    <a:pt x="1645" y="974"/>
                  </a:lnTo>
                  <a:lnTo>
                    <a:pt x="1645" y="974"/>
                  </a:lnTo>
                  <a:lnTo>
                    <a:pt x="1645" y="972"/>
                  </a:lnTo>
                  <a:lnTo>
                    <a:pt x="1645" y="972"/>
                  </a:lnTo>
                  <a:lnTo>
                    <a:pt x="1645" y="972"/>
                  </a:lnTo>
                  <a:lnTo>
                    <a:pt x="1642" y="972"/>
                  </a:lnTo>
                  <a:lnTo>
                    <a:pt x="1642" y="970"/>
                  </a:lnTo>
                  <a:lnTo>
                    <a:pt x="1640" y="970"/>
                  </a:lnTo>
                  <a:lnTo>
                    <a:pt x="1635" y="967"/>
                  </a:lnTo>
                  <a:lnTo>
                    <a:pt x="1635" y="965"/>
                  </a:lnTo>
                  <a:lnTo>
                    <a:pt x="1635" y="967"/>
                  </a:lnTo>
                  <a:lnTo>
                    <a:pt x="1635" y="967"/>
                  </a:lnTo>
                  <a:lnTo>
                    <a:pt x="1635" y="970"/>
                  </a:lnTo>
                  <a:lnTo>
                    <a:pt x="1633" y="970"/>
                  </a:lnTo>
                  <a:lnTo>
                    <a:pt x="1633" y="972"/>
                  </a:lnTo>
                  <a:lnTo>
                    <a:pt x="1633" y="972"/>
                  </a:lnTo>
                  <a:lnTo>
                    <a:pt x="1633" y="972"/>
                  </a:lnTo>
                  <a:lnTo>
                    <a:pt x="1633" y="972"/>
                  </a:lnTo>
                  <a:lnTo>
                    <a:pt x="1633" y="972"/>
                  </a:lnTo>
                  <a:lnTo>
                    <a:pt x="1633" y="972"/>
                  </a:lnTo>
                  <a:lnTo>
                    <a:pt x="1633" y="974"/>
                  </a:lnTo>
                  <a:lnTo>
                    <a:pt x="1633" y="974"/>
                  </a:lnTo>
                  <a:lnTo>
                    <a:pt x="1633" y="974"/>
                  </a:lnTo>
                  <a:lnTo>
                    <a:pt x="1633" y="974"/>
                  </a:lnTo>
                  <a:lnTo>
                    <a:pt x="1633" y="974"/>
                  </a:lnTo>
                  <a:lnTo>
                    <a:pt x="1633" y="974"/>
                  </a:lnTo>
                  <a:lnTo>
                    <a:pt x="1633" y="974"/>
                  </a:lnTo>
                  <a:lnTo>
                    <a:pt x="1633" y="977"/>
                  </a:lnTo>
                  <a:lnTo>
                    <a:pt x="1633" y="977"/>
                  </a:lnTo>
                  <a:lnTo>
                    <a:pt x="1635" y="977"/>
                  </a:lnTo>
                  <a:lnTo>
                    <a:pt x="1635" y="979"/>
                  </a:lnTo>
                  <a:lnTo>
                    <a:pt x="1635" y="979"/>
                  </a:lnTo>
                  <a:lnTo>
                    <a:pt x="1635" y="979"/>
                  </a:lnTo>
                  <a:lnTo>
                    <a:pt x="1635" y="981"/>
                  </a:lnTo>
                  <a:lnTo>
                    <a:pt x="1635" y="981"/>
                  </a:lnTo>
                  <a:lnTo>
                    <a:pt x="1635" y="981"/>
                  </a:lnTo>
                  <a:lnTo>
                    <a:pt x="1635" y="981"/>
                  </a:lnTo>
                  <a:lnTo>
                    <a:pt x="1633" y="979"/>
                  </a:lnTo>
                  <a:lnTo>
                    <a:pt x="1633" y="979"/>
                  </a:lnTo>
                  <a:lnTo>
                    <a:pt x="1633" y="977"/>
                  </a:lnTo>
                  <a:lnTo>
                    <a:pt x="1633" y="977"/>
                  </a:lnTo>
                  <a:lnTo>
                    <a:pt x="1633" y="977"/>
                  </a:lnTo>
                  <a:lnTo>
                    <a:pt x="1633" y="977"/>
                  </a:lnTo>
                  <a:lnTo>
                    <a:pt x="1631" y="977"/>
                  </a:lnTo>
                  <a:lnTo>
                    <a:pt x="1631" y="977"/>
                  </a:lnTo>
                  <a:lnTo>
                    <a:pt x="1631" y="977"/>
                  </a:lnTo>
                  <a:lnTo>
                    <a:pt x="1631" y="977"/>
                  </a:lnTo>
                  <a:lnTo>
                    <a:pt x="1631" y="979"/>
                  </a:lnTo>
                  <a:lnTo>
                    <a:pt x="1628" y="979"/>
                  </a:lnTo>
                  <a:lnTo>
                    <a:pt x="1631" y="979"/>
                  </a:lnTo>
                  <a:lnTo>
                    <a:pt x="1628" y="981"/>
                  </a:lnTo>
                  <a:lnTo>
                    <a:pt x="1628" y="981"/>
                  </a:lnTo>
                  <a:lnTo>
                    <a:pt x="1628" y="981"/>
                  </a:lnTo>
                  <a:lnTo>
                    <a:pt x="1628" y="979"/>
                  </a:lnTo>
                  <a:lnTo>
                    <a:pt x="1628" y="979"/>
                  </a:lnTo>
                  <a:lnTo>
                    <a:pt x="1628" y="977"/>
                  </a:lnTo>
                  <a:lnTo>
                    <a:pt x="1628" y="977"/>
                  </a:lnTo>
                  <a:lnTo>
                    <a:pt x="1631" y="974"/>
                  </a:lnTo>
                  <a:lnTo>
                    <a:pt x="1631" y="974"/>
                  </a:lnTo>
                  <a:lnTo>
                    <a:pt x="1631" y="974"/>
                  </a:lnTo>
                  <a:lnTo>
                    <a:pt x="1631" y="972"/>
                  </a:lnTo>
                  <a:lnTo>
                    <a:pt x="1631" y="972"/>
                  </a:lnTo>
                  <a:lnTo>
                    <a:pt x="1631" y="972"/>
                  </a:lnTo>
                  <a:lnTo>
                    <a:pt x="1631" y="970"/>
                  </a:lnTo>
                  <a:lnTo>
                    <a:pt x="1628" y="970"/>
                  </a:lnTo>
                  <a:lnTo>
                    <a:pt x="1628" y="970"/>
                  </a:lnTo>
                  <a:lnTo>
                    <a:pt x="1628" y="970"/>
                  </a:lnTo>
                  <a:lnTo>
                    <a:pt x="1628" y="970"/>
                  </a:lnTo>
                  <a:lnTo>
                    <a:pt x="1628" y="970"/>
                  </a:lnTo>
                  <a:lnTo>
                    <a:pt x="1628" y="970"/>
                  </a:lnTo>
                  <a:lnTo>
                    <a:pt x="1626" y="967"/>
                  </a:lnTo>
                  <a:lnTo>
                    <a:pt x="1626" y="967"/>
                  </a:lnTo>
                  <a:lnTo>
                    <a:pt x="1626" y="965"/>
                  </a:lnTo>
                  <a:lnTo>
                    <a:pt x="1626" y="965"/>
                  </a:lnTo>
                  <a:lnTo>
                    <a:pt x="1626" y="962"/>
                  </a:lnTo>
                  <a:lnTo>
                    <a:pt x="1626" y="962"/>
                  </a:lnTo>
                  <a:lnTo>
                    <a:pt x="1626" y="962"/>
                  </a:lnTo>
                  <a:lnTo>
                    <a:pt x="1626" y="962"/>
                  </a:lnTo>
                  <a:lnTo>
                    <a:pt x="1626" y="960"/>
                  </a:lnTo>
                  <a:lnTo>
                    <a:pt x="1626" y="960"/>
                  </a:lnTo>
                  <a:lnTo>
                    <a:pt x="1626" y="962"/>
                  </a:lnTo>
                  <a:lnTo>
                    <a:pt x="1626" y="962"/>
                  </a:lnTo>
                  <a:lnTo>
                    <a:pt x="1623" y="962"/>
                  </a:lnTo>
                  <a:lnTo>
                    <a:pt x="1623" y="962"/>
                  </a:lnTo>
                  <a:lnTo>
                    <a:pt x="1623" y="962"/>
                  </a:lnTo>
                  <a:lnTo>
                    <a:pt x="1623" y="960"/>
                  </a:lnTo>
                  <a:lnTo>
                    <a:pt x="1623" y="960"/>
                  </a:lnTo>
                  <a:lnTo>
                    <a:pt x="1623" y="960"/>
                  </a:lnTo>
                  <a:lnTo>
                    <a:pt x="1623" y="960"/>
                  </a:lnTo>
                  <a:lnTo>
                    <a:pt x="1623" y="962"/>
                  </a:lnTo>
                  <a:lnTo>
                    <a:pt x="1623" y="962"/>
                  </a:lnTo>
                  <a:lnTo>
                    <a:pt x="1623" y="962"/>
                  </a:lnTo>
                  <a:lnTo>
                    <a:pt x="1623" y="965"/>
                  </a:lnTo>
                  <a:lnTo>
                    <a:pt x="1623" y="965"/>
                  </a:lnTo>
                  <a:lnTo>
                    <a:pt x="1621" y="967"/>
                  </a:lnTo>
                  <a:lnTo>
                    <a:pt x="1619" y="970"/>
                  </a:lnTo>
                  <a:lnTo>
                    <a:pt x="1619" y="974"/>
                  </a:lnTo>
                  <a:lnTo>
                    <a:pt x="1619" y="974"/>
                  </a:lnTo>
                  <a:lnTo>
                    <a:pt x="1619" y="977"/>
                  </a:lnTo>
                  <a:lnTo>
                    <a:pt x="1621" y="977"/>
                  </a:lnTo>
                  <a:lnTo>
                    <a:pt x="1621" y="979"/>
                  </a:lnTo>
                  <a:lnTo>
                    <a:pt x="1621" y="979"/>
                  </a:lnTo>
                  <a:lnTo>
                    <a:pt x="1626" y="984"/>
                  </a:lnTo>
                  <a:lnTo>
                    <a:pt x="1628" y="984"/>
                  </a:lnTo>
                  <a:lnTo>
                    <a:pt x="1631" y="986"/>
                  </a:lnTo>
                  <a:lnTo>
                    <a:pt x="1631" y="986"/>
                  </a:lnTo>
                  <a:lnTo>
                    <a:pt x="1631" y="986"/>
                  </a:lnTo>
                  <a:lnTo>
                    <a:pt x="1626" y="986"/>
                  </a:lnTo>
                  <a:lnTo>
                    <a:pt x="1623" y="984"/>
                  </a:lnTo>
                  <a:lnTo>
                    <a:pt x="1623" y="984"/>
                  </a:lnTo>
                  <a:lnTo>
                    <a:pt x="1623" y="984"/>
                  </a:lnTo>
                  <a:lnTo>
                    <a:pt x="1623" y="984"/>
                  </a:lnTo>
                  <a:lnTo>
                    <a:pt x="1623" y="984"/>
                  </a:lnTo>
                  <a:lnTo>
                    <a:pt x="1621" y="981"/>
                  </a:lnTo>
                  <a:lnTo>
                    <a:pt x="1619" y="977"/>
                  </a:lnTo>
                  <a:lnTo>
                    <a:pt x="1619" y="977"/>
                  </a:lnTo>
                  <a:lnTo>
                    <a:pt x="1616" y="977"/>
                  </a:lnTo>
                  <a:lnTo>
                    <a:pt x="1616" y="977"/>
                  </a:lnTo>
                  <a:lnTo>
                    <a:pt x="1616" y="979"/>
                  </a:lnTo>
                  <a:lnTo>
                    <a:pt x="1616" y="981"/>
                  </a:lnTo>
                  <a:lnTo>
                    <a:pt x="1619" y="984"/>
                  </a:lnTo>
                  <a:lnTo>
                    <a:pt x="1619" y="984"/>
                  </a:lnTo>
                  <a:lnTo>
                    <a:pt x="1616" y="984"/>
                  </a:lnTo>
                  <a:lnTo>
                    <a:pt x="1616" y="984"/>
                  </a:lnTo>
                  <a:lnTo>
                    <a:pt x="1616" y="984"/>
                  </a:lnTo>
                  <a:lnTo>
                    <a:pt x="1616" y="984"/>
                  </a:lnTo>
                  <a:lnTo>
                    <a:pt x="1616" y="984"/>
                  </a:lnTo>
                  <a:lnTo>
                    <a:pt x="1616" y="984"/>
                  </a:lnTo>
                  <a:lnTo>
                    <a:pt x="1616" y="986"/>
                  </a:lnTo>
                  <a:lnTo>
                    <a:pt x="1616" y="986"/>
                  </a:lnTo>
                  <a:lnTo>
                    <a:pt x="1616" y="986"/>
                  </a:lnTo>
                  <a:lnTo>
                    <a:pt x="1616" y="986"/>
                  </a:lnTo>
                  <a:lnTo>
                    <a:pt x="1616" y="986"/>
                  </a:lnTo>
                  <a:lnTo>
                    <a:pt x="1614" y="986"/>
                  </a:lnTo>
                  <a:lnTo>
                    <a:pt x="1614" y="986"/>
                  </a:lnTo>
                  <a:lnTo>
                    <a:pt x="1614" y="986"/>
                  </a:lnTo>
                  <a:lnTo>
                    <a:pt x="1614" y="986"/>
                  </a:lnTo>
                  <a:lnTo>
                    <a:pt x="1614" y="986"/>
                  </a:lnTo>
                  <a:lnTo>
                    <a:pt x="1614" y="988"/>
                  </a:lnTo>
                  <a:lnTo>
                    <a:pt x="1614" y="988"/>
                  </a:lnTo>
                  <a:lnTo>
                    <a:pt x="1616" y="991"/>
                  </a:lnTo>
                  <a:lnTo>
                    <a:pt x="1616" y="991"/>
                  </a:lnTo>
                  <a:lnTo>
                    <a:pt x="1616" y="993"/>
                  </a:lnTo>
                  <a:lnTo>
                    <a:pt x="1616" y="996"/>
                  </a:lnTo>
                  <a:lnTo>
                    <a:pt x="1616" y="996"/>
                  </a:lnTo>
                  <a:lnTo>
                    <a:pt x="1614" y="998"/>
                  </a:lnTo>
                  <a:lnTo>
                    <a:pt x="1614" y="998"/>
                  </a:lnTo>
                  <a:lnTo>
                    <a:pt x="1614" y="998"/>
                  </a:lnTo>
                  <a:lnTo>
                    <a:pt x="1612" y="1000"/>
                  </a:lnTo>
                  <a:lnTo>
                    <a:pt x="1609" y="1003"/>
                  </a:lnTo>
                  <a:lnTo>
                    <a:pt x="1609" y="1005"/>
                  </a:lnTo>
                  <a:lnTo>
                    <a:pt x="1609" y="1007"/>
                  </a:lnTo>
                  <a:lnTo>
                    <a:pt x="1605" y="1010"/>
                  </a:lnTo>
                  <a:lnTo>
                    <a:pt x="1607" y="1007"/>
                  </a:lnTo>
                  <a:lnTo>
                    <a:pt x="1607" y="1007"/>
                  </a:lnTo>
                  <a:lnTo>
                    <a:pt x="1607" y="1005"/>
                  </a:lnTo>
                  <a:lnTo>
                    <a:pt x="1609" y="1003"/>
                  </a:lnTo>
                  <a:lnTo>
                    <a:pt x="1609" y="1003"/>
                  </a:lnTo>
                  <a:lnTo>
                    <a:pt x="1607" y="1003"/>
                  </a:lnTo>
                  <a:lnTo>
                    <a:pt x="1607" y="1003"/>
                  </a:lnTo>
                  <a:lnTo>
                    <a:pt x="1607" y="1000"/>
                  </a:lnTo>
                  <a:lnTo>
                    <a:pt x="1607" y="1000"/>
                  </a:lnTo>
                  <a:lnTo>
                    <a:pt x="1607" y="1000"/>
                  </a:lnTo>
                  <a:lnTo>
                    <a:pt x="1607" y="1000"/>
                  </a:lnTo>
                  <a:lnTo>
                    <a:pt x="1607" y="1000"/>
                  </a:lnTo>
                  <a:lnTo>
                    <a:pt x="1607" y="1000"/>
                  </a:lnTo>
                  <a:lnTo>
                    <a:pt x="1607" y="998"/>
                  </a:lnTo>
                  <a:lnTo>
                    <a:pt x="1607" y="998"/>
                  </a:lnTo>
                  <a:lnTo>
                    <a:pt x="1605" y="998"/>
                  </a:lnTo>
                  <a:lnTo>
                    <a:pt x="1602" y="998"/>
                  </a:lnTo>
                  <a:lnTo>
                    <a:pt x="1602" y="998"/>
                  </a:lnTo>
                  <a:lnTo>
                    <a:pt x="1602" y="998"/>
                  </a:lnTo>
                  <a:lnTo>
                    <a:pt x="1602" y="996"/>
                  </a:lnTo>
                  <a:lnTo>
                    <a:pt x="1602" y="996"/>
                  </a:lnTo>
                  <a:lnTo>
                    <a:pt x="1602" y="996"/>
                  </a:lnTo>
                  <a:lnTo>
                    <a:pt x="1602" y="996"/>
                  </a:lnTo>
                  <a:lnTo>
                    <a:pt x="1602" y="996"/>
                  </a:lnTo>
                  <a:lnTo>
                    <a:pt x="1602" y="996"/>
                  </a:lnTo>
                  <a:lnTo>
                    <a:pt x="1607" y="993"/>
                  </a:lnTo>
                  <a:lnTo>
                    <a:pt x="1609" y="996"/>
                  </a:lnTo>
                  <a:lnTo>
                    <a:pt x="1612" y="996"/>
                  </a:lnTo>
                  <a:lnTo>
                    <a:pt x="1612" y="996"/>
                  </a:lnTo>
                  <a:lnTo>
                    <a:pt x="1612" y="993"/>
                  </a:lnTo>
                  <a:lnTo>
                    <a:pt x="1612" y="993"/>
                  </a:lnTo>
                  <a:lnTo>
                    <a:pt x="1612" y="991"/>
                  </a:lnTo>
                  <a:lnTo>
                    <a:pt x="1609" y="991"/>
                  </a:lnTo>
                  <a:lnTo>
                    <a:pt x="1609" y="991"/>
                  </a:lnTo>
                  <a:lnTo>
                    <a:pt x="1607" y="991"/>
                  </a:lnTo>
                  <a:lnTo>
                    <a:pt x="1607" y="991"/>
                  </a:lnTo>
                  <a:lnTo>
                    <a:pt x="1602" y="986"/>
                  </a:lnTo>
                  <a:lnTo>
                    <a:pt x="1605" y="986"/>
                  </a:lnTo>
                  <a:lnTo>
                    <a:pt x="1605" y="986"/>
                  </a:lnTo>
                  <a:lnTo>
                    <a:pt x="1605" y="984"/>
                  </a:lnTo>
                  <a:lnTo>
                    <a:pt x="1605" y="981"/>
                  </a:lnTo>
                  <a:lnTo>
                    <a:pt x="1605" y="979"/>
                  </a:lnTo>
                  <a:lnTo>
                    <a:pt x="1607" y="974"/>
                  </a:lnTo>
                  <a:lnTo>
                    <a:pt x="1609" y="972"/>
                  </a:lnTo>
                  <a:lnTo>
                    <a:pt x="1609" y="972"/>
                  </a:lnTo>
                  <a:lnTo>
                    <a:pt x="1609" y="972"/>
                  </a:lnTo>
                  <a:lnTo>
                    <a:pt x="1609" y="970"/>
                  </a:lnTo>
                  <a:lnTo>
                    <a:pt x="1609" y="970"/>
                  </a:lnTo>
                  <a:lnTo>
                    <a:pt x="1609" y="970"/>
                  </a:lnTo>
                  <a:lnTo>
                    <a:pt x="1609" y="967"/>
                  </a:lnTo>
                  <a:lnTo>
                    <a:pt x="1609" y="967"/>
                  </a:lnTo>
                  <a:lnTo>
                    <a:pt x="1609" y="967"/>
                  </a:lnTo>
                  <a:lnTo>
                    <a:pt x="1609" y="965"/>
                  </a:lnTo>
                  <a:lnTo>
                    <a:pt x="1609" y="965"/>
                  </a:lnTo>
                  <a:lnTo>
                    <a:pt x="1609" y="962"/>
                  </a:lnTo>
                  <a:lnTo>
                    <a:pt x="1607" y="962"/>
                  </a:lnTo>
                  <a:lnTo>
                    <a:pt x="1607" y="962"/>
                  </a:lnTo>
                  <a:lnTo>
                    <a:pt x="1607" y="962"/>
                  </a:lnTo>
                  <a:lnTo>
                    <a:pt x="1605" y="967"/>
                  </a:lnTo>
                  <a:lnTo>
                    <a:pt x="1602" y="967"/>
                  </a:lnTo>
                  <a:lnTo>
                    <a:pt x="1602" y="970"/>
                  </a:lnTo>
                  <a:lnTo>
                    <a:pt x="1602" y="970"/>
                  </a:lnTo>
                  <a:lnTo>
                    <a:pt x="1600" y="970"/>
                  </a:lnTo>
                  <a:lnTo>
                    <a:pt x="1595" y="984"/>
                  </a:lnTo>
                  <a:lnTo>
                    <a:pt x="1595" y="984"/>
                  </a:lnTo>
                  <a:lnTo>
                    <a:pt x="1593" y="986"/>
                  </a:lnTo>
                  <a:lnTo>
                    <a:pt x="1595" y="981"/>
                  </a:lnTo>
                  <a:lnTo>
                    <a:pt x="1595" y="981"/>
                  </a:lnTo>
                  <a:lnTo>
                    <a:pt x="1595" y="981"/>
                  </a:lnTo>
                  <a:lnTo>
                    <a:pt x="1595" y="979"/>
                  </a:lnTo>
                  <a:lnTo>
                    <a:pt x="1595" y="979"/>
                  </a:lnTo>
                  <a:lnTo>
                    <a:pt x="1595" y="979"/>
                  </a:lnTo>
                  <a:lnTo>
                    <a:pt x="1595" y="977"/>
                  </a:lnTo>
                  <a:lnTo>
                    <a:pt x="1595" y="977"/>
                  </a:lnTo>
                  <a:lnTo>
                    <a:pt x="1595" y="977"/>
                  </a:lnTo>
                  <a:lnTo>
                    <a:pt x="1597" y="977"/>
                  </a:lnTo>
                  <a:lnTo>
                    <a:pt x="1597" y="977"/>
                  </a:lnTo>
                  <a:lnTo>
                    <a:pt x="1597" y="977"/>
                  </a:lnTo>
                  <a:lnTo>
                    <a:pt x="1597" y="974"/>
                  </a:lnTo>
                  <a:lnTo>
                    <a:pt x="1597" y="974"/>
                  </a:lnTo>
                  <a:lnTo>
                    <a:pt x="1597" y="974"/>
                  </a:lnTo>
                  <a:lnTo>
                    <a:pt x="1597" y="970"/>
                  </a:lnTo>
                  <a:lnTo>
                    <a:pt x="1600" y="967"/>
                  </a:lnTo>
                  <a:lnTo>
                    <a:pt x="1600" y="967"/>
                  </a:lnTo>
                  <a:lnTo>
                    <a:pt x="1602" y="962"/>
                  </a:lnTo>
                  <a:lnTo>
                    <a:pt x="1607" y="958"/>
                  </a:lnTo>
                  <a:lnTo>
                    <a:pt x="1607" y="955"/>
                  </a:lnTo>
                  <a:lnTo>
                    <a:pt x="1605" y="955"/>
                  </a:lnTo>
                  <a:lnTo>
                    <a:pt x="1607" y="953"/>
                  </a:lnTo>
                  <a:lnTo>
                    <a:pt x="1607" y="953"/>
                  </a:lnTo>
                  <a:lnTo>
                    <a:pt x="1607" y="953"/>
                  </a:lnTo>
                  <a:lnTo>
                    <a:pt x="1607" y="951"/>
                  </a:lnTo>
                  <a:lnTo>
                    <a:pt x="1607" y="951"/>
                  </a:lnTo>
                  <a:lnTo>
                    <a:pt x="1607" y="951"/>
                  </a:lnTo>
                  <a:lnTo>
                    <a:pt x="1607" y="948"/>
                  </a:lnTo>
                  <a:lnTo>
                    <a:pt x="1609" y="948"/>
                  </a:lnTo>
                  <a:lnTo>
                    <a:pt x="1609" y="948"/>
                  </a:lnTo>
                  <a:lnTo>
                    <a:pt x="1609" y="946"/>
                  </a:lnTo>
                  <a:lnTo>
                    <a:pt x="1612" y="946"/>
                  </a:lnTo>
                  <a:lnTo>
                    <a:pt x="1612" y="946"/>
                  </a:lnTo>
                  <a:lnTo>
                    <a:pt x="1612" y="946"/>
                  </a:lnTo>
                  <a:lnTo>
                    <a:pt x="1609" y="943"/>
                  </a:lnTo>
                  <a:lnTo>
                    <a:pt x="1609" y="943"/>
                  </a:lnTo>
                  <a:lnTo>
                    <a:pt x="1609" y="943"/>
                  </a:lnTo>
                  <a:lnTo>
                    <a:pt x="1609" y="941"/>
                  </a:lnTo>
                  <a:lnTo>
                    <a:pt x="1609" y="941"/>
                  </a:lnTo>
                  <a:lnTo>
                    <a:pt x="1607" y="939"/>
                  </a:lnTo>
                  <a:lnTo>
                    <a:pt x="1605" y="939"/>
                  </a:lnTo>
                  <a:lnTo>
                    <a:pt x="1605" y="939"/>
                  </a:lnTo>
                  <a:lnTo>
                    <a:pt x="1602" y="936"/>
                  </a:lnTo>
                  <a:lnTo>
                    <a:pt x="1602" y="934"/>
                  </a:lnTo>
                  <a:lnTo>
                    <a:pt x="1602" y="934"/>
                  </a:lnTo>
                  <a:lnTo>
                    <a:pt x="1600" y="934"/>
                  </a:lnTo>
                  <a:lnTo>
                    <a:pt x="1600" y="932"/>
                  </a:lnTo>
                  <a:lnTo>
                    <a:pt x="1600" y="932"/>
                  </a:lnTo>
                  <a:lnTo>
                    <a:pt x="1600" y="932"/>
                  </a:lnTo>
                  <a:lnTo>
                    <a:pt x="1600" y="929"/>
                  </a:lnTo>
                  <a:lnTo>
                    <a:pt x="1600" y="929"/>
                  </a:lnTo>
                  <a:lnTo>
                    <a:pt x="1600" y="929"/>
                  </a:lnTo>
                  <a:lnTo>
                    <a:pt x="1600" y="927"/>
                  </a:lnTo>
                  <a:lnTo>
                    <a:pt x="1600" y="927"/>
                  </a:lnTo>
                  <a:lnTo>
                    <a:pt x="1600" y="925"/>
                  </a:lnTo>
                  <a:lnTo>
                    <a:pt x="1600" y="925"/>
                  </a:lnTo>
                  <a:lnTo>
                    <a:pt x="1600" y="922"/>
                  </a:lnTo>
                  <a:lnTo>
                    <a:pt x="1600" y="920"/>
                  </a:lnTo>
                  <a:lnTo>
                    <a:pt x="1600" y="917"/>
                  </a:lnTo>
                  <a:lnTo>
                    <a:pt x="1597" y="915"/>
                  </a:lnTo>
                  <a:lnTo>
                    <a:pt x="1597" y="915"/>
                  </a:lnTo>
                  <a:lnTo>
                    <a:pt x="1586" y="910"/>
                  </a:lnTo>
                  <a:lnTo>
                    <a:pt x="1583" y="910"/>
                  </a:lnTo>
                  <a:lnTo>
                    <a:pt x="1583" y="908"/>
                  </a:lnTo>
                  <a:lnTo>
                    <a:pt x="1583" y="906"/>
                  </a:lnTo>
                  <a:lnTo>
                    <a:pt x="1583" y="906"/>
                  </a:lnTo>
                  <a:lnTo>
                    <a:pt x="1583" y="906"/>
                  </a:lnTo>
                  <a:lnTo>
                    <a:pt x="1583" y="903"/>
                  </a:lnTo>
                  <a:lnTo>
                    <a:pt x="1583" y="901"/>
                  </a:lnTo>
                  <a:lnTo>
                    <a:pt x="1581" y="899"/>
                  </a:lnTo>
                  <a:lnTo>
                    <a:pt x="1581" y="899"/>
                  </a:lnTo>
                  <a:lnTo>
                    <a:pt x="1581" y="896"/>
                  </a:lnTo>
                  <a:lnTo>
                    <a:pt x="1581" y="896"/>
                  </a:lnTo>
                  <a:lnTo>
                    <a:pt x="1581" y="894"/>
                  </a:lnTo>
                  <a:lnTo>
                    <a:pt x="1581" y="894"/>
                  </a:lnTo>
                  <a:lnTo>
                    <a:pt x="1581" y="894"/>
                  </a:lnTo>
                  <a:lnTo>
                    <a:pt x="1581" y="894"/>
                  </a:lnTo>
                  <a:lnTo>
                    <a:pt x="1581" y="894"/>
                  </a:lnTo>
                  <a:lnTo>
                    <a:pt x="1581" y="894"/>
                  </a:lnTo>
                  <a:lnTo>
                    <a:pt x="1581" y="894"/>
                  </a:lnTo>
                  <a:lnTo>
                    <a:pt x="1581" y="891"/>
                  </a:lnTo>
                  <a:lnTo>
                    <a:pt x="1579" y="889"/>
                  </a:lnTo>
                  <a:lnTo>
                    <a:pt x="1579" y="889"/>
                  </a:lnTo>
                  <a:lnTo>
                    <a:pt x="1579" y="887"/>
                  </a:lnTo>
                  <a:lnTo>
                    <a:pt x="1576" y="884"/>
                  </a:lnTo>
                  <a:lnTo>
                    <a:pt x="1574" y="884"/>
                  </a:lnTo>
                  <a:lnTo>
                    <a:pt x="1574" y="882"/>
                  </a:lnTo>
                  <a:lnTo>
                    <a:pt x="1574" y="882"/>
                  </a:lnTo>
                  <a:lnTo>
                    <a:pt x="1574" y="882"/>
                  </a:lnTo>
                  <a:lnTo>
                    <a:pt x="1574" y="882"/>
                  </a:lnTo>
                  <a:lnTo>
                    <a:pt x="1574" y="880"/>
                  </a:lnTo>
                  <a:lnTo>
                    <a:pt x="1571" y="877"/>
                  </a:lnTo>
                  <a:lnTo>
                    <a:pt x="1571" y="877"/>
                  </a:lnTo>
                  <a:lnTo>
                    <a:pt x="1564" y="877"/>
                  </a:lnTo>
                  <a:lnTo>
                    <a:pt x="1560" y="877"/>
                  </a:lnTo>
                  <a:lnTo>
                    <a:pt x="1552" y="880"/>
                  </a:lnTo>
                  <a:lnTo>
                    <a:pt x="1543" y="880"/>
                  </a:lnTo>
                  <a:lnTo>
                    <a:pt x="1543" y="880"/>
                  </a:lnTo>
                  <a:lnTo>
                    <a:pt x="1543" y="882"/>
                  </a:lnTo>
                  <a:lnTo>
                    <a:pt x="1543" y="882"/>
                  </a:lnTo>
                  <a:lnTo>
                    <a:pt x="1541" y="884"/>
                  </a:lnTo>
                  <a:lnTo>
                    <a:pt x="1541" y="887"/>
                  </a:lnTo>
                  <a:lnTo>
                    <a:pt x="1538" y="887"/>
                  </a:lnTo>
                  <a:lnTo>
                    <a:pt x="1538" y="887"/>
                  </a:lnTo>
                  <a:lnTo>
                    <a:pt x="1536" y="887"/>
                  </a:lnTo>
                  <a:lnTo>
                    <a:pt x="1534" y="889"/>
                  </a:lnTo>
                  <a:lnTo>
                    <a:pt x="1529" y="894"/>
                  </a:lnTo>
                  <a:lnTo>
                    <a:pt x="1529" y="894"/>
                  </a:lnTo>
                  <a:lnTo>
                    <a:pt x="1522" y="901"/>
                  </a:lnTo>
                  <a:lnTo>
                    <a:pt x="1522" y="901"/>
                  </a:lnTo>
                  <a:lnTo>
                    <a:pt x="1529" y="903"/>
                  </a:lnTo>
                  <a:lnTo>
                    <a:pt x="1529" y="906"/>
                  </a:lnTo>
                  <a:lnTo>
                    <a:pt x="1529" y="906"/>
                  </a:lnTo>
                  <a:lnTo>
                    <a:pt x="1529" y="908"/>
                  </a:lnTo>
                  <a:lnTo>
                    <a:pt x="1529" y="908"/>
                  </a:lnTo>
                  <a:lnTo>
                    <a:pt x="1529" y="910"/>
                  </a:lnTo>
                  <a:lnTo>
                    <a:pt x="1531" y="910"/>
                  </a:lnTo>
                  <a:lnTo>
                    <a:pt x="1531" y="913"/>
                  </a:lnTo>
                  <a:lnTo>
                    <a:pt x="1531" y="913"/>
                  </a:lnTo>
                  <a:lnTo>
                    <a:pt x="1531" y="913"/>
                  </a:lnTo>
                  <a:lnTo>
                    <a:pt x="1531" y="915"/>
                  </a:lnTo>
                  <a:lnTo>
                    <a:pt x="1531" y="915"/>
                  </a:lnTo>
                  <a:lnTo>
                    <a:pt x="1531" y="915"/>
                  </a:lnTo>
                  <a:lnTo>
                    <a:pt x="1531" y="915"/>
                  </a:lnTo>
                  <a:lnTo>
                    <a:pt x="1529" y="915"/>
                  </a:lnTo>
                  <a:lnTo>
                    <a:pt x="1529" y="913"/>
                  </a:lnTo>
                  <a:lnTo>
                    <a:pt x="1529" y="910"/>
                  </a:lnTo>
                  <a:lnTo>
                    <a:pt x="1529" y="908"/>
                  </a:lnTo>
                  <a:lnTo>
                    <a:pt x="1529" y="908"/>
                  </a:lnTo>
                  <a:lnTo>
                    <a:pt x="1529" y="908"/>
                  </a:lnTo>
                  <a:lnTo>
                    <a:pt x="1526" y="906"/>
                  </a:lnTo>
                  <a:lnTo>
                    <a:pt x="1526" y="906"/>
                  </a:lnTo>
                  <a:lnTo>
                    <a:pt x="1517" y="903"/>
                  </a:lnTo>
                  <a:lnTo>
                    <a:pt x="1517" y="906"/>
                  </a:lnTo>
                  <a:lnTo>
                    <a:pt x="1510" y="910"/>
                  </a:lnTo>
                  <a:lnTo>
                    <a:pt x="1508" y="913"/>
                  </a:lnTo>
                  <a:lnTo>
                    <a:pt x="1508" y="913"/>
                  </a:lnTo>
                  <a:lnTo>
                    <a:pt x="1510" y="913"/>
                  </a:lnTo>
                  <a:lnTo>
                    <a:pt x="1510" y="913"/>
                  </a:lnTo>
                  <a:lnTo>
                    <a:pt x="1510" y="915"/>
                  </a:lnTo>
                  <a:lnTo>
                    <a:pt x="1510" y="915"/>
                  </a:lnTo>
                  <a:lnTo>
                    <a:pt x="1510" y="917"/>
                  </a:lnTo>
                  <a:lnTo>
                    <a:pt x="1515" y="922"/>
                  </a:lnTo>
                  <a:lnTo>
                    <a:pt x="1517" y="922"/>
                  </a:lnTo>
                  <a:lnTo>
                    <a:pt x="1515" y="925"/>
                  </a:lnTo>
                  <a:lnTo>
                    <a:pt x="1515" y="922"/>
                  </a:lnTo>
                  <a:lnTo>
                    <a:pt x="1512" y="920"/>
                  </a:lnTo>
                  <a:lnTo>
                    <a:pt x="1512" y="920"/>
                  </a:lnTo>
                  <a:lnTo>
                    <a:pt x="1510" y="920"/>
                  </a:lnTo>
                  <a:lnTo>
                    <a:pt x="1510" y="920"/>
                  </a:lnTo>
                  <a:lnTo>
                    <a:pt x="1510" y="917"/>
                  </a:lnTo>
                  <a:lnTo>
                    <a:pt x="1508" y="917"/>
                  </a:lnTo>
                  <a:lnTo>
                    <a:pt x="1508" y="913"/>
                  </a:lnTo>
                  <a:lnTo>
                    <a:pt x="1505" y="913"/>
                  </a:lnTo>
                  <a:lnTo>
                    <a:pt x="1505" y="913"/>
                  </a:lnTo>
                  <a:lnTo>
                    <a:pt x="1505" y="913"/>
                  </a:lnTo>
                  <a:lnTo>
                    <a:pt x="1498" y="917"/>
                  </a:lnTo>
                  <a:lnTo>
                    <a:pt x="1498" y="920"/>
                  </a:lnTo>
                  <a:lnTo>
                    <a:pt x="1498" y="920"/>
                  </a:lnTo>
                  <a:lnTo>
                    <a:pt x="1498" y="922"/>
                  </a:lnTo>
                  <a:lnTo>
                    <a:pt x="1498" y="925"/>
                  </a:lnTo>
                  <a:lnTo>
                    <a:pt x="1498" y="925"/>
                  </a:lnTo>
                  <a:lnTo>
                    <a:pt x="1498" y="925"/>
                  </a:lnTo>
                  <a:lnTo>
                    <a:pt x="1500" y="927"/>
                  </a:lnTo>
                  <a:lnTo>
                    <a:pt x="1500" y="927"/>
                  </a:lnTo>
                  <a:lnTo>
                    <a:pt x="1503" y="927"/>
                  </a:lnTo>
                  <a:lnTo>
                    <a:pt x="1512" y="932"/>
                  </a:lnTo>
                  <a:lnTo>
                    <a:pt x="1515" y="932"/>
                  </a:lnTo>
                  <a:lnTo>
                    <a:pt x="1519" y="934"/>
                  </a:lnTo>
                  <a:lnTo>
                    <a:pt x="1522" y="934"/>
                  </a:lnTo>
                  <a:lnTo>
                    <a:pt x="1526" y="934"/>
                  </a:lnTo>
                  <a:lnTo>
                    <a:pt x="1531" y="934"/>
                  </a:lnTo>
                  <a:lnTo>
                    <a:pt x="1531" y="936"/>
                  </a:lnTo>
                  <a:lnTo>
                    <a:pt x="1531" y="936"/>
                  </a:lnTo>
                  <a:lnTo>
                    <a:pt x="1534" y="939"/>
                  </a:lnTo>
                  <a:lnTo>
                    <a:pt x="1534" y="939"/>
                  </a:lnTo>
                  <a:lnTo>
                    <a:pt x="1534" y="939"/>
                  </a:lnTo>
                  <a:lnTo>
                    <a:pt x="1534" y="939"/>
                  </a:lnTo>
                  <a:lnTo>
                    <a:pt x="1529" y="936"/>
                  </a:lnTo>
                  <a:lnTo>
                    <a:pt x="1526" y="936"/>
                  </a:lnTo>
                  <a:lnTo>
                    <a:pt x="1522" y="936"/>
                  </a:lnTo>
                  <a:lnTo>
                    <a:pt x="1517" y="936"/>
                  </a:lnTo>
                  <a:lnTo>
                    <a:pt x="1510" y="934"/>
                  </a:lnTo>
                  <a:lnTo>
                    <a:pt x="1508" y="934"/>
                  </a:lnTo>
                  <a:lnTo>
                    <a:pt x="1503" y="932"/>
                  </a:lnTo>
                  <a:lnTo>
                    <a:pt x="1500" y="932"/>
                  </a:lnTo>
                  <a:lnTo>
                    <a:pt x="1498" y="934"/>
                  </a:lnTo>
                  <a:lnTo>
                    <a:pt x="1498" y="934"/>
                  </a:lnTo>
                  <a:lnTo>
                    <a:pt x="1500" y="936"/>
                  </a:lnTo>
                  <a:lnTo>
                    <a:pt x="1503" y="939"/>
                  </a:lnTo>
                  <a:lnTo>
                    <a:pt x="1500" y="939"/>
                  </a:lnTo>
                  <a:lnTo>
                    <a:pt x="1496" y="936"/>
                  </a:lnTo>
                  <a:lnTo>
                    <a:pt x="1496" y="936"/>
                  </a:lnTo>
                  <a:lnTo>
                    <a:pt x="1496" y="934"/>
                  </a:lnTo>
                  <a:lnTo>
                    <a:pt x="1496" y="934"/>
                  </a:lnTo>
                  <a:lnTo>
                    <a:pt x="1496" y="932"/>
                  </a:lnTo>
                  <a:lnTo>
                    <a:pt x="1493" y="934"/>
                  </a:lnTo>
                  <a:lnTo>
                    <a:pt x="1493" y="934"/>
                  </a:lnTo>
                  <a:lnTo>
                    <a:pt x="1493" y="934"/>
                  </a:lnTo>
                  <a:lnTo>
                    <a:pt x="1493" y="941"/>
                  </a:lnTo>
                  <a:lnTo>
                    <a:pt x="1493" y="941"/>
                  </a:lnTo>
                  <a:lnTo>
                    <a:pt x="1500" y="941"/>
                  </a:lnTo>
                  <a:lnTo>
                    <a:pt x="1500" y="941"/>
                  </a:lnTo>
                  <a:lnTo>
                    <a:pt x="1500" y="939"/>
                  </a:lnTo>
                  <a:lnTo>
                    <a:pt x="1503" y="941"/>
                  </a:lnTo>
                  <a:lnTo>
                    <a:pt x="1503" y="941"/>
                  </a:lnTo>
                  <a:lnTo>
                    <a:pt x="1503" y="943"/>
                  </a:lnTo>
                  <a:lnTo>
                    <a:pt x="1503" y="943"/>
                  </a:lnTo>
                  <a:lnTo>
                    <a:pt x="1503" y="943"/>
                  </a:lnTo>
                  <a:lnTo>
                    <a:pt x="1508" y="943"/>
                  </a:lnTo>
                  <a:lnTo>
                    <a:pt x="1508" y="943"/>
                  </a:lnTo>
                  <a:lnTo>
                    <a:pt x="1512" y="948"/>
                  </a:lnTo>
                  <a:lnTo>
                    <a:pt x="1515" y="948"/>
                  </a:lnTo>
                  <a:lnTo>
                    <a:pt x="1524" y="955"/>
                  </a:lnTo>
                  <a:lnTo>
                    <a:pt x="1526" y="955"/>
                  </a:lnTo>
                  <a:lnTo>
                    <a:pt x="1531" y="958"/>
                  </a:lnTo>
                  <a:lnTo>
                    <a:pt x="1529" y="958"/>
                  </a:lnTo>
                  <a:lnTo>
                    <a:pt x="1526" y="955"/>
                  </a:lnTo>
                  <a:lnTo>
                    <a:pt x="1524" y="955"/>
                  </a:lnTo>
                  <a:lnTo>
                    <a:pt x="1522" y="955"/>
                  </a:lnTo>
                  <a:lnTo>
                    <a:pt x="1519" y="953"/>
                  </a:lnTo>
                  <a:lnTo>
                    <a:pt x="1519" y="953"/>
                  </a:lnTo>
                  <a:lnTo>
                    <a:pt x="1508" y="948"/>
                  </a:lnTo>
                  <a:lnTo>
                    <a:pt x="1503" y="946"/>
                  </a:lnTo>
                  <a:lnTo>
                    <a:pt x="1498" y="946"/>
                  </a:lnTo>
                  <a:lnTo>
                    <a:pt x="1493" y="946"/>
                  </a:lnTo>
                  <a:lnTo>
                    <a:pt x="1493" y="946"/>
                  </a:lnTo>
                  <a:lnTo>
                    <a:pt x="1493" y="946"/>
                  </a:lnTo>
                  <a:lnTo>
                    <a:pt x="1493" y="948"/>
                  </a:lnTo>
                  <a:lnTo>
                    <a:pt x="1493" y="948"/>
                  </a:lnTo>
                  <a:lnTo>
                    <a:pt x="1491" y="951"/>
                  </a:lnTo>
                  <a:lnTo>
                    <a:pt x="1491" y="951"/>
                  </a:lnTo>
                  <a:lnTo>
                    <a:pt x="1491" y="953"/>
                  </a:lnTo>
                  <a:lnTo>
                    <a:pt x="1491" y="953"/>
                  </a:lnTo>
                  <a:lnTo>
                    <a:pt x="1491" y="953"/>
                  </a:lnTo>
                  <a:lnTo>
                    <a:pt x="1491" y="953"/>
                  </a:lnTo>
                  <a:lnTo>
                    <a:pt x="1491" y="955"/>
                  </a:lnTo>
                  <a:lnTo>
                    <a:pt x="1491" y="955"/>
                  </a:lnTo>
                  <a:lnTo>
                    <a:pt x="1491" y="955"/>
                  </a:lnTo>
                  <a:lnTo>
                    <a:pt x="1493" y="958"/>
                  </a:lnTo>
                  <a:lnTo>
                    <a:pt x="1491" y="958"/>
                  </a:lnTo>
                  <a:lnTo>
                    <a:pt x="1491" y="960"/>
                  </a:lnTo>
                  <a:lnTo>
                    <a:pt x="1491" y="960"/>
                  </a:lnTo>
                  <a:lnTo>
                    <a:pt x="1491" y="960"/>
                  </a:lnTo>
                  <a:lnTo>
                    <a:pt x="1491" y="960"/>
                  </a:lnTo>
                  <a:lnTo>
                    <a:pt x="1491" y="962"/>
                  </a:lnTo>
                  <a:lnTo>
                    <a:pt x="1491" y="962"/>
                  </a:lnTo>
                  <a:lnTo>
                    <a:pt x="1491" y="962"/>
                  </a:lnTo>
                  <a:lnTo>
                    <a:pt x="1491" y="962"/>
                  </a:lnTo>
                  <a:lnTo>
                    <a:pt x="1493" y="965"/>
                  </a:lnTo>
                  <a:lnTo>
                    <a:pt x="1493" y="965"/>
                  </a:lnTo>
                  <a:lnTo>
                    <a:pt x="1493" y="965"/>
                  </a:lnTo>
                  <a:lnTo>
                    <a:pt x="1493" y="965"/>
                  </a:lnTo>
                  <a:lnTo>
                    <a:pt x="1493" y="967"/>
                  </a:lnTo>
                  <a:lnTo>
                    <a:pt x="1493" y="970"/>
                  </a:lnTo>
                  <a:lnTo>
                    <a:pt x="1493" y="970"/>
                  </a:lnTo>
                  <a:lnTo>
                    <a:pt x="1493" y="970"/>
                  </a:lnTo>
                  <a:lnTo>
                    <a:pt x="1493" y="972"/>
                  </a:lnTo>
                  <a:lnTo>
                    <a:pt x="1493" y="972"/>
                  </a:lnTo>
                  <a:lnTo>
                    <a:pt x="1496" y="974"/>
                  </a:lnTo>
                  <a:lnTo>
                    <a:pt x="1496" y="974"/>
                  </a:lnTo>
                  <a:lnTo>
                    <a:pt x="1498" y="974"/>
                  </a:lnTo>
                  <a:lnTo>
                    <a:pt x="1498" y="974"/>
                  </a:lnTo>
                  <a:lnTo>
                    <a:pt x="1498" y="977"/>
                  </a:lnTo>
                  <a:lnTo>
                    <a:pt x="1496" y="977"/>
                  </a:lnTo>
                  <a:lnTo>
                    <a:pt x="1496" y="977"/>
                  </a:lnTo>
                  <a:lnTo>
                    <a:pt x="1496" y="977"/>
                  </a:lnTo>
                  <a:lnTo>
                    <a:pt x="1496" y="977"/>
                  </a:lnTo>
                  <a:lnTo>
                    <a:pt x="1496" y="979"/>
                  </a:lnTo>
                  <a:lnTo>
                    <a:pt x="1496" y="979"/>
                  </a:lnTo>
                  <a:lnTo>
                    <a:pt x="1496" y="979"/>
                  </a:lnTo>
                  <a:lnTo>
                    <a:pt x="1498" y="979"/>
                  </a:lnTo>
                  <a:lnTo>
                    <a:pt x="1498" y="979"/>
                  </a:lnTo>
                  <a:lnTo>
                    <a:pt x="1498" y="981"/>
                  </a:lnTo>
                  <a:lnTo>
                    <a:pt x="1498" y="981"/>
                  </a:lnTo>
                  <a:lnTo>
                    <a:pt x="1498" y="984"/>
                  </a:lnTo>
                  <a:lnTo>
                    <a:pt x="1500" y="984"/>
                  </a:lnTo>
                  <a:lnTo>
                    <a:pt x="1503" y="986"/>
                  </a:lnTo>
                  <a:lnTo>
                    <a:pt x="1508" y="988"/>
                  </a:lnTo>
                  <a:lnTo>
                    <a:pt x="1508" y="988"/>
                  </a:lnTo>
                  <a:lnTo>
                    <a:pt x="1508" y="988"/>
                  </a:lnTo>
                  <a:lnTo>
                    <a:pt x="1508" y="988"/>
                  </a:lnTo>
                  <a:lnTo>
                    <a:pt x="1508" y="988"/>
                  </a:lnTo>
                  <a:lnTo>
                    <a:pt x="1508" y="988"/>
                  </a:lnTo>
                  <a:lnTo>
                    <a:pt x="1508" y="991"/>
                  </a:lnTo>
                  <a:lnTo>
                    <a:pt x="1508" y="991"/>
                  </a:lnTo>
                  <a:lnTo>
                    <a:pt x="1510" y="988"/>
                  </a:lnTo>
                  <a:lnTo>
                    <a:pt x="1510" y="988"/>
                  </a:lnTo>
                  <a:lnTo>
                    <a:pt x="1510" y="988"/>
                  </a:lnTo>
                  <a:lnTo>
                    <a:pt x="1510" y="988"/>
                  </a:lnTo>
                  <a:lnTo>
                    <a:pt x="1510" y="986"/>
                  </a:lnTo>
                  <a:lnTo>
                    <a:pt x="1510" y="986"/>
                  </a:lnTo>
                  <a:lnTo>
                    <a:pt x="1512" y="984"/>
                  </a:lnTo>
                  <a:lnTo>
                    <a:pt x="1515" y="981"/>
                  </a:lnTo>
                  <a:lnTo>
                    <a:pt x="1515" y="981"/>
                  </a:lnTo>
                  <a:lnTo>
                    <a:pt x="1515" y="981"/>
                  </a:lnTo>
                  <a:lnTo>
                    <a:pt x="1515" y="981"/>
                  </a:lnTo>
                  <a:lnTo>
                    <a:pt x="1515" y="984"/>
                  </a:lnTo>
                  <a:lnTo>
                    <a:pt x="1515" y="984"/>
                  </a:lnTo>
                  <a:lnTo>
                    <a:pt x="1515" y="984"/>
                  </a:lnTo>
                  <a:lnTo>
                    <a:pt x="1515" y="986"/>
                  </a:lnTo>
                  <a:lnTo>
                    <a:pt x="1515" y="986"/>
                  </a:lnTo>
                  <a:lnTo>
                    <a:pt x="1515" y="986"/>
                  </a:lnTo>
                  <a:lnTo>
                    <a:pt x="1515" y="986"/>
                  </a:lnTo>
                  <a:lnTo>
                    <a:pt x="1515" y="988"/>
                  </a:lnTo>
                  <a:lnTo>
                    <a:pt x="1515" y="988"/>
                  </a:lnTo>
                  <a:lnTo>
                    <a:pt x="1515" y="986"/>
                  </a:lnTo>
                  <a:lnTo>
                    <a:pt x="1522" y="986"/>
                  </a:lnTo>
                  <a:lnTo>
                    <a:pt x="1524" y="986"/>
                  </a:lnTo>
                  <a:lnTo>
                    <a:pt x="1524" y="986"/>
                  </a:lnTo>
                  <a:lnTo>
                    <a:pt x="1522" y="988"/>
                  </a:lnTo>
                  <a:lnTo>
                    <a:pt x="1522" y="988"/>
                  </a:lnTo>
                  <a:lnTo>
                    <a:pt x="1517" y="988"/>
                  </a:lnTo>
                  <a:lnTo>
                    <a:pt x="1515" y="988"/>
                  </a:lnTo>
                  <a:lnTo>
                    <a:pt x="1515" y="991"/>
                  </a:lnTo>
                  <a:lnTo>
                    <a:pt x="1515" y="991"/>
                  </a:lnTo>
                  <a:lnTo>
                    <a:pt x="1515" y="993"/>
                  </a:lnTo>
                  <a:lnTo>
                    <a:pt x="1515" y="993"/>
                  </a:lnTo>
                  <a:lnTo>
                    <a:pt x="1512" y="993"/>
                  </a:lnTo>
                  <a:lnTo>
                    <a:pt x="1515" y="996"/>
                  </a:lnTo>
                  <a:lnTo>
                    <a:pt x="1517" y="996"/>
                  </a:lnTo>
                  <a:lnTo>
                    <a:pt x="1517" y="996"/>
                  </a:lnTo>
                  <a:lnTo>
                    <a:pt x="1517" y="996"/>
                  </a:lnTo>
                  <a:lnTo>
                    <a:pt x="1519" y="996"/>
                  </a:lnTo>
                  <a:lnTo>
                    <a:pt x="1519" y="996"/>
                  </a:lnTo>
                  <a:lnTo>
                    <a:pt x="1519" y="998"/>
                  </a:lnTo>
                  <a:lnTo>
                    <a:pt x="1519" y="998"/>
                  </a:lnTo>
                  <a:lnTo>
                    <a:pt x="1519" y="998"/>
                  </a:lnTo>
                  <a:lnTo>
                    <a:pt x="1519" y="998"/>
                  </a:lnTo>
                  <a:lnTo>
                    <a:pt x="1522" y="1003"/>
                  </a:lnTo>
                  <a:lnTo>
                    <a:pt x="1522" y="1003"/>
                  </a:lnTo>
                  <a:lnTo>
                    <a:pt x="1524" y="1003"/>
                  </a:lnTo>
                  <a:lnTo>
                    <a:pt x="1526" y="1003"/>
                  </a:lnTo>
                  <a:lnTo>
                    <a:pt x="1526" y="1005"/>
                  </a:lnTo>
                  <a:lnTo>
                    <a:pt x="1526" y="1005"/>
                  </a:lnTo>
                  <a:lnTo>
                    <a:pt x="1526" y="1005"/>
                  </a:lnTo>
                  <a:lnTo>
                    <a:pt x="1526" y="1005"/>
                  </a:lnTo>
                  <a:lnTo>
                    <a:pt x="1529" y="1007"/>
                  </a:lnTo>
                  <a:lnTo>
                    <a:pt x="1529" y="1007"/>
                  </a:lnTo>
                  <a:lnTo>
                    <a:pt x="1529" y="1007"/>
                  </a:lnTo>
                  <a:lnTo>
                    <a:pt x="1531" y="1010"/>
                  </a:lnTo>
                  <a:lnTo>
                    <a:pt x="1534" y="1010"/>
                  </a:lnTo>
                  <a:lnTo>
                    <a:pt x="1534" y="1010"/>
                  </a:lnTo>
                  <a:lnTo>
                    <a:pt x="1534" y="1012"/>
                  </a:lnTo>
                  <a:lnTo>
                    <a:pt x="1534" y="1012"/>
                  </a:lnTo>
                  <a:lnTo>
                    <a:pt x="1534" y="1012"/>
                  </a:lnTo>
                  <a:lnTo>
                    <a:pt x="1534" y="1014"/>
                  </a:lnTo>
                  <a:lnTo>
                    <a:pt x="1534" y="1014"/>
                  </a:lnTo>
                  <a:lnTo>
                    <a:pt x="1534" y="1014"/>
                  </a:lnTo>
                  <a:lnTo>
                    <a:pt x="1534" y="1014"/>
                  </a:lnTo>
                  <a:lnTo>
                    <a:pt x="1534" y="1014"/>
                  </a:lnTo>
                  <a:lnTo>
                    <a:pt x="1534" y="1017"/>
                  </a:lnTo>
                  <a:lnTo>
                    <a:pt x="1534" y="1017"/>
                  </a:lnTo>
                  <a:lnTo>
                    <a:pt x="1534" y="1017"/>
                  </a:lnTo>
                  <a:lnTo>
                    <a:pt x="1534" y="1017"/>
                  </a:lnTo>
                  <a:lnTo>
                    <a:pt x="1531" y="1014"/>
                  </a:lnTo>
                  <a:lnTo>
                    <a:pt x="1531" y="1012"/>
                  </a:lnTo>
                  <a:lnTo>
                    <a:pt x="1531" y="1012"/>
                  </a:lnTo>
                  <a:lnTo>
                    <a:pt x="1531" y="1012"/>
                  </a:lnTo>
                  <a:lnTo>
                    <a:pt x="1531" y="1010"/>
                  </a:lnTo>
                  <a:lnTo>
                    <a:pt x="1529" y="1010"/>
                  </a:lnTo>
                  <a:lnTo>
                    <a:pt x="1529" y="1010"/>
                  </a:lnTo>
                  <a:lnTo>
                    <a:pt x="1529" y="1010"/>
                  </a:lnTo>
                  <a:lnTo>
                    <a:pt x="1529" y="1010"/>
                  </a:lnTo>
                  <a:lnTo>
                    <a:pt x="1526" y="1010"/>
                  </a:lnTo>
                  <a:lnTo>
                    <a:pt x="1526" y="1010"/>
                  </a:lnTo>
                  <a:lnTo>
                    <a:pt x="1526" y="1007"/>
                  </a:lnTo>
                  <a:lnTo>
                    <a:pt x="1526" y="1007"/>
                  </a:lnTo>
                  <a:lnTo>
                    <a:pt x="1526" y="1007"/>
                  </a:lnTo>
                  <a:lnTo>
                    <a:pt x="1526" y="1007"/>
                  </a:lnTo>
                  <a:lnTo>
                    <a:pt x="1524" y="1005"/>
                  </a:lnTo>
                  <a:lnTo>
                    <a:pt x="1524" y="1005"/>
                  </a:lnTo>
                  <a:lnTo>
                    <a:pt x="1524" y="1005"/>
                  </a:lnTo>
                  <a:lnTo>
                    <a:pt x="1524" y="1005"/>
                  </a:lnTo>
                  <a:lnTo>
                    <a:pt x="1522" y="1005"/>
                  </a:lnTo>
                  <a:lnTo>
                    <a:pt x="1519" y="1003"/>
                  </a:lnTo>
                  <a:lnTo>
                    <a:pt x="1517" y="1000"/>
                  </a:lnTo>
                  <a:lnTo>
                    <a:pt x="1517" y="1000"/>
                  </a:lnTo>
                  <a:lnTo>
                    <a:pt x="1517" y="1000"/>
                  </a:lnTo>
                  <a:lnTo>
                    <a:pt x="1515" y="998"/>
                  </a:lnTo>
                  <a:lnTo>
                    <a:pt x="1515" y="998"/>
                  </a:lnTo>
                  <a:lnTo>
                    <a:pt x="1515" y="998"/>
                  </a:lnTo>
                  <a:lnTo>
                    <a:pt x="1515" y="998"/>
                  </a:lnTo>
                  <a:lnTo>
                    <a:pt x="1512" y="998"/>
                  </a:lnTo>
                  <a:lnTo>
                    <a:pt x="1512" y="998"/>
                  </a:lnTo>
                  <a:lnTo>
                    <a:pt x="1512" y="998"/>
                  </a:lnTo>
                  <a:lnTo>
                    <a:pt x="1512" y="998"/>
                  </a:lnTo>
                  <a:lnTo>
                    <a:pt x="1512" y="998"/>
                  </a:lnTo>
                  <a:lnTo>
                    <a:pt x="1512" y="998"/>
                  </a:lnTo>
                  <a:lnTo>
                    <a:pt x="1510" y="998"/>
                  </a:lnTo>
                  <a:lnTo>
                    <a:pt x="1510" y="998"/>
                  </a:lnTo>
                  <a:lnTo>
                    <a:pt x="1510" y="998"/>
                  </a:lnTo>
                  <a:lnTo>
                    <a:pt x="1510" y="998"/>
                  </a:lnTo>
                  <a:lnTo>
                    <a:pt x="1510" y="998"/>
                  </a:lnTo>
                  <a:lnTo>
                    <a:pt x="1510" y="998"/>
                  </a:lnTo>
                  <a:lnTo>
                    <a:pt x="1510" y="998"/>
                  </a:lnTo>
                  <a:lnTo>
                    <a:pt x="1510" y="996"/>
                  </a:lnTo>
                  <a:lnTo>
                    <a:pt x="1508" y="998"/>
                  </a:lnTo>
                  <a:lnTo>
                    <a:pt x="1508" y="998"/>
                  </a:lnTo>
                  <a:lnTo>
                    <a:pt x="1508" y="998"/>
                  </a:lnTo>
                  <a:lnTo>
                    <a:pt x="1508" y="998"/>
                  </a:lnTo>
                  <a:lnTo>
                    <a:pt x="1508" y="998"/>
                  </a:lnTo>
                  <a:lnTo>
                    <a:pt x="1508" y="998"/>
                  </a:lnTo>
                  <a:lnTo>
                    <a:pt x="1508" y="998"/>
                  </a:lnTo>
                  <a:lnTo>
                    <a:pt x="1508" y="998"/>
                  </a:lnTo>
                  <a:lnTo>
                    <a:pt x="1508" y="998"/>
                  </a:lnTo>
                  <a:lnTo>
                    <a:pt x="1508" y="998"/>
                  </a:lnTo>
                  <a:lnTo>
                    <a:pt x="1505" y="998"/>
                  </a:lnTo>
                  <a:lnTo>
                    <a:pt x="1505" y="998"/>
                  </a:lnTo>
                  <a:lnTo>
                    <a:pt x="1505" y="998"/>
                  </a:lnTo>
                  <a:lnTo>
                    <a:pt x="1505" y="998"/>
                  </a:lnTo>
                  <a:lnTo>
                    <a:pt x="1503" y="998"/>
                  </a:lnTo>
                  <a:lnTo>
                    <a:pt x="1503" y="998"/>
                  </a:lnTo>
                  <a:lnTo>
                    <a:pt x="1500" y="998"/>
                  </a:lnTo>
                  <a:lnTo>
                    <a:pt x="1503" y="998"/>
                  </a:lnTo>
                  <a:lnTo>
                    <a:pt x="1503" y="998"/>
                  </a:lnTo>
                  <a:lnTo>
                    <a:pt x="1503" y="1000"/>
                  </a:lnTo>
                  <a:lnTo>
                    <a:pt x="1503" y="1000"/>
                  </a:lnTo>
                  <a:lnTo>
                    <a:pt x="1503" y="1000"/>
                  </a:lnTo>
                  <a:lnTo>
                    <a:pt x="1500" y="1000"/>
                  </a:lnTo>
                  <a:lnTo>
                    <a:pt x="1500" y="1000"/>
                  </a:lnTo>
                  <a:lnTo>
                    <a:pt x="1500" y="1000"/>
                  </a:lnTo>
                  <a:lnTo>
                    <a:pt x="1503" y="1000"/>
                  </a:lnTo>
                  <a:lnTo>
                    <a:pt x="1503" y="1003"/>
                  </a:lnTo>
                  <a:lnTo>
                    <a:pt x="1503" y="1005"/>
                  </a:lnTo>
                  <a:lnTo>
                    <a:pt x="1503" y="1005"/>
                  </a:lnTo>
                  <a:lnTo>
                    <a:pt x="1503" y="1005"/>
                  </a:lnTo>
                  <a:lnTo>
                    <a:pt x="1505" y="1005"/>
                  </a:lnTo>
                  <a:lnTo>
                    <a:pt x="1505" y="1007"/>
                  </a:lnTo>
                  <a:lnTo>
                    <a:pt x="1505" y="1007"/>
                  </a:lnTo>
                  <a:lnTo>
                    <a:pt x="1503" y="1007"/>
                  </a:lnTo>
                  <a:lnTo>
                    <a:pt x="1503" y="1007"/>
                  </a:lnTo>
                  <a:lnTo>
                    <a:pt x="1500" y="1007"/>
                  </a:lnTo>
                  <a:lnTo>
                    <a:pt x="1503" y="1007"/>
                  </a:lnTo>
                  <a:lnTo>
                    <a:pt x="1503" y="1010"/>
                  </a:lnTo>
                  <a:lnTo>
                    <a:pt x="1503" y="1010"/>
                  </a:lnTo>
                  <a:lnTo>
                    <a:pt x="1503" y="1010"/>
                  </a:lnTo>
                  <a:lnTo>
                    <a:pt x="1503" y="1012"/>
                  </a:lnTo>
                  <a:lnTo>
                    <a:pt x="1503" y="1012"/>
                  </a:lnTo>
                  <a:lnTo>
                    <a:pt x="1500" y="1012"/>
                  </a:lnTo>
                  <a:lnTo>
                    <a:pt x="1500" y="1012"/>
                  </a:lnTo>
                  <a:lnTo>
                    <a:pt x="1498" y="1014"/>
                  </a:lnTo>
                  <a:lnTo>
                    <a:pt x="1498" y="1014"/>
                  </a:lnTo>
                  <a:lnTo>
                    <a:pt x="1498" y="1014"/>
                  </a:lnTo>
                  <a:lnTo>
                    <a:pt x="1498" y="1017"/>
                  </a:lnTo>
                  <a:lnTo>
                    <a:pt x="1498" y="1017"/>
                  </a:lnTo>
                  <a:lnTo>
                    <a:pt x="1496" y="1014"/>
                  </a:lnTo>
                  <a:lnTo>
                    <a:pt x="1493" y="1014"/>
                  </a:lnTo>
                  <a:lnTo>
                    <a:pt x="1493" y="1014"/>
                  </a:lnTo>
                  <a:lnTo>
                    <a:pt x="1493" y="1017"/>
                  </a:lnTo>
                  <a:lnTo>
                    <a:pt x="1493" y="1017"/>
                  </a:lnTo>
                  <a:lnTo>
                    <a:pt x="1493" y="1017"/>
                  </a:lnTo>
                  <a:lnTo>
                    <a:pt x="1493" y="1017"/>
                  </a:lnTo>
                  <a:lnTo>
                    <a:pt x="1493" y="1017"/>
                  </a:lnTo>
                  <a:lnTo>
                    <a:pt x="1493" y="1017"/>
                  </a:lnTo>
                  <a:lnTo>
                    <a:pt x="1493" y="1017"/>
                  </a:lnTo>
                  <a:lnTo>
                    <a:pt x="1493" y="1017"/>
                  </a:lnTo>
                  <a:lnTo>
                    <a:pt x="1493" y="1019"/>
                  </a:lnTo>
                  <a:lnTo>
                    <a:pt x="1493" y="1019"/>
                  </a:lnTo>
                  <a:lnTo>
                    <a:pt x="1493" y="1019"/>
                  </a:lnTo>
                  <a:lnTo>
                    <a:pt x="1493" y="1019"/>
                  </a:lnTo>
                  <a:lnTo>
                    <a:pt x="1493" y="1019"/>
                  </a:lnTo>
                  <a:lnTo>
                    <a:pt x="1491" y="1017"/>
                  </a:lnTo>
                  <a:lnTo>
                    <a:pt x="1491" y="1017"/>
                  </a:lnTo>
                  <a:lnTo>
                    <a:pt x="1491" y="1017"/>
                  </a:lnTo>
                  <a:lnTo>
                    <a:pt x="1491" y="1017"/>
                  </a:lnTo>
                  <a:lnTo>
                    <a:pt x="1491" y="1017"/>
                  </a:lnTo>
                  <a:lnTo>
                    <a:pt x="1491" y="1017"/>
                  </a:lnTo>
                  <a:lnTo>
                    <a:pt x="1491" y="1019"/>
                  </a:lnTo>
                  <a:lnTo>
                    <a:pt x="1493" y="1019"/>
                  </a:lnTo>
                  <a:lnTo>
                    <a:pt x="1498" y="1022"/>
                  </a:lnTo>
                  <a:lnTo>
                    <a:pt x="1500" y="1024"/>
                  </a:lnTo>
                  <a:lnTo>
                    <a:pt x="1503" y="1024"/>
                  </a:lnTo>
                  <a:lnTo>
                    <a:pt x="1503" y="1024"/>
                  </a:lnTo>
                  <a:lnTo>
                    <a:pt x="1503" y="1024"/>
                  </a:lnTo>
                  <a:lnTo>
                    <a:pt x="1503" y="1024"/>
                  </a:lnTo>
                  <a:lnTo>
                    <a:pt x="1505" y="1026"/>
                  </a:lnTo>
                  <a:lnTo>
                    <a:pt x="1505" y="1029"/>
                  </a:lnTo>
                  <a:lnTo>
                    <a:pt x="1508" y="1029"/>
                  </a:lnTo>
                  <a:lnTo>
                    <a:pt x="1508" y="1029"/>
                  </a:lnTo>
                  <a:lnTo>
                    <a:pt x="1508" y="1031"/>
                  </a:lnTo>
                  <a:lnTo>
                    <a:pt x="1508" y="1031"/>
                  </a:lnTo>
                  <a:lnTo>
                    <a:pt x="1503" y="1031"/>
                  </a:lnTo>
                  <a:lnTo>
                    <a:pt x="1505" y="1031"/>
                  </a:lnTo>
                  <a:lnTo>
                    <a:pt x="1505" y="1033"/>
                  </a:lnTo>
                  <a:lnTo>
                    <a:pt x="1505" y="1033"/>
                  </a:lnTo>
                  <a:lnTo>
                    <a:pt x="1505" y="1033"/>
                  </a:lnTo>
                  <a:lnTo>
                    <a:pt x="1508" y="1033"/>
                  </a:lnTo>
                  <a:lnTo>
                    <a:pt x="1510" y="1038"/>
                  </a:lnTo>
                  <a:lnTo>
                    <a:pt x="1512" y="1040"/>
                  </a:lnTo>
                  <a:lnTo>
                    <a:pt x="1522" y="1040"/>
                  </a:lnTo>
                  <a:lnTo>
                    <a:pt x="1522" y="1040"/>
                  </a:lnTo>
                  <a:lnTo>
                    <a:pt x="1522" y="1040"/>
                  </a:lnTo>
                  <a:lnTo>
                    <a:pt x="1522" y="1040"/>
                  </a:lnTo>
                  <a:lnTo>
                    <a:pt x="1522" y="1038"/>
                  </a:lnTo>
                  <a:lnTo>
                    <a:pt x="1522" y="1038"/>
                  </a:lnTo>
                  <a:lnTo>
                    <a:pt x="1522" y="1038"/>
                  </a:lnTo>
                  <a:lnTo>
                    <a:pt x="1522" y="1038"/>
                  </a:lnTo>
                  <a:lnTo>
                    <a:pt x="1524" y="1038"/>
                  </a:lnTo>
                  <a:lnTo>
                    <a:pt x="1526" y="1038"/>
                  </a:lnTo>
                  <a:lnTo>
                    <a:pt x="1526" y="1038"/>
                  </a:lnTo>
                  <a:lnTo>
                    <a:pt x="1526" y="1038"/>
                  </a:lnTo>
                  <a:lnTo>
                    <a:pt x="1526" y="1038"/>
                  </a:lnTo>
                  <a:lnTo>
                    <a:pt x="1526" y="1040"/>
                  </a:lnTo>
                  <a:lnTo>
                    <a:pt x="1526" y="1043"/>
                  </a:lnTo>
                  <a:lnTo>
                    <a:pt x="1526" y="1043"/>
                  </a:lnTo>
                  <a:lnTo>
                    <a:pt x="1529" y="1045"/>
                  </a:lnTo>
                  <a:lnTo>
                    <a:pt x="1529" y="1045"/>
                  </a:lnTo>
                  <a:lnTo>
                    <a:pt x="1529" y="1045"/>
                  </a:lnTo>
                  <a:lnTo>
                    <a:pt x="1529" y="1048"/>
                  </a:lnTo>
                  <a:lnTo>
                    <a:pt x="1531" y="1050"/>
                  </a:lnTo>
                  <a:lnTo>
                    <a:pt x="1531" y="1052"/>
                  </a:lnTo>
                  <a:lnTo>
                    <a:pt x="1531" y="1052"/>
                  </a:lnTo>
                  <a:lnTo>
                    <a:pt x="1529" y="1055"/>
                  </a:lnTo>
                  <a:lnTo>
                    <a:pt x="1526" y="1055"/>
                  </a:lnTo>
                  <a:lnTo>
                    <a:pt x="1526" y="1055"/>
                  </a:lnTo>
                  <a:lnTo>
                    <a:pt x="1526" y="1057"/>
                  </a:lnTo>
                  <a:lnTo>
                    <a:pt x="1526" y="1059"/>
                  </a:lnTo>
                  <a:lnTo>
                    <a:pt x="1526" y="1059"/>
                  </a:lnTo>
                  <a:lnTo>
                    <a:pt x="1526" y="1064"/>
                  </a:lnTo>
                  <a:lnTo>
                    <a:pt x="1526" y="1066"/>
                  </a:lnTo>
                  <a:lnTo>
                    <a:pt x="1526" y="1066"/>
                  </a:lnTo>
                  <a:lnTo>
                    <a:pt x="1531" y="1069"/>
                  </a:lnTo>
                  <a:lnTo>
                    <a:pt x="1529" y="1071"/>
                  </a:lnTo>
                  <a:lnTo>
                    <a:pt x="1529" y="1071"/>
                  </a:lnTo>
                  <a:lnTo>
                    <a:pt x="1529" y="1071"/>
                  </a:lnTo>
                  <a:lnTo>
                    <a:pt x="1526" y="1074"/>
                  </a:lnTo>
                  <a:lnTo>
                    <a:pt x="1526" y="1074"/>
                  </a:lnTo>
                  <a:lnTo>
                    <a:pt x="1529" y="1076"/>
                  </a:lnTo>
                  <a:lnTo>
                    <a:pt x="1529" y="1076"/>
                  </a:lnTo>
                  <a:lnTo>
                    <a:pt x="1526" y="1078"/>
                  </a:lnTo>
                  <a:lnTo>
                    <a:pt x="1529" y="1081"/>
                  </a:lnTo>
                  <a:lnTo>
                    <a:pt x="1529" y="1081"/>
                  </a:lnTo>
                  <a:lnTo>
                    <a:pt x="1529" y="1081"/>
                  </a:lnTo>
                  <a:lnTo>
                    <a:pt x="1529" y="1083"/>
                  </a:lnTo>
                  <a:lnTo>
                    <a:pt x="1529" y="1083"/>
                  </a:lnTo>
                  <a:lnTo>
                    <a:pt x="1529" y="1085"/>
                  </a:lnTo>
                  <a:lnTo>
                    <a:pt x="1529" y="1085"/>
                  </a:lnTo>
                  <a:lnTo>
                    <a:pt x="1531" y="1085"/>
                  </a:lnTo>
                  <a:lnTo>
                    <a:pt x="1531" y="1088"/>
                  </a:lnTo>
                  <a:lnTo>
                    <a:pt x="1531" y="1088"/>
                  </a:lnTo>
                  <a:lnTo>
                    <a:pt x="1531" y="1088"/>
                  </a:lnTo>
                  <a:lnTo>
                    <a:pt x="1529" y="1088"/>
                  </a:lnTo>
                  <a:lnTo>
                    <a:pt x="1529" y="1090"/>
                  </a:lnTo>
                  <a:lnTo>
                    <a:pt x="1529" y="1090"/>
                  </a:lnTo>
                  <a:lnTo>
                    <a:pt x="1529" y="1090"/>
                  </a:lnTo>
                  <a:lnTo>
                    <a:pt x="1526" y="1090"/>
                  </a:lnTo>
                  <a:lnTo>
                    <a:pt x="1526" y="1093"/>
                  </a:lnTo>
                  <a:lnTo>
                    <a:pt x="1526" y="1093"/>
                  </a:lnTo>
                  <a:lnTo>
                    <a:pt x="1526" y="1090"/>
                  </a:lnTo>
                  <a:lnTo>
                    <a:pt x="1526" y="1090"/>
                  </a:lnTo>
                  <a:lnTo>
                    <a:pt x="1526" y="1090"/>
                  </a:lnTo>
                  <a:lnTo>
                    <a:pt x="1526" y="1088"/>
                  </a:lnTo>
                  <a:lnTo>
                    <a:pt x="1526" y="1088"/>
                  </a:lnTo>
                  <a:lnTo>
                    <a:pt x="1526" y="1085"/>
                  </a:lnTo>
                  <a:lnTo>
                    <a:pt x="1526" y="1085"/>
                  </a:lnTo>
                  <a:lnTo>
                    <a:pt x="1524" y="1083"/>
                  </a:lnTo>
                  <a:lnTo>
                    <a:pt x="1524" y="1083"/>
                  </a:lnTo>
                  <a:lnTo>
                    <a:pt x="1524" y="1083"/>
                  </a:lnTo>
                  <a:lnTo>
                    <a:pt x="1524" y="1083"/>
                  </a:lnTo>
                  <a:lnTo>
                    <a:pt x="1524" y="1083"/>
                  </a:lnTo>
                  <a:lnTo>
                    <a:pt x="1524" y="1083"/>
                  </a:lnTo>
                  <a:lnTo>
                    <a:pt x="1524" y="1083"/>
                  </a:lnTo>
                  <a:lnTo>
                    <a:pt x="1524" y="1083"/>
                  </a:lnTo>
                  <a:lnTo>
                    <a:pt x="1524" y="1081"/>
                  </a:lnTo>
                  <a:lnTo>
                    <a:pt x="1524" y="1081"/>
                  </a:lnTo>
                  <a:lnTo>
                    <a:pt x="1519" y="1081"/>
                  </a:lnTo>
                  <a:lnTo>
                    <a:pt x="1519" y="1081"/>
                  </a:lnTo>
                  <a:lnTo>
                    <a:pt x="1524" y="1078"/>
                  </a:lnTo>
                  <a:lnTo>
                    <a:pt x="1524" y="1078"/>
                  </a:lnTo>
                  <a:lnTo>
                    <a:pt x="1526" y="1081"/>
                  </a:lnTo>
                  <a:lnTo>
                    <a:pt x="1526" y="1081"/>
                  </a:lnTo>
                  <a:lnTo>
                    <a:pt x="1526" y="1081"/>
                  </a:lnTo>
                  <a:lnTo>
                    <a:pt x="1526" y="1078"/>
                  </a:lnTo>
                  <a:lnTo>
                    <a:pt x="1526" y="1078"/>
                  </a:lnTo>
                  <a:lnTo>
                    <a:pt x="1526" y="1076"/>
                  </a:lnTo>
                  <a:lnTo>
                    <a:pt x="1526" y="1076"/>
                  </a:lnTo>
                  <a:lnTo>
                    <a:pt x="1526" y="1074"/>
                  </a:lnTo>
                  <a:lnTo>
                    <a:pt x="1526" y="1074"/>
                  </a:lnTo>
                  <a:lnTo>
                    <a:pt x="1526" y="1074"/>
                  </a:lnTo>
                  <a:lnTo>
                    <a:pt x="1524" y="1074"/>
                  </a:lnTo>
                  <a:lnTo>
                    <a:pt x="1524" y="1074"/>
                  </a:lnTo>
                  <a:lnTo>
                    <a:pt x="1524" y="1074"/>
                  </a:lnTo>
                  <a:lnTo>
                    <a:pt x="1524" y="1074"/>
                  </a:lnTo>
                  <a:lnTo>
                    <a:pt x="1524" y="1071"/>
                  </a:lnTo>
                  <a:lnTo>
                    <a:pt x="1522" y="1074"/>
                  </a:lnTo>
                  <a:lnTo>
                    <a:pt x="1522" y="1074"/>
                  </a:lnTo>
                  <a:lnTo>
                    <a:pt x="1522" y="1074"/>
                  </a:lnTo>
                  <a:lnTo>
                    <a:pt x="1522" y="1074"/>
                  </a:lnTo>
                  <a:lnTo>
                    <a:pt x="1524" y="1074"/>
                  </a:lnTo>
                  <a:lnTo>
                    <a:pt x="1522" y="1076"/>
                  </a:lnTo>
                  <a:lnTo>
                    <a:pt x="1519" y="1074"/>
                  </a:lnTo>
                  <a:lnTo>
                    <a:pt x="1519" y="1074"/>
                  </a:lnTo>
                  <a:lnTo>
                    <a:pt x="1519" y="1076"/>
                  </a:lnTo>
                  <a:lnTo>
                    <a:pt x="1522" y="1076"/>
                  </a:lnTo>
                  <a:lnTo>
                    <a:pt x="1519" y="1076"/>
                  </a:lnTo>
                  <a:lnTo>
                    <a:pt x="1519" y="1076"/>
                  </a:lnTo>
                  <a:lnTo>
                    <a:pt x="1519" y="1076"/>
                  </a:lnTo>
                  <a:lnTo>
                    <a:pt x="1519" y="1076"/>
                  </a:lnTo>
                  <a:lnTo>
                    <a:pt x="1519" y="1076"/>
                  </a:lnTo>
                  <a:lnTo>
                    <a:pt x="1519" y="1076"/>
                  </a:lnTo>
                  <a:lnTo>
                    <a:pt x="1519" y="1076"/>
                  </a:lnTo>
                  <a:lnTo>
                    <a:pt x="1519" y="1076"/>
                  </a:lnTo>
                  <a:lnTo>
                    <a:pt x="1512" y="1076"/>
                  </a:lnTo>
                  <a:lnTo>
                    <a:pt x="1512" y="1076"/>
                  </a:lnTo>
                  <a:lnTo>
                    <a:pt x="1510" y="1076"/>
                  </a:lnTo>
                  <a:lnTo>
                    <a:pt x="1510" y="1076"/>
                  </a:lnTo>
                  <a:lnTo>
                    <a:pt x="1505" y="1078"/>
                  </a:lnTo>
                  <a:lnTo>
                    <a:pt x="1505" y="1078"/>
                  </a:lnTo>
                  <a:lnTo>
                    <a:pt x="1503" y="1081"/>
                  </a:lnTo>
                  <a:lnTo>
                    <a:pt x="1498" y="1085"/>
                  </a:lnTo>
                  <a:lnTo>
                    <a:pt x="1498" y="1088"/>
                  </a:lnTo>
                  <a:lnTo>
                    <a:pt x="1496" y="1088"/>
                  </a:lnTo>
                  <a:lnTo>
                    <a:pt x="1496" y="1088"/>
                  </a:lnTo>
                  <a:lnTo>
                    <a:pt x="1496" y="1090"/>
                  </a:lnTo>
                  <a:lnTo>
                    <a:pt x="1496" y="1090"/>
                  </a:lnTo>
                  <a:lnTo>
                    <a:pt x="1486" y="1093"/>
                  </a:lnTo>
                  <a:lnTo>
                    <a:pt x="1484" y="1093"/>
                  </a:lnTo>
                  <a:lnTo>
                    <a:pt x="1484" y="1093"/>
                  </a:lnTo>
                  <a:lnTo>
                    <a:pt x="1484" y="1093"/>
                  </a:lnTo>
                  <a:lnTo>
                    <a:pt x="1491" y="1088"/>
                  </a:lnTo>
                  <a:lnTo>
                    <a:pt x="1491" y="1088"/>
                  </a:lnTo>
                  <a:lnTo>
                    <a:pt x="1491" y="1088"/>
                  </a:lnTo>
                  <a:lnTo>
                    <a:pt x="1491" y="1088"/>
                  </a:lnTo>
                  <a:lnTo>
                    <a:pt x="1491" y="1088"/>
                  </a:lnTo>
                  <a:lnTo>
                    <a:pt x="1493" y="1088"/>
                  </a:lnTo>
                  <a:lnTo>
                    <a:pt x="1493" y="1088"/>
                  </a:lnTo>
                  <a:lnTo>
                    <a:pt x="1493" y="1085"/>
                  </a:lnTo>
                  <a:lnTo>
                    <a:pt x="1496" y="1085"/>
                  </a:lnTo>
                  <a:lnTo>
                    <a:pt x="1496" y="1083"/>
                  </a:lnTo>
                  <a:lnTo>
                    <a:pt x="1496" y="1083"/>
                  </a:lnTo>
                  <a:lnTo>
                    <a:pt x="1496" y="1083"/>
                  </a:lnTo>
                  <a:lnTo>
                    <a:pt x="1496" y="1083"/>
                  </a:lnTo>
                  <a:lnTo>
                    <a:pt x="1500" y="1078"/>
                  </a:lnTo>
                  <a:lnTo>
                    <a:pt x="1500" y="1078"/>
                  </a:lnTo>
                  <a:lnTo>
                    <a:pt x="1500" y="1076"/>
                  </a:lnTo>
                  <a:lnTo>
                    <a:pt x="1500" y="1076"/>
                  </a:lnTo>
                  <a:lnTo>
                    <a:pt x="1503" y="1076"/>
                  </a:lnTo>
                  <a:lnTo>
                    <a:pt x="1503" y="1076"/>
                  </a:lnTo>
                  <a:lnTo>
                    <a:pt x="1503" y="1076"/>
                  </a:lnTo>
                  <a:lnTo>
                    <a:pt x="1505" y="1076"/>
                  </a:lnTo>
                  <a:lnTo>
                    <a:pt x="1505" y="1074"/>
                  </a:lnTo>
                  <a:lnTo>
                    <a:pt x="1508" y="1074"/>
                  </a:lnTo>
                  <a:lnTo>
                    <a:pt x="1510" y="1076"/>
                  </a:lnTo>
                  <a:lnTo>
                    <a:pt x="1512" y="1076"/>
                  </a:lnTo>
                  <a:lnTo>
                    <a:pt x="1512" y="1074"/>
                  </a:lnTo>
                  <a:lnTo>
                    <a:pt x="1512" y="1074"/>
                  </a:lnTo>
                  <a:lnTo>
                    <a:pt x="1512" y="1074"/>
                  </a:lnTo>
                  <a:lnTo>
                    <a:pt x="1512" y="1074"/>
                  </a:lnTo>
                  <a:lnTo>
                    <a:pt x="1512" y="1074"/>
                  </a:lnTo>
                  <a:lnTo>
                    <a:pt x="1512" y="1074"/>
                  </a:lnTo>
                  <a:lnTo>
                    <a:pt x="1515" y="1074"/>
                  </a:lnTo>
                  <a:lnTo>
                    <a:pt x="1515" y="1074"/>
                  </a:lnTo>
                  <a:lnTo>
                    <a:pt x="1512" y="1071"/>
                  </a:lnTo>
                  <a:lnTo>
                    <a:pt x="1512" y="1071"/>
                  </a:lnTo>
                  <a:lnTo>
                    <a:pt x="1512" y="1071"/>
                  </a:lnTo>
                  <a:lnTo>
                    <a:pt x="1512" y="1071"/>
                  </a:lnTo>
                  <a:lnTo>
                    <a:pt x="1512" y="1071"/>
                  </a:lnTo>
                  <a:lnTo>
                    <a:pt x="1512" y="1069"/>
                  </a:lnTo>
                  <a:lnTo>
                    <a:pt x="1515" y="1069"/>
                  </a:lnTo>
                  <a:lnTo>
                    <a:pt x="1517" y="1069"/>
                  </a:lnTo>
                  <a:lnTo>
                    <a:pt x="1517" y="1069"/>
                  </a:lnTo>
                  <a:lnTo>
                    <a:pt x="1517" y="1069"/>
                  </a:lnTo>
                  <a:lnTo>
                    <a:pt x="1517" y="1066"/>
                  </a:lnTo>
                  <a:lnTo>
                    <a:pt x="1517" y="1069"/>
                  </a:lnTo>
                  <a:lnTo>
                    <a:pt x="1517" y="1069"/>
                  </a:lnTo>
                  <a:lnTo>
                    <a:pt x="1515" y="1066"/>
                  </a:lnTo>
                  <a:lnTo>
                    <a:pt x="1517" y="1066"/>
                  </a:lnTo>
                  <a:lnTo>
                    <a:pt x="1524" y="1066"/>
                  </a:lnTo>
                  <a:lnTo>
                    <a:pt x="1526" y="1066"/>
                  </a:lnTo>
                  <a:lnTo>
                    <a:pt x="1524" y="1064"/>
                  </a:lnTo>
                  <a:lnTo>
                    <a:pt x="1524" y="1062"/>
                  </a:lnTo>
                  <a:lnTo>
                    <a:pt x="1524" y="1062"/>
                  </a:lnTo>
                  <a:lnTo>
                    <a:pt x="1524" y="1062"/>
                  </a:lnTo>
                  <a:lnTo>
                    <a:pt x="1524" y="1062"/>
                  </a:lnTo>
                  <a:lnTo>
                    <a:pt x="1522" y="1062"/>
                  </a:lnTo>
                  <a:lnTo>
                    <a:pt x="1522" y="1062"/>
                  </a:lnTo>
                  <a:lnTo>
                    <a:pt x="1522" y="1062"/>
                  </a:lnTo>
                  <a:lnTo>
                    <a:pt x="1522" y="1059"/>
                  </a:lnTo>
                  <a:lnTo>
                    <a:pt x="1522" y="1059"/>
                  </a:lnTo>
                  <a:lnTo>
                    <a:pt x="1522" y="1059"/>
                  </a:lnTo>
                  <a:lnTo>
                    <a:pt x="1522" y="1057"/>
                  </a:lnTo>
                  <a:lnTo>
                    <a:pt x="1522" y="1057"/>
                  </a:lnTo>
                  <a:lnTo>
                    <a:pt x="1522" y="1057"/>
                  </a:lnTo>
                  <a:lnTo>
                    <a:pt x="1522" y="1055"/>
                  </a:lnTo>
                  <a:lnTo>
                    <a:pt x="1519" y="1055"/>
                  </a:lnTo>
                  <a:lnTo>
                    <a:pt x="1517" y="1055"/>
                  </a:lnTo>
                  <a:lnTo>
                    <a:pt x="1515" y="1055"/>
                  </a:lnTo>
                  <a:lnTo>
                    <a:pt x="1515" y="1055"/>
                  </a:lnTo>
                  <a:lnTo>
                    <a:pt x="1515" y="1055"/>
                  </a:lnTo>
                  <a:lnTo>
                    <a:pt x="1515" y="1055"/>
                  </a:lnTo>
                  <a:lnTo>
                    <a:pt x="1515" y="1055"/>
                  </a:lnTo>
                  <a:lnTo>
                    <a:pt x="1515" y="1055"/>
                  </a:lnTo>
                  <a:lnTo>
                    <a:pt x="1515" y="1055"/>
                  </a:lnTo>
                  <a:lnTo>
                    <a:pt x="1515" y="1055"/>
                  </a:lnTo>
                  <a:lnTo>
                    <a:pt x="1512" y="1055"/>
                  </a:lnTo>
                  <a:lnTo>
                    <a:pt x="1512" y="1052"/>
                  </a:lnTo>
                  <a:lnTo>
                    <a:pt x="1512" y="1052"/>
                  </a:lnTo>
                  <a:lnTo>
                    <a:pt x="1512" y="1052"/>
                  </a:lnTo>
                  <a:lnTo>
                    <a:pt x="1510" y="1052"/>
                  </a:lnTo>
                  <a:lnTo>
                    <a:pt x="1510" y="1052"/>
                  </a:lnTo>
                  <a:lnTo>
                    <a:pt x="1510" y="1052"/>
                  </a:lnTo>
                  <a:lnTo>
                    <a:pt x="1510" y="1052"/>
                  </a:lnTo>
                  <a:lnTo>
                    <a:pt x="1510" y="1050"/>
                  </a:lnTo>
                  <a:lnTo>
                    <a:pt x="1510" y="1050"/>
                  </a:lnTo>
                  <a:lnTo>
                    <a:pt x="1510" y="1052"/>
                  </a:lnTo>
                  <a:lnTo>
                    <a:pt x="1508" y="1052"/>
                  </a:lnTo>
                  <a:lnTo>
                    <a:pt x="1508" y="1050"/>
                  </a:lnTo>
                  <a:lnTo>
                    <a:pt x="1508" y="1050"/>
                  </a:lnTo>
                  <a:lnTo>
                    <a:pt x="1508" y="1050"/>
                  </a:lnTo>
                  <a:lnTo>
                    <a:pt x="1505" y="1048"/>
                  </a:lnTo>
                  <a:lnTo>
                    <a:pt x="1503" y="1048"/>
                  </a:lnTo>
                  <a:lnTo>
                    <a:pt x="1503" y="1045"/>
                  </a:lnTo>
                  <a:lnTo>
                    <a:pt x="1503" y="1045"/>
                  </a:lnTo>
                  <a:lnTo>
                    <a:pt x="1503" y="1045"/>
                  </a:lnTo>
                  <a:lnTo>
                    <a:pt x="1503" y="1043"/>
                  </a:lnTo>
                  <a:lnTo>
                    <a:pt x="1500" y="1043"/>
                  </a:lnTo>
                  <a:lnTo>
                    <a:pt x="1500" y="1043"/>
                  </a:lnTo>
                  <a:lnTo>
                    <a:pt x="1500" y="1043"/>
                  </a:lnTo>
                  <a:lnTo>
                    <a:pt x="1500" y="1043"/>
                  </a:lnTo>
                  <a:lnTo>
                    <a:pt x="1498" y="1040"/>
                  </a:lnTo>
                  <a:lnTo>
                    <a:pt x="1496" y="1038"/>
                  </a:lnTo>
                  <a:lnTo>
                    <a:pt x="1496" y="1038"/>
                  </a:lnTo>
                  <a:lnTo>
                    <a:pt x="1496" y="1036"/>
                  </a:lnTo>
                  <a:lnTo>
                    <a:pt x="1496" y="1036"/>
                  </a:lnTo>
                  <a:lnTo>
                    <a:pt x="1493" y="1036"/>
                  </a:lnTo>
                  <a:lnTo>
                    <a:pt x="1493" y="1033"/>
                  </a:lnTo>
                  <a:lnTo>
                    <a:pt x="1493" y="1033"/>
                  </a:lnTo>
                  <a:lnTo>
                    <a:pt x="1491" y="1033"/>
                  </a:lnTo>
                  <a:lnTo>
                    <a:pt x="1491" y="1033"/>
                  </a:lnTo>
                  <a:lnTo>
                    <a:pt x="1489" y="1031"/>
                  </a:lnTo>
                  <a:lnTo>
                    <a:pt x="1489" y="1026"/>
                  </a:lnTo>
                  <a:lnTo>
                    <a:pt x="1489" y="1026"/>
                  </a:lnTo>
                  <a:lnTo>
                    <a:pt x="1486" y="1024"/>
                  </a:lnTo>
                  <a:lnTo>
                    <a:pt x="1486" y="1022"/>
                  </a:lnTo>
                  <a:lnTo>
                    <a:pt x="1486" y="1022"/>
                  </a:lnTo>
                  <a:lnTo>
                    <a:pt x="1486" y="1022"/>
                  </a:lnTo>
                  <a:lnTo>
                    <a:pt x="1486" y="1019"/>
                  </a:lnTo>
                  <a:lnTo>
                    <a:pt x="1484" y="1019"/>
                  </a:lnTo>
                  <a:lnTo>
                    <a:pt x="1484" y="1019"/>
                  </a:lnTo>
                  <a:lnTo>
                    <a:pt x="1484" y="1019"/>
                  </a:lnTo>
                  <a:lnTo>
                    <a:pt x="1484" y="1017"/>
                  </a:lnTo>
                  <a:lnTo>
                    <a:pt x="1484" y="1017"/>
                  </a:lnTo>
                  <a:lnTo>
                    <a:pt x="1481" y="1014"/>
                  </a:lnTo>
                  <a:lnTo>
                    <a:pt x="1481" y="1014"/>
                  </a:lnTo>
                  <a:lnTo>
                    <a:pt x="1481" y="1012"/>
                  </a:lnTo>
                  <a:lnTo>
                    <a:pt x="1481" y="1012"/>
                  </a:lnTo>
                  <a:lnTo>
                    <a:pt x="1481" y="1010"/>
                  </a:lnTo>
                  <a:lnTo>
                    <a:pt x="1481" y="1007"/>
                  </a:lnTo>
                  <a:lnTo>
                    <a:pt x="1481" y="1007"/>
                  </a:lnTo>
                  <a:lnTo>
                    <a:pt x="1481" y="1005"/>
                  </a:lnTo>
                  <a:lnTo>
                    <a:pt x="1481" y="1005"/>
                  </a:lnTo>
                  <a:lnTo>
                    <a:pt x="1481" y="1003"/>
                  </a:lnTo>
                  <a:lnTo>
                    <a:pt x="1481" y="1000"/>
                  </a:lnTo>
                  <a:lnTo>
                    <a:pt x="1481" y="1000"/>
                  </a:lnTo>
                  <a:lnTo>
                    <a:pt x="1481" y="998"/>
                  </a:lnTo>
                  <a:lnTo>
                    <a:pt x="1481" y="998"/>
                  </a:lnTo>
                  <a:lnTo>
                    <a:pt x="1481" y="996"/>
                  </a:lnTo>
                  <a:lnTo>
                    <a:pt x="1481" y="993"/>
                  </a:lnTo>
                  <a:lnTo>
                    <a:pt x="1481" y="993"/>
                  </a:lnTo>
                  <a:lnTo>
                    <a:pt x="1484" y="991"/>
                  </a:lnTo>
                  <a:lnTo>
                    <a:pt x="1484" y="991"/>
                  </a:lnTo>
                  <a:lnTo>
                    <a:pt x="1484" y="988"/>
                  </a:lnTo>
                  <a:lnTo>
                    <a:pt x="1481" y="986"/>
                  </a:lnTo>
                  <a:lnTo>
                    <a:pt x="1481" y="981"/>
                  </a:lnTo>
                  <a:lnTo>
                    <a:pt x="1472" y="972"/>
                  </a:lnTo>
                  <a:lnTo>
                    <a:pt x="1472" y="972"/>
                  </a:lnTo>
                  <a:lnTo>
                    <a:pt x="1472" y="970"/>
                  </a:lnTo>
                  <a:lnTo>
                    <a:pt x="1470" y="967"/>
                  </a:lnTo>
                  <a:lnTo>
                    <a:pt x="1470" y="967"/>
                  </a:lnTo>
                  <a:lnTo>
                    <a:pt x="1470" y="965"/>
                  </a:lnTo>
                  <a:lnTo>
                    <a:pt x="1470" y="965"/>
                  </a:lnTo>
                  <a:lnTo>
                    <a:pt x="1470" y="965"/>
                  </a:lnTo>
                  <a:lnTo>
                    <a:pt x="1470" y="960"/>
                  </a:lnTo>
                  <a:lnTo>
                    <a:pt x="1470" y="960"/>
                  </a:lnTo>
                  <a:lnTo>
                    <a:pt x="1470" y="958"/>
                  </a:lnTo>
                  <a:lnTo>
                    <a:pt x="1472" y="955"/>
                  </a:lnTo>
                  <a:lnTo>
                    <a:pt x="1474" y="948"/>
                  </a:lnTo>
                  <a:lnTo>
                    <a:pt x="1474" y="946"/>
                  </a:lnTo>
                  <a:lnTo>
                    <a:pt x="1474" y="943"/>
                  </a:lnTo>
                  <a:lnTo>
                    <a:pt x="1477" y="943"/>
                  </a:lnTo>
                  <a:lnTo>
                    <a:pt x="1474" y="941"/>
                  </a:lnTo>
                  <a:lnTo>
                    <a:pt x="1477" y="941"/>
                  </a:lnTo>
                  <a:lnTo>
                    <a:pt x="1477" y="941"/>
                  </a:lnTo>
                  <a:lnTo>
                    <a:pt x="1477" y="939"/>
                  </a:lnTo>
                  <a:lnTo>
                    <a:pt x="1477" y="939"/>
                  </a:lnTo>
                  <a:lnTo>
                    <a:pt x="1477" y="939"/>
                  </a:lnTo>
                  <a:lnTo>
                    <a:pt x="1477" y="936"/>
                  </a:lnTo>
                  <a:lnTo>
                    <a:pt x="1477" y="936"/>
                  </a:lnTo>
                  <a:lnTo>
                    <a:pt x="1477" y="934"/>
                  </a:lnTo>
                  <a:lnTo>
                    <a:pt x="1479" y="927"/>
                  </a:lnTo>
                  <a:lnTo>
                    <a:pt x="1479" y="922"/>
                  </a:lnTo>
                  <a:lnTo>
                    <a:pt x="1484" y="910"/>
                  </a:lnTo>
                  <a:lnTo>
                    <a:pt x="1486" y="910"/>
                  </a:lnTo>
                  <a:lnTo>
                    <a:pt x="1486" y="906"/>
                  </a:lnTo>
                  <a:lnTo>
                    <a:pt x="1489" y="906"/>
                  </a:lnTo>
                  <a:lnTo>
                    <a:pt x="1489" y="903"/>
                  </a:lnTo>
                  <a:lnTo>
                    <a:pt x="1493" y="899"/>
                  </a:lnTo>
                  <a:lnTo>
                    <a:pt x="1498" y="891"/>
                  </a:lnTo>
                  <a:lnTo>
                    <a:pt x="1500" y="889"/>
                  </a:lnTo>
                  <a:lnTo>
                    <a:pt x="1500" y="889"/>
                  </a:lnTo>
                  <a:lnTo>
                    <a:pt x="1500" y="889"/>
                  </a:lnTo>
                  <a:lnTo>
                    <a:pt x="1500" y="887"/>
                  </a:lnTo>
                  <a:lnTo>
                    <a:pt x="1500" y="887"/>
                  </a:lnTo>
                  <a:lnTo>
                    <a:pt x="1500" y="887"/>
                  </a:lnTo>
                  <a:lnTo>
                    <a:pt x="1493" y="882"/>
                  </a:lnTo>
                  <a:lnTo>
                    <a:pt x="1491" y="882"/>
                  </a:lnTo>
                  <a:lnTo>
                    <a:pt x="1491" y="882"/>
                  </a:lnTo>
                  <a:lnTo>
                    <a:pt x="1491" y="882"/>
                  </a:lnTo>
                  <a:lnTo>
                    <a:pt x="1481" y="882"/>
                  </a:lnTo>
                  <a:lnTo>
                    <a:pt x="1474" y="882"/>
                  </a:lnTo>
                  <a:lnTo>
                    <a:pt x="1467" y="882"/>
                  </a:lnTo>
                  <a:lnTo>
                    <a:pt x="1463" y="882"/>
                  </a:lnTo>
                  <a:lnTo>
                    <a:pt x="1460" y="884"/>
                  </a:lnTo>
                  <a:lnTo>
                    <a:pt x="1458" y="887"/>
                  </a:lnTo>
                  <a:lnTo>
                    <a:pt x="1451" y="887"/>
                  </a:lnTo>
                  <a:lnTo>
                    <a:pt x="1448" y="891"/>
                  </a:lnTo>
                  <a:lnTo>
                    <a:pt x="1446" y="891"/>
                  </a:lnTo>
                  <a:lnTo>
                    <a:pt x="1444" y="894"/>
                  </a:lnTo>
                  <a:lnTo>
                    <a:pt x="1439" y="896"/>
                  </a:lnTo>
                  <a:lnTo>
                    <a:pt x="1437" y="899"/>
                  </a:lnTo>
                  <a:lnTo>
                    <a:pt x="1434" y="901"/>
                  </a:lnTo>
                  <a:lnTo>
                    <a:pt x="1427" y="913"/>
                  </a:lnTo>
                  <a:lnTo>
                    <a:pt x="1427" y="913"/>
                  </a:lnTo>
                  <a:lnTo>
                    <a:pt x="1425" y="915"/>
                  </a:lnTo>
                  <a:lnTo>
                    <a:pt x="1425" y="915"/>
                  </a:lnTo>
                  <a:lnTo>
                    <a:pt x="1425" y="915"/>
                  </a:lnTo>
                  <a:lnTo>
                    <a:pt x="1425" y="915"/>
                  </a:lnTo>
                  <a:lnTo>
                    <a:pt x="1425" y="917"/>
                  </a:lnTo>
                  <a:lnTo>
                    <a:pt x="1425" y="917"/>
                  </a:lnTo>
                  <a:lnTo>
                    <a:pt x="1425" y="917"/>
                  </a:lnTo>
                  <a:lnTo>
                    <a:pt x="1422" y="920"/>
                  </a:lnTo>
                  <a:lnTo>
                    <a:pt x="1420" y="922"/>
                  </a:lnTo>
                  <a:lnTo>
                    <a:pt x="1420" y="925"/>
                  </a:lnTo>
                  <a:lnTo>
                    <a:pt x="1420" y="925"/>
                  </a:lnTo>
                  <a:lnTo>
                    <a:pt x="1420" y="927"/>
                  </a:lnTo>
                  <a:lnTo>
                    <a:pt x="1418" y="927"/>
                  </a:lnTo>
                  <a:lnTo>
                    <a:pt x="1420" y="927"/>
                  </a:lnTo>
                  <a:lnTo>
                    <a:pt x="1422" y="929"/>
                  </a:lnTo>
                  <a:lnTo>
                    <a:pt x="1425" y="929"/>
                  </a:lnTo>
                  <a:lnTo>
                    <a:pt x="1425" y="932"/>
                  </a:lnTo>
                  <a:lnTo>
                    <a:pt x="1422" y="929"/>
                  </a:lnTo>
                  <a:lnTo>
                    <a:pt x="1420" y="929"/>
                  </a:lnTo>
                  <a:lnTo>
                    <a:pt x="1420" y="929"/>
                  </a:lnTo>
                  <a:lnTo>
                    <a:pt x="1420" y="929"/>
                  </a:lnTo>
                  <a:lnTo>
                    <a:pt x="1420" y="929"/>
                  </a:lnTo>
                  <a:lnTo>
                    <a:pt x="1418" y="929"/>
                  </a:lnTo>
                  <a:lnTo>
                    <a:pt x="1418" y="932"/>
                  </a:lnTo>
                  <a:lnTo>
                    <a:pt x="1415" y="934"/>
                  </a:lnTo>
                  <a:lnTo>
                    <a:pt x="1415" y="934"/>
                  </a:lnTo>
                  <a:lnTo>
                    <a:pt x="1418" y="936"/>
                  </a:lnTo>
                  <a:lnTo>
                    <a:pt x="1418" y="936"/>
                  </a:lnTo>
                  <a:lnTo>
                    <a:pt x="1418" y="936"/>
                  </a:lnTo>
                  <a:lnTo>
                    <a:pt x="1420" y="936"/>
                  </a:lnTo>
                  <a:lnTo>
                    <a:pt x="1418" y="936"/>
                  </a:lnTo>
                  <a:lnTo>
                    <a:pt x="1415" y="936"/>
                  </a:lnTo>
                  <a:lnTo>
                    <a:pt x="1415" y="936"/>
                  </a:lnTo>
                  <a:lnTo>
                    <a:pt x="1415" y="936"/>
                  </a:lnTo>
                  <a:lnTo>
                    <a:pt x="1415" y="939"/>
                  </a:lnTo>
                  <a:lnTo>
                    <a:pt x="1415" y="939"/>
                  </a:lnTo>
                  <a:lnTo>
                    <a:pt x="1413" y="939"/>
                  </a:lnTo>
                  <a:lnTo>
                    <a:pt x="1413" y="939"/>
                  </a:lnTo>
                  <a:lnTo>
                    <a:pt x="1413" y="941"/>
                  </a:lnTo>
                  <a:lnTo>
                    <a:pt x="1413" y="941"/>
                  </a:lnTo>
                  <a:lnTo>
                    <a:pt x="1413" y="941"/>
                  </a:lnTo>
                  <a:lnTo>
                    <a:pt x="1415" y="941"/>
                  </a:lnTo>
                  <a:lnTo>
                    <a:pt x="1413" y="943"/>
                  </a:lnTo>
                  <a:lnTo>
                    <a:pt x="1413" y="943"/>
                  </a:lnTo>
                  <a:lnTo>
                    <a:pt x="1413" y="943"/>
                  </a:lnTo>
                  <a:lnTo>
                    <a:pt x="1413" y="946"/>
                  </a:lnTo>
                  <a:lnTo>
                    <a:pt x="1413" y="946"/>
                  </a:lnTo>
                  <a:lnTo>
                    <a:pt x="1413" y="946"/>
                  </a:lnTo>
                  <a:lnTo>
                    <a:pt x="1411" y="948"/>
                  </a:lnTo>
                  <a:lnTo>
                    <a:pt x="1411" y="948"/>
                  </a:lnTo>
                  <a:lnTo>
                    <a:pt x="1411" y="948"/>
                  </a:lnTo>
                  <a:lnTo>
                    <a:pt x="1411" y="951"/>
                  </a:lnTo>
                  <a:lnTo>
                    <a:pt x="1411" y="951"/>
                  </a:lnTo>
                  <a:lnTo>
                    <a:pt x="1413" y="951"/>
                  </a:lnTo>
                  <a:lnTo>
                    <a:pt x="1413" y="951"/>
                  </a:lnTo>
                  <a:lnTo>
                    <a:pt x="1413" y="953"/>
                  </a:lnTo>
                  <a:lnTo>
                    <a:pt x="1413" y="953"/>
                  </a:lnTo>
                  <a:lnTo>
                    <a:pt x="1413" y="953"/>
                  </a:lnTo>
                  <a:lnTo>
                    <a:pt x="1413" y="953"/>
                  </a:lnTo>
                  <a:lnTo>
                    <a:pt x="1413" y="951"/>
                  </a:lnTo>
                  <a:lnTo>
                    <a:pt x="1413" y="951"/>
                  </a:lnTo>
                  <a:lnTo>
                    <a:pt x="1413" y="951"/>
                  </a:lnTo>
                  <a:lnTo>
                    <a:pt x="1413" y="951"/>
                  </a:lnTo>
                  <a:lnTo>
                    <a:pt x="1411" y="951"/>
                  </a:lnTo>
                  <a:lnTo>
                    <a:pt x="1411" y="953"/>
                  </a:lnTo>
                  <a:lnTo>
                    <a:pt x="1411" y="953"/>
                  </a:lnTo>
                  <a:lnTo>
                    <a:pt x="1411" y="953"/>
                  </a:lnTo>
                  <a:lnTo>
                    <a:pt x="1411" y="955"/>
                  </a:lnTo>
                  <a:lnTo>
                    <a:pt x="1411" y="955"/>
                  </a:lnTo>
                  <a:lnTo>
                    <a:pt x="1411" y="955"/>
                  </a:lnTo>
                  <a:lnTo>
                    <a:pt x="1413" y="958"/>
                  </a:lnTo>
                  <a:lnTo>
                    <a:pt x="1413" y="958"/>
                  </a:lnTo>
                  <a:lnTo>
                    <a:pt x="1413" y="958"/>
                  </a:lnTo>
                  <a:lnTo>
                    <a:pt x="1413" y="960"/>
                  </a:lnTo>
                  <a:lnTo>
                    <a:pt x="1411" y="960"/>
                  </a:lnTo>
                  <a:lnTo>
                    <a:pt x="1413" y="962"/>
                  </a:lnTo>
                  <a:lnTo>
                    <a:pt x="1413" y="962"/>
                  </a:lnTo>
                  <a:lnTo>
                    <a:pt x="1411" y="962"/>
                  </a:lnTo>
                  <a:lnTo>
                    <a:pt x="1411" y="962"/>
                  </a:lnTo>
                  <a:lnTo>
                    <a:pt x="1411" y="965"/>
                  </a:lnTo>
                  <a:lnTo>
                    <a:pt x="1411" y="965"/>
                  </a:lnTo>
                  <a:lnTo>
                    <a:pt x="1411" y="965"/>
                  </a:lnTo>
                  <a:lnTo>
                    <a:pt x="1411" y="965"/>
                  </a:lnTo>
                  <a:lnTo>
                    <a:pt x="1411" y="965"/>
                  </a:lnTo>
                  <a:lnTo>
                    <a:pt x="1411" y="967"/>
                  </a:lnTo>
                  <a:lnTo>
                    <a:pt x="1411" y="967"/>
                  </a:lnTo>
                  <a:lnTo>
                    <a:pt x="1411" y="967"/>
                  </a:lnTo>
                  <a:lnTo>
                    <a:pt x="1413" y="967"/>
                  </a:lnTo>
                  <a:lnTo>
                    <a:pt x="1413" y="967"/>
                  </a:lnTo>
                  <a:lnTo>
                    <a:pt x="1415" y="967"/>
                  </a:lnTo>
                  <a:lnTo>
                    <a:pt x="1413" y="970"/>
                  </a:lnTo>
                  <a:lnTo>
                    <a:pt x="1413" y="970"/>
                  </a:lnTo>
                  <a:lnTo>
                    <a:pt x="1413" y="970"/>
                  </a:lnTo>
                  <a:lnTo>
                    <a:pt x="1413" y="970"/>
                  </a:lnTo>
                  <a:lnTo>
                    <a:pt x="1413" y="970"/>
                  </a:lnTo>
                  <a:lnTo>
                    <a:pt x="1413" y="972"/>
                  </a:lnTo>
                  <a:lnTo>
                    <a:pt x="1413" y="972"/>
                  </a:lnTo>
                  <a:lnTo>
                    <a:pt x="1413" y="972"/>
                  </a:lnTo>
                  <a:lnTo>
                    <a:pt x="1413" y="970"/>
                  </a:lnTo>
                  <a:lnTo>
                    <a:pt x="1413" y="970"/>
                  </a:lnTo>
                  <a:lnTo>
                    <a:pt x="1411" y="972"/>
                  </a:lnTo>
                  <a:lnTo>
                    <a:pt x="1411" y="970"/>
                  </a:lnTo>
                  <a:lnTo>
                    <a:pt x="1408" y="970"/>
                  </a:lnTo>
                  <a:lnTo>
                    <a:pt x="1408" y="970"/>
                  </a:lnTo>
                  <a:lnTo>
                    <a:pt x="1408" y="970"/>
                  </a:lnTo>
                  <a:lnTo>
                    <a:pt x="1408" y="970"/>
                  </a:lnTo>
                  <a:lnTo>
                    <a:pt x="1408" y="970"/>
                  </a:lnTo>
                  <a:lnTo>
                    <a:pt x="1408" y="972"/>
                  </a:lnTo>
                  <a:lnTo>
                    <a:pt x="1408" y="972"/>
                  </a:lnTo>
                  <a:lnTo>
                    <a:pt x="1408" y="972"/>
                  </a:lnTo>
                  <a:lnTo>
                    <a:pt x="1408" y="974"/>
                  </a:lnTo>
                  <a:lnTo>
                    <a:pt x="1408" y="974"/>
                  </a:lnTo>
                  <a:lnTo>
                    <a:pt x="1408" y="977"/>
                  </a:lnTo>
                  <a:lnTo>
                    <a:pt x="1411" y="977"/>
                  </a:lnTo>
                  <a:lnTo>
                    <a:pt x="1411" y="979"/>
                  </a:lnTo>
                  <a:lnTo>
                    <a:pt x="1411" y="979"/>
                  </a:lnTo>
                  <a:lnTo>
                    <a:pt x="1408" y="979"/>
                  </a:lnTo>
                  <a:lnTo>
                    <a:pt x="1408" y="979"/>
                  </a:lnTo>
                  <a:lnTo>
                    <a:pt x="1408" y="979"/>
                  </a:lnTo>
                  <a:lnTo>
                    <a:pt x="1408" y="979"/>
                  </a:lnTo>
                  <a:lnTo>
                    <a:pt x="1408" y="981"/>
                  </a:lnTo>
                  <a:lnTo>
                    <a:pt x="1408" y="981"/>
                  </a:lnTo>
                  <a:lnTo>
                    <a:pt x="1408" y="981"/>
                  </a:lnTo>
                  <a:lnTo>
                    <a:pt x="1406" y="981"/>
                  </a:lnTo>
                  <a:lnTo>
                    <a:pt x="1406" y="981"/>
                  </a:lnTo>
                  <a:lnTo>
                    <a:pt x="1406" y="981"/>
                  </a:lnTo>
                  <a:lnTo>
                    <a:pt x="1406" y="981"/>
                  </a:lnTo>
                  <a:lnTo>
                    <a:pt x="1403" y="984"/>
                  </a:lnTo>
                  <a:lnTo>
                    <a:pt x="1403" y="986"/>
                  </a:lnTo>
                  <a:lnTo>
                    <a:pt x="1403" y="986"/>
                  </a:lnTo>
                  <a:lnTo>
                    <a:pt x="1403" y="986"/>
                  </a:lnTo>
                  <a:lnTo>
                    <a:pt x="1403" y="988"/>
                  </a:lnTo>
                  <a:lnTo>
                    <a:pt x="1403" y="988"/>
                  </a:lnTo>
                  <a:lnTo>
                    <a:pt x="1406" y="988"/>
                  </a:lnTo>
                  <a:lnTo>
                    <a:pt x="1406" y="991"/>
                  </a:lnTo>
                  <a:lnTo>
                    <a:pt x="1406" y="993"/>
                  </a:lnTo>
                  <a:lnTo>
                    <a:pt x="1403" y="993"/>
                  </a:lnTo>
                  <a:lnTo>
                    <a:pt x="1403" y="993"/>
                  </a:lnTo>
                  <a:lnTo>
                    <a:pt x="1403" y="993"/>
                  </a:lnTo>
                  <a:lnTo>
                    <a:pt x="1403" y="996"/>
                  </a:lnTo>
                  <a:lnTo>
                    <a:pt x="1403" y="996"/>
                  </a:lnTo>
                  <a:lnTo>
                    <a:pt x="1403" y="996"/>
                  </a:lnTo>
                  <a:lnTo>
                    <a:pt x="1403" y="996"/>
                  </a:lnTo>
                  <a:lnTo>
                    <a:pt x="1403" y="996"/>
                  </a:lnTo>
                  <a:lnTo>
                    <a:pt x="1406" y="996"/>
                  </a:lnTo>
                  <a:lnTo>
                    <a:pt x="1406" y="996"/>
                  </a:lnTo>
                  <a:lnTo>
                    <a:pt x="1403" y="996"/>
                  </a:lnTo>
                  <a:lnTo>
                    <a:pt x="1403" y="996"/>
                  </a:lnTo>
                  <a:lnTo>
                    <a:pt x="1403" y="996"/>
                  </a:lnTo>
                  <a:lnTo>
                    <a:pt x="1403" y="996"/>
                  </a:lnTo>
                  <a:lnTo>
                    <a:pt x="1403" y="996"/>
                  </a:lnTo>
                  <a:lnTo>
                    <a:pt x="1401" y="996"/>
                  </a:lnTo>
                  <a:lnTo>
                    <a:pt x="1403" y="998"/>
                  </a:lnTo>
                  <a:lnTo>
                    <a:pt x="1403" y="998"/>
                  </a:lnTo>
                  <a:lnTo>
                    <a:pt x="1403" y="998"/>
                  </a:lnTo>
                  <a:lnTo>
                    <a:pt x="1403" y="998"/>
                  </a:lnTo>
                  <a:lnTo>
                    <a:pt x="1403" y="998"/>
                  </a:lnTo>
                  <a:lnTo>
                    <a:pt x="1403" y="1000"/>
                  </a:lnTo>
                  <a:lnTo>
                    <a:pt x="1403" y="1000"/>
                  </a:lnTo>
                  <a:lnTo>
                    <a:pt x="1403" y="1000"/>
                  </a:lnTo>
                  <a:lnTo>
                    <a:pt x="1401" y="1003"/>
                  </a:lnTo>
                  <a:lnTo>
                    <a:pt x="1401" y="1003"/>
                  </a:lnTo>
                  <a:lnTo>
                    <a:pt x="1401" y="1005"/>
                  </a:lnTo>
                  <a:lnTo>
                    <a:pt x="1401" y="1005"/>
                  </a:lnTo>
                  <a:lnTo>
                    <a:pt x="1403" y="1007"/>
                  </a:lnTo>
                  <a:lnTo>
                    <a:pt x="1403" y="1007"/>
                  </a:lnTo>
                  <a:lnTo>
                    <a:pt x="1401" y="1010"/>
                  </a:lnTo>
                  <a:lnTo>
                    <a:pt x="1403" y="1010"/>
                  </a:lnTo>
                  <a:lnTo>
                    <a:pt x="1403" y="1010"/>
                  </a:lnTo>
                  <a:lnTo>
                    <a:pt x="1403" y="1012"/>
                  </a:lnTo>
                  <a:lnTo>
                    <a:pt x="1403" y="1012"/>
                  </a:lnTo>
                  <a:lnTo>
                    <a:pt x="1403" y="1014"/>
                  </a:lnTo>
                  <a:lnTo>
                    <a:pt x="1403" y="1014"/>
                  </a:lnTo>
                  <a:lnTo>
                    <a:pt x="1406" y="1014"/>
                  </a:lnTo>
                  <a:lnTo>
                    <a:pt x="1406" y="1014"/>
                  </a:lnTo>
                  <a:lnTo>
                    <a:pt x="1408" y="1014"/>
                  </a:lnTo>
                  <a:lnTo>
                    <a:pt x="1408" y="1014"/>
                  </a:lnTo>
                  <a:lnTo>
                    <a:pt x="1408" y="1014"/>
                  </a:lnTo>
                  <a:lnTo>
                    <a:pt x="1411" y="1014"/>
                  </a:lnTo>
                  <a:lnTo>
                    <a:pt x="1411" y="1014"/>
                  </a:lnTo>
                  <a:lnTo>
                    <a:pt x="1411" y="1014"/>
                  </a:lnTo>
                  <a:lnTo>
                    <a:pt x="1411" y="1017"/>
                  </a:lnTo>
                  <a:lnTo>
                    <a:pt x="1411" y="1017"/>
                  </a:lnTo>
                  <a:lnTo>
                    <a:pt x="1411" y="1017"/>
                  </a:lnTo>
                  <a:lnTo>
                    <a:pt x="1411" y="1019"/>
                  </a:lnTo>
                  <a:lnTo>
                    <a:pt x="1408" y="1019"/>
                  </a:lnTo>
                  <a:lnTo>
                    <a:pt x="1408" y="1019"/>
                  </a:lnTo>
                  <a:lnTo>
                    <a:pt x="1408" y="1017"/>
                  </a:lnTo>
                  <a:lnTo>
                    <a:pt x="1408" y="1019"/>
                  </a:lnTo>
                  <a:lnTo>
                    <a:pt x="1403" y="1022"/>
                  </a:lnTo>
                  <a:lnTo>
                    <a:pt x="1403" y="1024"/>
                  </a:lnTo>
                  <a:lnTo>
                    <a:pt x="1403" y="1024"/>
                  </a:lnTo>
                  <a:lnTo>
                    <a:pt x="1403" y="1026"/>
                  </a:lnTo>
                  <a:lnTo>
                    <a:pt x="1403" y="1026"/>
                  </a:lnTo>
                  <a:lnTo>
                    <a:pt x="1403" y="1026"/>
                  </a:lnTo>
                  <a:lnTo>
                    <a:pt x="1403" y="1026"/>
                  </a:lnTo>
                  <a:lnTo>
                    <a:pt x="1403" y="1029"/>
                  </a:lnTo>
                  <a:lnTo>
                    <a:pt x="1403" y="1029"/>
                  </a:lnTo>
                  <a:lnTo>
                    <a:pt x="1403" y="1031"/>
                  </a:lnTo>
                  <a:lnTo>
                    <a:pt x="1401" y="1031"/>
                  </a:lnTo>
                  <a:lnTo>
                    <a:pt x="1401" y="1031"/>
                  </a:lnTo>
                  <a:lnTo>
                    <a:pt x="1401" y="1031"/>
                  </a:lnTo>
                  <a:lnTo>
                    <a:pt x="1401" y="1031"/>
                  </a:lnTo>
                  <a:lnTo>
                    <a:pt x="1401" y="1031"/>
                  </a:lnTo>
                  <a:lnTo>
                    <a:pt x="1401" y="1031"/>
                  </a:lnTo>
                  <a:lnTo>
                    <a:pt x="1401" y="1031"/>
                  </a:lnTo>
                  <a:lnTo>
                    <a:pt x="1401" y="1033"/>
                  </a:lnTo>
                  <a:lnTo>
                    <a:pt x="1401" y="1033"/>
                  </a:lnTo>
                  <a:lnTo>
                    <a:pt x="1403" y="1036"/>
                  </a:lnTo>
                  <a:lnTo>
                    <a:pt x="1403" y="1036"/>
                  </a:lnTo>
                  <a:lnTo>
                    <a:pt x="1403" y="1036"/>
                  </a:lnTo>
                  <a:lnTo>
                    <a:pt x="1403" y="1036"/>
                  </a:lnTo>
                  <a:lnTo>
                    <a:pt x="1403" y="1038"/>
                  </a:lnTo>
                  <a:lnTo>
                    <a:pt x="1406" y="1038"/>
                  </a:lnTo>
                  <a:lnTo>
                    <a:pt x="1406" y="1038"/>
                  </a:lnTo>
                  <a:lnTo>
                    <a:pt x="1406" y="1038"/>
                  </a:lnTo>
                  <a:lnTo>
                    <a:pt x="1406" y="1038"/>
                  </a:lnTo>
                  <a:lnTo>
                    <a:pt x="1406" y="1040"/>
                  </a:lnTo>
                  <a:lnTo>
                    <a:pt x="1406" y="1040"/>
                  </a:lnTo>
                  <a:lnTo>
                    <a:pt x="1406" y="1040"/>
                  </a:lnTo>
                  <a:lnTo>
                    <a:pt x="1406" y="1040"/>
                  </a:lnTo>
                  <a:lnTo>
                    <a:pt x="1408" y="1040"/>
                  </a:lnTo>
                  <a:lnTo>
                    <a:pt x="1406" y="1043"/>
                  </a:lnTo>
                  <a:lnTo>
                    <a:pt x="1406" y="1043"/>
                  </a:lnTo>
                  <a:lnTo>
                    <a:pt x="1408" y="1043"/>
                  </a:lnTo>
                  <a:lnTo>
                    <a:pt x="1408" y="1045"/>
                  </a:lnTo>
                  <a:lnTo>
                    <a:pt x="1408" y="1045"/>
                  </a:lnTo>
                  <a:lnTo>
                    <a:pt x="1408" y="1045"/>
                  </a:lnTo>
                  <a:lnTo>
                    <a:pt x="1408" y="1045"/>
                  </a:lnTo>
                  <a:lnTo>
                    <a:pt x="1408" y="1045"/>
                  </a:lnTo>
                  <a:lnTo>
                    <a:pt x="1408" y="1045"/>
                  </a:lnTo>
                  <a:lnTo>
                    <a:pt x="1408" y="1048"/>
                  </a:lnTo>
                  <a:lnTo>
                    <a:pt x="1408" y="1048"/>
                  </a:lnTo>
                  <a:lnTo>
                    <a:pt x="1408" y="1048"/>
                  </a:lnTo>
                  <a:lnTo>
                    <a:pt x="1408" y="1050"/>
                  </a:lnTo>
                  <a:lnTo>
                    <a:pt x="1408" y="1050"/>
                  </a:lnTo>
                  <a:lnTo>
                    <a:pt x="1406" y="1052"/>
                  </a:lnTo>
                  <a:lnTo>
                    <a:pt x="1406" y="1055"/>
                  </a:lnTo>
                  <a:lnTo>
                    <a:pt x="1406" y="1055"/>
                  </a:lnTo>
                  <a:lnTo>
                    <a:pt x="1406" y="1055"/>
                  </a:lnTo>
                  <a:lnTo>
                    <a:pt x="1406" y="1055"/>
                  </a:lnTo>
                  <a:lnTo>
                    <a:pt x="1406" y="1057"/>
                  </a:lnTo>
                  <a:lnTo>
                    <a:pt x="1406" y="1057"/>
                  </a:lnTo>
                  <a:lnTo>
                    <a:pt x="1406" y="1057"/>
                  </a:lnTo>
                  <a:lnTo>
                    <a:pt x="1406" y="1057"/>
                  </a:lnTo>
                  <a:lnTo>
                    <a:pt x="1406" y="1059"/>
                  </a:lnTo>
                  <a:lnTo>
                    <a:pt x="1406" y="1059"/>
                  </a:lnTo>
                  <a:lnTo>
                    <a:pt x="1408" y="1062"/>
                  </a:lnTo>
                  <a:lnTo>
                    <a:pt x="1408" y="1062"/>
                  </a:lnTo>
                  <a:lnTo>
                    <a:pt x="1406" y="1062"/>
                  </a:lnTo>
                  <a:lnTo>
                    <a:pt x="1406" y="1062"/>
                  </a:lnTo>
                  <a:lnTo>
                    <a:pt x="1406" y="1064"/>
                  </a:lnTo>
                  <a:lnTo>
                    <a:pt x="1406" y="1064"/>
                  </a:lnTo>
                  <a:lnTo>
                    <a:pt x="1406" y="1066"/>
                  </a:lnTo>
                  <a:lnTo>
                    <a:pt x="1406" y="1066"/>
                  </a:lnTo>
                  <a:lnTo>
                    <a:pt x="1406" y="1066"/>
                  </a:lnTo>
                  <a:lnTo>
                    <a:pt x="1406" y="1066"/>
                  </a:lnTo>
                  <a:lnTo>
                    <a:pt x="1406" y="1066"/>
                  </a:lnTo>
                  <a:lnTo>
                    <a:pt x="1408" y="1066"/>
                  </a:lnTo>
                  <a:lnTo>
                    <a:pt x="1408" y="1069"/>
                  </a:lnTo>
                  <a:lnTo>
                    <a:pt x="1408" y="1069"/>
                  </a:lnTo>
                  <a:lnTo>
                    <a:pt x="1408" y="1069"/>
                  </a:lnTo>
                  <a:lnTo>
                    <a:pt x="1408" y="1071"/>
                  </a:lnTo>
                  <a:lnTo>
                    <a:pt x="1408" y="1071"/>
                  </a:lnTo>
                  <a:lnTo>
                    <a:pt x="1408" y="1071"/>
                  </a:lnTo>
                  <a:lnTo>
                    <a:pt x="1408" y="1071"/>
                  </a:lnTo>
                  <a:lnTo>
                    <a:pt x="1411" y="1074"/>
                  </a:lnTo>
                  <a:lnTo>
                    <a:pt x="1411" y="1074"/>
                  </a:lnTo>
                  <a:lnTo>
                    <a:pt x="1411" y="1076"/>
                  </a:lnTo>
                  <a:lnTo>
                    <a:pt x="1413" y="1076"/>
                  </a:lnTo>
                  <a:lnTo>
                    <a:pt x="1420" y="1076"/>
                  </a:lnTo>
                  <a:lnTo>
                    <a:pt x="1429" y="1078"/>
                  </a:lnTo>
                  <a:lnTo>
                    <a:pt x="1439" y="1078"/>
                  </a:lnTo>
                  <a:lnTo>
                    <a:pt x="1441" y="1078"/>
                  </a:lnTo>
                  <a:lnTo>
                    <a:pt x="1451" y="1078"/>
                  </a:lnTo>
                  <a:lnTo>
                    <a:pt x="1451" y="1081"/>
                  </a:lnTo>
                  <a:lnTo>
                    <a:pt x="1453" y="1081"/>
                  </a:lnTo>
                  <a:lnTo>
                    <a:pt x="1453" y="1081"/>
                  </a:lnTo>
                  <a:lnTo>
                    <a:pt x="1453" y="1078"/>
                  </a:lnTo>
                  <a:lnTo>
                    <a:pt x="1455" y="1076"/>
                  </a:lnTo>
                  <a:lnTo>
                    <a:pt x="1455" y="1076"/>
                  </a:lnTo>
                  <a:lnTo>
                    <a:pt x="1458" y="1076"/>
                  </a:lnTo>
                  <a:lnTo>
                    <a:pt x="1458" y="1076"/>
                  </a:lnTo>
                  <a:lnTo>
                    <a:pt x="1458" y="1076"/>
                  </a:lnTo>
                  <a:lnTo>
                    <a:pt x="1458" y="1078"/>
                  </a:lnTo>
                  <a:lnTo>
                    <a:pt x="1458" y="1078"/>
                  </a:lnTo>
                  <a:lnTo>
                    <a:pt x="1458" y="1078"/>
                  </a:lnTo>
                  <a:lnTo>
                    <a:pt x="1458" y="1081"/>
                  </a:lnTo>
                  <a:lnTo>
                    <a:pt x="1458" y="1081"/>
                  </a:lnTo>
                  <a:lnTo>
                    <a:pt x="1458" y="1081"/>
                  </a:lnTo>
                  <a:lnTo>
                    <a:pt x="1460" y="1083"/>
                  </a:lnTo>
                  <a:lnTo>
                    <a:pt x="1463" y="1085"/>
                  </a:lnTo>
                  <a:lnTo>
                    <a:pt x="1463" y="1085"/>
                  </a:lnTo>
                  <a:lnTo>
                    <a:pt x="1463" y="1085"/>
                  </a:lnTo>
                  <a:lnTo>
                    <a:pt x="1465" y="1088"/>
                  </a:lnTo>
                  <a:lnTo>
                    <a:pt x="1467" y="1088"/>
                  </a:lnTo>
                  <a:lnTo>
                    <a:pt x="1467" y="1088"/>
                  </a:lnTo>
                  <a:lnTo>
                    <a:pt x="1467" y="1088"/>
                  </a:lnTo>
                  <a:lnTo>
                    <a:pt x="1470" y="1088"/>
                  </a:lnTo>
                  <a:lnTo>
                    <a:pt x="1470" y="1090"/>
                  </a:lnTo>
                  <a:lnTo>
                    <a:pt x="1470" y="1090"/>
                  </a:lnTo>
                  <a:lnTo>
                    <a:pt x="1470" y="1090"/>
                  </a:lnTo>
                  <a:lnTo>
                    <a:pt x="1470" y="1090"/>
                  </a:lnTo>
                  <a:lnTo>
                    <a:pt x="1470" y="1090"/>
                  </a:lnTo>
                  <a:lnTo>
                    <a:pt x="1470" y="1090"/>
                  </a:lnTo>
                  <a:lnTo>
                    <a:pt x="1470" y="1090"/>
                  </a:lnTo>
                  <a:lnTo>
                    <a:pt x="1470" y="1090"/>
                  </a:lnTo>
                  <a:lnTo>
                    <a:pt x="1470" y="1090"/>
                  </a:lnTo>
                  <a:lnTo>
                    <a:pt x="1477" y="1093"/>
                  </a:lnTo>
                  <a:lnTo>
                    <a:pt x="1479" y="1093"/>
                  </a:lnTo>
                  <a:lnTo>
                    <a:pt x="1479" y="1093"/>
                  </a:lnTo>
                  <a:lnTo>
                    <a:pt x="1477" y="1093"/>
                  </a:lnTo>
                  <a:lnTo>
                    <a:pt x="1474" y="1093"/>
                  </a:lnTo>
                  <a:lnTo>
                    <a:pt x="1472" y="1093"/>
                  </a:lnTo>
                  <a:lnTo>
                    <a:pt x="1472" y="1093"/>
                  </a:lnTo>
                  <a:lnTo>
                    <a:pt x="1472" y="1095"/>
                  </a:lnTo>
                  <a:lnTo>
                    <a:pt x="1472" y="1095"/>
                  </a:lnTo>
                  <a:lnTo>
                    <a:pt x="1470" y="1097"/>
                  </a:lnTo>
                  <a:lnTo>
                    <a:pt x="1470" y="1097"/>
                  </a:lnTo>
                  <a:lnTo>
                    <a:pt x="1470" y="1097"/>
                  </a:lnTo>
                  <a:lnTo>
                    <a:pt x="1467" y="1097"/>
                  </a:lnTo>
                  <a:lnTo>
                    <a:pt x="1465" y="1097"/>
                  </a:lnTo>
                  <a:lnTo>
                    <a:pt x="1465" y="1097"/>
                  </a:lnTo>
                  <a:lnTo>
                    <a:pt x="1463" y="1097"/>
                  </a:lnTo>
                  <a:lnTo>
                    <a:pt x="1463" y="1097"/>
                  </a:lnTo>
                  <a:lnTo>
                    <a:pt x="1463" y="1097"/>
                  </a:lnTo>
                  <a:lnTo>
                    <a:pt x="1460" y="1097"/>
                  </a:lnTo>
                  <a:lnTo>
                    <a:pt x="1460" y="1097"/>
                  </a:lnTo>
                  <a:lnTo>
                    <a:pt x="1458" y="1100"/>
                  </a:lnTo>
                  <a:lnTo>
                    <a:pt x="1448" y="1100"/>
                  </a:lnTo>
                  <a:lnTo>
                    <a:pt x="1448" y="1097"/>
                  </a:lnTo>
                  <a:lnTo>
                    <a:pt x="1448" y="1097"/>
                  </a:lnTo>
                  <a:lnTo>
                    <a:pt x="1448" y="1097"/>
                  </a:lnTo>
                  <a:lnTo>
                    <a:pt x="1448" y="1095"/>
                  </a:lnTo>
                  <a:lnTo>
                    <a:pt x="1446" y="1095"/>
                  </a:lnTo>
                  <a:lnTo>
                    <a:pt x="1446" y="1095"/>
                  </a:lnTo>
                  <a:lnTo>
                    <a:pt x="1444" y="1093"/>
                  </a:lnTo>
                  <a:lnTo>
                    <a:pt x="1441" y="1093"/>
                  </a:lnTo>
                  <a:lnTo>
                    <a:pt x="1441" y="1093"/>
                  </a:lnTo>
                  <a:lnTo>
                    <a:pt x="1441" y="1093"/>
                  </a:lnTo>
                  <a:lnTo>
                    <a:pt x="1439" y="1093"/>
                  </a:lnTo>
                  <a:lnTo>
                    <a:pt x="1437" y="1095"/>
                  </a:lnTo>
                  <a:lnTo>
                    <a:pt x="1437" y="1095"/>
                  </a:lnTo>
                  <a:lnTo>
                    <a:pt x="1434" y="1095"/>
                  </a:lnTo>
                  <a:lnTo>
                    <a:pt x="1434" y="1093"/>
                  </a:lnTo>
                  <a:lnTo>
                    <a:pt x="1434" y="1093"/>
                  </a:lnTo>
                  <a:lnTo>
                    <a:pt x="1429" y="1095"/>
                  </a:lnTo>
                  <a:lnTo>
                    <a:pt x="1429" y="1095"/>
                  </a:lnTo>
                  <a:lnTo>
                    <a:pt x="1429" y="1095"/>
                  </a:lnTo>
                  <a:lnTo>
                    <a:pt x="1427" y="1095"/>
                  </a:lnTo>
                  <a:lnTo>
                    <a:pt x="1427" y="1093"/>
                  </a:lnTo>
                  <a:lnTo>
                    <a:pt x="1427" y="1093"/>
                  </a:lnTo>
                  <a:lnTo>
                    <a:pt x="1427" y="1093"/>
                  </a:lnTo>
                  <a:lnTo>
                    <a:pt x="1427" y="1093"/>
                  </a:lnTo>
                  <a:lnTo>
                    <a:pt x="1420" y="1093"/>
                  </a:lnTo>
                  <a:lnTo>
                    <a:pt x="1420" y="1093"/>
                  </a:lnTo>
                  <a:lnTo>
                    <a:pt x="1420" y="1095"/>
                  </a:lnTo>
                  <a:lnTo>
                    <a:pt x="1420" y="1095"/>
                  </a:lnTo>
                  <a:lnTo>
                    <a:pt x="1422" y="1095"/>
                  </a:lnTo>
                  <a:lnTo>
                    <a:pt x="1425" y="1097"/>
                  </a:lnTo>
                  <a:lnTo>
                    <a:pt x="1427" y="1100"/>
                  </a:lnTo>
                  <a:lnTo>
                    <a:pt x="1427" y="1100"/>
                  </a:lnTo>
                  <a:lnTo>
                    <a:pt x="1429" y="1100"/>
                  </a:lnTo>
                  <a:lnTo>
                    <a:pt x="1429" y="1100"/>
                  </a:lnTo>
                  <a:lnTo>
                    <a:pt x="1427" y="1102"/>
                  </a:lnTo>
                  <a:lnTo>
                    <a:pt x="1427" y="1102"/>
                  </a:lnTo>
                  <a:lnTo>
                    <a:pt x="1427" y="1102"/>
                  </a:lnTo>
                  <a:lnTo>
                    <a:pt x="1427" y="1102"/>
                  </a:lnTo>
                  <a:lnTo>
                    <a:pt x="1425" y="1102"/>
                  </a:lnTo>
                  <a:lnTo>
                    <a:pt x="1425" y="1104"/>
                  </a:lnTo>
                  <a:lnTo>
                    <a:pt x="1425" y="1104"/>
                  </a:lnTo>
                  <a:lnTo>
                    <a:pt x="1422" y="1104"/>
                  </a:lnTo>
                  <a:lnTo>
                    <a:pt x="1422" y="1104"/>
                  </a:lnTo>
                  <a:lnTo>
                    <a:pt x="1425" y="1107"/>
                  </a:lnTo>
                  <a:lnTo>
                    <a:pt x="1425" y="1111"/>
                  </a:lnTo>
                  <a:lnTo>
                    <a:pt x="1427" y="1111"/>
                  </a:lnTo>
                  <a:lnTo>
                    <a:pt x="1427" y="1114"/>
                  </a:lnTo>
                  <a:lnTo>
                    <a:pt x="1429" y="1116"/>
                  </a:lnTo>
                  <a:lnTo>
                    <a:pt x="1432" y="1116"/>
                  </a:lnTo>
                  <a:lnTo>
                    <a:pt x="1432" y="1119"/>
                  </a:lnTo>
                  <a:lnTo>
                    <a:pt x="1432" y="1119"/>
                  </a:lnTo>
                  <a:lnTo>
                    <a:pt x="1432" y="1119"/>
                  </a:lnTo>
                  <a:lnTo>
                    <a:pt x="1434" y="1119"/>
                  </a:lnTo>
                  <a:lnTo>
                    <a:pt x="1434" y="1119"/>
                  </a:lnTo>
                  <a:lnTo>
                    <a:pt x="1434" y="1121"/>
                  </a:lnTo>
                  <a:lnTo>
                    <a:pt x="1434" y="1121"/>
                  </a:lnTo>
                  <a:lnTo>
                    <a:pt x="1434" y="1121"/>
                  </a:lnTo>
                  <a:lnTo>
                    <a:pt x="1434" y="1121"/>
                  </a:lnTo>
                  <a:lnTo>
                    <a:pt x="1434" y="1123"/>
                  </a:lnTo>
                  <a:lnTo>
                    <a:pt x="1434" y="1123"/>
                  </a:lnTo>
                  <a:lnTo>
                    <a:pt x="1437" y="1128"/>
                  </a:lnTo>
                  <a:lnTo>
                    <a:pt x="1439" y="1128"/>
                  </a:lnTo>
                  <a:lnTo>
                    <a:pt x="1441" y="1133"/>
                  </a:lnTo>
                  <a:lnTo>
                    <a:pt x="1444" y="1135"/>
                  </a:lnTo>
                  <a:lnTo>
                    <a:pt x="1448" y="1135"/>
                  </a:lnTo>
                  <a:lnTo>
                    <a:pt x="1451" y="1135"/>
                  </a:lnTo>
                  <a:lnTo>
                    <a:pt x="1451" y="1135"/>
                  </a:lnTo>
                  <a:lnTo>
                    <a:pt x="1451" y="1135"/>
                  </a:lnTo>
                  <a:lnTo>
                    <a:pt x="1453" y="1135"/>
                  </a:lnTo>
                  <a:lnTo>
                    <a:pt x="1458" y="1137"/>
                  </a:lnTo>
                  <a:lnTo>
                    <a:pt x="1463" y="1142"/>
                  </a:lnTo>
                  <a:lnTo>
                    <a:pt x="1463" y="1142"/>
                  </a:lnTo>
                  <a:lnTo>
                    <a:pt x="1463" y="1142"/>
                  </a:lnTo>
                  <a:lnTo>
                    <a:pt x="1463" y="1145"/>
                  </a:lnTo>
                  <a:lnTo>
                    <a:pt x="1463" y="1145"/>
                  </a:lnTo>
                  <a:lnTo>
                    <a:pt x="1460" y="1145"/>
                  </a:lnTo>
                  <a:lnTo>
                    <a:pt x="1460" y="1142"/>
                  </a:lnTo>
                  <a:lnTo>
                    <a:pt x="1458" y="1142"/>
                  </a:lnTo>
                  <a:lnTo>
                    <a:pt x="1458" y="1142"/>
                  </a:lnTo>
                  <a:lnTo>
                    <a:pt x="1455" y="1142"/>
                  </a:lnTo>
                  <a:lnTo>
                    <a:pt x="1455" y="1142"/>
                  </a:lnTo>
                  <a:lnTo>
                    <a:pt x="1455" y="1140"/>
                  </a:lnTo>
                  <a:lnTo>
                    <a:pt x="1455" y="1140"/>
                  </a:lnTo>
                  <a:lnTo>
                    <a:pt x="1455" y="1140"/>
                  </a:lnTo>
                  <a:lnTo>
                    <a:pt x="1455" y="1140"/>
                  </a:lnTo>
                  <a:lnTo>
                    <a:pt x="1455" y="1142"/>
                  </a:lnTo>
                  <a:lnTo>
                    <a:pt x="1455" y="1142"/>
                  </a:lnTo>
                  <a:lnTo>
                    <a:pt x="1455" y="1142"/>
                  </a:lnTo>
                  <a:lnTo>
                    <a:pt x="1458" y="1145"/>
                  </a:lnTo>
                  <a:lnTo>
                    <a:pt x="1460" y="1145"/>
                  </a:lnTo>
                  <a:lnTo>
                    <a:pt x="1463" y="1147"/>
                  </a:lnTo>
                  <a:lnTo>
                    <a:pt x="1463" y="1147"/>
                  </a:lnTo>
                  <a:lnTo>
                    <a:pt x="1463" y="1147"/>
                  </a:lnTo>
                  <a:lnTo>
                    <a:pt x="1463" y="1147"/>
                  </a:lnTo>
                  <a:lnTo>
                    <a:pt x="1463" y="1147"/>
                  </a:lnTo>
                  <a:lnTo>
                    <a:pt x="1463" y="1147"/>
                  </a:lnTo>
                  <a:lnTo>
                    <a:pt x="1465" y="1147"/>
                  </a:lnTo>
                  <a:lnTo>
                    <a:pt x="1467" y="1147"/>
                  </a:lnTo>
                  <a:lnTo>
                    <a:pt x="1470" y="1145"/>
                  </a:lnTo>
                  <a:lnTo>
                    <a:pt x="1470" y="1145"/>
                  </a:lnTo>
                  <a:lnTo>
                    <a:pt x="1470" y="1142"/>
                  </a:lnTo>
                  <a:lnTo>
                    <a:pt x="1465" y="1142"/>
                  </a:lnTo>
                  <a:lnTo>
                    <a:pt x="1465" y="1142"/>
                  </a:lnTo>
                  <a:lnTo>
                    <a:pt x="1465" y="1142"/>
                  </a:lnTo>
                  <a:lnTo>
                    <a:pt x="1465" y="1142"/>
                  </a:lnTo>
                  <a:lnTo>
                    <a:pt x="1465" y="1142"/>
                  </a:lnTo>
                  <a:lnTo>
                    <a:pt x="1472" y="1140"/>
                  </a:lnTo>
                  <a:lnTo>
                    <a:pt x="1474" y="1142"/>
                  </a:lnTo>
                  <a:lnTo>
                    <a:pt x="1484" y="1142"/>
                  </a:lnTo>
                  <a:lnTo>
                    <a:pt x="1486" y="1142"/>
                  </a:lnTo>
                  <a:lnTo>
                    <a:pt x="1484" y="1142"/>
                  </a:lnTo>
                  <a:lnTo>
                    <a:pt x="1484" y="1142"/>
                  </a:lnTo>
                  <a:lnTo>
                    <a:pt x="1484" y="1142"/>
                  </a:lnTo>
                  <a:lnTo>
                    <a:pt x="1484" y="1140"/>
                  </a:lnTo>
                  <a:lnTo>
                    <a:pt x="1486" y="1140"/>
                  </a:lnTo>
                  <a:lnTo>
                    <a:pt x="1484" y="1140"/>
                  </a:lnTo>
                  <a:lnTo>
                    <a:pt x="1484" y="1140"/>
                  </a:lnTo>
                  <a:lnTo>
                    <a:pt x="1484" y="1137"/>
                  </a:lnTo>
                  <a:lnTo>
                    <a:pt x="1484" y="1137"/>
                  </a:lnTo>
                  <a:lnTo>
                    <a:pt x="1484" y="1135"/>
                  </a:lnTo>
                  <a:lnTo>
                    <a:pt x="1481" y="1135"/>
                  </a:lnTo>
                  <a:lnTo>
                    <a:pt x="1479" y="1135"/>
                  </a:lnTo>
                  <a:lnTo>
                    <a:pt x="1479" y="1135"/>
                  </a:lnTo>
                  <a:lnTo>
                    <a:pt x="1479" y="1135"/>
                  </a:lnTo>
                  <a:lnTo>
                    <a:pt x="1477" y="1135"/>
                  </a:lnTo>
                  <a:lnTo>
                    <a:pt x="1479" y="1135"/>
                  </a:lnTo>
                  <a:lnTo>
                    <a:pt x="1481" y="1133"/>
                  </a:lnTo>
                  <a:lnTo>
                    <a:pt x="1479" y="1133"/>
                  </a:lnTo>
                  <a:lnTo>
                    <a:pt x="1481" y="1130"/>
                  </a:lnTo>
                  <a:lnTo>
                    <a:pt x="1484" y="1128"/>
                  </a:lnTo>
                  <a:lnTo>
                    <a:pt x="1484" y="1130"/>
                  </a:lnTo>
                  <a:lnTo>
                    <a:pt x="1486" y="1130"/>
                  </a:lnTo>
                  <a:lnTo>
                    <a:pt x="1484" y="1130"/>
                  </a:lnTo>
                  <a:lnTo>
                    <a:pt x="1484" y="1130"/>
                  </a:lnTo>
                  <a:lnTo>
                    <a:pt x="1484" y="1133"/>
                  </a:lnTo>
                  <a:lnTo>
                    <a:pt x="1484" y="1133"/>
                  </a:lnTo>
                  <a:lnTo>
                    <a:pt x="1486" y="1133"/>
                  </a:lnTo>
                  <a:lnTo>
                    <a:pt x="1486" y="1133"/>
                  </a:lnTo>
                  <a:lnTo>
                    <a:pt x="1484" y="1133"/>
                  </a:lnTo>
                  <a:lnTo>
                    <a:pt x="1486" y="1135"/>
                  </a:lnTo>
                  <a:lnTo>
                    <a:pt x="1489" y="1135"/>
                  </a:lnTo>
                  <a:lnTo>
                    <a:pt x="1491" y="1135"/>
                  </a:lnTo>
                  <a:lnTo>
                    <a:pt x="1489" y="1135"/>
                  </a:lnTo>
                  <a:lnTo>
                    <a:pt x="1486" y="1135"/>
                  </a:lnTo>
                  <a:lnTo>
                    <a:pt x="1486" y="1137"/>
                  </a:lnTo>
                  <a:lnTo>
                    <a:pt x="1486" y="1137"/>
                  </a:lnTo>
                  <a:lnTo>
                    <a:pt x="1489" y="1140"/>
                  </a:lnTo>
                  <a:lnTo>
                    <a:pt x="1493" y="1137"/>
                  </a:lnTo>
                  <a:lnTo>
                    <a:pt x="1493" y="1137"/>
                  </a:lnTo>
                  <a:lnTo>
                    <a:pt x="1491" y="1137"/>
                  </a:lnTo>
                  <a:lnTo>
                    <a:pt x="1491" y="1135"/>
                  </a:lnTo>
                  <a:lnTo>
                    <a:pt x="1491" y="1135"/>
                  </a:lnTo>
                  <a:lnTo>
                    <a:pt x="1493" y="1135"/>
                  </a:lnTo>
                  <a:lnTo>
                    <a:pt x="1493" y="1135"/>
                  </a:lnTo>
                  <a:lnTo>
                    <a:pt x="1493" y="1133"/>
                  </a:lnTo>
                  <a:lnTo>
                    <a:pt x="1493" y="1133"/>
                  </a:lnTo>
                  <a:lnTo>
                    <a:pt x="1493" y="1130"/>
                  </a:lnTo>
                  <a:lnTo>
                    <a:pt x="1493" y="1130"/>
                  </a:lnTo>
                  <a:lnTo>
                    <a:pt x="1496" y="1130"/>
                  </a:lnTo>
                  <a:lnTo>
                    <a:pt x="1496" y="1130"/>
                  </a:lnTo>
                  <a:lnTo>
                    <a:pt x="1496" y="1128"/>
                  </a:lnTo>
                  <a:lnTo>
                    <a:pt x="1498" y="1128"/>
                  </a:lnTo>
                  <a:lnTo>
                    <a:pt x="1498" y="1128"/>
                  </a:lnTo>
                  <a:lnTo>
                    <a:pt x="1498" y="1128"/>
                  </a:lnTo>
                  <a:lnTo>
                    <a:pt x="1498" y="1128"/>
                  </a:lnTo>
                  <a:lnTo>
                    <a:pt x="1498" y="1126"/>
                  </a:lnTo>
                  <a:lnTo>
                    <a:pt x="1498" y="1126"/>
                  </a:lnTo>
                  <a:lnTo>
                    <a:pt x="1496" y="1123"/>
                  </a:lnTo>
                  <a:lnTo>
                    <a:pt x="1498" y="1123"/>
                  </a:lnTo>
                  <a:lnTo>
                    <a:pt x="1498" y="1123"/>
                  </a:lnTo>
                  <a:lnTo>
                    <a:pt x="1498" y="1126"/>
                  </a:lnTo>
                  <a:lnTo>
                    <a:pt x="1500" y="1126"/>
                  </a:lnTo>
                  <a:lnTo>
                    <a:pt x="1500" y="1128"/>
                  </a:lnTo>
                  <a:lnTo>
                    <a:pt x="1498" y="1128"/>
                  </a:lnTo>
                  <a:lnTo>
                    <a:pt x="1498" y="1128"/>
                  </a:lnTo>
                  <a:lnTo>
                    <a:pt x="1496" y="1130"/>
                  </a:lnTo>
                  <a:lnTo>
                    <a:pt x="1496" y="1133"/>
                  </a:lnTo>
                  <a:lnTo>
                    <a:pt x="1493" y="1135"/>
                  </a:lnTo>
                  <a:lnTo>
                    <a:pt x="1493" y="1135"/>
                  </a:lnTo>
                  <a:lnTo>
                    <a:pt x="1493" y="1135"/>
                  </a:lnTo>
                  <a:lnTo>
                    <a:pt x="1493" y="1135"/>
                  </a:lnTo>
                  <a:lnTo>
                    <a:pt x="1496" y="1137"/>
                  </a:lnTo>
                  <a:lnTo>
                    <a:pt x="1496" y="1137"/>
                  </a:lnTo>
                  <a:lnTo>
                    <a:pt x="1493" y="1140"/>
                  </a:lnTo>
                  <a:lnTo>
                    <a:pt x="1496" y="1140"/>
                  </a:lnTo>
                  <a:lnTo>
                    <a:pt x="1496" y="1142"/>
                  </a:lnTo>
                  <a:lnTo>
                    <a:pt x="1496" y="1145"/>
                  </a:lnTo>
                  <a:lnTo>
                    <a:pt x="1496" y="1145"/>
                  </a:lnTo>
                  <a:lnTo>
                    <a:pt x="1496" y="1145"/>
                  </a:lnTo>
                  <a:lnTo>
                    <a:pt x="1503" y="1152"/>
                  </a:lnTo>
                  <a:lnTo>
                    <a:pt x="1510" y="1156"/>
                  </a:lnTo>
                  <a:lnTo>
                    <a:pt x="1515" y="1159"/>
                  </a:lnTo>
                  <a:lnTo>
                    <a:pt x="1517" y="1159"/>
                  </a:lnTo>
                  <a:lnTo>
                    <a:pt x="1519" y="1156"/>
                  </a:lnTo>
                  <a:lnTo>
                    <a:pt x="1529" y="1156"/>
                  </a:lnTo>
                  <a:lnTo>
                    <a:pt x="1529" y="1156"/>
                  </a:lnTo>
                  <a:lnTo>
                    <a:pt x="1526" y="1154"/>
                  </a:lnTo>
                  <a:lnTo>
                    <a:pt x="1524" y="1154"/>
                  </a:lnTo>
                  <a:lnTo>
                    <a:pt x="1522" y="1154"/>
                  </a:lnTo>
                  <a:lnTo>
                    <a:pt x="1522" y="1154"/>
                  </a:lnTo>
                  <a:lnTo>
                    <a:pt x="1519" y="1152"/>
                  </a:lnTo>
                  <a:lnTo>
                    <a:pt x="1515" y="1154"/>
                  </a:lnTo>
                  <a:lnTo>
                    <a:pt x="1515" y="1154"/>
                  </a:lnTo>
                  <a:lnTo>
                    <a:pt x="1515" y="1154"/>
                  </a:lnTo>
                  <a:lnTo>
                    <a:pt x="1512" y="1154"/>
                  </a:lnTo>
                  <a:lnTo>
                    <a:pt x="1512" y="1152"/>
                  </a:lnTo>
                  <a:lnTo>
                    <a:pt x="1515" y="1152"/>
                  </a:lnTo>
                  <a:lnTo>
                    <a:pt x="1522" y="1149"/>
                  </a:lnTo>
                  <a:lnTo>
                    <a:pt x="1522" y="1152"/>
                  </a:lnTo>
                  <a:lnTo>
                    <a:pt x="1524" y="1149"/>
                  </a:lnTo>
                  <a:lnTo>
                    <a:pt x="1524" y="1149"/>
                  </a:lnTo>
                  <a:lnTo>
                    <a:pt x="1526" y="1149"/>
                  </a:lnTo>
                  <a:lnTo>
                    <a:pt x="1529" y="1149"/>
                  </a:lnTo>
                  <a:lnTo>
                    <a:pt x="1529" y="1149"/>
                  </a:lnTo>
                  <a:lnTo>
                    <a:pt x="1529" y="1149"/>
                  </a:lnTo>
                  <a:lnTo>
                    <a:pt x="1529" y="1149"/>
                  </a:lnTo>
                  <a:lnTo>
                    <a:pt x="1529" y="1149"/>
                  </a:lnTo>
                  <a:lnTo>
                    <a:pt x="1529" y="1152"/>
                  </a:lnTo>
                  <a:lnTo>
                    <a:pt x="1534" y="1152"/>
                  </a:lnTo>
                  <a:lnTo>
                    <a:pt x="1536" y="1149"/>
                  </a:lnTo>
                  <a:lnTo>
                    <a:pt x="1536" y="1147"/>
                  </a:lnTo>
                  <a:lnTo>
                    <a:pt x="1538" y="1147"/>
                  </a:lnTo>
                  <a:lnTo>
                    <a:pt x="1538" y="1147"/>
                  </a:lnTo>
                  <a:lnTo>
                    <a:pt x="1538" y="1149"/>
                  </a:lnTo>
                  <a:lnTo>
                    <a:pt x="1538" y="1149"/>
                  </a:lnTo>
                  <a:lnTo>
                    <a:pt x="1536" y="1149"/>
                  </a:lnTo>
                  <a:lnTo>
                    <a:pt x="1538" y="1152"/>
                  </a:lnTo>
                  <a:lnTo>
                    <a:pt x="1538" y="1154"/>
                  </a:lnTo>
                  <a:lnTo>
                    <a:pt x="1538" y="1154"/>
                  </a:lnTo>
                  <a:lnTo>
                    <a:pt x="1541" y="1154"/>
                  </a:lnTo>
                  <a:lnTo>
                    <a:pt x="1541" y="1154"/>
                  </a:lnTo>
                  <a:lnTo>
                    <a:pt x="1545" y="1154"/>
                  </a:lnTo>
                  <a:lnTo>
                    <a:pt x="1550" y="1154"/>
                  </a:lnTo>
                  <a:lnTo>
                    <a:pt x="1555" y="1154"/>
                  </a:lnTo>
                  <a:lnTo>
                    <a:pt x="1557" y="1154"/>
                  </a:lnTo>
                  <a:lnTo>
                    <a:pt x="1557" y="1154"/>
                  </a:lnTo>
                  <a:lnTo>
                    <a:pt x="1567" y="1154"/>
                  </a:lnTo>
                  <a:lnTo>
                    <a:pt x="1569" y="1154"/>
                  </a:lnTo>
                  <a:lnTo>
                    <a:pt x="1569" y="1152"/>
                  </a:lnTo>
                  <a:lnTo>
                    <a:pt x="1574" y="1152"/>
                  </a:lnTo>
                  <a:lnTo>
                    <a:pt x="1574" y="1149"/>
                  </a:lnTo>
                  <a:lnTo>
                    <a:pt x="1576" y="1149"/>
                  </a:lnTo>
                  <a:lnTo>
                    <a:pt x="1576" y="1149"/>
                  </a:lnTo>
                  <a:lnTo>
                    <a:pt x="1576" y="1149"/>
                  </a:lnTo>
                  <a:lnTo>
                    <a:pt x="1576" y="1149"/>
                  </a:lnTo>
                  <a:lnTo>
                    <a:pt x="1576" y="1149"/>
                  </a:lnTo>
                  <a:lnTo>
                    <a:pt x="1579" y="1149"/>
                  </a:lnTo>
                  <a:lnTo>
                    <a:pt x="1579" y="1149"/>
                  </a:lnTo>
                  <a:lnTo>
                    <a:pt x="1579" y="1149"/>
                  </a:lnTo>
                  <a:lnTo>
                    <a:pt x="1581" y="1149"/>
                  </a:lnTo>
                  <a:lnTo>
                    <a:pt x="1581" y="1149"/>
                  </a:lnTo>
                  <a:lnTo>
                    <a:pt x="1581" y="1149"/>
                  </a:lnTo>
                  <a:lnTo>
                    <a:pt x="1581" y="1149"/>
                  </a:lnTo>
                  <a:lnTo>
                    <a:pt x="1581" y="1149"/>
                  </a:lnTo>
                  <a:lnTo>
                    <a:pt x="1581" y="1149"/>
                  </a:lnTo>
                  <a:lnTo>
                    <a:pt x="1581" y="1149"/>
                  </a:lnTo>
                  <a:lnTo>
                    <a:pt x="1581" y="1149"/>
                  </a:lnTo>
                  <a:lnTo>
                    <a:pt x="1581" y="1149"/>
                  </a:lnTo>
                  <a:lnTo>
                    <a:pt x="1583" y="1152"/>
                  </a:lnTo>
                  <a:lnTo>
                    <a:pt x="1586" y="1152"/>
                  </a:lnTo>
                  <a:lnTo>
                    <a:pt x="1588" y="1154"/>
                  </a:lnTo>
                  <a:lnTo>
                    <a:pt x="1588" y="1154"/>
                  </a:lnTo>
                  <a:lnTo>
                    <a:pt x="1588" y="1154"/>
                  </a:lnTo>
                  <a:lnTo>
                    <a:pt x="1588" y="1154"/>
                  </a:lnTo>
                  <a:lnTo>
                    <a:pt x="1590" y="1154"/>
                  </a:lnTo>
                  <a:lnTo>
                    <a:pt x="1590" y="1154"/>
                  </a:lnTo>
                  <a:lnTo>
                    <a:pt x="1595" y="1159"/>
                  </a:lnTo>
                  <a:lnTo>
                    <a:pt x="1597" y="1156"/>
                  </a:lnTo>
                  <a:lnTo>
                    <a:pt x="1597" y="1156"/>
                  </a:lnTo>
                  <a:lnTo>
                    <a:pt x="1600" y="1156"/>
                  </a:lnTo>
                  <a:lnTo>
                    <a:pt x="1602" y="1159"/>
                  </a:lnTo>
                  <a:lnTo>
                    <a:pt x="1602" y="1159"/>
                  </a:lnTo>
                  <a:lnTo>
                    <a:pt x="1600" y="1159"/>
                  </a:lnTo>
                  <a:lnTo>
                    <a:pt x="1600" y="1159"/>
                  </a:lnTo>
                  <a:lnTo>
                    <a:pt x="1600" y="1159"/>
                  </a:lnTo>
                  <a:lnTo>
                    <a:pt x="1600" y="1159"/>
                  </a:lnTo>
                  <a:lnTo>
                    <a:pt x="1600" y="1159"/>
                  </a:lnTo>
                  <a:lnTo>
                    <a:pt x="1600" y="1159"/>
                  </a:lnTo>
                  <a:lnTo>
                    <a:pt x="1600" y="1159"/>
                  </a:lnTo>
                  <a:lnTo>
                    <a:pt x="1600" y="1159"/>
                  </a:lnTo>
                  <a:lnTo>
                    <a:pt x="1600" y="1159"/>
                  </a:lnTo>
                  <a:lnTo>
                    <a:pt x="1600" y="1159"/>
                  </a:lnTo>
                  <a:lnTo>
                    <a:pt x="1600" y="1159"/>
                  </a:lnTo>
                  <a:lnTo>
                    <a:pt x="1600" y="1159"/>
                  </a:lnTo>
                  <a:lnTo>
                    <a:pt x="1600" y="1159"/>
                  </a:lnTo>
                  <a:lnTo>
                    <a:pt x="1605" y="1161"/>
                  </a:lnTo>
                  <a:lnTo>
                    <a:pt x="1605" y="1161"/>
                  </a:lnTo>
                  <a:lnTo>
                    <a:pt x="1605" y="1159"/>
                  </a:lnTo>
                  <a:lnTo>
                    <a:pt x="1605" y="1159"/>
                  </a:lnTo>
                  <a:lnTo>
                    <a:pt x="1602" y="1159"/>
                  </a:lnTo>
                  <a:lnTo>
                    <a:pt x="1605" y="1156"/>
                  </a:lnTo>
                  <a:lnTo>
                    <a:pt x="1605" y="1156"/>
                  </a:lnTo>
                  <a:lnTo>
                    <a:pt x="1605" y="1156"/>
                  </a:lnTo>
                  <a:lnTo>
                    <a:pt x="1605" y="1156"/>
                  </a:lnTo>
                  <a:lnTo>
                    <a:pt x="1605" y="1154"/>
                  </a:lnTo>
                  <a:lnTo>
                    <a:pt x="1605" y="1154"/>
                  </a:lnTo>
                  <a:lnTo>
                    <a:pt x="1607" y="1154"/>
                  </a:lnTo>
                  <a:lnTo>
                    <a:pt x="1607" y="1154"/>
                  </a:lnTo>
                  <a:lnTo>
                    <a:pt x="1607" y="1156"/>
                  </a:lnTo>
                  <a:lnTo>
                    <a:pt x="1609" y="1154"/>
                  </a:lnTo>
                  <a:lnTo>
                    <a:pt x="1609" y="1154"/>
                  </a:lnTo>
                  <a:lnTo>
                    <a:pt x="1609" y="1152"/>
                  </a:lnTo>
                  <a:lnTo>
                    <a:pt x="1609" y="1152"/>
                  </a:lnTo>
                  <a:lnTo>
                    <a:pt x="1612" y="1152"/>
                  </a:lnTo>
                  <a:lnTo>
                    <a:pt x="1612" y="1154"/>
                  </a:lnTo>
                  <a:lnTo>
                    <a:pt x="1612" y="1152"/>
                  </a:lnTo>
                  <a:lnTo>
                    <a:pt x="1612" y="1152"/>
                  </a:lnTo>
                  <a:lnTo>
                    <a:pt x="1612" y="1152"/>
                  </a:lnTo>
                  <a:lnTo>
                    <a:pt x="1612" y="1152"/>
                  </a:lnTo>
                  <a:lnTo>
                    <a:pt x="1612" y="1152"/>
                  </a:lnTo>
                  <a:lnTo>
                    <a:pt x="1612" y="1149"/>
                  </a:lnTo>
                  <a:lnTo>
                    <a:pt x="1612" y="1147"/>
                  </a:lnTo>
                  <a:lnTo>
                    <a:pt x="1609" y="1147"/>
                  </a:lnTo>
                  <a:lnTo>
                    <a:pt x="1607" y="1147"/>
                  </a:lnTo>
                  <a:lnTo>
                    <a:pt x="1607" y="1147"/>
                  </a:lnTo>
                  <a:lnTo>
                    <a:pt x="1607" y="1145"/>
                  </a:lnTo>
                  <a:lnTo>
                    <a:pt x="1607" y="1145"/>
                  </a:lnTo>
                  <a:lnTo>
                    <a:pt x="1607" y="1145"/>
                  </a:lnTo>
                  <a:lnTo>
                    <a:pt x="1605" y="1145"/>
                  </a:lnTo>
                  <a:lnTo>
                    <a:pt x="1605" y="1145"/>
                  </a:lnTo>
                  <a:lnTo>
                    <a:pt x="1605" y="1145"/>
                  </a:lnTo>
                  <a:lnTo>
                    <a:pt x="1605" y="1145"/>
                  </a:lnTo>
                  <a:lnTo>
                    <a:pt x="1602" y="1142"/>
                  </a:lnTo>
                  <a:lnTo>
                    <a:pt x="1600" y="1140"/>
                  </a:lnTo>
                  <a:lnTo>
                    <a:pt x="1597" y="1137"/>
                  </a:lnTo>
                  <a:lnTo>
                    <a:pt x="1588" y="1135"/>
                  </a:lnTo>
                  <a:lnTo>
                    <a:pt x="1586" y="1133"/>
                  </a:lnTo>
                  <a:lnTo>
                    <a:pt x="1586" y="1133"/>
                  </a:lnTo>
                  <a:lnTo>
                    <a:pt x="1583" y="1135"/>
                  </a:lnTo>
                  <a:lnTo>
                    <a:pt x="1583" y="1135"/>
                  </a:lnTo>
                  <a:lnTo>
                    <a:pt x="1583" y="1133"/>
                  </a:lnTo>
                  <a:lnTo>
                    <a:pt x="1583" y="1133"/>
                  </a:lnTo>
                  <a:lnTo>
                    <a:pt x="1583" y="1133"/>
                  </a:lnTo>
                  <a:lnTo>
                    <a:pt x="1583" y="1133"/>
                  </a:lnTo>
                  <a:lnTo>
                    <a:pt x="1581" y="1133"/>
                  </a:lnTo>
                  <a:lnTo>
                    <a:pt x="1576" y="1128"/>
                  </a:lnTo>
                  <a:lnTo>
                    <a:pt x="1579" y="1128"/>
                  </a:lnTo>
                  <a:lnTo>
                    <a:pt x="1579" y="1128"/>
                  </a:lnTo>
                  <a:lnTo>
                    <a:pt x="1581" y="1128"/>
                  </a:lnTo>
                  <a:lnTo>
                    <a:pt x="1583" y="1130"/>
                  </a:lnTo>
                  <a:lnTo>
                    <a:pt x="1588" y="1133"/>
                  </a:lnTo>
                  <a:lnTo>
                    <a:pt x="1590" y="1135"/>
                  </a:lnTo>
                  <a:lnTo>
                    <a:pt x="1590" y="1135"/>
                  </a:lnTo>
                  <a:lnTo>
                    <a:pt x="1590" y="1135"/>
                  </a:lnTo>
                  <a:lnTo>
                    <a:pt x="1590" y="1135"/>
                  </a:lnTo>
                  <a:lnTo>
                    <a:pt x="1593" y="1135"/>
                  </a:lnTo>
                  <a:lnTo>
                    <a:pt x="1593" y="1135"/>
                  </a:lnTo>
                  <a:lnTo>
                    <a:pt x="1595" y="1135"/>
                  </a:lnTo>
                  <a:lnTo>
                    <a:pt x="1595" y="1135"/>
                  </a:lnTo>
                  <a:lnTo>
                    <a:pt x="1595" y="1137"/>
                  </a:lnTo>
                  <a:lnTo>
                    <a:pt x="1597" y="1137"/>
                  </a:lnTo>
                  <a:lnTo>
                    <a:pt x="1597" y="1135"/>
                  </a:lnTo>
                  <a:lnTo>
                    <a:pt x="1597" y="1135"/>
                  </a:lnTo>
                  <a:lnTo>
                    <a:pt x="1600" y="1137"/>
                  </a:lnTo>
                  <a:lnTo>
                    <a:pt x="1600" y="1137"/>
                  </a:lnTo>
                  <a:lnTo>
                    <a:pt x="1600" y="1137"/>
                  </a:lnTo>
                  <a:lnTo>
                    <a:pt x="1605" y="1142"/>
                  </a:lnTo>
                  <a:lnTo>
                    <a:pt x="1605" y="1142"/>
                  </a:lnTo>
                  <a:lnTo>
                    <a:pt x="1605" y="1142"/>
                  </a:lnTo>
                  <a:lnTo>
                    <a:pt x="1605" y="1142"/>
                  </a:lnTo>
                  <a:lnTo>
                    <a:pt x="1605" y="1142"/>
                  </a:lnTo>
                  <a:lnTo>
                    <a:pt x="1607" y="1142"/>
                  </a:lnTo>
                  <a:lnTo>
                    <a:pt x="1607" y="1142"/>
                  </a:lnTo>
                  <a:lnTo>
                    <a:pt x="1612" y="1147"/>
                  </a:lnTo>
                  <a:lnTo>
                    <a:pt x="1612" y="1147"/>
                  </a:lnTo>
                  <a:lnTo>
                    <a:pt x="1614" y="1145"/>
                  </a:lnTo>
                  <a:lnTo>
                    <a:pt x="1616" y="1145"/>
                  </a:lnTo>
                  <a:lnTo>
                    <a:pt x="1614" y="1147"/>
                  </a:lnTo>
                  <a:lnTo>
                    <a:pt x="1614" y="1147"/>
                  </a:lnTo>
                  <a:lnTo>
                    <a:pt x="1616" y="1149"/>
                  </a:lnTo>
                  <a:lnTo>
                    <a:pt x="1616" y="1149"/>
                  </a:lnTo>
                  <a:lnTo>
                    <a:pt x="1619" y="1149"/>
                  </a:lnTo>
                  <a:lnTo>
                    <a:pt x="1619" y="1149"/>
                  </a:lnTo>
                  <a:lnTo>
                    <a:pt x="1621" y="1152"/>
                  </a:lnTo>
                  <a:lnTo>
                    <a:pt x="1621" y="1152"/>
                  </a:lnTo>
                  <a:lnTo>
                    <a:pt x="1621" y="1152"/>
                  </a:lnTo>
                  <a:lnTo>
                    <a:pt x="1623" y="1152"/>
                  </a:lnTo>
                  <a:lnTo>
                    <a:pt x="1623" y="1154"/>
                  </a:lnTo>
                  <a:lnTo>
                    <a:pt x="1626" y="1154"/>
                  </a:lnTo>
                  <a:lnTo>
                    <a:pt x="1626" y="1154"/>
                  </a:lnTo>
                  <a:lnTo>
                    <a:pt x="1626" y="1154"/>
                  </a:lnTo>
                  <a:lnTo>
                    <a:pt x="1628" y="1156"/>
                  </a:lnTo>
                  <a:lnTo>
                    <a:pt x="1628" y="1159"/>
                  </a:lnTo>
                  <a:lnTo>
                    <a:pt x="1633" y="1159"/>
                  </a:lnTo>
                  <a:lnTo>
                    <a:pt x="1633" y="1159"/>
                  </a:lnTo>
                  <a:lnTo>
                    <a:pt x="1633" y="1161"/>
                  </a:lnTo>
                  <a:lnTo>
                    <a:pt x="1633" y="1161"/>
                  </a:lnTo>
                  <a:lnTo>
                    <a:pt x="1633" y="1161"/>
                  </a:lnTo>
                  <a:lnTo>
                    <a:pt x="1633" y="1161"/>
                  </a:lnTo>
                  <a:lnTo>
                    <a:pt x="1635" y="1159"/>
                  </a:lnTo>
                  <a:lnTo>
                    <a:pt x="1635" y="1159"/>
                  </a:lnTo>
                  <a:lnTo>
                    <a:pt x="1635" y="1156"/>
                  </a:lnTo>
                  <a:lnTo>
                    <a:pt x="1635" y="1156"/>
                  </a:lnTo>
                  <a:lnTo>
                    <a:pt x="1635" y="1156"/>
                  </a:lnTo>
                  <a:lnTo>
                    <a:pt x="1635" y="1154"/>
                  </a:lnTo>
                  <a:lnTo>
                    <a:pt x="1635" y="1154"/>
                  </a:lnTo>
                  <a:lnTo>
                    <a:pt x="1631" y="1149"/>
                  </a:lnTo>
                  <a:lnTo>
                    <a:pt x="1628" y="1149"/>
                  </a:lnTo>
                  <a:lnTo>
                    <a:pt x="1628" y="1147"/>
                  </a:lnTo>
                  <a:lnTo>
                    <a:pt x="1626" y="1147"/>
                  </a:lnTo>
                  <a:lnTo>
                    <a:pt x="1626" y="1147"/>
                  </a:lnTo>
                  <a:lnTo>
                    <a:pt x="1626" y="1145"/>
                  </a:lnTo>
                  <a:lnTo>
                    <a:pt x="1626" y="1145"/>
                  </a:lnTo>
                  <a:lnTo>
                    <a:pt x="1623" y="1142"/>
                  </a:lnTo>
                  <a:lnTo>
                    <a:pt x="1623" y="1142"/>
                  </a:lnTo>
                  <a:lnTo>
                    <a:pt x="1621" y="1140"/>
                  </a:lnTo>
                  <a:lnTo>
                    <a:pt x="1619" y="1140"/>
                  </a:lnTo>
                  <a:lnTo>
                    <a:pt x="1619" y="1142"/>
                  </a:lnTo>
                  <a:lnTo>
                    <a:pt x="1619" y="1142"/>
                  </a:lnTo>
                  <a:lnTo>
                    <a:pt x="1619" y="1142"/>
                  </a:lnTo>
                  <a:lnTo>
                    <a:pt x="1616" y="1142"/>
                  </a:lnTo>
                  <a:lnTo>
                    <a:pt x="1616" y="1142"/>
                  </a:lnTo>
                  <a:lnTo>
                    <a:pt x="1616" y="1142"/>
                  </a:lnTo>
                  <a:lnTo>
                    <a:pt x="1614" y="1140"/>
                  </a:lnTo>
                  <a:lnTo>
                    <a:pt x="1614" y="1140"/>
                  </a:lnTo>
                  <a:lnTo>
                    <a:pt x="1612" y="1140"/>
                  </a:lnTo>
                  <a:lnTo>
                    <a:pt x="1609" y="1137"/>
                  </a:lnTo>
                  <a:lnTo>
                    <a:pt x="1609" y="1137"/>
                  </a:lnTo>
                  <a:lnTo>
                    <a:pt x="1609" y="1135"/>
                  </a:lnTo>
                  <a:lnTo>
                    <a:pt x="1609" y="1135"/>
                  </a:lnTo>
                  <a:lnTo>
                    <a:pt x="1609" y="1135"/>
                  </a:lnTo>
                  <a:lnTo>
                    <a:pt x="1609" y="1135"/>
                  </a:lnTo>
                  <a:lnTo>
                    <a:pt x="1612" y="1135"/>
                  </a:lnTo>
                  <a:lnTo>
                    <a:pt x="1614" y="1135"/>
                  </a:lnTo>
                  <a:lnTo>
                    <a:pt x="1623" y="1135"/>
                  </a:lnTo>
                  <a:lnTo>
                    <a:pt x="1623" y="1135"/>
                  </a:lnTo>
                  <a:lnTo>
                    <a:pt x="1623" y="1135"/>
                  </a:lnTo>
                  <a:lnTo>
                    <a:pt x="1626" y="1135"/>
                  </a:lnTo>
                  <a:lnTo>
                    <a:pt x="1626" y="1135"/>
                  </a:lnTo>
                  <a:lnTo>
                    <a:pt x="1626" y="1137"/>
                  </a:lnTo>
                  <a:lnTo>
                    <a:pt x="1628" y="1137"/>
                  </a:lnTo>
                  <a:lnTo>
                    <a:pt x="1628" y="1137"/>
                  </a:lnTo>
                  <a:lnTo>
                    <a:pt x="1628" y="1135"/>
                  </a:lnTo>
                  <a:lnTo>
                    <a:pt x="1631" y="1135"/>
                  </a:lnTo>
                  <a:lnTo>
                    <a:pt x="1631" y="1137"/>
                  </a:lnTo>
                  <a:lnTo>
                    <a:pt x="1638" y="1135"/>
                  </a:lnTo>
                  <a:lnTo>
                    <a:pt x="1642" y="1140"/>
                  </a:lnTo>
                  <a:lnTo>
                    <a:pt x="1645" y="1140"/>
                  </a:lnTo>
                  <a:lnTo>
                    <a:pt x="1645" y="1140"/>
                  </a:lnTo>
                  <a:lnTo>
                    <a:pt x="1645" y="1137"/>
                  </a:lnTo>
                  <a:lnTo>
                    <a:pt x="1645" y="1137"/>
                  </a:lnTo>
                  <a:lnTo>
                    <a:pt x="1647" y="1137"/>
                  </a:lnTo>
                  <a:lnTo>
                    <a:pt x="1650" y="1137"/>
                  </a:lnTo>
                  <a:lnTo>
                    <a:pt x="1652" y="1137"/>
                  </a:lnTo>
                  <a:lnTo>
                    <a:pt x="1652" y="1137"/>
                  </a:lnTo>
                  <a:lnTo>
                    <a:pt x="1652" y="1140"/>
                  </a:lnTo>
                  <a:lnTo>
                    <a:pt x="1652" y="1140"/>
                  </a:lnTo>
                  <a:lnTo>
                    <a:pt x="1652" y="1140"/>
                  </a:lnTo>
                  <a:lnTo>
                    <a:pt x="1652" y="1140"/>
                  </a:lnTo>
                  <a:lnTo>
                    <a:pt x="1652" y="1140"/>
                  </a:lnTo>
                  <a:lnTo>
                    <a:pt x="1654" y="1137"/>
                  </a:lnTo>
                  <a:lnTo>
                    <a:pt x="1654" y="1137"/>
                  </a:lnTo>
                  <a:lnTo>
                    <a:pt x="1654" y="1137"/>
                  </a:lnTo>
                  <a:lnTo>
                    <a:pt x="1654" y="1140"/>
                  </a:lnTo>
                  <a:lnTo>
                    <a:pt x="1654" y="1140"/>
                  </a:lnTo>
                  <a:lnTo>
                    <a:pt x="1657" y="1140"/>
                  </a:lnTo>
                  <a:lnTo>
                    <a:pt x="1657" y="1140"/>
                  </a:lnTo>
                  <a:lnTo>
                    <a:pt x="1657" y="1140"/>
                  </a:lnTo>
                  <a:lnTo>
                    <a:pt x="1657" y="1140"/>
                  </a:lnTo>
                  <a:lnTo>
                    <a:pt x="1657" y="1142"/>
                  </a:lnTo>
                  <a:lnTo>
                    <a:pt x="1659" y="1142"/>
                  </a:lnTo>
                  <a:lnTo>
                    <a:pt x="1659" y="1145"/>
                  </a:lnTo>
                  <a:lnTo>
                    <a:pt x="1659" y="1145"/>
                  </a:lnTo>
                  <a:lnTo>
                    <a:pt x="1659" y="1145"/>
                  </a:lnTo>
                  <a:lnTo>
                    <a:pt x="1659" y="1145"/>
                  </a:lnTo>
                  <a:lnTo>
                    <a:pt x="1661" y="1147"/>
                  </a:lnTo>
                  <a:lnTo>
                    <a:pt x="1666" y="1142"/>
                  </a:lnTo>
                  <a:lnTo>
                    <a:pt x="1673" y="1142"/>
                  </a:lnTo>
                  <a:lnTo>
                    <a:pt x="1678" y="1140"/>
                  </a:lnTo>
                  <a:lnTo>
                    <a:pt x="1680" y="1140"/>
                  </a:lnTo>
                  <a:lnTo>
                    <a:pt x="1680" y="1140"/>
                  </a:lnTo>
                  <a:lnTo>
                    <a:pt x="1680" y="1140"/>
                  </a:lnTo>
                  <a:lnTo>
                    <a:pt x="1680" y="1140"/>
                  </a:lnTo>
                  <a:lnTo>
                    <a:pt x="1680" y="1140"/>
                  </a:lnTo>
                  <a:lnTo>
                    <a:pt x="1680" y="1137"/>
                  </a:lnTo>
                  <a:lnTo>
                    <a:pt x="1680" y="1137"/>
                  </a:lnTo>
                  <a:lnTo>
                    <a:pt x="1683" y="1137"/>
                  </a:lnTo>
                  <a:lnTo>
                    <a:pt x="1683" y="1137"/>
                  </a:lnTo>
                  <a:lnTo>
                    <a:pt x="1683" y="1137"/>
                  </a:lnTo>
                  <a:lnTo>
                    <a:pt x="1683" y="1135"/>
                  </a:lnTo>
                  <a:lnTo>
                    <a:pt x="1683" y="1133"/>
                  </a:lnTo>
                  <a:lnTo>
                    <a:pt x="1683" y="1133"/>
                  </a:lnTo>
                  <a:lnTo>
                    <a:pt x="1683" y="1130"/>
                  </a:lnTo>
                  <a:lnTo>
                    <a:pt x="1683" y="1130"/>
                  </a:lnTo>
                  <a:lnTo>
                    <a:pt x="1683" y="1130"/>
                  </a:lnTo>
                  <a:lnTo>
                    <a:pt x="1683" y="1128"/>
                  </a:lnTo>
                  <a:lnTo>
                    <a:pt x="1683" y="1128"/>
                  </a:lnTo>
                  <a:lnTo>
                    <a:pt x="1683" y="1128"/>
                  </a:lnTo>
                  <a:lnTo>
                    <a:pt x="1683" y="1128"/>
                  </a:lnTo>
                  <a:lnTo>
                    <a:pt x="1683" y="1128"/>
                  </a:lnTo>
                  <a:lnTo>
                    <a:pt x="1680" y="1128"/>
                  </a:lnTo>
                  <a:lnTo>
                    <a:pt x="1680" y="1128"/>
                  </a:lnTo>
                  <a:lnTo>
                    <a:pt x="1680" y="1126"/>
                  </a:lnTo>
                  <a:lnTo>
                    <a:pt x="1680" y="1126"/>
                  </a:lnTo>
                  <a:lnTo>
                    <a:pt x="1680" y="1126"/>
                  </a:lnTo>
                  <a:lnTo>
                    <a:pt x="1680" y="1126"/>
                  </a:lnTo>
                  <a:lnTo>
                    <a:pt x="1680" y="1123"/>
                  </a:lnTo>
                  <a:lnTo>
                    <a:pt x="1680" y="1123"/>
                  </a:lnTo>
                  <a:lnTo>
                    <a:pt x="1680" y="1123"/>
                  </a:lnTo>
                  <a:lnTo>
                    <a:pt x="1680" y="1123"/>
                  </a:lnTo>
                  <a:lnTo>
                    <a:pt x="1678" y="1123"/>
                  </a:lnTo>
                  <a:lnTo>
                    <a:pt x="1678" y="1121"/>
                  </a:lnTo>
                  <a:lnTo>
                    <a:pt x="1678" y="1121"/>
                  </a:lnTo>
                  <a:lnTo>
                    <a:pt x="1678" y="1119"/>
                  </a:lnTo>
                  <a:lnTo>
                    <a:pt x="1678" y="1119"/>
                  </a:lnTo>
                  <a:lnTo>
                    <a:pt x="1676" y="1114"/>
                  </a:lnTo>
                  <a:lnTo>
                    <a:pt x="1673" y="1111"/>
                  </a:lnTo>
                  <a:lnTo>
                    <a:pt x="1673" y="1111"/>
                  </a:lnTo>
                  <a:lnTo>
                    <a:pt x="1671" y="1111"/>
                  </a:lnTo>
                  <a:lnTo>
                    <a:pt x="1668" y="1109"/>
                  </a:lnTo>
                  <a:lnTo>
                    <a:pt x="1668" y="1109"/>
                  </a:lnTo>
                  <a:lnTo>
                    <a:pt x="1668" y="1111"/>
                  </a:lnTo>
                  <a:lnTo>
                    <a:pt x="1668" y="1111"/>
                  </a:lnTo>
                  <a:lnTo>
                    <a:pt x="1666" y="1111"/>
                  </a:lnTo>
                  <a:lnTo>
                    <a:pt x="1666" y="1111"/>
                  </a:lnTo>
                  <a:lnTo>
                    <a:pt x="1664" y="1111"/>
                  </a:lnTo>
                  <a:lnTo>
                    <a:pt x="1664" y="1109"/>
                  </a:lnTo>
                  <a:lnTo>
                    <a:pt x="1661" y="1109"/>
                  </a:lnTo>
                  <a:lnTo>
                    <a:pt x="1661" y="1109"/>
                  </a:lnTo>
                  <a:lnTo>
                    <a:pt x="1661" y="1109"/>
                  </a:lnTo>
                  <a:lnTo>
                    <a:pt x="1661" y="1109"/>
                  </a:lnTo>
                  <a:lnTo>
                    <a:pt x="1661" y="1111"/>
                  </a:lnTo>
                  <a:lnTo>
                    <a:pt x="1659" y="1111"/>
                  </a:lnTo>
                  <a:lnTo>
                    <a:pt x="1659" y="1109"/>
                  </a:lnTo>
                  <a:lnTo>
                    <a:pt x="1659" y="1109"/>
                  </a:lnTo>
                  <a:lnTo>
                    <a:pt x="1657" y="1109"/>
                  </a:lnTo>
                  <a:lnTo>
                    <a:pt x="1657" y="1109"/>
                  </a:lnTo>
                  <a:lnTo>
                    <a:pt x="1657" y="1107"/>
                  </a:lnTo>
                  <a:lnTo>
                    <a:pt x="1657" y="1107"/>
                  </a:lnTo>
                  <a:lnTo>
                    <a:pt x="1657" y="1104"/>
                  </a:lnTo>
                  <a:lnTo>
                    <a:pt x="1657" y="1104"/>
                  </a:lnTo>
                  <a:lnTo>
                    <a:pt x="1657" y="1104"/>
                  </a:lnTo>
                  <a:lnTo>
                    <a:pt x="1659" y="1104"/>
                  </a:lnTo>
                  <a:lnTo>
                    <a:pt x="1659" y="1104"/>
                  </a:lnTo>
                  <a:lnTo>
                    <a:pt x="1659" y="1104"/>
                  </a:lnTo>
                  <a:lnTo>
                    <a:pt x="1659" y="1104"/>
                  </a:lnTo>
                  <a:lnTo>
                    <a:pt x="1659" y="1102"/>
                  </a:lnTo>
                  <a:lnTo>
                    <a:pt x="1659" y="1102"/>
                  </a:lnTo>
                  <a:lnTo>
                    <a:pt x="1659" y="1102"/>
                  </a:lnTo>
                  <a:lnTo>
                    <a:pt x="1659" y="1102"/>
                  </a:lnTo>
                  <a:lnTo>
                    <a:pt x="1659" y="1100"/>
                  </a:lnTo>
                  <a:lnTo>
                    <a:pt x="1659" y="1100"/>
                  </a:lnTo>
                  <a:lnTo>
                    <a:pt x="1661" y="1102"/>
                  </a:lnTo>
                  <a:lnTo>
                    <a:pt x="1661" y="1102"/>
                  </a:lnTo>
                  <a:lnTo>
                    <a:pt x="1661" y="1102"/>
                  </a:lnTo>
                  <a:lnTo>
                    <a:pt x="1661" y="1100"/>
                  </a:lnTo>
                  <a:lnTo>
                    <a:pt x="1661" y="1100"/>
                  </a:lnTo>
                  <a:lnTo>
                    <a:pt x="1661" y="1097"/>
                  </a:lnTo>
                  <a:lnTo>
                    <a:pt x="1661" y="1097"/>
                  </a:lnTo>
                  <a:lnTo>
                    <a:pt x="1661" y="1097"/>
                  </a:lnTo>
                  <a:lnTo>
                    <a:pt x="1661" y="1097"/>
                  </a:lnTo>
                  <a:lnTo>
                    <a:pt x="1661" y="1097"/>
                  </a:lnTo>
                  <a:lnTo>
                    <a:pt x="1661" y="1095"/>
                  </a:lnTo>
                  <a:lnTo>
                    <a:pt x="1661" y="1095"/>
                  </a:lnTo>
                  <a:lnTo>
                    <a:pt x="1661" y="1097"/>
                  </a:lnTo>
                  <a:lnTo>
                    <a:pt x="1661" y="1097"/>
                  </a:lnTo>
                  <a:lnTo>
                    <a:pt x="1661" y="1097"/>
                  </a:lnTo>
                  <a:lnTo>
                    <a:pt x="1664" y="1097"/>
                  </a:lnTo>
                  <a:lnTo>
                    <a:pt x="1664" y="1097"/>
                  </a:lnTo>
                  <a:lnTo>
                    <a:pt x="1661" y="1100"/>
                  </a:lnTo>
                  <a:lnTo>
                    <a:pt x="1661" y="1100"/>
                  </a:lnTo>
                  <a:lnTo>
                    <a:pt x="1661" y="1100"/>
                  </a:lnTo>
                  <a:lnTo>
                    <a:pt x="1661" y="1102"/>
                  </a:lnTo>
                  <a:lnTo>
                    <a:pt x="1661" y="1102"/>
                  </a:lnTo>
                  <a:lnTo>
                    <a:pt x="1661" y="1102"/>
                  </a:lnTo>
                  <a:lnTo>
                    <a:pt x="1661" y="1102"/>
                  </a:lnTo>
                  <a:lnTo>
                    <a:pt x="1661" y="1104"/>
                  </a:lnTo>
                  <a:lnTo>
                    <a:pt x="1661" y="1104"/>
                  </a:lnTo>
                  <a:lnTo>
                    <a:pt x="1661" y="1102"/>
                  </a:lnTo>
                  <a:lnTo>
                    <a:pt x="1661" y="1102"/>
                  </a:lnTo>
                  <a:lnTo>
                    <a:pt x="1661" y="1104"/>
                  </a:lnTo>
                  <a:lnTo>
                    <a:pt x="1661" y="1104"/>
                  </a:lnTo>
                  <a:lnTo>
                    <a:pt x="1664" y="1104"/>
                  </a:lnTo>
                  <a:lnTo>
                    <a:pt x="1664" y="1104"/>
                  </a:lnTo>
                  <a:lnTo>
                    <a:pt x="1664" y="1104"/>
                  </a:lnTo>
                  <a:lnTo>
                    <a:pt x="1664" y="1104"/>
                  </a:lnTo>
                  <a:lnTo>
                    <a:pt x="1664" y="1104"/>
                  </a:lnTo>
                  <a:lnTo>
                    <a:pt x="1666" y="1104"/>
                  </a:lnTo>
                  <a:lnTo>
                    <a:pt x="1666" y="1104"/>
                  </a:lnTo>
                  <a:lnTo>
                    <a:pt x="1666" y="1102"/>
                  </a:lnTo>
                  <a:lnTo>
                    <a:pt x="1666" y="1102"/>
                  </a:lnTo>
                  <a:lnTo>
                    <a:pt x="1666" y="1102"/>
                  </a:lnTo>
                  <a:lnTo>
                    <a:pt x="1666" y="1102"/>
                  </a:lnTo>
                  <a:lnTo>
                    <a:pt x="1664" y="1100"/>
                  </a:lnTo>
                  <a:lnTo>
                    <a:pt x="1666" y="1100"/>
                  </a:lnTo>
                  <a:lnTo>
                    <a:pt x="1666" y="1100"/>
                  </a:lnTo>
                  <a:lnTo>
                    <a:pt x="1666" y="1100"/>
                  </a:lnTo>
                  <a:lnTo>
                    <a:pt x="1666" y="1097"/>
                  </a:lnTo>
                  <a:lnTo>
                    <a:pt x="1664" y="1097"/>
                  </a:lnTo>
                  <a:lnTo>
                    <a:pt x="1664" y="1097"/>
                  </a:lnTo>
                  <a:lnTo>
                    <a:pt x="1664" y="1097"/>
                  </a:lnTo>
                  <a:lnTo>
                    <a:pt x="1666" y="1097"/>
                  </a:lnTo>
                  <a:lnTo>
                    <a:pt x="1666" y="1097"/>
                  </a:lnTo>
                  <a:lnTo>
                    <a:pt x="1666" y="1095"/>
                  </a:lnTo>
                  <a:lnTo>
                    <a:pt x="1666" y="1095"/>
                  </a:lnTo>
                  <a:lnTo>
                    <a:pt x="1666" y="1095"/>
                  </a:lnTo>
                  <a:lnTo>
                    <a:pt x="1666" y="1093"/>
                  </a:lnTo>
                  <a:lnTo>
                    <a:pt x="1666" y="1093"/>
                  </a:lnTo>
                  <a:lnTo>
                    <a:pt x="1666" y="1093"/>
                  </a:lnTo>
                  <a:lnTo>
                    <a:pt x="1666" y="1090"/>
                  </a:lnTo>
                  <a:lnTo>
                    <a:pt x="1666" y="1090"/>
                  </a:lnTo>
                  <a:lnTo>
                    <a:pt x="1666" y="1090"/>
                  </a:lnTo>
                  <a:lnTo>
                    <a:pt x="1666" y="1090"/>
                  </a:lnTo>
                  <a:lnTo>
                    <a:pt x="1666" y="1090"/>
                  </a:lnTo>
                  <a:lnTo>
                    <a:pt x="1666" y="1090"/>
                  </a:lnTo>
                  <a:lnTo>
                    <a:pt x="1666" y="1090"/>
                  </a:lnTo>
                  <a:lnTo>
                    <a:pt x="1664" y="1090"/>
                  </a:lnTo>
                  <a:lnTo>
                    <a:pt x="1664" y="1090"/>
                  </a:lnTo>
                  <a:lnTo>
                    <a:pt x="1664" y="1090"/>
                  </a:lnTo>
                  <a:lnTo>
                    <a:pt x="1664" y="1090"/>
                  </a:lnTo>
                  <a:lnTo>
                    <a:pt x="1664" y="1090"/>
                  </a:lnTo>
                  <a:lnTo>
                    <a:pt x="1664" y="1090"/>
                  </a:lnTo>
                  <a:lnTo>
                    <a:pt x="1664" y="1088"/>
                  </a:lnTo>
                  <a:lnTo>
                    <a:pt x="1666" y="1085"/>
                  </a:lnTo>
                  <a:lnTo>
                    <a:pt x="1666" y="1085"/>
                  </a:lnTo>
                  <a:lnTo>
                    <a:pt x="1666" y="1085"/>
                  </a:lnTo>
                  <a:lnTo>
                    <a:pt x="1666" y="1088"/>
                  </a:lnTo>
                  <a:lnTo>
                    <a:pt x="1666" y="1088"/>
                  </a:lnTo>
                  <a:lnTo>
                    <a:pt x="1666" y="1088"/>
                  </a:lnTo>
                  <a:lnTo>
                    <a:pt x="1668" y="1090"/>
                  </a:lnTo>
                  <a:lnTo>
                    <a:pt x="1668" y="1090"/>
                  </a:lnTo>
                  <a:lnTo>
                    <a:pt x="1668" y="1090"/>
                  </a:lnTo>
                  <a:lnTo>
                    <a:pt x="1668" y="1090"/>
                  </a:lnTo>
                  <a:lnTo>
                    <a:pt x="1671" y="1088"/>
                  </a:lnTo>
                  <a:lnTo>
                    <a:pt x="1671" y="1088"/>
                  </a:lnTo>
                  <a:lnTo>
                    <a:pt x="1671" y="1088"/>
                  </a:lnTo>
                  <a:lnTo>
                    <a:pt x="1671" y="1088"/>
                  </a:lnTo>
                  <a:lnTo>
                    <a:pt x="1671" y="1090"/>
                  </a:lnTo>
                  <a:lnTo>
                    <a:pt x="1671" y="1090"/>
                  </a:lnTo>
                  <a:lnTo>
                    <a:pt x="1673" y="1093"/>
                  </a:lnTo>
                  <a:lnTo>
                    <a:pt x="1673" y="1093"/>
                  </a:lnTo>
                  <a:lnTo>
                    <a:pt x="1673" y="1093"/>
                  </a:lnTo>
                  <a:lnTo>
                    <a:pt x="1673" y="1095"/>
                  </a:lnTo>
                  <a:lnTo>
                    <a:pt x="1673" y="1093"/>
                  </a:lnTo>
                  <a:lnTo>
                    <a:pt x="1673" y="1093"/>
                  </a:lnTo>
                  <a:lnTo>
                    <a:pt x="1671" y="1093"/>
                  </a:lnTo>
                  <a:lnTo>
                    <a:pt x="1671" y="1093"/>
                  </a:lnTo>
                  <a:lnTo>
                    <a:pt x="1671" y="1090"/>
                  </a:lnTo>
                  <a:lnTo>
                    <a:pt x="1671" y="1090"/>
                  </a:lnTo>
                  <a:lnTo>
                    <a:pt x="1671" y="1090"/>
                  </a:lnTo>
                  <a:lnTo>
                    <a:pt x="1668" y="1093"/>
                  </a:lnTo>
                  <a:lnTo>
                    <a:pt x="1668" y="1095"/>
                  </a:lnTo>
                  <a:lnTo>
                    <a:pt x="1668" y="1095"/>
                  </a:lnTo>
                  <a:lnTo>
                    <a:pt x="1668" y="1095"/>
                  </a:lnTo>
                  <a:lnTo>
                    <a:pt x="1668" y="1095"/>
                  </a:lnTo>
                  <a:lnTo>
                    <a:pt x="1668" y="1095"/>
                  </a:lnTo>
                  <a:lnTo>
                    <a:pt x="1668" y="1095"/>
                  </a:lnTo>
                  <a:lnTo>
                    <a:pt x="1668" y="1095"/>
                  </a:lnTo>
                  <a:lnTo>
                    <a:pt x="1671" y="1095"/>
                  </a:lnTo>
                  <a:lnTo>
                    <a:pt x="1671" y="1095"/>
                  </a:lnTo>
                  <a:lnTo>
                    <a:pt x="1668" y="1095"/>
                  </a:lnTo>
                  <a:lnTo>
                    <a:pt x="1666" y="1097"/>
                  </a:lnTo>
                  <a:lnTo>
                    <a:pt x="1666" y="1097"/>
                  </a:lnTo>
                  <a:lnTo>
                    <a:pt x="1666" y="1097"/>
                  </a:lnTo>
                  <a:lnTo>
                    <a:pt x="1666" y="1097"/>
                  </a:lnTo>
                  <a:lnTo>
                    <a:pt x="1666" y="1097"/>
                  </a:lnTo>
                  <a:lnTo>
                    <a:pt x="1668" y="1097"/>
                  </a:lnTo>
                  <a:lnTo>
                    <a:pt x="1666" y="1097"/>
                  </a:lnTo>
                  <a:lnTo>
                    <a:pt x="1666" y="1097"/>
                  </a:lnTo>
                  <a:lnTo>
                    <a:pt x="1666" y="1100"/>
                  </a:lnTo>
                  <a:lnTo>
                    <a:pt x="1666" y="1100"/>
                  </a:lnTo>
                  <a:lnTo>
                    <a:pt x="1666" y="1100"/>
                  </a:lnTo>
                  <a:lnTo>
                    <a:pt x="1666" y="1100"/>
                  </a:lnTo>
                  <a:lnTo>
                    <a:pt x="1666" y="1100"/>
                  </a:lnTo>
                  <a:lnTo>
                    <a:pt x="1668" y="1100"/>
                  </a:lnTo>
                  <a:lnTo>
                    <a:pt x="1666" y="1100"/>
                  </a:lnTo>
                  <a:lnTo>
                    <a:pt x="1668" y="1102"/>
                  </a:lnTo>
                  <a:lnTo>
                    <a:pt x="1668" y="1102"/>
                  </a:lnTo>
                  <a:lnTo>
                    <a:pt x="1668" y="1102"/>
                  </a:lnTo>
                  <a:lnTo>
                    <a:pt x="1671" y="1102"/>
                  </a:lnTo>
                  <a:lnTo>
                    <a:pt x="1671" y="1102"/>
                  </a:lnTo>
                  <a:lnTo>
                    <a:pt x="1671" y="1102"/>
                  </a:lnTo>
                  <a:lnTo>
                    <a:pt x="1671" y="1104"/>
                  </a:lnTo>
                  <a:lnTo>
                    <a:pt x="1673" y="1104"/>
                  </a:lnTo>
                  <a:lnTo>
                    <a:pt x="1673" y="1104"/>
                  </a:lnTo>
                  <a:lnTo>
                    <a:pt x="1671" y="1102"/>
                  </a:lnTo>
                  <a:lnTo>
                    <a:pt x="1671" y="1102"/>
                  </a:lnTo>
                  <a:lnTo>
                    <a:pt x="1671" y="1102"/>
                  </a:lnTo>
                  <a:lnTo>
                    <a:pt x="1671" y="1102"/>
                  </a:lnTo>
                  <a:lnTo>
                    <a:pt x="1671" y="1100"/>
                  </a:lnTo>
                  <a:lnTo>
                    <a:pt x="1671" y="1100"/>
                  </a:lnTo>
                  <a:lnTo>
                    <a:pt x="1671" y="1100"/>
                  </a:lnTo>
                  <a:lnTo>
                    <a:pt x="1671" y="1100"/>
                  </a:lnTo>
                  <a:lnTo>
                    <a:pt x="1673" y="1102"/>
                  </a:lnTo>
                  <a:lnTo>
                    <a:pt x="1673" y="1102"/>
                  </a:lnTo>
                  <a:lnTo>
                    <a:pt x="1673" y="1100"/>
                  </a:lnTo>
                  <a:lnTo>
                    <a:pt x="1676" y="1100"/>
                  </a:lnTo>
                  <a:lnTo>
                    <a:pt x="1676" y="1102"/>
                  </a:lnTo>
                  <a:lnTo>
                    <a:pt x="1676" y="1102"/>
                  </a:lnTo>
                  <a:lnTo>
                    <a:pt x="1678" y="1104"/>
                  </a:lnTo>
                  <a:lnTo>
                    <a:pt x="1678" y="1104"/>
                  </a:lnTo>
                  <a:lnTo>
                    <a:pt x="1678" y="1104"/>
                  </a:lnTo>
                  <a:lnTo>
                    <a:pt x="1678" y="1107"/>
                  </a:lnTo>
                  <a:lnTo>
                    <a:pt x="1678" y="1107"/>
                  </a:lnTo>
                  <a:lnTo>
                    <a:pt x="1678" y="1107"/>
                  </a:lnTo>
                  <a:lnTo>
                    <a:pt x="1680" y="1109"/>
                  </a:lnTo>
                  <a:lnTo>
                    <a:pt x="1680" y="1109"/>
                  </a:lnTo>
                  <a:lnTo>
                    <a:pt x="1680" y="1109"/>
                  </a:lnTo>
                  <a:lnTo>
                    <a:pt x="1680" y="1107"/>
                  </a:lnTo>
                  <a:lnTo>
                    <a:pt x="1680" y="1107"/>
                  </a:lnTo>
                  <a:lnTo>
                    <a:pt x="1680" y="1107"/>
                  </a:lnTo>
                  <a:lnTo>
                    <a:pt x="1683" y="1107"/>
                  </a:lnTo>
                  <a:lnTo>
                    <a:pt x="1685" y="1107"/>
                  </a:lnTo>
                  <a:lnTo>
                    <a:pt x="1685" y="1107"/>
                  </a:lnTo>
                  <a:lnTo>
                    <a:pt x="1685" y="1107"/>
                  </a:lnTo>
                  <a:lnTo>
                    <a:pt x="1683" y="1107"/>
                  </a:lnTo>
                  <a:lnTo>
                    <a:pt x="1683" y="1107"/>
                  </a:lnTo>
                  <a:lnTo>
                    <a:pt x="1683" y="1109"/>
                  </a:lnTo>
                  <a:lnTo>
                    <a:pt x="1683" y="1109"/>
                  </a:lnTo>
                  <a:lnTo>
                    <a:pt x="1683" y="1109"/>
                  </a:lnTo>
                  <a:lnTo>
                    <a:pt x="1683" y="1109"/>
                  </a:lnTo>
                  <a:lnTo>
                    <a:pt x="1683" y="1109"/>
                  </a:lnTo>
                  <a:lnTo>
                    <a:pt x="1683" y="1111"/>
                  </a:lnTo>
                  <a:lnTo>
                    <a:pt x="1685" y="1111"/>
                  </a:lnTo>
                  <a:lnTo>
                    <a:pt x="1685" y="1114"/>
                  </a:lnTo>
                  <a:lnTo>
                    <a:pt x="1685" y="1116"/>
                  </a:lnTo>
                  <a:lnTo>
                    <a:pt x="1685" y="1116"/>
                  </a:lnTo>
                  <a:lnTo>
                    <a:pt x="1687" y="1116"/>
                  </a:lnTo>
                  <a:lnTo>
                    <a:pt x="1687" y="1116"/>
                  </a:lnTo>
                  <a:lnTo>
                    <a:pt x="1687" y="1116"/>
                  </a:lnTo>
                  <a:lnTo>
                    <a:pt x="1687" y="1116"/>
                  </a:lnTo>
                  <a:lnTo>
                    <a:pt x="1687" y="1114"/>
                  </a:lnTo>
                  <a:lnTo>
                    <a:pt x="1687" y="1114"/>
                  </a:lnTo>
                  <a:lnTo>
                    <a:pt x="1690" y="1114"/>
                  </a:lnTo>
                  <a:lnTo>
                    <a:pt x="1690" y="1114"/>
                  </a:lnTo>
                  <a:lnTo>
                    <a:pt x="1690" y="1116"/>
                  </a:lnTo>
                  <a:lnTo>
                    <a:pt x="1692" y="1116"/>
                  </a:lnTo>
                  <a:lnTo>
                    <a:pt x="1692" y="1114"/>
                  </a:lnTo>
                  <a:lnTo>
                    <a:pt x="1692" y="1114"/>
                  </a:lnTo>
                  <a:lnTo>
                    <a:pt x="1692" y="1114"/>
                  </a:lnTo>
                  <a:lnTo>
                    <a:pt x="1692" y="1114"/>
                  </a:lnTo>
                  <a:lnTo>
                    <a:pt x="1692" y="1114"/>
                  </a:lnTo>
                  <a:lnTo>
                    <a:pt x="1690" y="1111"/>
                  </a:lnTo>
                  <a:lnTo>
                    <a:pt x="1690" y="1111"/>
                  </a:lnTo>
                  <a:lnTo>
                    <a:pt x="1690" y="1111"/>
                  </a:lnTo>
                  <a:lnTo>
                    <a:pt x="1692" y="1111"/>
                  </a:lnTo>
                  <a:lnTo>
                    <a:pt x="1692" y="1111"/>
                  </a:lnTo>
                  <a:lnTo>
                    <a:pt x="1694" y="1114"/>
                  </a:lnTo>
                  <a:lnTo>
                    <a:pt x="1694" y="1114"/>
                  </a:lnTo>
                  <a:lnTo>
                    <a:pt x="1694" y="1111"/>
                  </a:lnTo>
                  <a:lnTo>
                    <a:pt x="1697" y="1111"/>
                  </a:lnTo>
                  <a:lnTo>
                    <a:pt x="1697" y="1109"/>
                  </a:lnTo>
                  <a:lnTo>
                    <a:pt x="1697" y="1109"/>
                  </a:lnTo>
                  <a:lnTo>
                    <a:pt x="1699" y="1111"/>
                  </a:lnTo>
                  <a:lnTo>
                    <a:pt x="1699" y="1111"/>
                  </a:lnTo>
                  <a:lnTo>
                    <a:pt x="1699" y="1111"/>
                  </a:lnTo>
                  <a:lnTo>
                    <a:pt x="1699" y="1109"/>
                  </a:lnTo>
                  <a:lnTo>
                    <a:pt x="1699" y="1109"/>
                  </a:lnTo>
                  <a:lnTo>
                    <a:pt x="1699" y="1111"/>
                  </a:lnTo>
                  <a:lnTo>
                    <a:pt x="1702" y="1111"/>
                  </a:lnTo>
                  <a:lnTo>
                    <a:pt x="1702" y="1114"/>
                  </a:lnTo>
                  <a:lnTo>
                    <a:pt x="1704" y="1114"/>
                  </a:lnTo>
                  <a:lnTo>
                    <a:pt x="1704" y="1116"/>
                  </a:lnTo>
                  <a:lnTo>
                    <a:pt x="1704" y="1119"/>
                  </a:lnTo>
                  <a:lnTo>
                    <a:pt x="1704" y="1121"/>
                  </a:lnTo>
                  <a:lnTo>
                    <a:pt x="1706" y="1123"/>
                  </a:lnTo>
                  <a:lnTo>
                    <a:pt x="1706" y="1123"/>
                  </a:lnTo>
                  <a:lnTo>
                    <a:pt x="1706" y="1126"/>
                  </a:lnTo>
                  <a:lnTo>
                    <a:pt x="1706" y="1128"/>
                  </a:lnTo>
                  <a:lnTo>
                    <a:pt x="1706" y="1128"/>
                  </a:lnTo>
                  <a:lnTo>
                    <a:pt x="1706" y="1130"/>
                  </a:lnTo>
                  <a:lnTo>
                    <a:pt x="1706" y="1133"/>
                  </a:lnTo>
                  <a:lnTo>
                    <a:pt x="1709" y="1137"/>
                  </a:lnTo>
                  <a:lnTo>
                    <a:pt x="1709" y="1137"/>
                  </a:lnTo>
                  <a:lnTo>
                    <a:pt x="1709" y="1140"/>
                  </a:lnTo>
                  <a:lnTo>
                    <a:pt x="1709" y="1142"/>
                  </a:lnTo>
                  <a:lnTo>
                    <a:pt x="1711" y="1142"/>
                  </a:lnTo>
                  <a:lnTo>
                    <a:pt x="1711" y="1145"/>
                  </a:lnTo>
                  <a:lnTo>
                    <a:pt x="1711" y="1145"/>
                  </a:lnTo>
                  <a:lnTo>
                    <a:pt x="1713" y="1142"/>
                  </a:lnTo>
                  <a:lnTo>
                    <a:pt x="1713" y="1142"/>
                  </a:lnTo>
                  <a:lnTo>
                    <a:pt x="1713" y="1140"/>
                  </a:lnTo>
                  <a:lnTo>
                    <a:pt x="1713" y="1140"/>
                  </a:lnTo>
                  <a:lnTo>
                    <a:pt x="1713" y="1140"/>
                  </a:lnTo>
                  <a:lnTo>
                    <a:pt x="1713" y="1140"/>
                  </a:lnTo>
                  <a:lnTo>
                    <a:pt x="1713" y="1140"/>
                  </a:lnTo>
                  <a:lnTo>
                    <a:pt x="1711" y="1137"/>
                  </a:lnTo>
                  <a:lnTo>
                    <a:pt x="1713" y="1137"/>
                  </a:lnTo>
                  <a:lnTo>
                    <a:pt x="1711" y="1137"/>
                  </a:lnTo>
                  <a:lnTo>
                    <a:pt x="1711" y="1137"/>
                  </a:lnTo>
                  <a:lnTo>
                    <a:pt x="1711" y="1137"/>
                  </a:lnTo>
                  <a:lnTo>
                    <a:pt x="1711" y="1137"/>
                  </a:lnTo>
                  <a:lnTo>
                    <a:pt x="1709" y="1137"/>
                  </a:lnTo>
                  <a:lnTo>
                    <a:pt x="1711" y="1137"/>
                  </a:lnTo>
                  <a:lnTo>
                    <a:pt x="1711" y="1135"/>
                  </a:lnTo>
                  <a:lnTo>
                    <a:pt x="1716" y="1133"/>
                  </a:lnTo>
                  <a:lnTo>
                    <a:pt x="1716" y="1133"/>
                  </a:lnTo>
                  <a:lnTo>
                    <a:pt x="1716" y="1133"/>
                  </a:lnTo>
                  <a:lnTo>
                    <a:pt x="1718" y="1133"/>
                  </a:lnTo>
                  <a:lnTo>
                    <a:pt x="1718" y="1130"/>
                  </a:lnTo>
                  <a:lnTo>
                    <a:pt x="1718" y="1130"/>
                  </a:lnTo>
                  <a:lnTo>
                    <a:pt x="1721" y="1128"/>
                  </a:lnTo>
                  <a:lnTo>
                    <a:pt x="1723" y="1128"/>
                  </a:lnTo>
                  <a:lnTo>
                    <a:pt x="1723" y="1128"/>
                  </a:lnTo>
                  <a:lnTo>
                    <a:pt x="1721" y="1130"/>
                  </a:lnTo>
                  <a:lnTo>
                    <a:pt x="1716" y="1133"/>
                  </a:lnTo>
                  <a:lnTo>
                    <a:pt x="1716" y="1135"/>
                  </a:lnTo>
                  <a:lnTo>
                    <a:pt x="1718" y="1135"/>
                  </a:lnTo>
                  <a:lnTo>
                    <a:pt x="1721" y="1135"/>
                  </a:lnTo>
                  <a:lnTo>
                    <a:pt x="1721" y="1137"/>
                  </a:lnTo>
                  <a:lnTo>
                    <a:pt x="1721" y="1135"/>
                  </a:lnTo>
                  <a:lnTo>
                    <a:pt x="1721" y="1135"/>
                  </a:lnTo>
                  <a:lnTo>
                    <a:pt x="1723" y="1133"/>
                  </a:lnTo>
                  <a:lnTo>
                    <a:pt x="1723" y="1133"/>
                  </a:lnTo>
                  <a:lnTo>
                    <a:pt x="1723" y="1133"/>
                  </a:lnTo>
                  <a:lnTo>
                    <a:pt x="1723" y="1133"/>
                  </a:lnTo>
                  <a:lnTo>
                    <a:pt x="1723" y="1135"/>
                  </a:lnTo>
                  <a:lnTo>
                    <a:pt x="1723" y="1135"/>
                  </a:lnTo>
                  <a:lnTo>
                    <a:pt x="1723" y="1135"/>
                  </a:lnTo>
                  <a:lnTo>
                    <a:pt x="1728" y="1135"/>
                  </a:lnTo>
                  <a:lnTo>
                    <a:pt x="1728" y="1135"/>
                  </a:lnTo>
                  <a:lnTo>
                    <a:pt x="1728" y="1133"/>
                  </a:lnTo>
                  <a:lnTo>
                    <a:pt x="1730" y="1133"/>
                  </a:lnTo>
                  <a:lnTo>
                    <a:pt x="1730" y="1135"/>
                  </a:lnTo>
                  <a:lnTo>
                    <a:pt x="1730" y="1135"/>
                  </a:lnTo>
                  <a:lnTo>
                    <a:pt x="1728" y="1135"/>
                  </a:lnTo>
                  <a:lnTo>
                    <a:pt x="1728" y="1135"/>
                  </a:lnTo>
                  <a:lnTo>
                    <a:pt x="1728" y="1137"/>
                  </a:lnTo>
                  <a:lnTo>
                    <a:pt x="1728" y="1140"/>
                  </a:lnTo>
                  <a:lnTo>
                    <a:pt x="1728" y="1140"/>
                  </a:lnTo>
                  <a:lnTo>
                    <a:pt x="1730" y="1140"/>
                  </a:lnTo>
                  <a:lnTo>
                    <a:pt x="1730" y="1140"/>
                  </a:lnTo>
                  <a:lnTo>
                    <a:pt x="1730" y="1140"/>
                  </a:lnTo>
                  <a:lnTo>
                    <a:pt x="1730" y="1140"/>
                  </a:lnTo>
                  <a:lnTo>
                    <a:pt x="1730" y="1140"/>
                  </a:lnTo>
                  <a:lnTo>
                    <a:pt x="1730" y="1142"/>
                  </a:lnTo>
                  <a:lnTo>
                    <a:pt x="1730" y="1142"/>
                  </a:lnTo>
                  <a:lnTo>
                    <a:pt x="1730" y="1145"/>
                  </a:lnTo>
                  <a:lnTo>
                    <a:pt x="1728" y="1145"/>
                  </a:lnTo>
                  <a:lnTo>
                    <a:pt x="1728" y="1145"/>
                  </a:lnTo>
                  <a:lnTo>
                    <a:pt x="1728" y="1142"/>
                  </a:lnTo>
                  <a:lnTo>
                    <a:pt x="1728" y="1142"/>
                  </a:lnTo>
                  <a:lnTo>
                    <a:pt x="1728" y="1142"/>
                  </a:lnTo>
                  <a:lnTo>
                    <a:pt x="1728" y="1145"/>
                  </a:lnTo>
                  <a:lnTo>
                    <a:pt x="1728" y="1145"/>
                  </a:lnTo>
                  <a:lnTo>
                    <a:pt x="1725" y="1145"/>
                  </a:lnTo>
                  <a:lnTo>
                    <a:pt x="1725" y="1142"/>
                  </a:lnTo>
                  <a:lnTo>
                    <a:pt x="1725" y="1142"/>
                  </a:lnTo>
                  <a:lnTo>
                    <a:pt x="1725" y="1145"/>
                  </a:lnTo>
                  <a:lnTo>
                    <a:pt x="1725" y="1145"/>
                  </a:lnTo>
                  <a:lnTo>
                    <a:pt x="1725" y="1145"/>
                  </a:lnTo>
                  <a:lnTo>
                    <a:pt x="1723" y="1145"/>
                  </a:lnTo>
                  <a:lnTo>
                    <a:pt x="1723" y="1147"/>
                  </a:lnTo>
                  <a:lnTo>
                    <a:pt x="1723" y="1149"/>
                  </a:lnTo>
                  <a:lnTo>
                    <a:pt x="1723" y="1149"/>
                  </a:lnTo>
                  <a:lnTo>
                    <a:pt x="1725" y="1149"/>
                  </a:lnTo>
                  <a:lnTo>
                    <a:pt x="1725" y="1149"/>
                  </a:lnTo>
                  <a:lnTo>
                    <a:pt x="1725" y="1149"/>
                  </a:lnTo>
                  <a:lnTo>
                    <a:pt x="1725" y="1149"/>
                  </a:lnTo>
                  <a:lnTo>
                    <a:pt x="1725" y="1149"/>
                  </a:lnTo>
                  <a:lnTo>
                    <a:pt x="1725" y="1149"/>
                  </a:lnTo>
                  <a:lnTo>
                    <a:pt x="1728" y="1152"/>
                  </a:lnTo>
                  <a:lnTo>
                    <a:pt x="1728" y="1152"/>
                  </a:lnTo>
                  <a:lnTo>
                    <a:pt x="1728" y="1149"/>
                  </a:lnTo>
                  <a:lnTo>
                    <a:pt x="1730" y="1149"/>
                  </a:lnTo>
                  <a:lnTo>
                    <a:pt x="1730" y="1147"/>
                  </a:lnTo>
                  <a:lnTo>
                    <a:pt x="1732" y="1147"/>
                  </a:lnTo>
                  <a:lnTo>
                    <a:pt x="1730" y="1147"/>
                  </a:lnTo>
                  <a:lnTo>
                    <a:pt x="1730" y="1149"/>
                  </a:lnTo>
                  <a:lnTo>
                    <a:pt x="1730" y="1149"/>
                  </a:lnTo>
                  <a:lnTo>
                    <a:pt x="1730" y="1149"/>
                  </a:lnTo>
                  <a:lnTo>
                    <a:pt x="1730" y="1149"/>
                  </a:lnTo>
                  <a:lnTo>
                    <a:pt x="1732" y="1152"/>
                  </a:lnTo>
                  <a:lnTo>
                    <a:pt x="1735" y="1152"/>
                  </a:lnTo>
                  <a:lnTo>
                    <a:pt x="1735" y="1152"/>
                  </a:lnTo>
                  <a:lnTo>
                    <a:pt x="1735" y="1149"/>
                  </a:lnTo>
                  <a:lnTo>
                    <a:pt x="1735" y="1147"/>
                  </a:lnTo>
                  <a:lnTo>
                    <a:pt x="1735" y="1147"/>
                  </a:lnTo>
                  <a:lnTo>
                    <a:pt x="1735" y="1147"/>
                  </a:lnTo>
                  <a:lnTo>
                    <a:pt x="1735" y="1147"/>
                  </a:lnTo>
                  <a:lnTo>
                    <a:pt x="1735" y="1147"/>
                  </a:lnTo>
                  <a:lnTo>
                    <a:pt x="1735" y="1147"/>
                  </a:lnTo>
                  <a:lnTo>
                    <a:pt x="1737" y="1147"/>
                  </a:lnTo>
                  <a:lnTo>
                    <a:pt x="1737" y="1147"/>
                  </a:lnTo>
                  <a:lnTo>
                    <a:pt x="1737" y="1147"/>
                  </a:lnTo>
                  <a:lnTo>
                    <a:pt x="1737" y="1147"/>
                  </a:lnTo>
                  <a:lnTo>
                    <a:pt x="1737" y="1145"/>
                  </a:lnTo>
                  <a:lnTo>
                    <a:pt x="1737" y="1145"/>
                  </a:lnTo>
                  <a:lnTo>
                    <a:pt x="1737" y="1142"/>
                  </a:lnTo>
                  <a:lnTo>
                    <a:pt x="1737" y="1142"/>
                  </a:lnTo>
                  <a:lnTo>
                    <a:pt x="1735" y="1145"/>
                  </a:lnTo>
                  <a:lnTo>
                    <a:pt x="1735" y="1142"/>
                  </a:lnTo>
                  <a:lnTo>
                    <a:pt x="1735" y="1142"/>
                  </a:lnTo>
                  <a:lnTo>
                    <a:pt x="1739" y="1142"/>
                  </a:lnTo>
                  <a:lnTo>
                    <a:pt x="1739" y="1140"/>
                  </a:lnTo>
                  <a:lnTo>
                    <a:pt x="1739" y="1140"/>
                  </a:lnTo>
                  <a:lnTo>
                    <a:pt x="1739" y="1140"/>
                  </a:lnTo>
                  <a:lnTo>
                    <a:pt x="1739" y="1142"/>
                  </a:lnTo>
                  <a:lnTo>
                    <a:pt x="1742" y="1142"/>
                  </a:lnTo>
                  <a:lnTo>
                    <a:pt x="1742" y="1142"/>
                  </a:lnTo>
                  <a:lnTo>
                    <a:pt x="1747" y="1142"/>
                  </a:lnTo>
                  <a:lnTo>
                    <a:pt x="1744" y="1142"/>
                  </a:lnTo>
                  <a:lnTo>
                    <a:pt x="1744" y="1145"/>
                  </a:lnTo>
                  <a:lnTo>
                    <a:pt x="1747" y="1145"/>
                  </a:lnTo>
                  <a:lnTo>
                    <a:pt x="1747" y="1145"/>
                  </a:lnTo>
                  <a:lnTo>
                    <a:pt x="1744" y="1145"/>
                  </a:lnTo>
                  <a:lnTo>
                    <a:pt x="1742" y="1145"/>
                  </a:lnTo>
                  <a:lnTo>
                    <a:pt x="1742" y="1145"/>
                  </a:lnTo>
                  <a:lnTo>
                    <a:pt x="1739" y="1145"/>
                  </a:lnTo>
                  <a:lnTo>
                    <a:pt x="1739" y="1145"/>
                  </a:lnTo>
                  <a:lnTo>
                    <a:pt x="1737" y="1147"/>
                  </a:lnTo>
                  <a:lnTo>
                    <a:pt x="1737" y="1147"/>
                  </a:lnTo>
                  <a:lnTo>
                    <a:pt x="1737" y="1149"/>
                  </a:lnTo>
                  <a:lnTo>
                    <a:pt x="1737" y="1152"/>
                  </a:lnTo>
                  <a:lnTo>
                    <a:pt x="1737" y="1152"/>
                  </a:lnTo>
                  <a:lnTo>
                    <a:pt x="1737" y="1154"/>
                  </a:lnTo>
                  <a:lnTo>
                    <a:pt x="1742" y="1156"/>
                  </a:lnTo>
                  <a:lnTo>
                    <a:pt x="1742" y="1156"/>
                  </a:lnTo>
                  <a:lnTo>
                    <a:pt x="1744" y="1159"/>
                  </a:lnTo>
                  <a:lnTo>
                    <a:pt x="1744" y="1159"/>
                  </a:lnTo>
                  <a:lnTo>
                    <a:pt x="1744" y="1161"/>
                  </a:lnTo>
                  <a:lnTo>
                    <a:pt x="1747" y="1161"/>
                  </a:lnTo>
                  <a:lnTo>
                    <a:pt x="1749" y="1159"/>
                  </a:lnTo>
                  <a:lnTo>
                    <a:pt x="1749" y="1159"/>
                  </a:lnTo>
                  <a:lnTo>
                    <a:pt x="1754" y="1161"/>
                  </a:lnTo>
                  <a:lnTo>
                    <a:pt x="1756" y="1161"/>
                  </a:lnTo>
                  <a:lnTo>
                    <a:pt x="1756" y="1161"/>
                  </a:lnTo>
                  <a:lnTo>
                    <a:pt x="1756" y="1161"/>
                  </a:lnTo>
                  <a:lnTo>
                    <a:pt x="1756" y="1161"/>
                  </a:lnTo>
                  <a:lnTo>
                    <a:pt x="1756" y="1161"/>
                  </a:lnTo>
                  <a:lnTo>
                    <a:pt x="1758" y="1161"/>
                  </a:lnTo>
                  <a:lnTo>
                    <a:pt x="1758" y="1163"/>
                  </a:lnTo>
                  <a:lnTo>
                    <a:pt x="1761" y="1163"/>
                  </a:lnTo>
                  <a:lnTo>
                    <a:pt x="1763" y="1166"/>
                  </a:lnTo>
                  <a:lnTo>
                    <a:pt x="1765" y="1168"/>
                  </a:lnTo>
                  <a:lnTo>
                    <a:pt x="1765" y="1168"/>
                  </a:lnTo>
                  <a:lnTo>
                    <a:pt x="1765" y="1168"/>
                  </a:lnTo>
                  <a:lnTo>
                    <a:pt x="1768" y="1173"/>
                  </a:lnTo>
                  <a:lnTo>
                    <a:pt x="1768" y="1173"/>
                  </a:lnTo>
                  <a:lnTo>
                    <a:pt x="1768" y="1173"/>
                  </a:lnTo>
                  <a:lnTo>
                    <a:pt x="1768" y="1175"/>
                  </a:lnTo>
                  <a:lnTo>
                    <a:pt x="1768" y="1175"/>
                  </a:lnTo>
                  <a:lnTo>
                    <a:pt x="1768" y="1175"/>
                  </a:lnTo>
                  <a:lnTo>
                    <a:pt x="1768" y="1178"/>
                  </a:lnTo>
                  <a:lnTo>
                    <a:pt x="1768" y="1178"/>
                  </a:lnTo>
                  <a:lnTo>
                    <a:pt x="1768" y="1178"/>
                  </a:lnTo>
                  <a:lnTo>
                    <a:pt x="1765" y="1178"/>
                  </a:lnTo>
                  <a:lnTo>
                    <a:pt x="1763" y="1178"/>
                  </a:lnTo>
                  <a:lnTo>
                    <a:pt x="1763" y="1180"/>
                  </a:lnTo>
                  <a:lnTo>
                    <a:pt x="1763" y="1180"/>
                  </a:lnTo>
                  <a:lnTo>
                    <a:pt x="1761" y="1182"/>
                  </a:lnTo>
                  <a:lnTo>
                    <a:pt x="1761" y="1185"/>
                  </a:lnTo>
                  <a:lnTo>
                    <a:pt x="1761" y="1185"/>
                  </a:lnTo>
                  <a:lnTo>
                    <a:pt x="1761" y="1185"/>
                  </a:lnTo>
                  <a:lnTo>
                    <a:pt x="1758" y="1185"/>
                  </a:lnTo>
                  <a:lnTo>
                    <a:pt x="1758" y="1185"/>
                  </a:lnTo>
                  <a:lnTo>
                    <a:pt x="1756" y="1185"/>
                  </a:lnTo>
                  <a:lnTo>
                    <a:pt x="1756" y="1182"/>
                  </a:lnTo>
                  <a:lnTo>
                    <a:pt x="1749" y="1185"/>
                  </a:lnTo>
                  <a:lnTo>
                    <a:pt x="1747" y="1185"/>
                  </a:lnTo>
                  <a:lnTo>
                    <a:pt x="1744" y="1187"/>
                  </a:lnTo>
                  <a:lnTo>
                    <a:pt x="1744" y="1187"/>
                  </a:lnTo>
                  <a:lnTo>
                    <a:pt x="1744" y="1187"/>
                  </a:lnTo>
                  <a:lnTo>
                    <a:pt x="1744" y="1189"/>
                  </a:lnTo>
                  <a:lnTo>
                    <a:pt x="1744" y="1189"/>
                  </a:lnTo>
                  <a:lnTo>
                    <a:pt x="1744" y="1192"/>
                  </a:lnTo>
                  <a:lnTo>
                    <a:pt x="1744" y="1192"/>
                  </a:lnTo>
                  <a:lnTo>
                    <a:pt x="1744" y="1194"/>
                  </a:lnTo>
                  <a:lnTo>
                    <a:pt x="1747" y="1194"/>
                  </a:lnTo>
                  <a:lnTo>
                    <a:pt x="1747" y="1197"/>
                  </a:lnTo>
                  <a:lnTo>
                    <a:pt x="1747" y="1197"/>
                  </a:lnTo>
                  <a:lnTo>
                    <a:pt x="1749" y="1197"/>
                  </a:lnTo>
                  <a:lnTo>
                    <a:pt x="1749" y="1197"/>
                  </a:lnTo>
                  <a:lnTo>
                    <a:pt x="1749" y="1199"/>
                  </a:lnTo>
                  <a:lnTo>
                    <a:pt x="1749" y="1201"/>
                  </a:lnTo>
                  <a:lnTo>
                    <a:pt x="1747" y="1204"/>
                  </a:lnTo>
                  <a:lnTo>
                    <a:pt x="1747" y="1206"/>
                  </a:lnTo>
                  <a:lnTo>
                    <a:pt x="1749" y="1211"/>
                  </a:lnTo>
                  <a:lnTo>
                    <a:pt x="1751" y="1211"/>
                  </a:lnTo>
                  <a:lnTo>
                    <a:pt x="1756" y="1206"/>
                  </a:lnTo>
                  <a:lnTo>
                    <a:pt x="1763" y="1201"/>
                  </a:lnTo>
                  <a:lnTo>
                    <a:pt x="1763" y="1199"/>
                  </a:lnTo>
                  <a:lnTo>
                    <a:pt x="1763" y="1197"/>
                  </a:lnTo>
                  <a:lnTo>
                    <a:pt x="1763" y="1197"/>
                  </a:lnTo>
                  <a:lnTo>
                    <a:pt x="1768" y="1194"/>
                  </a:lnTo>
                  <a:lnTo>
                    <a:pt x="1768" y="1194"/>
                  </a:lnTo>
                  <a:lnTo>
                    <a:pt x="1770" y="1192"/>
                  </a:lnTo>
                  <a:lnTo>
                    <a:pt x="1773" y="1189"/>
                  </a:lnTo>
                  <a:lnTo>
                    <a:pt x="1773" y="1187"/>
                  </a:lnTo>
                  <a:lnTo>
                    <a:pt x="1770" y="1185"/>
                  </a:lnTo>
                  <a:lnTo>
                    <a:pt x="1770" y="1185"/>
                  </a:lnTo>
                  <a:lnTo>
                    <a:pt x="1770" y="1182"/>
                  </a:lnTo>
                  <a:lnTo>
                    <a:pt x="1770" y="1182"/>
                  </a:lnTo>
                  <a:lnTo>
                    <a:pt x="1773" y="1182"/>
                  </a:lnTo>
                  <a:lnTo>
                    <a:pt x="1773" y="1180"/>
                  </a:lnTo>
                  <a:lnTo>
                    <a:pt x="1773" y="1182"/>
                  </a:lnTo>
                  <a:lnTo>
                    <a:pt x="1773" y="1182"/>
                  </a:lnTo>
                  <a:lnTo>
                    <a:pt x="1775" y="1182"/>
                  </a:lnTo>
                  <a:lnTo>
                    <a:pt x="1775" y="1185"/>
                  </a:lnTo>
                  <a:lnTo>
                    <a:pt x="1775" y="1185"/>
                  </a:lnTo>
                  <a:lnTo>
                    <a:pt x="1777" y="1187"/>
                  </a:lnTo>
                  <a:lnTo>
                    <a:pt x="1780" y="1187"/>
                  </a:lnTo>
                  <a:lnTo>
                    <a:pt x="1780" y="1187"/>
                  </a:lnTo>
                  <a:lnTo>
                    <a:pt x="1780" y="1187"/>
                  </a:lnTo>
                  <a:lnTo>
                    <a:pt x="1782" y="1187"/>
                  </a:lnTo>
                  <a:lnTo>
                    <a:pt x="1782" y="1187"/>
                  </a:lnTo>
                  <a:lnTo>
                    <a:pt x="1782" y="1187"/>
                  </a:lnTo>
                  <a:lnTo>
                    <a:pt x="1782" y="1185"/>
                  </a:lnTo>
                  <a:lnTo>
                    <a:pt x="1782" y="1182"/>
                  </a:lnTo>
                  <a:lnTo>
                    <a:pt x="1782" y="1182"/>
                  </a:lnTo>
                  <a:lnTo>
                    <a:pt x="1782" y="1182"/>
                  </a:lnTo>
                  <a:lnTo>
                    <a:pt x="1782" y="1182"/>
                  </a:lnTo>
                  <a:lnTo>
                    <a:pt x="1782" y="1180"/>
                  </a:lnTo>
                  <a:lnTo>
                    <a:pt x="1782" y="1180"/>
                  </a:lnTo>
                  <a:lnTo>
                    <a:pt x="1782" y="1180"/>
                  </a:lnTo>
                  <a:lnTo>
                    <a:pt x="1784" y="1178"/>
                  </a:lnTo>
                  <a:lnTo>
                    <a:pt x="1784" y="1178"/>
                  </a:lnTo>
                  <a:lnTo>
                    <a:pt x="1784" y="1178"/>
                  </a:lnTo>
                  <a:lnTo>
                    <a:pt x="1784" y="1178"/>
                  </a:lnTo>
                  <a:lnTo>
                    <a:pt x="1784" y="1175"/>
                  </a:lnTo>
                  <a:lnTo>
                    <a:pt x="1784" y="1175"/>
                  </a:lnTo>
                  <a:lnTo>
                    <a:pt x="1784" y="1175"/>
                  </a:lnTo>
                  <a:lnTo>
                    <a:pt x="1787" y="1175"/>
                  </a:lnTo>
                  <a:lnTo>
                    <a:pt x="1787" y="1173"/>
                  </a:lnTo>
                  <a:lnTo>
                    <a:pt x="1787" y="1173"/>
                  </a:lnTo>
                  <a:lnTo>
                    <a:pt x="1787" y="1173"/>
                  </a:lnTo>
                  <a:lnTo>
                    <a:pt x="1789" y="1175"/>
                  </a:lnTo>
                  <a:lnTo>
                    <a:pt x="1789" y="1175"/>
                  </a:lnTo>
                  <a:lnTo>
                    <a:pt x="1791" y="1175"/>
                  </a:lnTo>
                  <a:lnTo>
                    <a:pt x="1791" y="1175"/>
                  </a:lnTo>
                  <a:lnTo>
                    <a:pt x="1791" y="1178"/>
                  </a:lnTo>
                  <a:lnTo>
                    <a:pt x="1791" y="1178"/>
                  </a:lnTo>
                  <a:lnTo>
                    <a:pt x="1791" y="1178"/>
                  </a:lnTo>
                  <a:lnTo>
                    <a:pt x="1789" y="1178"/>
                  </a:lnTo>
                  <a:lnTo>
                    <a:pt x="1789" y="1178"/>
                  </a:lnTo>
                  <a:lnTo>
                    <a:pt x="1789" y="1180"/>
                  </a:lnTo>
                  <a:lnTo>
                    <a:pt x="1789" y="1180"/>
                  </a:lnTo>
                  <a:lnTo>
                    <a:pt x="1789" y="1178"/>
                  </a:lnTo>
                  <a:lnTo>
                    <a:pt x="1789" y="1178"/>
                  </a:lnTo>
                  <a:lnTo>
                    <a:pt x="1784" y="1180"/>
                  </a:lnTo>
                  <a:lnTo>
                    <a:pt x="1784" y="1180"/>
                  </a:lnTo>
                  <a:lnTo>
                    <a:pt x="1784" y="1182"/>
                  </a:lnTo>
                  <a:lnTo>
                    <a:pt x="1784" y="1182"/>
                  </a:lnTo>
                  <a:lnTo>
                    <a:pt x="1784" y="1185"/>
                  </a:lnTo>
                  <a:lnTo>
                    <a:pt x="1784" y="1182"/>
                  </a:lnTo>
                  <a:lnTo>
                    <a:pt x="1787" y="1182"/>
                  </a:lnTo>
                  <a:lnTo>
                    <a:pt x="1787" y="1182"/>
                  </a:lnTo>
                  <a:lnTo>
                    <a:pt x="1784" y="1185"/>
                  </a:lnTo>
                  <a:lnTo>
                    <a:pt x="1784" y="1185"/>
                  </a:lnTo>
                  <a:lnTo>
                    <a:pt x="1787" y="1182"/>
                  </a:lnTo>
                  <a:lnTo>
                    <a:pt x="1789" y="1182"/>
                  </a:lnTo>
                  <a:lnTo>
                    <a:pt x="1787" y="1185"/>
                  </a:lnTo>
                  <a:lnTo>
                    <a:pt x="1784" y="1185"/>
                  </a:lnTo>
                  <a:lnTo>
                    <a:pt x="1784" y="1187"/>
                  </a:lnTo>
                  <a:lnTo>
                    <a:pt x="1787" y="1185"/>
                  </a:lnTo>
                  <a:lnTo>
                    <a:pt x="1791" y="1182"/>
                  </a:lnTo>
                  <a:lnTo>
                    <a:pt x="1791" y="1182"/>
                  </a:lnTo>
                  <a:lnTo>
                    <a:pt x="1791" y="1182"/>
                  </a:lnTo>
                  <a:lnTo>
                    <a:pt x="1791" y="1185"/>
                  </a:lnTo>
                  <a:lnTo>
                    <a:pt x="1791" y="1185"/>
                  </a:lnTo>
                  <a:lnTo>
                    <a:pt x="1791" y="1185"/>
                  </a:lnTo>
                  <a:lnTo>
                    <a:pt x="1794" y="1185"/>
                  </a:lnTo>
                  <a:lnTo>
                    <a:pt x="1794" y="1187"/>
                  </a:lnTo>
                  <a:lnTo>
                    <a:pt x="1794" y="1187"/>
                  </a:lnTo>
                  <a:lnTo>
                    <a:pt x="1791" y="1187"/>
                  </a:lnTo>
                  <a:lnTo>
                    <a:pt x="1791" y="1189"/>
                  </a:lnTo>
                  <a:lnTo>
                    <a:pt x="1789" y="1189"/>
                  </a:lnTo>
                  <a:lnTo>
                    <a:pt x="1789" y="1189"/>
                  </a:lnTo>
                  <a:lnTo>
                    <a:pt x="1789" y="1192"/>
                  </a:lnTo>
                  <a:lnTo>
                    <a:pt x="1787" y="1192"/>
                  </a:lnTo>
                  <a:lnTo>
                    <a:pt x="1787" y="1192"/>
                  </a:lnTo>
                  <a:lnTo>
                    <a:pt x="1787" y="1192"/>
                  </a:lnTo>
                  <a:lnTo>
                    <a:pt x="1789" y="1192"/>
                  </a:lnTo>
                  <a:lnTo>
                    <a:pt x="1791" y="1192"/>
                  </a:lnTo>
                  <a:lnTo>
                    <a:pt x="1791" y="1192"/>
                  </a:lnTo>
                  <a:lnTo>
                    <a:pt x="1791" y="1194"/>
                  </a:lnTo>
                  <a:lnTo>
                    <a:pt x="1791" y="1194"/>
                  </a:lnTo>
                  <a:lnTo>
                    <a:pt x="1791" y="1194"/>
                  </a:lnTo>
                  <a:lnTo>
                    <a:pt x="1796" y="1192"/>
                  </a:lnTo>
                  <a:lnTo>
                    <a:pt x="1796" y="1192"/>
                  </a:lnTo>
                  <a:lnTo>
                    <a:pt x="1794" y="1189"/>
                  </a:lnTo>
                  <a:lnTo>
                    <a:pt x="1794" y="1189"/>
                  </a:lnTo>
                  <a:lnTo>
                    <a:pt x="1794" y="1189"/>
                  </a:lnTo>
                  <a:lnTo>
                    <a:pt x="1791" y="1192"/>
                  </a:lnTo>
                  <a:lnTo>
                    <a:pt x="1791" y="1189"/>
                  </a:lnTo>
                  <a:lnTo>
                    <a:pt x="1794" y="1189"/>
                  </a:lnTo>
                  <a:lnTo>
                    <a:pt x="1794" y="1189"/>
                  </a:lnTo>
                  <a:lnTo>
                    <a:pt x="1794" y="1189"/>
                  </a:lnTo>
                  <a:lnTo>
                    <a:pt x="1794" y="1189"/>
                  </a:lnTo>
                  <a:lnTo>
                    <a:pt x="1794" y="1189"/>
                  </a:lnTo>
                  <a:lnTo>
                    <a:pt x="1794" y="1187"/>
                  </a:lnTo>
                  <a:lnTo>
                    <a:pt x="1796" y="1187"/>
                  </a:lnTo>
                  <a:lnTo>
                    <a:pt x="1796" y="1187"/>
                  </a:lnTo>
                  <a:lnTo>
                    <a:pt x="1796" y="1189"/>
                  </a:lnTo>
                  <a:lnTo>
                    <a:pt x="1796" y="1192"/>
                  </a:lnTo>
                  <a:lnTo>
                    <a:pt x="1796" y="1192"/>
                  </a:lnTo>
                  <a:lnTo>
                    <a:pt x="1796" y="1192"/>
                  </a:lnTo>
                  <a:lnTo>
                    <a:pt x="1794" y="1194"/>
                  </a:lnTo>
                  <a:lnTo>
                    <a:pt x="1794" y="1194"/>
                  </a:lnTo>
                  <a:lnTo>
                    <a:pt x="1794" y="1194"/>
                  </a:lnTo>
                  <a:lnTo>
                    <a:pt x="1794" y="1197"/>
                  </a:lnTo>
                  <a:lnTo>
                    <a:pt x="1794" y="1197"/>
                  </a:lnTo>
                  <a:lnTo>
                    <a:pt x="1796" y="1197"/>
                  </a:lnTo>
                  <a:lnTo>
                    <a:pt x="1799" y="1199"/>
                  </a:lnTo>
                  <a:lnTo>
                    <a:pt x="1799" y="1199"/>
                  </a:lnTo>
                  <a:lnTo>
                    <a:pt x="1799" y="1199"/>
                  </a:lnTo>
                  <a:lnTo>
                    <a:pt x="1801" y="1199"/>
                  </a:lnTo>
                  <a:lnTo>
                    <a:pt x="1801" y="1201"/>
                  </a:lnTo>
                  <a:lnTo>
                    <a:pt x="1801" y="1201"/>
                  </a:lnTo>
                  <a:lnTo>
                    <a:pt x="1801" y="1204"/>
                  </a:lnTo>
                  <a:lnTo>
                    <a:pt x="1801" y="1204"/>
                  </a:lnTo>
                  <a:lnTo>
                    <a:pt x="1803" y="1204"/>
                  </a:lnTo>
                  <a:lnTo>
                    <a:pt x="1803" y="1204"/>
                  </a:lnTo>
                  <a:lnTo>
                    <a:pt x="1803" y="1206"/>
                  </a:lnTo>
                  <a:lnTo>
                    <a:pt x="1803" y="1206"/>
                  </a:lnTo>
                  <a:lnTo>
                    <a:pt x="1806" y="1206"/>
                  </a:lnTo>
                  <a:lnTo>
                    <a:pt x="1806" y="1206"/>
                  </a:lnTo>
                  <a:lnTo>
                    <a:pt x="1806" y="1206"/>
                  </a:lnTo>
                  <a:lnTo>
                    <a:pt x="1806" y="1206"/>
                  </a:lnTo>
                  <a:lnTo>
                    <a:pt x="1808" y="1206"/>
                  </a:lnTo>
                  <a:lnTo>
                    <a:pt x="1810" y="1206"/>
                  </a:lnTo>
                  <a:lnTo>
                    <a:pt x="1810" y="1208"/>
                  </a:lnTo>
                  <a:lnTo>
                    <a:pt x="1810" y="1208"/>
                  </a:lnTo>
                  <a:lnTo>
                    <a:pt x="1810" y="1206"/>
                  </a:lnTo>
                  <a:lnTo>
                    <a:pt x="1815" y="1206"/>
                  </a:lnTo>
                  <a:lnTo>
                    <a:pt x="1815" y="1206"/>
                  </a:lnTo>
                  <a:lnTo>
                    <a:pt x="1815" y="1206"/>
                  </a:lnTo>
                  <a:lnTo>
                    <a:pt x="1815" y="1208"/>
                  </a:lnTo>
                  <a:lnTo>
                    <a:pt x="1815" y="1208"/>
                  </a:lnTo>
                  <a:lnTo>
                    <a:pt x="1818" y="1206"/>
                  </a:lnTo>
                  <a:lnTo>
                    <a:pt x="1818" y="1206"/>
                  </a:lnTo>
                  <a:lnTo>
                    <a:pt x="1818" y="1204"/>
                  </a:lnTo>
                  <a:lnTo>
                    <a:pt x="1818" y="1204"/>
                  </a:lnTo>
                  <a:lnTo>
                    <a:pt x="1818" y="1204"/>
                  </a:lnTo>
                  <a:lnTo>
                    <a:pt x="1818" y="1204"/>
                  </a:lnTo>
                  <a:lnTo>
                    <a:pt x="1818" y="1201"/>
                  </a:lnTo>
                  <a:lnTo>
                    <a:pt x="1815" y="1201"/>
                  </a:lnTo>
                  <a:lnTo>
                    <a:pt x="1813" y="1199"/>
                  </a:lnTo>
                  <a:lnTo>
                    <a:pt x="1813" y="1199"/>
                  </a:lnTo>
                  <a:lnTo>
                    <a:pt x="1813" y="1199"/>
                  </a:lnTo>
                  <a:lnTo>
                    <a:pt x="1813" y="1199"/>
                  </a:lnTo>
                  <a:lnTo>
                    <a:pt x="1813" y="1199"/>
                  </a:lnTo>
                  <a:lnTo>
                    <a:pt x="1813" y="1199"/>
                  </a:lnTo>
                  <a:lnTo>
                    <a:pt x="1813" y="1199"/>
                  </a:lnTo>
                  <a:lnTo>
                    <a:pt x="1813" y="1197"/>
                  </a:lnTo>
                  <a:lnTo>
                    <a:pt x="1813" y="1197"/>
                  </a:lnTo>
                  <a:lnTo>
                    <a:pt x="1813" y="1197"/>
                  </a:lnTo>
                  <a:lnTo>
                    <a:pt x="1810" y="1197"/>
                  </a:lnTo>
                  <a:lnTo>
                    <a:pt x="1810" y="1197"/>
                  </a:lnTo>
                  <a:lnTo>
                    <a:pt x="1810" y="1197"/>
                  </a:lnTo>
                  <a:lnTo>
                    <a:pt x="1810" y="1194"/>
                  </a:lnTo>
                  <a:lnTo>
                    <a:pt x="1808" y="1194"/>
                  </a:lnTo>
                  <a:lnTo>
                    <a:pt x="1808" y="1194"/>
                  </a:lnTo>
                  <a:lnTo>
                    <a:pt x="1808" y="1194"/>
                  </a:lnTo>
                  <a:lnTo>
                    <a:pt x="1808" y="1194"/>
                  </a:lnTo>
                  <a:lnTo>
                    <a:pt x="1808" y="1194"/>
                  </a:lnTo>
                  <a:lnTo>
                    <a:pt x="1808" y="1192"/>
                  </a:lnTo>
                  <a:lnTo>
                    <a:pt x="1808" y="1192"/>
                  </a:lnTo>
                  <a:lnTo>
                    <a:pt x="1810" y="1194"/>
                  </a:lnTo>
                  <a:lnTo>
                    <a:pt x="1810" y="1194"/>
                  </a:lnTo>
                  <a:lnTo>
                    <a:pt x="1810" y="1194"/>
                  </a:lnTo>
                  <a:lnTo>
                    <a:pt x="1810" y="1192"/>
                  </a:lnTo>
                  <a:lnTo>
                    <a:pt x="1813" y="1192"/>
                  </a:lnTo>
                  <a:lnTo>
                    <a:pt x="1813" y="1194"/>
                  </a:lnTo>
                  <a:lnTo>
                    <a:pt x="1813" y="1194"/>
                  </a:lnTo>
                  <a:lnTo>
                    <a:pt x="1813" y="1194"/>
                  </a:lnTo>
                  <a:lnTo>
                    <a:pt x="1815" y="1192"/>
                  </a:lnTo>
                  <a:lnTo>
                    <a:pt x="1815" y="1194"/>
                  </a:lnTo>
                  <a:lnTo>
                    <a:pt x="1818" y="1194"/>
                  </a:lnTo>
                  <a:lnTo>
                    <a:pt x="1818" y="1194"/>
                  </a:lnTo>
                  <a:lnTo>
                    <a:pt x="1818" y="1194"/>
                  </a:lnTo>
                  <a:lnTo>
                    <a:pt x="1818" y="1194"/>
                  </a:lnTo>
                  <a:lnTo>
                    <a:pt x="1818" y="1194"/>
                  </a:lnTo>
                  <a:lnTo>
                    <a:pt x="1820" y="1194"/>
                  </a:lnTo>
                  <a:lnTo>
                    <a:pt x="1820" y="1197"/>
                  </a:lnTo>
                  <a:lnTo>
                    <a:pt x="1818" y="1199"/>
                  </a:lnTo>
                  <a:lnTo>
                    <a:pt x="1818" y="1199"/>
                  </a:lnTo>
                  <a:lnTo>
                    <a:pt x="1820" y="1199"/>
                  </a:lnTo>
                  <a:lnTo>
                    <a:pt x="1820" y="1197"/>
                  </a:lnTo>
                  <a:lnTo>
                    <a:pt x="1820" y="1199"/>
                  </a:lnTo>
                  <a:lnTo>
                    <a:pt x="1820" y="1199"/>
                  </a:lnTo>
                  <a:lnTo>
                    <a:pt x="1820" y="1201"/>
                  </a:lnTo>
                  <a:lnTo>
                    <a:pt x="1820" y="1201"/>
                  </a:lnTo>
                  <a:lnTo>
                    <a:pt x="1818" y="1201"/>
                  </a:lnTo>
                  <a:lnTo>
                    <a:pt x="1820" y="1204"/>
                  </a:lnTo>
                  <a:lnTo>
                    <a:pt x="1822" y="1204"/>
                  </a:lnTo>
                  <a:lnTo>
                    <a:pt x="1822" y="1204"/>
                  </a:lnTo>
                  <a:lnTo>
                    <a:pt x="1820" y="1206"/>
                  </a:lnTo>
                  <a:lnTo>
                    <a:pt x="1820" y="1206"/>
                  </a:lnTo>
                  <a:lnTo>
                    <a:pt x="1820" y="1206"/>
                  </a:lnTo>
                  <a:lnTo>
                    <a:pt x="1818" y="1206"/>
                  </a:lnTo>
                  <a:lnTo>
                    <a:pt x="1818" y="1208"/>
                  </a:lnTo>
                  <a:lnTo>
                    <a:pt x="1818" y="1211"/>
                  </a:lnTo>
                  <a:lnTo>
                    <a:pt x="1818" y="1211"/>
                  </a:lnTo>
                  <a:lnTo>
                    <a:pt x="1818" y="1211"/>
                  </a:lnTo>
                  <a:lnTo>
                    <a:pt x="1818" y="1213"/>
                  </a:lnTo>
                  <a:lnTo>
                    <a:pt x="1820" y="1213"/>
                  </a:lnTo>
                  <a:lnTo>
                    <a:pt x="1820" y="1213"/>
                  </a:lnTo>
                  <a:lnTo>
                    <a:pt x="1820" y="1216"/>
                  </a:lnTo>
                  <a:lnTo>
                    <a:pt x="1822" y="1216"/>
                  </a:lnTo>
                  <a:lnTo>
                    <a:pt x="1822" y="1216"/>
                  </a:lnTo>
                  <a:lnTo>
                    <a:pt x="1825" y="1218"/>
                  </a:lnTo>
                  <a:lnTo>
                    <a:pt x="1825" y="1218"/>
                  </a:lnTo>
                  <a:lnTo>
                    <a:pt x="1827" y="1218"/>
                  </a:lnTo>
                  <a:lnTo>
                    <a:pt x="1829" y="1218"/>
                  </a:lnTo>
                  <a:lnTo>
                    <a:pt x="1829" y="1218"/>
                  </a:lnTo>
                  <a:lnTo>
                    <a:pt x="1827" y="1218"/>
                  </a:lnTo>
                  <a:lnTo>
                    <a:pt x="1827" y="1218"/>
                  </a:lnTo>
                  <a:lnTo>
                    <a:pt x="1827" y="1218"/>
                  </a:lnTo>
                  <a:lnTo>
                    <a:pt x="1827" y="1218"/>
                  </a:lnTo>
                  <a:lnTo>
                    <a:pt x="1827" y="1220"/>
                  </a:lnTo>
                  <a:lnTo>
                    <a:pt x="1827" y="1220"/>
                  </a:lnTo>
                  <a:lnTo>
                    <a:pt x="1827" y="1220"/>
                  </a:lnTo>
                  <a:lnTo>
                    <a:pt x="1827" y="1220"/>
                  </a:lnTo>
                  <a:lnTo>
                    <a:pt x="1829" y="1223"/>
                  </a:lnTo>
                  <a:lnTo>
                    <a:pt x="1829" y="1223"/>
                  </a:lnTo>
                  <a:lnTo>
                    <a:pt x="1829" y="1220"/>
                  </a:lnTo>
                  <a:lnTo>
                    <a:pt x="1829" y="1220"/>
                  </a:lnTo>
                  <a:lnTo>
                    <a:pt x="1829" y="1220"/>
                  </a:lnTo>
                  <a:lnTo>
                    <a:pt x="1829" y="1220"/>
                  </a:lnTo>
                  <a:lnTo>
                    <a:pt x="1827" y="1220"/>
                  </a:lnTo>
                  <a:lnTo>
                    <a:pt x="1829" y="1220"/>
                  </a:lnTo>
                  <a:lnTo>
                    <a:pt x="1829" y="1218"/>
                  </a:lnTo>
                  <a:lnTo>
                    <a:pt x="1832" y="1216"/>
                  </a:lnTo>
                  <a:lnTo>
                    <a:pt x="1832" y="1216"/>
                  </a:lnTo>
                  <a:lnTo>
                    <a:pt x="1832" y="1216"/>
                  </a:lnTo>
                  <a:lnTo>
                    <a:pt x="1832" y="1216"/>
                  </a:lnTo>
                  <a:lnTo>
                    <a:pt x="1832" y="1216"/>
                  </a:lnTo>
                  <a:lnTo>
                    <a:pt x="1834" y="1216"/>
                  </a:lnTo>
                  <a:lnTo>
                    <a:pt x="1834" y="1216"/>
                  </a:lnTo>
                  <a:lnTo>
                    <a:pt x="1834" y="1213"/>
                  </a:lnTo>
                  <a:lnTo>
                    <a:pt x="1834" y="1213"/>
                  </a:lnTo>
                  <a:lnTo>
                    <a:pt x="1832" y="1211"/>
                  </a:lnTo>
                  <a:lnTo>
                    <a:pt x="1834" y="1211"/>
                  </a:lnTo>
                  <a:lnTo>
                    <a:pt x="1834" y="1211"/>
                  </a:lnTo>
                  <a:lnTo>
                    <a:pt x="1834" y="1211"/>
                  </a:lnTo>
                  <a:lnTo>
                    <a:pt x="1834" y="1211"/>
                  </a:lnTo>
                  <a:lnTo>
                    <a:pt x="1834" y="1211"/>
                  </a:lnTo>
                  <a:lnTo>
                    <a:pt x="1834" y="1211"/>
                  </a:lnTo>
                  <a:lnTo>
                    <a:pt x="1834" y="1211"/>
                  </a:lnTo>
                  <a:lnTo>
                    <a:pt x="1836" y="1211"/>
                  </a:lnTo>
                  <a:lnTo>
                    <a:pt x="1834" y="1211"/>
                  </a:lnTo>
                  <a:lnTo>
                    <a:pt x="1834" y="1211"/>
                  </a:lnTo>
                  <a:lnTo>
                    <a:pt x="1834" y="1213"/>
                  </a:lnTo>
                  <a:lnTo>
                    <a:pt x="1834" y="1213"/>
                  </a:lnTo>
                  <a:lnTo>
                    <a:pt x="1834" y="1213"/>
                  </a:lnTo>
                  <a:lnTo>
                    <a:pt x="1834" y="1213"/>
                  </a:lnTo>
                  <a:lnTo>
                    <a:pt x="1834" y="1213"/>
                  </a:lnTo>
                  <a:lnTo>
                    <a:pt x="1834" y="1216"/>
                  </a:lnTo>
                  <a:lnTo>
                    <a:pt x="1834" y="1216"/>
                  </a:lnTo>
                  <a:lnTo>
                    <a:pt x="1834" y="1216"/>
                  </a:lnTo>
                  <a:lnTo>
                    <a:pt x="1834" y="1216"/>
                  </a:lnTo>
                  <a:lnTo>
                    <a:pt x="1832" y="1216"/>
                  </a:lnTo>
                  <a:lnTo>
                    <a:pt x="1832" y="1216"/>
                  </a:lnTo>
                  <a:lnTo>
                    <a:pt x="1832" y="1216"/>
                  </a:lnTo>
                  <a:lnTo>
                    <a:pt x="1832" y="1218"/>
                  </a:lnTo>
                  <a:lnTo>
                    <a:pt x="1832" y="1218"/>
                  </a:lnTo>
                  <a:lnTo>
                    <a:pt x="1832" y="1218"/>
                  </a:lnTo>
                  <a:lnTo>
                    <a:pt x="1832" y="1218"/>
                  </a:lnTo>
                  <a:lnTo>
                    <a:pt x="1832" y="1218"/>
                  </a:lnTo>
                  <a:lnTo>
                    <a:pt x="1832" y="1218"/>
                  </a:lnTo>
                  <a:lnTo>
                    <a:pt x="1832" y="1218"/>
                  </a:lnTo>
                  <a:lnTo>
                    <a:pt x="1834" y="1218"/>
                  </a:lnTo>
                  <a:lnTo>
                    <a:pt x="1834" y="1220"/>
                  </a:lnTo>
                  <a:lnTo>
                    <a:pt x="1834" y="1220"/>
                  </a:lnTo>
                  <a:lnTo>
                    <a:pt x="1834" y="1220"/>
                  </a:lnTo>
                  <a:lnTo>
                    <a:pt x="1834" y="1220"/>
                  </a:lnTo>
                  <a:lnTo>
                    <a:pt x="1834" y="1220"/>
                  </a:lnTo>
                  <a:lnTo>
                    <a:pt x="1836" y="1220"/>
                  </a:lnTo>
                  <a:lnTo>
                    <a:pt x="1836" y="1218"/>
                  </a:lnTo>
                  <a:lnTo>
                    <a:pt x="1834" y="1218"/>
                  </a:lnTo>
                  <a:lnTo>
                    <a:pt x="1834" y="1218"/>
                  </a:lnTo>
                  <a:lnTo>
                    <a:pt x="1834" y="1218"/>
                  </a:lnTo>
                  <a:lnTo>
                    <a:pt x="1834" y="1218"/>
                  </a:lnTo>
                  <a:lnTo>
                    <a:pt x="1836" y="1218"/>
                  </a:lnTo>
                  <a:lnTo>
                    <a:pt x="1836" y="1218"/>
                  </a:lnTo>
                  <a:lnTo>
                    <a:pt x="1836" y="1218"/>
                  </a:lnTo>
                  <a:lnTo>
                    <a:pt x="1836" y="1218"/>
                  </a:lnTo>
                  <a:lnTo>
                    <a:pt x="1836" y="1218"/>
                  </a:lnTo>
                  <a:lnTo>
                    <a:pt x="1839" y="1218"/>
                  </a:lnTo>
                  <a:lnTo>
                    <a:pt x="1839" y="1218"/>
                  </a:lnTo>
                  <a:lnTo>
                    <a:pt x="1839" y="1218"/>
                  </a:lnTo>
                  <a:lnTo>
                    <a:pt x="1839" y="1218"/>
                  </a:lnTo>
                  <a:lnTo>
                    <a:pt x="1839" y="1220"/>
                  </a:lnTo>
                  <a:lnTo>
                    <a:pt x="1839" y="1220"/>
                  </a:lnTo>
                  <a:lnTo>
                    <a:pt x="1839" y="1220"/>
                  </a:lnTo>
                  <a:lnTo>
                    <a:pt x="1839" y="1220"/>
                  </a:lnTo>
                  <a:lnTo>
                    <a:pt x="1839" y="1220"/>
                  </a:lnTo>
                  <a:lnTo>
                    <a:pt x="1839" y="1220"/>
                  </a:lnTo>
                  <a:lnTo>
                    <a:pt x="1839" y="1220"/>
                  </a:lnTo>
                  <a:lnTo>
                    <a:pt x="1839" y="1220"/>
                  </a:lnTo>
                  <a:lnTo>
                    <a:pt x="1841" y="1220"/>
                  </a:lnTo>
                  <a:lnTo>
                    <a:pt x="1841" y="1220"/>
                  </a:lnTo>
                  <a:lnTo>
                    <a:pt x="1841" y="1220"/>
                  </a:lnTo>
                  <a:lnTo>
                    <a:pt x="1841" y="1220"/>
                  </a:lnTo>
                  <a:lnTo>
                    <a:pt x="1841" y="1220"/>
                  </a:lnTo>
                  <a:lnTo>
                    <a:pt x="1844" y="1220"/>
                  </a:lnTo>
                  <a:lnTo>
                    <a:pt x="1844" y="1220"/>
                  </a:lnTo>
                  <a:lnTo>
                    <a:pt x="1844" y="1220"/>
                  </a:lnTo>
                  <a:lnTo>
                    <a:pt x="1844" y="1220"/>
                  </a:lnTo>
                  <a:lnTo>
                    <a:pt x="1844" y="1218"/>
                  </a:lnTo>
                  <a:lnTo>
                    <a:pt x="1844" y="1218"/>
                  </a:lnTo>
                  <a:lnTo>
                    <a:pt x="1844" y="1218"/>
                  </a:lnTo>
                  <a:lnTo>
                    <a:pt x="1844" y="1218"/>
                  </a:lnTo>
                  <a:lnTo>
                    <a:pt x="1844" y="1218"/>
                  </a:lnTo>
                  <a:lnTo>
                    <a:pt x="1844" y="1220"/>
                  </a:lnTo>
                  <a:lnTo>
                    <a:pt x="1844" y="1223"/>
                  </a:lnTo>
                  <a:lnTo>
                    <a:pt x="1846" y="1223"/>
                  </a:lnTo>
                  <a:lnTo>
                    <a:pt x="1846" y="1225"/>
                  </a:lnTo>
                  <a:lnTo>
                    <a:pt x="1846" y="1227"/>
                  </a:lnTo>
                  <a:lnTo>
                    <a:pt x="1846" y="1227"/>
                  </a:lnTo>
                  <a:lnTo>
                    <a:pt x="1848" y="1230"/>
                  </a:lnTo>
                  <a:lnTo>
                    <a:pt x="1848" y="1230"/>
                  </a:lnTo>
                  <a:lnTo>
                    <a:pt x="1848" y="1230"/>
                  </a:lnTo>
                  <a:lnTo>
                    <a:pt x="1848" y="1230"/>
                  </a:lnTo>
                  <a:lnTo>
                    <a:pt x="1848" y="1230"/>
                  </a:lnTo>
                  <a:lnTo>
                    <a:pt x="1848" y="1232"/>
                  </a:lnTo>
                  <a:lnTo>
                    <a:pt x="1848" y="1232"/>
                  </a:lnTo>
                  <a:lnTo>
                    <a:pt x="1848" y="1232"/>
                  </a:lnTo>
                  <a:lnTo>
                    <a:pt x="1848" y="1232"/>
                  </a:lnTo>
                  <a:lnTo>
                    <a:pt x="1851" y="1232"/>
                  </a:lnTo>
                  <a:lnTo>
                    <a:pt x="1851" y="1232"/>
                  </a:lnTo>
                  <a:lnTo>
                    <a:pt x="1851" y="1234"/>
                  </a:lnTo>
                  <a:lnTo>
                    <a:pt x="1851" y="1234"/>
                  </a:lnTo>
                  <a:lnTo>
                    <a:pt x="1851" y="1234"/>
                  </a:lnTo>
                  <a:lnTo>
                    <a:pt x="1851" y="1234"/>
                  </a:lnTo>
                  <a:lnTo>
                    <a:pt x="1851" y="1234"/>
                  </a:lnTo>
                  <a:lnTo>
                    <a:pt x="1851" y="1237"/>
                  </a:lnTo>
                  <a:lnTo>
                    <a:pt x="1851" y="1237"/>
                  </a:lnTo>
                  <a:lnTo>
                    <a:pt x="1851" y="1237"/>
                  </a:lnTo>
                  <a:lnTo>
                    <a:pt x="1851" y="1239"/>
                  </a:lnTo>
                  <a:lnTo>
                    <a:pt x="1851" y="1239"/>
                  </a:lnTo>
                  <a:lnTo>
                    <a:pt x="1851" y="1237"/>
                  </a:lnTo>
                  <a:lnTo>
                    <a:pt x="1851" y="1237"/>
                  </a:lnTo>
                  <a:lnTo>
                    <a:pt x="1851" y="1239"/>
                  </a:lnTo>
                  <a:lnTo>
                    <a:pt x="1851" y="1239"/>
                  </a:lnTo>
                  <a:lnTo>
                    <a:pt x="1851" y="1239"/>
                  </a:lnTo>
                  <a:lnTo>
                    <a:pt x="1853" y="1242"/>
                  </a:lnTo>
                  <a:lnTo>
                    <a:pt x="1853" y="1242"/>
                  </a:lnTo>
                  <a:lnTo>
                    <a:pt x="1855" y="1242"/>
                  </a:lnTo>
                  <a:lnTo>
                    <a:pt x="1855" y="1242"/>
                  </a:lnTo>
                  <a:lnTo>
                    <a:pt x="1855" y="1242"/>
                  </a:lnTo>
                  <a:lnTo>
                    <a:pt x="1855" y="1242"/>
                  </a:lnTo>
                  <a:lnTo>
                    <a:pt x="1855" y="1242"/>
                  </a:lnTo>
                  <a:lnTo>
                    <a:pt x="1855" y="1242"/>
                  </a:lnTo>
                  <a:lnTo>
                    <a:pt x="1858" y="1244"/>
                  </a:lnTo>
                  <a:lnTo>
                    <a:pt x="1858" y="1244"/>
                  </a:lnTo>
                  <a:lnTo>
                    <a:pt x="1858" y="1244"/>
                  </a:lnTo>
                  <a:lnTo>
                    <a:pt x="1858" y="1244"/>
                  </a:lnTo>
                  <a:lnTo>
                    <a:pt x="1860" y="1244"/>
                  </a:lnTo>
                  <a:lnTo>
                    <a:pt x="1860" y="1244"/>
                  </a:lnTo>
                  <a:lnTo>
                    <a:pt x="1860" y="1244"/>
                  </a:lnTo>
                  <a:lnTo>
                    <a:pt x="1860" y="1246"/>
                  </a:lnTo>
                  <a:lnTo>
                    <a:pt x="1860" y="1246"/>
                  </a:lnTo>
                  <a:lnTo>
                    <a:pt x="1860" y="1246"/>
                  </a:lnTo>
                  <a:lnTo>
                    <a:pt x="1862" y="1246"/>
                  </a:lnTo>
                  <a:lnTo>
                    <a:pt x="1862" y="1249"/>
                  </a:lnTo>
                  <a:lnTo>
                    <a:pt x="1860" y="1249"/>
                  </a:lnTo>
                  <a:lnTo>
                    <a:pt x="1860" y="1251"/>
                  </a:lnTo>
                  <a:lnTo>
                    <a:pt x="1860" y="1251"/>
                  </a:lnTo>
                  <a:lnTo>
                    <a:pt x="1860" y="1253"/>
                  </a:lnTo>
                  <a:lnTo>
                    <a:pt x="1862" y="1253"/>
                  </a:lnTo>
                  <a:lnTo>
                    <a:pt x="1862" y="1253"/>
                  </a:lnTo>
                  <a:lnTo>
                    <a:pt x="1862" y="1253"/>
                  </a:lnTo>
                  <a:lnTo>
                    <a:pt x="1862" y="1253"/>
                  </a:lnTo>
                  <a:lnTo>
                    <a:pt x="1862" y="1256"/>
                  </a:lnTo>
                  <a:lnTo>
                    <a:pt x="1862" y="1256"/>
                  </a:lnTo>
                  <a:lnTo>
                    <a:pt x="1865" y="1253"/>
                  </a:lnTo>
                  <a:lnTo>
                    <a:pt x="1865" y="1256"/>
                  </a:lnTo>
                  <a:lnTo>
                    <a:pt x="1867" y="1256"/>
                  </a:lnTo>
                  <a:lnTo>
                    <a:pt x="1867" y="1256"/>
                  </a:lnTo>
                  <a:lnTo>
                    <a:pt x="1867" y="1258"/>
                  </a:lnTo>
                  <a:lnTo>
                    <a:pt x="1867" y="1258"/>
                  </a:lnTo>
                  <a:lnTo>
                    <a:pt x="1867" y="1258"/>
                  </a:lnTo>
                  <a:lnTo>
                    <a:pt x="1867" y="1258"/>
                  </a:lnTo>
                  <a:lnTo>
                    <a:pt x="1867" y="1258"/>
                  </a:lnTo>
                  <a:lnTo>
                    <a:pt x="1870" y="1260"/>
                  </a:lnTo>
                  <a:lnTo>
                    <a:pt x="1870" y="1260"/>
                  </a:lnTo>
                  <a:lnTo>
                    <a:pt x="1870" y="1260"/>
                  </a:lnTo>
                  <a:lnTo>
                    <a:pt x="1867" y="1263"/>
                  </a:lnTo>
                  <a:lnTo>
                    <a:pt x="1867" y="1263"/>
                  </a:lnTo>
                  <a:lnTo>
                    <a:pt x="1870" y="1265"/>
                  </a:lnTo>
                  <a:lnTo>
                    <a:pt x="1870" y="1265"/>
                  </a:lnTo>
                  <a:lnTo>
                    <a:pt x="1870" y="1268"/>
                  </a:lnTo>
                  <a:lnTo>
                    <a:pt x="1872" y="1268"/>
                  </a:lnTo>
                  <a:lnTo>
                    <a:pt x="1872" y="1270"/>
                  </a:lnTo>
                  <a:lnTo>
                    <a:pt x="1874" y="1270"/>
                  </a:lnTo>
                  <a:lnTo>
                    <a:pt x="1874" y="1272"/>
                  </a:lnTo>
                  <a:lnTo>
                    <a:pt x="1874" y="1275"/>
                  </a:lnTo>
                  <a:lnTo>
                    <a:pt x="1879" y="1275"/>
                  </a:lnTo>
                  <a:lnTo>
                    <a:pt x="1879" y="1277"/>
                  </a:lnTo>
                  <a:lnTo>
                    <a:pt x="1877" y="1277"/>
                  </a:lnTo>
                  <a:lnTo>
                    <a:pt x="1877" y="1279"/>
                  </a:lnTo>
                  <a:lnTo>
                    <a:pt x="1877" y="1279"/>
                  </a:lnTo>
                  <a:lnTo>
                    <a:pt x="1879" y="1282"/>
                  </a:lnTo>
                  <a:lnTo>
                    <a:pt x="1879" y="1282"/>
                  </a:lnTo>
                  <a:lnTo>
                    <a:pt x="1879" y="1284"/>
                  </a:lnTo>
                  <a:lnTo>
                    <a:pt x="1879" y="1284"/>
                  </a:lnTo>
                  <a:lnTo>
                    <a:pt x="1877" y="1286"/>
                  </a:lnTo>
                  <a:lnTo>
                    <a:pt x="1877" y="1289"/>
                  </a:lnTo>
                  <a:lnTo>
                    <a:pt x="1874" y="1289"/>
                  </a:lnTo>
                  <a:lnTo>
                    <a:pt x="1870" y="1291"/>
                  </a:lnTo>
                  <a:lnTo>
                    <a:pt x="1870" y="1291"/>
                  </a:lnTo>
                  <a:lnTo>
                    <a:pt x="1867" y="1294"/>
                  </a:lnTo>
                  <a:lnTo>
                    <a:pt x="1867" y="1296"/>
                  </a:lnTo>
                  <a:lnTo>
                    <a:pt x="1867" y="1301"/>
                  </a:lnTo>
                  <a:lnTo>
                    <a:pt x="1867" y="1301"/>
                  </a:lnTo>
                  <a:lnTo>
                    <a:pt x="1867" y="1303"/>
                  </a:lnTo>
                  <a:lnTo>
                    <a:pt x="1867" y="1303"/>
                  </a:lnTo>
                  <a:lnTo>
                    <a:pt x="1867" y="1303"/>
                  </a:lnTo>
                  <a:lnTo>
                    <a:pt x="1867" y="1303"/>
                  </a:lnTo>
                  <a:lnTo>
                    <a:pt x="1867" y="1305"/>
                  </a:lnTo>
                  <a:lnTo>
                    <a:pt x="1867" y="1310"/>
                  </a:lnTo>
                  <a:lnTo>
                    <a:pt x="1867" y="1313"/>
                  </a:lnTo>
                  <a:lnTo>
                    <a:pt x="1867" y="1313"/>
                  </a:lnTo>
                  <a:lnTo>
                    <a:pt x="1870" y="1315"/>
                  </a:lnTo>
                  <a:lnTo>
                    <a:pt x="1867" y="1315"/>
                  </a:lnTo>
                  <a:lnTo>
                    <a:pt x="1865" y="1317"/>
                  </a:lnTo>
                  <a:lnTo>
                    <a:pt x="1865" y="1317"/>
                  </a:lnTo>
                  <a:lnTo>
                    <a:pt x="1862" y="1320"/>
                  </a:lnTo>
                  <a:lnTo>
                    <a:pt x="1862" y="1320"/>
                  </a:lnTo>
                  <a:lnTo>
                    <a:pt x="1862" y="1320"/>
                  </a:lnTo>
                  <a:lnTo>
                    <a:pt x="1860" y="1322"/>
                  </a:lnTo>
                  <a:lnTo>
                    <a:pt x="1860" y="1322"/>
                  </a:lnTo>
                  <a:lnTo>
                    <a:pt x="1860" y="1322"/>
                  </a:lnTo>
                  <a:lnTo>
                    <a:pt x="1860" y="1324"/>
                  </a:lnTo>
                  <a:lnTo>
                    <a:pt x="1860" y="1327"/>
                  </a:lnTo>
                  <a:lnTo>
                    <a:pt x="1860" y="1329"/>
                  </a:lnTo>
                  <a:lnTo>
                    <a:pt x="1860" y="1329"/>
                  </a:lnTo>
                  <a:lnTo>
                    <a:pt x="1853" y="1336"/>
                  </a:lnTo>
                  <a:lnTo>
                    <a:pt x="1853" y="1341"/>
                  </a:lnTo>
                  <a:lnTo>
                    <a:pt x="1853" y="1341"/>
                  </a:lnTo>
                  <a:lnTo>
                    <a:pt x="1851" y="1341"/>
                  </a:lnTo>
                  <a:lnTo>
                    <a:pt x="1851" y="1343"/>
                  </a:lnTo>
                  <a:lnTo>
                    <a:pt x="1851" y="1343"/>
                  </a:lnTo>
                  <a:lnTo>
                    <a:pt x="1851" y="1343"/>
                  </a:lnTo>
                  <a:lnTo>
                    <a:pt x="1851" y="1343"/>
                  </a:lnTo>
                  <a:lnTo>
                    <a:pt x="1851" y="1346"/>
                  </a:lnTo>
                  <a:lnTo>
                    <a:pt x="1851" y="1346"/>
                  </a:lnTo>
                  <a:lnTo>
                    <a:pt x="1848" y="1346"/>
                  </a:lnTo>
                  <a:lnTo>
                    <a:pt x="1848" y="1346"/>
                  </a:lnTo>
                  <a:lnTo>
                    <a:pt x="1848" y="1346"/>
                  </a:lnTo>
                  <a:lnTo>
                    <a:pt x="1848" y="1346"/>
                  </a:lnTo>
                  <a:lnTo>
                    <a:pt x="1848" y="1348"/>
                  </a:lnTo>
                  <a:lnTo>
                    <a:pt x="1848" y="1348"/>
                  </a:lnTo>
                  <a:lnTo>
                    <a:pt x="1848" y="1348"/>
                  </a:lnTo>
                  <a:lnTo>
                    <a:pt x="1848" y="1348"/>
                  </a:lnTo>
                  <a:lnTo>
                    <a:pt x="1841" y="1355"/>
                  </a:lnTo>
                  <a:lnTo>
                    <a:pt x="1841" y="1357"/>
                  </a:lnTo>
                  <a:lnTo>
                    <a:pt x="1839" y="1360"/>
                  </a:lnTo>
                  <a:lnTo>
                    <a:pt x="1839" y="1360"/>
                  </a:lnTo>
                  <a:lnTo>
                    <a:pt x="1839" y="1362"/>
                  </a:lnTo>
                  <a:lnTo>
                    <a:pt x="1841" y="1362"/>
                  </a:lnTo>
                  <a:lnTo>
                    <a:pt x="1841" y="1365"/>
                  </a:lnTo>
                  <a:lnTo>
                    <a:pt x="1848" y="1369"/>
                  </a:lnTo>
                  <a:lnTo>
                    <a:pt x="1848" y="1369"/>
                  </a:lnTo>
                  <a:lnTo>
                    <a:pt x="1848" y="1369"/>
                  </a:lnTo>
                  <a:lnTo>
                    <a:pt x="1848" y="1369"/>
                  </a:lnTo>
                  <a:lnTo>
                    <a:pt x="1851" y="1372"/>
                  </a:lnTo>
                  <a:lnTo>
                    <a:pt x="1851" y="1374"/>
                  </a:lnTo>
                  <a:lnTo>
                    <a:pt x="1853" y="1374"/>
                  </a:lnTo>
                  <a:lnTo>
                    <a:pt x="1855" y="1376"/>
                  </a:lnTo>
                  <a:lnTo>
                    <a:pt x="1858" y="1376"/>
                  </a:lnTo>
                  <a:lnTo>
                    <a:pt x="1858" y="1376"/>
                  </a:lnTo>
                  <a:lnTo>
                    <a:pt x="1858" y="1379"/>
                  </a:lnTo>
                  <a:lnTo>
                    <a:pt x="1860" y="1379"/>
                  </a:lnTo>
                  <a:lnTo>
                    <a:pt x="1860" y="1379"/>
                  </a:lnTo>
                  <a:lnTo>
                    <a:pt x="1862" y="1379"/>
                  </a:lnTo>
                  <a:lnTo>
                    <a:pt x="1865" y="1379"/>
                  </a:lnTo>
                  <a:lnTo>
                    <a:pt x="1865" y="1381"/>
                  </a:lnTo>
                  <a:lnTo>
                    <a:pt x="1865" y="1381"/>
                  </a:lnTo>
                  <a:lnTo>
                    <a:pt x="1865" y="1381"/>
                  </a:lnTo>
                  <a:lnTo>
                    <a:pt x="1867" y="1381"/>
                  </a:lnTo>
                  <a:lnTo>
                    <a:pt x="1867" y="1383"/>
                  </a:lnTo>
                  <a:lnTo>
                    <a:pt x="1865" y="1383"/>
                  </a:lnTo>
                  <a:lnTo>
                    <a:pt x="1865" y="1383"/>
                  </a:lnTo>
                  <a:lnTo>
                    <a:pt x="1865" y="1383"/>
                  </a:lnTo>
                  <a:lnTo>
                    <a:pt x="1867" y="1386"/>
                  </a:lnTo>
                  <a:lnTo>
                    <a:pt x="1867" y="1386"/>
                  </a:lnTo>
                  <a:lnTo>
                    <a:pt x="1867" y="1386"/>
                  </a:lnTo>
                  <a:lnTo>
                    <a:pt x="1867" y="1386"/>
                  </a:lnTo>
                  <a:lnTo>
                    <a:pt x="1867" y="1386"/>
                  </a:lnTo>
                  <a:lnTo>
                    <a:pt x="1867" y="1386"/>
                  </a:lnTo>
                  <a:lnTo>
                    <a:pt x="1870" y="1386"/>
                  </a:lnTo>
                  <a:lnTo>
                    <a:pt x="1870" y="1386"/>
                  </a:lnTo>
                  <a:lnTo>
                    <a:pt x="1870" y="1388"/>
                  </a:lnTo>
                  <a:lnTo>
                    <a:pt x="1870" y="1388"/>
                  </a:lnTo>
                  <a:lnTo>
                    <a:pt x="1870" y="1388"/>
                  </a:lnTo>
                  <a:lnTo>
                    <a:pt x="1870" y="1388"/>
                  </a:lnTo>
                  <a:lnTo>
                    <a:pt x="1870" y="1391"/>
                  </a:lnTo>
                  <a:lnTo>
                    <a:pt x="1870" y="1391"/>
                  </a:lnTo>
                  <a:lnTo>
                    <a:pt x="1872" y="1393"/>
                  </a:lnTo>
                  <a:lnTo>
                    <a:pt x="1874" y="1395"/>
                  </a:lnTo>
                  <a:lnTo>
                    <a:pt x="1874" y="1395"/>
                  </a:lnTo>
                  <a:lnTo>
                    <a:pt x="1874" y="1395"/>
                  </a:lnTo>
                  <a:lnTo>
                    <a:pt x="1874" y="1395"/>
                  </a:lnTo>
                  <a:lnTo>
                    <a:pt x="1874" y="1395"/>
                  </a:lnTo>
                  <a:lnTo>
                    <a:pt x="1874" y="1398"/>
                  </a:lnTo>
                  <a:lnTo>
                    <a:pt x="1874" y="1398"/>
                  </a:lnTo>
                  <a:lnTo>
                    <a:pt x="1874" y="1398"/>
                  </a:lnTo>
                  <a:lnTo>
                    <a:pt x="1874" y="1398"/>
                  </a:lnTo>
                  <a:lnTo>
                    <a:pt x="1874" y="1398"/>
                  </a:lnTo>
                  <a:lnTo>
                    <a:pt x="1872" y="1398"/>
                  </a:lnTo>
                  <a:lnTo>
                    <a:pt x="1872" y="1398"/>
                  </a:lnTo>
                  <a:lnTo>
                    <a:pt x="1872" y="1398"/>
                  </a:lnTo>
                  <a:lnTo>
                    <a:pt x="1870" y="1400"/>
                  </a:lnTo>
                  <a:lnTo>
                    <a:pt x="1870" y="1398"/>
                  </a:lnTo>
                  <a:lnTo>
                    <a:pt x="1870" y="1398"/>
                  </a:lnTo>
                  <a:lnTo>
                    <a:pt x="1867" y="1398"/>
                  </a:lnTo>
                  <a:lnTo>
                    <a:pt x="1867" y="1398"/>
                  </a:lnTo>
                  <a:lnTo>
                    <a:pt x="1867" y="1395"/>
                  </a:lnTo>
                  <a:lnTo>
                    <a:pt x="1867" y="1395"/>
                  </a:lnTo>
                  <a:lnTo>
                    <a:pt x="1867" y="1395"/>
                  </a:lnTo>
                  <a:lnTo>
                    <a:pt x="1865" y="1395"/>
                  </a:lnTo>
                  <a:lnTo>
                    <a:pt x="1862" y="1395"/>
                  </a:lnTo>
                  <a:lnTo>
                    <a:pt x="1862" y="1398"/>
                  </a:lnTo>
                  <a:lnTo>
                    <a:pt x="1862" y="1398"/>
                  </a:lnTo>
                  <a:lnTo>
                    <a:pt x="1860" y="1398"/>
                  </a:lnTo>
                  <a:lnTo>
                    <a:pt x="1860" y="1398"/>
                  </a:lnTo>
                  <a:lnTo>
                    <a:pt x="1860" y="1398"/>
                  </a:lnTo>
                  <a:lnTo>
                    <a:pt x="1860" y="1398"/>
                  </a:lnTo>
                  <a:lnTo>
                    <a:pt x="1858" y="1398"/>
                  </a:lnTo>
                  <a:lnTo>
                    <a:pt x="1858" y="1398"/>
                  </a:lnTo>
                  <a:lnTo>
                    <a:pt x="1858" y="1398"/>
                  </a:lnTo>
                  <a:lnTo>
                    <a:pt x="1858" y="1398"/>
                  </a:lnTo>
                  <a:lnTo>
                    <a:pt x="1858" y="1398"/>
                  </a:lnTo>
                  <a:lnTo>
                    <a:pt x="1855" y="1398"/>
                  </a:lnTo>
                  <a:lnTo>
                    <a:pt x="1855" y="1398"/>
                  </a:lnTo>
                  <a:lnTo>
                    <a:pt x="1855" y="1400"/>
                  </a:lnTo>
                  <a:lnTo>
                    <a:pt x="1858" y="1400"/>
                  </a:lnTo>
                  <a:lnTo>
                    <a:pt x="1858" y="1400"/>
                  </a:lnTo>
                  <a:lnTo>
                    <a:pt x="1858" y="1400"/>
                  </a:lnTo>
                  <a:lnTo>
                    <a:pt x="1853" y="1402"/>
                  </a:lnTo>
                  <a:lnTo>
                    <a:pt x="1853" y="1402"/>
                  </a:lnTo>
                  <a:lnTo>
                    <a:pt x="1853" y="1405"/>
                  </a:lnTo>
                  <a:lnTo>
                    <a:pt x="1853" y="1407"/>
                  </a:lnTo>
                  <a:lnTo>
                    <a:pt x="1853" y="1407"/>
                  </a:lnTo>
                  <a:lnTo>
                    <a:pt x="1853" y="1407"/>
                  </a:lnTo>
                  <a:lnTo>
                    <a:pt x="1851" y="1409"/>
                  </a:lnTo>
                  <a:lnTo>
                    <a:pt x="1851" y="1412"/>
                  </a:lnTo>
                  <a:lnTo>
                    <a:pt x="1848" y="1412"/>
                  </a:lnTo>
                  <a:lnTo>
                    <a:pt x="1848" y="1412"/>
                  </a:lnTo>
                  <a:lnTo>
                    <a:pt x="1846" y="1412"/>
                  </a:lnTo>
                  <a:lnTo>
                    <a:pt x="1846" y="1409"/>
                  </a:lnTo>
                  <a:lnTo>
                    <a:pt x="1846" y="1409"/>
                  </a:lnTo>
                  <a:lnTo>
                    <a:pt x="1846" y="1409"/>
                  </a:lnTo>
                  <a:lnTo>
                    <a:pt x="1846" y="1409"/>
                  </a:lnTo>
                  <a:lnTo>
                    <a:pt x="1846" y="1409"/>
                  </a:lnTo>
                  <a:lnTo>
                    <a:pt x="1846" y="1409"/>
                  </a:lnTo>
                  <a:lnTo>
                    <a:pt x="1846" y="1409"/>
                  </a:lnTo>
                  <a:lnTo>
                    <a:pt x="1844" y="1409"/>
                  </a:lnTo>
                  <a:lnTo>
                    <a:pt x="1846" y="1407"/>
                  </a:lnTo>
                  <a:lnTo>
                    <a:pt x="1846" y="1407"/>
                  </a:lnTo>
                  <a:lnTo>
                    <a:pt x="1846" y="1407"/>
                  </a:lnTo>
                  <a:lnTo>
                    <a:pt x="1846" y="1407"/>
                  </a:lnTo>
                  <a:lnTo>
                    <a:pt x="1844" y="1407"/>
                  </a:lnTo>
                  <a:lnTo>
                    <a:pt x="1844" y="1407"/>
                  </a:lnTo>
                  <a:lnTo>
                    <a:pt x="1844" y="1407"/>
                  </a:lnTo>
                  <a:lnTo>
                    <a:pt x="1844" y="1407"/>
                  </a:lnTo>
                  <a:lnTo>
                    <a:pt x="1844" y="1407"/>
                  </a:lnTo>
                  <a:lnTo>
                    <a:pt x="1844" y="1409"/>
                  </a:lnTo>
                  <a:lnTo>
                    <a:pt x="1844" y="1409"/>
                  </a:lnTo>
                  <a:lnTo>
                    <a:pt x="1844" y="1409"/>
                  </a:lnTo>
                  <a:lnTo>
                    <a:pt x="1844" y="1409"/>
                  </a:lnTo>
                  <a:lnTo>
                    <a:pt x="1841" y="1409"/>
                  </a:lnTo>
                  <a:lnTo>
                    <a:pt x="1841" y="1409"/>
                  </a:lnTo>
                  <a:lnTo>
                    <a:pt x="1841" y="1409"/>
                  </a:lnTo>
                  <a:lnTo>
                    <a:pt x="1841" y="1409"/>
                  </a:lnTo>
                  <a:lnTo>
                    <a:pt x="1839" y="1412"/>
                  </a:lnTo>
                  <a:lnTo>
                    <a:pt x="1839" y="1412"/>
                  </a:lnTo>
                  <a:lnTo>
                    <a:pt x="1839" y="1412"/>
                  </a:lnTo>
                  <a:lnTo>
                    <a:pt x="1839" y="1412"/>
                  </a:lnTo>
                  <a:lnTo>
                    <a:pt x="1839" y="1412"/>
                  </a:lnTo>
                  <a:lnTo>
                    <a:pt x="1834" y="1412"/>
                  </a:lnTo>
                  <a:lnTo>
                    <a:pt x="1834" y="1412"/>
                  </a:lnTo>
                  <a:lnTo>
                    <a:pt x="1834" y="1412"/>
                  </a:lnTo>
                  <a:lnTo>
                    <a:pt x="1834" y="1412"/>
                  </a:lnTo>
                  <a:lnTo>
                    <a:pt x="1834" y="1412"/>
                  </a:lnTo>
                  <a:lnTo>
                    <a:pt x="1834" y="1412"/>
                  </a:lnTo>
                  <a:lnTo>
                    <a:pt x="1836" y="1414"/>
                  </a:lnTo>
                  <a:lnTo>
                    <a:pt x="1836" y="1417"/>
                  </a:lnTo>
                  <a:lnTo>
                    <a:pt x="1836" y="1417"/>
                  </a:lnTo>
                  <a:lnTo>
                    <a:pt x="1836" y="1419"/>
                  </a:lnTo>
                  <a:lnTo>
                    <a:pt x="1836" y="1419"/>
                  </a:lnTo>
                  <a:lnTo>
                    <a:pt x="1834" y="1419"/>
                  </a:lnTo>
                  <a:lnTo>
                    <a:pt x="1834" y="1421"/>
                  </a:lnTo>
                  <a:lnTo>
                    <a:pt x="1834" y="1421"/>
                  </a:lnTo>
                  <a:lnTo>
                    <a:pt x="1832" y="1421"/>
                  </a:lnTo>
                  <a:lnTo>
                    <a:pt x="1825" y="1421"/>
                  </a:lnTo>
                  <a:lnTo>
                    <a:pt x="1822" y="1421"/>
                  </a:lnTo>
                  <a:lnTo>
                    <a:pt x="1822" y="1421"/>
                  </a:lnTo>
                  <a:lnTo>
                    <a:pt x="1822" y="1419"/>
                  </a:lnTo>
                  <a:lnTo>
                    <a:pt x="1822" y="1419"/>
                  </a:lnTo>
                  <a:lnTo>
                    <a:pt x="1822" y="1419"/>
                  </a:lnTo>
                  <a:lnTo>
                    <a:pt x="1820" y="1419"/>
                  </a:lnTo>
                  <a:lnTo>
                    <a:pt x="1820" y="1419"/>
                  </a:lnTo>
                  <a:lnTo>
                    <a:pt x="1820" y="1419"/>
                  </a:lnTo>
                  <a:lnTo>
                    <a:pt x="1820" y="1419"/>
                  </a:lnTo>
                  <a:lnTo>
                    <a:pt x="1820" y="1419"/>
                  </a:lnTo>
                  <a:lnTo>
                    <a:pt x="1820" y="1421"/>
                  </a:lnTo>
                  <a:lnTo>
                    <a:pt x="1820" y="1421"/>
                  </a:lnTo>
                  <a:lnTo>
                    <a:pt x="1813" y="1421"/>
                  </a:lnTo>
                  <a:lnTo>
                    <a:pt x="1813" y="1421"/>
                  </a:lnTo>
                  <a:lnTo>
                    <a:pt x="1813" y="1424"/>
                  </a:lnTo>
                  <a:lnTo>
                    <a:pt x="1815" y="1424"/>
                  </a:lnTo>
                  <a:lnTo>
                    <a:pt x="1815" y="1424"/>
                  </a:lnTo>
                  <a:lnTo>
                    <a:pt x="1815" y="1424"/>
                  </a:lnTo>
                  <a:lnTo>
                    <a:pt x="1815" y="1424"/>
                  </a:lnTo>
                  <a:lnTo>
                    <a:pt x="1815" y="1424"/>
                  </a:lnTo>
                  <a:lnTo>
                    <a:pt x="1818" y="1424"/>
                  </a:lnTo>
                  <a:lnTo>
                    <a:pt x="1820" y="1426"/>
                  </a:lnTo>
                  <a:lnTo>
                    <a:pt x="1820" y="1426"/>
                  </a:lnTo>
                  <a:lnTo>
                    <a:pt x="1820" y="1426"/>
                  </a:lnTo>
                  <a:lnTo>
                    <a:pt x="1820" y="1426"/>
                  </a:lnTo>
                  <a:lnTo>
                    <a:pt x="1820" y="1428"/>
                  </a:lnTo>
                  <a:lnTo>
                    <a:pt x="1820" y="1428"/>
                  </a:lnTo>
                  <a:lnTo>
                    <a:pt x="1822" y="1428"/>
                  </a:lnTo>
                  <a:lnTo>
                    <a:pt x="1822" y="1428"/>
                  </a:lnTo>
                  <a:lnTo>
                    <a:pt x="1822" y="1428"/>
                  </a:lnTo>
                  <a:lnTo>
                    <a:pt x="1822" y="1428"/>
                  </a:lnTo>
                  <a:lnTo>
                    <a:pt x="1822" y="1428"/>
                  </a:lnTo>
                  <a:lnTo>
                    <a:pt x="1825" y="1428"/>
                  </a:lnTo>
                  <a:lnTo>
                    <a:pt x="1827" y="1431"/>
                  </a:lnTo>
                  <a:lnTo>
                    <a:pt x="1827" y="1431"/>
                  </a:lnTo>
                  <a:lnTo>
                    <a:pt x="1829" y="1433"/>
                  </a:lnTo>
                  <a:lnTo>
                    <a:pt x="1832" y="1433"/>
                  </a:lnTo>
                  <a:lnTo>
                    <a:pt x="1832" y="1436"/>
                  </a:lnTo>
                  <a:lnTo>
                    <a:pt x="1832" y="1436"/>
                  </a:lnTo>
                  <a:lnTo>
                    <a:pt x="1832" y="1438"/>
                  </a:lnTo>
                  <a:lnTo>
                    <a:pt x="1834" y="1438"/>
                  </a:lnTo>
                  <a:lnTo>
                    <a:pt x="1834" y="1438"/>
                  </a:lnTo>
                  <a:lnTo>
                    <a:pt x="1834" y="1436"/>
                  </a:lnTo>
                  <a:lnTo>
                    <a:pt x="1834" y="1436"/>
                  </a:lnTo>
                  <a:lnTo>
                    <a:pt x="1834" y="1436"/>
                  </a:lnTo>
                  <a:lnTo>
                    <a:pt x="1834" y="1433"/>
                  </a:lnTo>
                  <a:lnTo>
                    <a:pt x="1834" y="1433"/>
                  </a:lnTo>
                  <a:lnTo>
                    <a:pt x="1834" y="1433"/>
                  </a:lnTo>
                  <a:lnTo>
                    <a:pt x="1834" y="1431"/>
                  </a:lnTo>
                  <a:lnTo>
                    <a:pt x="1834" y="1431"/>
                  </a:lnTo>
                  <a:lnTo>
                    <a:pt x="1836" y="1431"/>
                  </a:lnTo>
                  <a:lnTo>
                    <a:pt x="1836" y="1431"/>
                  </a:lnTo>
                  <a:lnTo>
                    <a:pt x="1836" y="1431"/>
                  </a:lnTo>
                  <a:lnTo>
                    <a:pt x="1836" y="1433"/>
                  </a:lnTo>
                  <a:lnTo>
                    <a:pt x="1836" y="1433"/>
                  </a:lnTo>
                  <a:lnTo>
                    <a:pt x="1836" y="1433"/>
                  </a:lnTo>
                  <a:lnTo>
                    <a:pt x="1836" y="1433"/>
                  </a:lnTo>
                  <a:lnTo>
                    <a:pt x="1836" y="1436"/>
                  </a:lnTo>
                  <a:lnTo>
                    <a:pt x="1836" y="1436"/>
                  </a:lnTo>
                  <a:lnTo>
                    <a:pt x="1836" y="1436"/>
                  </a:lnTo>
                  <a:lnTo>
                    <a:pt x="1834" y="1438"/>
                  </a:lnTo>
                  <a:lnTo>
                    <a:pt x="1834" y="1438"/>
                  </a:lnTo>
                  <a:lnTo>
                    <a:pt x="1834" y="1438"/>
                  </a:lnTo>
                  <a:lnTo>
                    <a:pt x="1836" y="1438"/>
                  </a:lnTo>
                  <a:lnTo>
                    <a:pt x="1836" y="1438"/>
                  </a:lnTo>
                  <a:lnTo>
                    <a:pt x="1836" y="1440"/>
                  </a:lnTo>
                  <a:lnTo>
                    <a:pt x="1836" y="1440"/>
                  </a:lnTo>
                  <a:lnTo>
                    <a:pt x="1834" y="1440"/>
                  </a:lnTo>
                  <a:lnTo>
                    <a:pt x="1834" y="1438"/>
                  </a:lnTo>
                  <a:lnTo>
                    <a:pt x="1832" y="1440"/>
                  </a:lnTo>
                  <a:lnTo>
                    <a:pt x="1834" y="1440"/>
                  </a:lnTo>
                  <a:lnTo>
                    <a:pt x="1832" y="1440"/>
                  </a:lnTo>
                  <a:lnTo>
                    <a:pt x="1832" y="1440"/>
                  </a:lnTo>
                  <a:lnTo>
                    <a:pt x="1832" y="1443"/>
                  </a:lnTo>
                  <a:lnTo>
                    <a:pt x="1832" y="1443"/>
                  </a:lnTo>
                  <a:lnTo>
                    <a:pt x="1832" y="1445"/>
                  </a:lnTo>
                  <a:lnTo>
                    <a:pt x="1829" y="1445"/>
                  </a:lnTo>
                  <a:lnTo>
                    <a:pt x="1829" y="1447"/>
                  </a:lnTo>
                  <a:lnTo>
                    <a:pt x="1829" y="1447"/>
                  </a:lnTo>
                  <a:lnTo>
                    <a:pt x="1829" y="1447"/>
                  </a:lnTo>
                  <a:lnTo>
                    <a:pt x="1832" y="1445"/>
                  </a:lnTo>
                  <a:lnTo>
                    <a:pt x="1832" y="1445"/>
                  </a:lnTo>
                  <a:lnTo>
                    <a:pt x="1832" y="1445"/>
                  </a:lnTo>
                  <a:lnTo>
                    <a:pt x="1832" y="1445"/>
                  </a:lnTo>
                  <a:lnTo>
                    <a:pt x="1832" y="1445"/>
                  </a:lnTo>
                  <a:lnTo>
                    <a:pt x="1834" y="1443"/>
                  </a:lnTo>
                  <a:lnTo>
                    <a:pt x="1834" y="1443"/>
                  </a:lnTo>
                  <a:lnTo>
                    <a:pt x="1834" y="1443"/>
                  </a:lnTo>
                  <a:lnTo>
                    <a:pt x="1834" y="1443"/>
                  </a:lnTo>
                  <a:lnTo>
                    <a:pt x="1834" y="1445"/>
                  </a:lnTo>
                  <a:lnTo>
                    <a:pt x="1834" y="1445"/>
                  </a:lnTo>
                  <a:lnTo>
                    <a:pt x="1836" y="1445"/>
                  </a:lnTo>
                  <a:lnTo>
                    <a:pt x="1834" y="1445"/>
                  </a:lnTo>
                  <a:lnTo>
                    <a:pt x="1834" y="1445"/>
                  </a:lnTo>
                  <a:lnTo>
                    <a:pt x="1834" y="1447"/>
                  </a:lnTo>
                  <a:lnTo>
                    <a:pt x="1834" y="1447"/>
                  </a:lnTo>
                  <a:lnTo>
                    <a:pt x="1834" y="1447"/>
                  </a:lnTo>
                  <a:lnTo>
                    <a:pt x="1836" y="1447"/>
                  </a:lnTo>
                  <a:lnTo>
                    <a:pt x="1836" y="1450"/>
                  </a:lnTo>
                  <a:lnTo>
                    <a:pt x="1836" y="1450"/>
                  </a:lnTo>
                  <a:lnTo>
                    <a:pt x="1836" y="1450"/>
                  </a:lnTo>
                  <a:lnTo>
                    <a:pt x="1836" y="1452"/>
                  </a:lnTo>
                  <a:lnTo>
                    <a:pt x="1836" y="1452"/>
                  </a:lnTo>
                  <a:lnTo>
                    <a:pt x="1839" y="1452"/>
                  </a:lnTo>
                  <a:lnTo>
                    <a:pt x="1839" y="1452"/>
                  </a:lnTo>
                  <a:lnTo>
                    <a:pt x="1839" y="1454"/>
                  </a:lnTo>
                  <a:lnTo>
                    <a:pt x="1839" y="1454"/>
                  </a:lnTo>
                  <a:lnTo>
                    <a:pt x="1836" y="1454"/>
                  </a:lnTo>
                  <a:lnTo>
                    <a:pt x="1836" y="1454"/>
                  </a:lnTo>
                  <a:lnTo>
                    <a:pt x="1836" y="1454"/>
                  </a:lnTo>
                  <a:lnTo>
                    <a:pt x="1836" y="1454"/>
                  </a:lnTo>
                  <a:lnTo>
                    <a:pt x="1834" y="1454"/>
                  </a:lnTo>
                  <a:lnTo>
                    <a:pt x="1834" y="1454"/>
                  </a:lnTo>
                  <a:lnTo>
                    <a:pt x="1834" y="1454"/>
                  </a:lnTo>
                  <a:lnTo>
                    <a:pt x="1834" y="1454"/>
                  </a:lnTo>
                  <a:lnTo>
                    <a:pt x="1834" y="1452"/>
                  </a:lnTo>
                  <a:lnTo>
                    <a:pt x="1834" y="1452"/>
                  </a:lnTo>
                  <a:lnTo>
                    <a:pt x="1832" y="1452"/>
                  </a:lnTo>
                  <a:lnTo>
                    <a:pt x="1832" y="1452"/>
                  </a:lnTo>
                  <a:lnTo>
                    <a:pt x="1832" y="1452"/>
                  </a:lnTo>
                  <a:lnTo>
                    <a:pt x="1832" y="1452"/>
                  </a:lnTo>
                  <a:lnTo>
                    <a:pt x="1832" y="1452"/>
                  </a:lnTo>
                  <a:lnTo>
                    <a:pt x="1832" y="1452"/>
                  </a:lnTo>
                  <a:lnTo>
                    <a:pt x="1832" y="1452"/>
                  </a:lnTo>
                  <a:lnTo>
                    <a:pt x="1832" y="1452"/>
                  </a:lnTo>
                  <a:lnTo>
                    <a:pt x="1832" y="1452"/>
                  </a:lnTo>
                  <a:lnTo>
                    <a:pt x="1832" y="1450"/>
                  </a:lnTo>
                  <a:lnTo>
                    <a:pt x="1832" y="1450"/>
                  </a:lnTo>
                  <a:lnTo>
                    <a:pt x="1832" y="1450"/>
                  </a:lnTo>
                  <a:lnTo>
                    <a:pt x="1832" y="1450"/>
                  </a:lnTo>
                  <a:lnTo>
                    <a:pt x="1832" y="1450"/>
                  </a:lnTo>
                  <a:lnTo>
                    <a:pt x="1832" y="1447"/>
                  </a:lnTo>
                  <a:lnTo>
                    <a:pt x="1832" y="1447"/>
                  </a:lnTo>
                  <a:lnTo>
                    <a:pt x="1832" y="1447"/>
                  </a:lnTo>
                  <a:lnTo>
                    <a:pt x="1832" y="1447"/>
                  </a:lnTo>
                  <a:lnTo>
                    <a:pt x="1832" y="1447"/>
                  </a:lnTo>
                  <a:lnTo>
                    <a:pt x="1832" y="1447"/>
                  </a:lnTo>
                  <a:lnTo>
                    <a:pt x="1829" y="1447"/>
                  </a:lnTo>
                  <a:lnTo>
                    <a:pt x="1829" y="1447"/>
                  </a:lnTo>
                  <a:lnTo>
                    <a:pt x="1829" y="1447"/>
                  </a:lnTo>
                  <a:lnTo>
                    <a:pt x="1829" y="1447"/>
                  </a:lnTo>
                  <a:lnTo>
                    <a:pt x="1827" y="1445"/>
                  </a:lnTo>
                  <a:lnTo>
                    <a:pt x="1827" y="1445"/>
                  </a:lnTo>
                  <a:lnTo>
                    <a:pt x="1827" y="1445"/>
                  </a:lnTo>
                  <a:lnTo>
                    <a:pt x="1827" y="1445"/>
                  </a:lnTo>
                  <a:lnTo>
                    <a:pt x="1827" y="1443"/>
                  </a:lnTo>
                  <a:lnTo>
                    <a:pt x="1827" y="1443"/>
                  </a:lnTo>
                  <a:lnTo>
                    <a:pt x="1827" y="1443"/>
                  </a:lnTo>
                  <a:lnTo>
                    <a:pt x="1829" y="1443"/>
                  </a:lnTo>
                  <a:lnTo>
                    <a:pt x="1829" y="1443"/>
                  </a:lnTo>
                  <a:lnTo>
                    <a:pt x="1829" y="1443"/>
                  </a:lnTo>
                  <a:lnTo>
                    <a:pt x="1829" y="1440"/>
                  </a:lnTo>
                  <a:lnTo>
                    <a:pt x="1832" y="1440"/>
                  </a:lnTo>
                  <a:lnTo>
                    <a:pt x="1832" y="1440"/>
                  </a:lnTo>
                  <a:lnTo>
                    <a:pt x="1832" y="1440"/>
                  </a:lnTo>
                  <a:lnTo>
                    <a:pt x="1832" y="1440"/>
                  </a:lnTo>
                  <a:lnTo>
                    <a:pt x="1832" y="1438"/>
                  </a:lnTo>
                  <a:lnTo>
                    <a:pt x="1832" y="1438"/>
                  </a:lnTo>
                  <a:lnTo>
                    <a:pt x="1832" y="1438"/>
                  </a:lnTo>
                  <a:lnTo>
                    <a:pt x="1832" y="1436"/>
                  </a:lnTo>
                  <a:lnTo>
                    <a:pt x="1832" y="1436"/>
                  </a:lnTo>
                  <a:lnTo>
                    <a:pt x="1829" y="1433"/>
                  </a:lnTo>
                  <a:lnTo>
                    <a:pt x="1829" y="1433"/>
                  </a:lnTo>
                  <a:lnTo>
                    <a:pt x="1827" y="1433"/>
                  </a:lnTo>
                  <a:lnTo>
                    <a:pt x="1827" y="1431"/>
                  </a:lnTo>
                  <a:lnTo>
                    <a:pt x="1825" y="1431"/>
                  </a:lnTo>
                  <a:lnTo>
                    <a:pt x="1822" y="1431"/>
                  </a:lnTo>
                  <a:lnTo>
                    <a:pt x="1820" y="1431"/>
                  </a:lnTo>
                  <a:lnTo>
                    <a:pt x="1820" y="1431"/>
                  </a:lnTo>
                  <a:lnTo>
                    <a:pt x="1820" y="1428"/>
                  </a:lnTo>
                  <a:lnTo>
                    <a:pt x="1820" y="1428"/>
                  </a:lnTo>
                  <a:lnTo>
                    <a:pt x="1820" y="1428"/>
                  </a:lnTo>
                  <a:lnTo>
                    <a:pt x="1820" y="1428"/>
                  </a:lnTo>
                  <a:lnTo>
                    <a:pt x="1820" y="1426"/>
                  </a:lnTo>
                  <a:lnTo>
                    <a:pt x="1820" y="1426"/>
                  </a:lnTo>
                  <a:lnTo>
                    <a:pt x="1818" y="1426"/>
                  </a:lnTo>
                  <a:lnTo>
                    <a:pt x="1818" y="1426"/>
                  </a:lnTo>
                  <a:lnTo>
                    <a:pt x="1818" y="1426"/>
                  </a:lnTo>
                  <a:lnTo>
                    <a:pt x="1815" y="1426"/>
                  </a:lnTo>
                  <a:lnTo>
                    <a:pt x="1815" y="1426"/>
                  </a:lnTo>
                  <a:lnTo>
                    <a:pt x="1813" y="1426"/>
                  </a:lnTo>
                  <a:lnTo>
                    <a:pt x="1813" y="1426"/>
                  </a:lnTo>
                  <a:lnTo>
                    <a:pt x="1813" y="1424"/>
                  </a:lnTo>
                  <a:lnTo>
                    <a:pt x="1810" y="1424"/>
                  </a:lnTo>
                  <a:lnTo>
                    <a:pt x="1810" y="1424"/>
                  </a:lnTo>
                  <a:lnTo>
                    <a:pt x="1810" y="1424"/>
                  </a:lnTo>
                  <a:lnTo>
                    <a:pt x="1801" y="1421"/>
                  </a:lnTo>
                  <a:lnTo>
                    <a:pt x="1794" y="1419"/>
                  </a:lnTo>
                  <a:lnTo>
                    <a:pt x="1791" y="1421"/>
                  </a:lnTo>
                  <a:lnTo>
                    <a:pt x="1791" y="1421"/>
                  </a:lnTo>
                  <a:lnTo>
                    <a:pt x="1789" y="1419"/>
                  </a:lnTo>
                  <a:lnTo>
                    <a:pt x="1789" y="1419"/>
                  </a:lnTo>
                  <a:lnTo>
                    <a:pt x="1787" y="1419"/>
                  </a:lnTo>
                  <a:lnTo>
                    <a:pt x="1787" y="1421"/>
                  </a:lnTo>
                  <a:lnTo>
                    <a:pt x="1787" y="1421"/>
                  </a:lnTo>
                  <a:lnTo>
                    <a:pt x="1787" y="1421"/>
                  </a:lnTo>
                  <a:lnTo>
                    <a:pt x="1782" y="1421"/>
                  </a:lnTo>
                  <a:lnTo>
                    <a:pt x="1782" y="1421"/>
                  </a:lnTo>
                  <a:lnTo>
                    <a:pt x="1782" y="1421"/>
                  </a:lnTo>
                  <a:lnTo>
                    <a:pt x="1780" y="1419"/>
                  </a:lnTo>
                  <a:lnTo>
                    <a:pt x="1777" y="1419"/>
                  </a:lnTo>
                  <a:lnTo>
                    <a:pt x="1777" y="1419"/>
                  </a:lnTo>
                  <a:lnTo>
                    <a:pt x="1777" y="1419"/>
                  </a:lnTo>
                  <a:lnTo>
                    <a:pt x="1777" y="1419"/>
                  </a:lnTo>
                  <a:lnTo>
                    <a:pt x="1777" y="1419"/>
                  </a:lnTo>
                  <a:lnTo>
                    <a:pt x="1777" y="1419"/>
                  </a:lnTo>
                  <a:lnTo>
                    <a:pt x="1775" y="1419"/>
                  </a:lnTo>
                  <a:lnTo>
                    <a:pt x="1773" y="1421"/>
                  </a:lnTo>
                  <a:lnTo>
                    <a:pt x="1775" y="1421"/>
                  </a:lnTo>
                  <a:lnTo>
                    <a:pt x="1777" y="1424"/>
                  </a:lnTo>
                  <a:lnTo>
                    <a:pt x="1777" y="1426"/>
                  </a:lnTo>
                  <a:lnTo>
                    <a:pt x="1777" y="1426"/>
                  </a:lnTo>
                  <a:lnTo>
                    <a:pt x="1773" y="1426"/>
                  </a:lnTo>
                  <a:lnTo>
                    <a:pt x="1773" y="1426"/>
                  </a:lnTo>
                  <a:lnTo>
                    <a:pt x="1773" y="1428"/>
                  </a:lnTo>
                  <a:lnTo>
                    <a:pt x="1773" y="1431"/>
                  </a:lnTo>
                  <a:lnTo>
                    <a:pt x="1773" y="1431"/>
                  </a:lnTo>
                  <a:lnTo>
                    <a:pt x="1775" y="1431"/>
                  </a:lnTo>
                  <a:lnTo>
                    <a:pt x="1775" y="1433"/>
                  </a:lnTo>
                  <a:lnTo>
                    <a:pt x="1777" y="1433"/>
                  </a:lnTo>
                  <a:lnTo>
                    <a:pt x="1780" y="1436"/>
                  </a:lnTo>
                  <a:lnTo>
                    <a:pt x="1780" y="1438"/>
                  </a:lnTo>
                  <a:lnTo>
                    <a:pt x="1780" y="1438"/>
                  </a:lnTo>
                  <a:lnTo>
                    <a:pt x="1777" y="1438"/>
                  </a:lnTo>
                  <a:lnTo>
                    <a:pt x="1777" y="1440"/>
                  </a:lnTo>
                  <a:lnTo>
                    <a:pt x="1775" y="1440"/>
                  </a:lnTo>
                  <a:lnTo>
                    <a:pt x="1775" y="1440"/>
                  </a:lnTo>
                  <a:lnTo>
                    <a:pt x="1773" y="1440"/>
                  </a:lnTo>
                  <a:lnTo>
                    <a:pt x="1773" y="1443"/>
                  </a:lnTo>
                  <a:lnTo>
                    <a:pt x="1770" y="1443"/>
                  </a:lnTo>
                  <a:lnTo>
                    <a:pt x="1770" y="1443"/>
                  </a:lnTo>
                  <a:lnTo>
                    <a:pt x="1770" y="1445"/>
                  </a:lnTo>
                  <a:lnTo>
                    <a:pt x="1770" y="1445"/>
                  </a:lnTo>
                  <a:lnTo>
                    <a:pt x="1768" y="1445"/>
                  </a:lnTo>
                  <a:lnTo>
                    <a:pt x="1765" y="1447"/>
                  </a:lnTo>
                  <a:lnTo>
                    <a:pt x="1765" y="1447"/>
                  </a:lnTo>
                  <a:lnTo>
                    <a:pt x="1763" y="1450"/>
                  </a:lnTo>
                  <a:lnTo>
                    <a:pt x="1763" y="1450"/>
                  </a:lnTo>
                  <a:lnTo>
                    <a:pt x="1763" y="1450"/>
                  </a:lnTo>
                  <a:lnTo>
                    <a:pt x="1763" y="1450"/>
                  </a:lnTo>
                  <a:lnTo>
                    <a:pt x="1763" y="1450"/>
                  </a:lnTo>
                  <a:lnTo>
                    <a:pt x="1763" y="1450"/>
                  </a:lnTo>
                  <a:lnTo>
                    <a:pt x="1763" y="1452"/>
                  </a:lnTo>
                  <a:lnTo>
                    <a:pt x="1763" y="1452"/>
                  </a:lnTo>
                  <a:lnTo>
                    <a:pt x="1763" y="1452"/>
                  </a:lnTo>
                  <a:lnTo>
                    <a:pt x="1763" y="1452"/>
                  </a:lnTo>
                  <a:lnTo>
                    <a:pt x="1761" y="1454"/>
                  </a:lnTo>
                  <a:lnTo>
                    <a:pt x="1761" y="1454"/>
                  </a:lnTo>
                  <a:lnTo>
                    <a:pt x="1761" y="1454"/>
                  </a:lnTo>
                  <a:lnTo>
                    <a:pt x="1761" y="1457"/>
                  </a:lnTo>
                  <a:lnTo>
                    <a:pt x="1761" y="1457"/>
                  </a:lnTo>
                  <a:lnTo>
                    <a:pt x="1761" y="1457"/>
                  </a:lnTo>
                  <a:lnTo>
                    <a:pt x="1761" y="1459"/>
                  </a:lnTo>
                  <a:lnTo>
                    <a:pt x="1763" y="1462"/>
                  </a:lnTo>
                  <a:lnTo>
                    <a:pt x="1763" y="1462"/>
                  </a:lnTo>
                  <a:lnTo>
                    <a:pt x="1763" y="1462"/>
                  </a:lnTo>
                  <a:lnTo>
                    <a:pt x="1763" y="1462"/>
                  </a:lnTo>
                  <a:lnTo>
                    <a:pt x="1763" y="1462"/>
                  </a:lnTo>
                  <a:lnTo>
                    <a:pt x="1763" y="1462"/>
                  </a:lnTo>
                  <a:lnTo>
                    <a:pt x="1763" y="1464"/>
                  </a:lnTo>
                  <a:lnTo>
                    <a:pt x="1763" y="1464"/>
                  </a:lnTo>
                  <a:lnTo>
                    <a:pt x="1765" y="1464"/>
                  </a:lnTo>
                  <a:lnTo>
                    <a:pt x="1763" y="1464"/>
                  </a:lnTo>
                  <a:lnTo>
                    <a:pt x="1763" y="1464"/>
                  </a:lnTo>
                  <a:lnTo>
                    <a:pt x="1763" y="1466"/>
                  </a:lnTo>
                  <a:lnTo>
                    <a:pt x="1763" y="1466"/>
                  </a:lnTo>
                  <a:lnTo>
                    <a:pt x="1763" y="1466"/>
                  </a:lnTo>
                  <a:lnTo>
                    <a:pt x="1763" y="1466"/>
                  </a:lnTo>
                  <a:lnTo>
                    <a:pt x="1763" y="1466"/>
                  </a:lnTo>
                  <a:lnTo>
                    <a:pt x="1763" y="1466"/>
                  </a:lnTo>
                  <a:lnTo>
                    <a:pt x="1763" y="1466"/>
                  </a:lnTo>
                  <a:lnTo>
                    <a:pt x="1763" y="1466"/>
                  </a:lnTo>
                  <a:lnTo>
                    <a:pt x="1763" y="1469"/>
                  </a:lnTo>
                  <a:lnTo>
                    <a:pt x="1763" y="1469"/>
                  </a:lnTo>
                  <a:lnTo>
                    <a:pt x="1763" y="1471"/>
                  </a:lnTo>
                  <a:lnTo>
                    <a:pt x="1763" y="1471"/>
                  </a:lnTo>
                  <a:lnTo>
                    <a:pt x="1763" y="1471"/>
                  </a:lnTo>
                  <a:lnTo>
                    <a:pt x="1763" y="1471"/>
                  </a:lnTo>
                  <a:lnTo>
                    <a:pt x="1763" y="1471"/>
                  </a:lnTo>
                  <a:lnTo>
                    <a:pt x="1761" y="1471"/>
                  </a:lnTo>
                  <a:lnTo>
                    <a:pt x="1761" y="1473"/>
                  </a:lnTo>
                  <a:lnTo>
                    <a:pt x="1763" y="1471"/>
                  </a:lnTo>
                  <a:lnTo>
                    <a:pt x="1763" y="1471"/>
                  </a:lnTo>
                  <a:lnTo>
                    <a:pt x="1763" y="1473"/>
                  </a:lnTo>
                  <a:lnTo>
                    <a:pt x="1763" y="1473"/>
                  </a:lnTo>
                  <a:lnTo>
                    <a:pt x="1763" y="1476"/>
                  </a:lnTo>
                  <a:lnTo>
                    <a:pt x="1763" y="1476"/>
                  </a:lnTo>
                  <a:lnTo>
                    <a:pt x="1763" y="1476"/>
                  </a:lnTo>
                  <a:lnTo>
                    <a:pt x="1763" y="1476"/>
                  </a:lnTo>
                  <a:lnTo>
                    <a:pt x="1763" y="1476"/>
                  </a:lnTo>
                  <a:lnTo>
                    <a:pt x="1763" y="1478"/>
                  </a:lnTo>
                  <a:lnTo>
                    <a:pt x="1765" y="1478"/>
                  </a:lnTo>
                  <a:lnTo>
                    <a:pt x="1765" y="1478"/>
                  </a:lnTo>
                  <a:lnTo>
                    <a:pt x="1765" y="1478"/>
                  </a:lnTo>
                  <a:lnTo>
                    <a:pt x="1765" y="1478"/>
                  </a:lnTo>
                  <a:lnTo>
                    <a:pt x="1765" y="1478"/>
                  </a:lnTo>
                  <a:lnTo>
                    <a:pt x="1763" y="1478"/>
                  </a:lnTo>
                  <a:lnTo>
                    <a:pt x="1765" y="1480"/>
                  </a:lnTo>
                  <a:lnTo>
                    <a:pt x="1765" y="1480"/>
                  </a:lnTo>
                  <a:lnTo>
                    <a:pt x="1765" y="1480"/>
                  </a:lnTo>
                  <a:lnTo>
                    <a:pt x="1765" y="1480"/>
                  </a:lnTo>
                  <a:lnTo>
                    <a:pt x="1768" y="1480"/>
                  </a:lnTo>
                  <a:lnTo>
                    <a:pt x="1768" y="1480"/>
                  </a:lnTo>
                  <a:lnTo>
                    <a:pt x="1768" y="1483"/>
                  </a:lnTo>
                  <a:lnTo>
                    <a:pt x="1768" y="1483"/>
                  </a:lnTo>
                  <a:lnTo>
                    <a:pt x="1768" y="1485"/>
                  </a:lnTo>
                  <a:lnTo>
                    <a:pt x="1773" y="1485"/>
                  </a:lnTo>
                  <a:lnTo>
                    <a:pt x="1773" y="1485"/>
                  </a:lnTo>
                  <a:lnTo>
                    <a:pt x="1770" y="1488"/>
                  </a:lnTo>
                  <a:lnTo>
                    <a:pt x="1770" y="1488"/>
                  </a:lnTo>
                  <a:lnTo>
                    <a:pt x="1770" y="1488"/>
                  </a:lnTo>
                  <a:lnTo>
                    <a:pt x="1770" y="1488"/>
                  </a:lnTo>
                  <a:lnTo>
                    <a:pt x="1770" y="1488"/>
                  </a:lnTo>
                  <a:lnTo>
                    <a:pt x="1770" y="1488"/>
                  </a:lnTo>
                  <a:lnTo>
                    <a:pt x="1773" y="1488"/>
                  </a:lnTo>
                  <a:lnTo>
                    <a:pt x="1773" y="1488"/>
                  </a:lnTo>
                  <a:lnTo>
                    <a:pt x="1773" y="1490"/>
                  </a:lnTo>
                  <a:lnTo>
                    <a:pt x="1773" y="1488"/>
                  </a:lnTo>
                  <a:lnTo>
                    <a:pt x="1773" y="1488"/>
                  </a:lnTo>
                  <a:lnTo>
                    <a:pt x="1775" y="1488"/>
                  </a:lnTo>
                  <a:lnTo>
                    <a:pt x="1775" y="1488"/>
                  </a:lnTo>
                  <a:lnTo>
                    <a:pt x="1775" y="1488"/>
                  </a:lnTo>
                  <a:lnTo>
                    <a:pt x="1775" y="1488"/>
                  </a:lnTo>
                  <a:lnTo>
                    <a:pt x="1775" y="1488"/>
                  </a:lnTo>
                  <a:lnTo>
                    <a:pt x="1775" y="1488"/>
                  </a:lnTo>
                  <a:lnTo>
                    <a:pt x="1775" y="1488"/>
                  </a:lnTo>
                  <a:lnTo>
                    <a:pt x="1775" y="1488"/>
                  </a:lnTo>
                  <a:lnTo>
                    <a:pt x="1775" y="1490"/>
                  </a:lnTo>
                  <a:lnTo>
                    <a:pt x="1775" y="1490"/>
                  </a:lnTo>
                  <a:lnTo>
                    <a:pt x="1775" y="1490"/>
                  </a:lnTo>
                  <a:lnTo>
                    <a:pt x="1777" y="1490"/>
                  </a:lnTo>
                  <a:lnTo>
                    <a:pt x="1777" y="1490"/>
                  </a:lnTo>
                  <a:lnTo>
                    <a:pt x="1777" y="1492"/>
                  </a:lnTo>
                  <a:lnTo>
                    <a:pt x="1780" y="1492"/>
                  </a:lnTo>
                  <a:lnTo>
                    <a:pt x="1780" y="1492"/>
                  </a:lnTo>
                  <a:lnTo>
                    <a:pt x="1780" y="1492"/>
                  </a:lnTo>
                  <a:lnTo>
                    <a:pt x="1780" y="1492"/>
                  </a:lnTo>
                  <a:lnTo>
                    <a:pt x="1780" y="1492"/>
                  </a:lnTo>
                  <a:lnTo>
                    <a:pt x="1780" y="1492"/>
                  </a:lnTo>
                  <a:lnTo>
                    <a:pt x="1780" y="1492"/>
                  </a:lnTo>
                  <a:lnTo>
                    <a:pt x="1780" y="1492"/>
                  </a:lnTo>
                  <a:lnTo>
                    <a:pt x="1782" y="1492"/>
                  </a:lnTo>
                  <a:lnTo>
                    <a:pt x="1782" y="1492"/>
                  </a:lnTo>
                  <a:lnTo>
                    <a:pt x="1782" y="1490"/>
                  </a:lnTo>
                  <a:lnTo>
                    <a:pt x="1780" y="1490"/>
                  </a:lnTo>
                  <a:lnTo>
                    <a:pt x="1780" y="1488"/>
                  </a:lnTo>
                  <a:lnTo>
                    <a:pt x="1782" y="1488"/>
                  </a:lnTo>
                  <a:lnTo>
                    <a:pt x="1784" y="1490"/>
                  </a:lnTo>
                  <a:lnTo>
                    <a:pt x="1784" y="1490"/>
                  </a:lnTo>
                  <a:lnTo>
                    <a:pt x="1787" y="1490"/>
                  </a:lnTo>
                  <a:lnTo>
                    <a:pt x="1784" y="1492"/>
                  </a:lnTo>
                  <a:lnTo>
                    <a:pt x="1784" y="1492"/>
                  </a:lnTo>
                  <a:lnTo>
                    <a:pt x="1784" y="1492"/>
                  </a:lnTo>
                  <a:lnTo>
                    <a:pt x="1787" y="1492"/>
                  </a:lnTo>
                  <a:lnTo>
                    <a:pt x="1787" y="1492"/>
                  </a:lnTo>
                  <a:lnTo>
                    <a:pt x="1787" y="1490"/>
                  </a:lnTo>
                  <a:lnTo>
                    <a:pt x="1789" y="1490"/>
                  </a:lnTo>
                  <a:lnTo>
                    <a:pt x="1789" y="1490"/>
                  </a:lnTo>
                  <a:lnTo>
                    <a:pt x="1789" y="1492"/>
                  </a:lnTo>
                  <a:lnTo>
                    <a:pt x="1789" y="1492"/>
                  </a:lnTo>
                  <a:lnTo>
                    <a:pt x="1787" y="1492"/>
                  </a:lnTo>
                  <a:lnTo>
                    <a:pt x="1787" y="1492"/>
                  </a:lnTo>
                  <a:lnTo>
                    <a:pt x="1787" y="1492"/>
                  </a:lnTo>
                  <a:lnTo>
                    <a:pt x="1789" y="1492"/>
                  </a:lnTo>
                  <a:lnTo>
                    <a:pt x="1789" y="1492"/>
                  </a:lnTo>
                  <a:lnTo>
                    <a:pt x="1789" y="1492"/>
                  </a:lnTo>
                  <a:lnTo>
                    <a:pt x="1789" y="1492"/>
                  </a:lnTo>
                  <a:lnTo>
                    <a:pt x="1789" y="1492"/>
                  </a:lnTo>
                  <a:lnTo>
                    <a:pt x="1789" y="1495"/>
                  </a:lnTo>
                  <a:lnTo>
                    <a:pt x="1789" y="1495"/>
                  </a:lnTo>
                  <a:lnTo>
                    <a:pt x="1789" y="1495"/>
                  </a:lnTo>
                  <a:lnTo>
                    <a:pt x="1789" y="1495"/>
                  </a:lnTo>
                  <a:lnTo>
                    <a:pt x="1791" y="1497"/>
                  </a:lnTo>
                  <a:lnTo>
                    <a:pt x="1794" y="1492"/>
                  </a:lnTo>
                  <a:lnTo>
                    <a:pt x="1796" y="1492"/>
                  </a:lnTo>
                  <a:lnTo>
                    <a:pt x="1796" y="1492"/>
                  </a:lnTo>
                  <a:lnTo>
                    <a:pt x="1796" y="1490"/>
                  </a:lnTo>
                  <a:lnTo>
                    <a:pt x="1796" y="1492"/>
                  </a:lnTo>
                  <a:lnTo>
                    <a:pt x="1796" y="1492"/>
                  </a:lnTo>
                  <a:lnTo>
                    <a:pt x="1799" y="1492"/>
                  </a:lnTo>
                  <a:lnTo>
                    <a:pt x="1801" y="1492"/>
                  </a:lnTo>
                  <a:lnTo>
                    <a:pt x="1801" y="1492"/>
                  </a:lnTo>
                  <a:lnTo>
                    <a:pt x="1803" y="1492"/>
                  </a:lnTo>
                  <a:lnTo>
                    <a:pt x="1803" y="1495"/>
                  </a:lnTo>
                  <a:lnTo>
                    <a:pt x="1806" y="1492"/>
                  </a:lnTo>
                  <a:lnTo>
                    <a:pt x="1806" y="1495"/>
                  </a:lnTo>
                  <a:lnTo>
                    <a:pt x="1806" y="1495"/>
                  </a:lnTo>
                  <a:lnTo>
                    <a:pt x="1806" y="1495"/>
                  </a:lnTo>
                  <a:lnTo>
                    <a:pt x="1806" y="1495"/>
                  </a:lnTo>
                  <a:lnTo>
                    <a:pt x="1806" y="1495"/>
                  </a:lnTo>
                  <a:lnTo>
                    <a:pt x="1806" y="1495"/>
                  </a:lnTo>
                  <a:lnTo>
                    <a:pt x="1806" y="1495"/>
                  </a:lnTo>
                  <a:lnTo>
                    <a:pt x="1808" y="1495"/>
                  </a:lnTo>
                  <a:lnTo>
                    <a:pt x="1808" y="1495"/>
                  </a:lnTo>
                  <a:lnTo>
                    <a:pt x="1808" y="1495"/>
                  </a:lnTo>
                  <a:lnTo>
                    <a:pt x="1810" y="1495"/>
                  </a:lnTo>
                  <a:lnTo>
                    <a:pt x="1810" y="1495"/>
                  </a:lnTo>
                  <a:lnTo>
                    <a:pt x="1810" y="1492"/>
                  </a:lnTo>
                  <a:lnTo>
                    <a:pt x="1808" y="1492"/>
                  </a:lnTo>
                  <a:lnTo>
                    <a:pt x="1808" y="1492"/>
                  </a:lnTo>
                  <a:lnTo>
                    <a:pt x="1808" y="1492"/>
                  </a:lnTo>
                  <a:lnTo>
                    <a:pt x="1808" y="1492"/>
                  </a:lnTo>
                  <a:lnTo>
                    <a:pt x="1808" y="1492"/>
                  </a:lnTo>
                  <a:lnTo>
                    <a:pt x="1806" y="1490"/>
                  </a:lnTo>
                  <a:lnTo>
                    <a:pt x="1806" y="1490"/>
                  </a:lnTo>
                  <a:lnTo>
                    <a:pt x="1808" y="1488"/>
                  </a:lnTo>
                  <a:lnTo>
                    <a:pt x="1808" y="1490"/>
                  </a:lnTo>
                  <a:lnTo>
                    <a:pt x="1808" y="1490"/>
                  </a:lnTo>
                  <a:lnTo>
                    <a:pt x="1808" y="1490"/>
                  </a:lnTo>
                  <a:lnTo>
                    <a:pt x="1808" y="1490"/>
                  </a:lnTo>
                  <a:lnTo>
                    <a:pt x="1810" y="1490"/>
                  </a:lnTo>
                  <a:lnTo>
                    <a:pt x="1810" y="1488"/>
                  </a:lnTo>
                  <a:lnTo>
                    <a:pt x="1810" y="1488"/>
                  </a:lnTo>
                  <a:lnTo>
                    <a:pt x="1810" y="1488"/>
                  </a:lnTo>
                  <a:lnTo>
                    <a:pt x="1810" y="1488"/>
                  </a:lnTo>
                  <a:lnTo>
                    <a:pt x="1810" y="1488"/>
                  </a:lnTo>
                  <a:lnTo>
                    <a:pt x="1810" y="1488"/>
                  </a:lnTo>
                  <a:lnTo>
                    <a:pt x="1810" y="1488"/>
                  </a:lnTo>
                  <a:lnTo>
                    <a:pt x="1810" y="1488"/>
                  </a:lnTo>
                  <a:lnTo>
                    <a:pt x="1813" y="1488"/>
                  </a:lnTo>
                  <a:lnTo>
                    <a:pt x="1813" y="1490"/>
                  </a:lnTo>
                  <a:lnTo>
                    <a:pt x="1815" y="1490"/>
                  </a:lnTo>
                  <a:lnTo>
                    <a:pt x="1815" y="1488"/>
                  </a:lnTo>
                  <a:lnTo>
                    <a:pt x="1815" y="1488"/>
                  </a:lnTo>
                  <a:lnTo>
                    <a:pt x="1815" y="1488"/>
                  </a:lnTo>
                  <a:lnTo>
                    <a:pt x="1815" y="1488"/>
                  </a:lnTo>
                  <a:lnTo>
                    <a:pt x="1815" y="1488"/>
                  </a:lnTo>
                  <a:lnTo>
                    <a:pt x="1813" y="1488"/>
                  </a:lnTo>
                  <a:lnTo>
                    <a:pt x="1813" y="1488"/>
                  </a:lnTo>
                  <a:lnTo>
                    <a:pt x="1813" y="1488"/>
                  </a:lnTo>
                  <a:lnTo>
                    <a:pt x="1813" y="1485"/>
                  </a:lnTo>
                  <a:lnTo>
                    <a:pt x="1815" y="1485"/>
                  </a:lnTo>
                  <a:lnTo>
                    <a:pt x="1815" y="1485"/>
                  </a:lnTo>
                  <a:lnTo>
                    <a:pt x="1818" y="1488"/>
                  </a:lnTo>
                  <a:lnTo>
                    <a:pt x="1818" y="1488"/>
                  </a:lnTo>
                  <a:lnTo>
                    <a:pt x="1820" y="1485"/>
                  </a:lnTo>
                  <a:lnTo>
                    <a:pt x="1820" y="1485"/>
                  </a:lnTo>
                  <a:lnTo>
                    <a:pt x="1820" y="1485"/>
                  </a:lnTo>
                  <a:lnTo>
                    <a:pt x="1818" y="1485"/>
                  </a:lnTo>
                  <a:lnTo>
                    <a:pt x="1818" y="1485"/>
                  </a:lnTo>
                  <a:lnTo>
                    <a:pt x="1815" y="1483"/>
                  </a:lnTo>
                  <a:lnTo>
                    <a:pt x="1815" y="1483"/>
                  </a:lnTo>
                  <a:lnTo>
                    <a:pt x="1815" y="1483"/>
                  </a:lnTo>
                  <a:lnTo>
                    <a:pt x="1818" y="1483"/>
                  </a:lnTo>
                  <a:lnTo>
                    <a:pt x="1820" y="1483"/>
                  </a:lnTo>
                  <a:lnTo>
                    <a:pt x="1820" y="1483"/>
                  </a:lnTo>
                  <a:lnTo>
                    <a:pt x="1822" y="1480"/>
                  </a:lnTo>
                  <a:lnTo>
                    <a:pt x="1820" y="1480"/>
                  </a:lnTo>
                  <a:lnTo>
                    <a:pt x="1820" y="1480"/>
                  </a:lnTo>
                  <a:lnTo>
                    <a:pt x="1820" y="1480"/>
                  </a:lnTo>
                  <a:lnTo>
                    <a:pt x="1820" y="1480"/>
                  </a:lnTo>
                  <a:lnTo>
                    <a:pt x="1822" y="1480"/>
                  </a:lnTo>
                  <a:lnTo>
                    <a:pt x="1822" y="1480"/>
                  </a:lnTo>
                  <a:lnTo>
                    <a:pt x="1822" y="1480"/>
                  </a:lnTo>
                  <a:lnTo>
                    <a:pt x="1822" y="1480"/>
                  </a:lnTo>
                  <a:lnTo>
                    <a:pt x="1822" y="1480"/>
                  </a:lnTo>
                  <a:lnTo>
                    <a:pt x="1822" y="1480"/>
                  </a:lnTo>
                  <a:lnTo>
                    <a:pt x="1822" y="1480"/>
                  </a:lnTo>
                  <a:lnTo>
                    <a:pt x="1822" y="1480"/>
                  </a:lnTo>
                  <a:lnTo>
                    <a:pt x="1825" y="1480"/>
                  </a:lnTo>
                  <a:lnTo>
                    <a:pt x="1825" y="1480"/>
                  </a:lnTo>
                  <a:lnTo>
                    <a:pt x="1825" y="1478"/>
                  </a:lnTo>
                  <a:lnTo>
                    <a:pt x="1825" y="1478"/>
                  </a:lnTo>
                  <a:lnTo>
                    <a:pt x="1827" y="1480"/>
                  </a:lnTo>
                  <a:lnTo>
                    <a:pt x="1827" y="1478"/>
                  </a:lnTo>
                  <a:lnTo>
                    <a:pt x="1827" y="1478"/>
                  </a:lnTo>
                  <a:lnTo>
                    <a:pt x="1827" y="1478"/>
                  </a:lnTo>
                  <a:lnTo>
                    <a:pt x="1829" y="1478"/>
                  </a:lnTo>
                  <a:lnTo>
                    <a:pt x="1829" y="1480"/>
                  </a:lnTo>
                  <a:lnTo>
                    <a:pt x="1829" y="1478"/>
                  </a:lnTo>
                  <a:lnTo>
                    <a:pt x="1829" y="1478"/>
                  </a:lnTo>
                  <a:lnTo>
                    <a:pt x="1829" y="1478"/>
                  </a:lnTo>
                  <a:lnTo>
                    <a:pt x="1832" y="1478"/>
                  </a:lnTo>
                  <a:lnTo>
                    <a:pt x="1832" y="1478"/>
                  </a:lnTo>
                  <a:lnTo>
                    <a:pt x="1832" y="1478"/>
                  </a:lnTo>
                  <a:lnTo>
                    <a:pt x="1829" y="1476"/>
                  </a:lnTo>
                  <a:lnTo>
                    <a:pt x="1829" y="1476"/>
                  </a:lnTo>
                  <a:lnTo>
                    <a:pt x="1829" y="1476"/>
                  </a:lnTo>
                  <a:lnTo>
                    <a:pt x="1829" y="1476"/>
                  </a:lnTo>
                  <a:lnTo>
                    <a:pt x="1829" y="1476"/>
                  </a:lnTo>
                  <a:lnTo>
                    <a:pt x="1829" y="1476"/>
                  </a:lnTo>
                  <a:lnTo>
                    <a:pt x="1829" y="1476"/>
                  </a:lnTo>
                  <a:lnTo>
                    <a:pt x="1829" y="1476"/>
                  </a:lnTo>
                  <a:lnTo>
                    <a:pt x="1827" y="1473"/>
                  </a:lnTo>
                  <a:lnTo>
                    <a:pt x="1827" y="1473"/>
                  </a:lnTo>
                  <a:lnTo>
                    <a:pt x="1827" y="1473"/>
                  </a:lnTo>
                  <a:lnTo>
                    <a:pt x="1827" y="1473"/>
                  </a:lnTo>
                  <a:lnTo>
                    <a:pt x="1827" y="1473"/>
                  </a:lnTo>
                  <a:lnTo>
                    <a:pt x="1825" y="1473"/>
                  </a:lnTo>
                  <a:lnTo>
                    <a:pt x="1825" y="1473"/>
                  </a:lnTo>
                  <a:lnTo>
                    <a:pt x="1827" y="1471"/>
                  </a:lnTo>
                  <a:lnTo>
                    <a:pt x="1827" y="1473"/>
                  </a:lnTo>
                  <a:lnTo>
                    <a:pt x="1829" y="1473"/>
                  </a:lnTo>
                  <a:lnTo>
                    <a:pt x="1832" y="1473"/>
                  </a:lnTo>
                  <a:lnTo>
                    <a:pt x="1832" y="1473"/>
                  </a:lnTo>
                  <a:lnTo>
                    <a:pt x="1832" y="1473"/>
                  </a:lnTo>
                  <a:lnTo>
                    <a:pt x="1832" y="1473"/>
                  </a:lnTo>
                  <a:lnTo>
                    <a:pt x="1829" y="1473"/>
                  </a:lnTo>
                  <a:lnTo>
                    <a:pt x="1832" y="1473"/>
                  </a:lnTo>
                  <a:lnTo>
                    <a:pt x="1832" y="1473"/>
                  </a:lnTo>
                  <a:lnTo>
                    <a:pt x="1834" y="1473"/>
                  </a:lnTo>
                  <a:lnTo>
                    <a:pt x="1832" y="1473"/>
                  </a:lnTo>
                  <a:lnTo>
                    <a:pt x="1834" y="1473"/>
                  </a:lnTo>
                  <a:lnTo>
                    <a:pt x="1834" y="1473"/>
                  </a:lnTo>
                  <a:lnTo>
                    <a:pt x="1834" y="1473"/>
                  </a:lnTo>
                  <a:lnTo>
                    <a:pt x="1834" y="1473"/>
                  </a:lnTo>
                  <a:lnTo>
                    <a:pt x="1834" y="1471"/>
                  </a:lnTo>
                  <a:lnTo>
                    <a:pt x="1832" y="1471"/>
                  </a:lnTo>
                  <a:lnTo>
                    <a:pt x="1832" y="1471"/>
                  </a:lnTo>
                  <a:lnTo>
                    <a:pt x="1829" y="1471"/>
                  </a:lnTo>
                  <a:lnTo>
                    <a:pt x="1829" y="1471"/>
                  </a:lnTo>
                  <a:lnTo>
                    <a:pt x="1827" y="1469"/>
                  </a:lnTo>
                  <a:lnTo>
                    <a:pt x="1827" y="1469"/>
                  </a:lnTo>
                  <a:lnTo>
                    <a:pt x="1827" y="1469"/>
                  </a:lnTo>
                  <a:lnTo>
                    <a:pt x="1827" y="1469"/>
                  </a:lnTo>
                  <a:lnTo>
                    <a:pt x="1827" y="1469"/>
                  </a:lnTo>
                  <a:lnTo>
                    <a:pt x="1827" y="1469"/>
                  </a:lnTo>
                  <a:lnTo>
                    <a:pt x="1827" y="1466"/>
                  </a:lnTo>
                  <a:lnTo>
                    <a:pt x="1827" y="1466"/>
                  </a:lnTo>
                  <a:lnTo>
                    <a:pt x="1827" y="1466"/>
                  </a:lnTo>
                  <a:lnTo>
                    <a:pt x="1827" y="1466"/>
                  </a:lnTo>
                  <a:lnTo>
                    <a:pt x="1827" y="1466"/>
                  </a:lnTo>
                  <a:lnTo>
                    <a:pt x="1827" y="1466"/>
                  </a:lnTo>
                  <a:lnTo>
                    <a:pt x="1827" y="1466"/>
                  </a:lnTo>
                  <a:lnTo>
                    <a:pt x="1827" y="1464"/>
                  </a:lnTo>
                  <a:lnTo>
                    <a:pt x="1827" y="1464"/>
                  </a:lnTo>
                  <a:lnTo>
                    <a:pt x="1827" y="1464"/>
                  </a:lnTo>
                  <a:lnTo>
                    <a:pt x="1829" y="1466"/>
                  </a:lnTo>
                  <a:lnTo>
                    <a:pt x="1832" y="1466"/>
                  </a:lnTo>
                  <a:lnTo>
                    <a:pt x="1832" y="1466"/>
                  </a:lnTo>
                  <a:lnTo>
                    <a:pt x="1834" y="1466"/>
                  </a:lnTo>
                  <a:lnTo>
                    <a:pt x="1834" y="1466"/>
                  </a:lnTo>
                  <a:lnTo>
                    <a:pt x="1834" y="1466"/>
                  </a:lnTo>
                  <a:lnTo>
                    <a:pt x="1836" y="1466"/>
                  </a:lnTo>
                  <a:lnTo>
                    <a:pt x="1836" y="1466"/>
                  </a:lnTo>
                  <a:lnTo>
                    <a:pt x="1839" y="1469"/>
                  </a:lnTo>
                  <a:lnTo>
                    <a:pt x="1839" y="1469"/>
                  </a:lnTo>
                  <a:lnTo>
                    <a:pt x="1839" y="1469"/>
                  </a:lnTo>
                  <a:lnTo>
                    <a:pt x="1841" y="1469"/>
                  </a:lnTo>
                  <a:lnTo>
                    <a:pt x="1841" y="1469"/>
                  </a:lnTo>
                  <a:lnTo>
                    <a:pt x="1844" y="1471"/>
                  </a:lnTo>
                  <a:lnTo>
                    <a:pt x="1844" y="1471"/>
                  </a:lnTo>
                  <a:lnTo>
                    <a:pt x="1844" y="1471"/>
                  </a:lnTo>
                  <a:lnTo>
                    <a:pt x="1844" y="1471"/>
                  </a:lnTo>
                  <a:lnTo>
                    <a:pt x="1844" y="1471"/>
                  </a:lnTo>
                  <a:lnTo>
                    <a:pt x="1846" y="1471"/>
                  </a:lnTo>
                  <a:lnTo>
                    <a:pt x="1846" y="1471"/>
                  </a:lnTo>
                  <a:lnTo>
                    <a:pt x="1846" y="1471"/>
                  </a:lnTo>
                  <a:lnTo>
                    <a:pt x="1846" y="1471"/>
                  </a:lnTo>
                  <a:lnTo>
                    <a:pt x="1846" y="1471"/>
                  </a:lnTo>
                  <a:lnTo>
                    <a:pt x="1846" y="1471"/>
                  </a:lnTo>
                  <a:lnTo>
                    <a:pt x="1846" y="1471"/>
                  </a:lnTo>
                  <a:lnTo>
                    <a:pt x="1846" y="1471"/>
                  </a:lnTo>
                  <a:lnTo>
                    <a:pt x="1846" y="1469"/>
                  </a:lnTo>
                  <a:lnTo>
                    <a:pt x="1846" y="1469"/>
                  </a:lnTo>
                  <a:lnTo>
                    <a:pt x="1846" y="1469"/>
                  </a:lnTo>
                  <a:lnTo>
                    <a:pt x="1846" y="1469"/>
                  </a:lnTo>
                  <a:lnTo>
                    <a:pt x="1846" y="1469"/>
                  </a:lnTo>
                  <a:lnTo>
                    <a:pt x="1846" y="1469"/>
                  </a:lnTo>
                  <a:lnTo>
                    <a:pt x="1846" y="1469"/>
                  </a:lnTo>
                  <a:lnTo>
                    <a:pt x="1848" y="1469"/>
                  </a:lnTo>
                  <a:lnTo>
                    <a:pt x="1851" y="1471"/>
                  </a:lnTo>
                  <a:lnTo>
                    <a:pt x="1851" y="1471"/>
                  </a:lnTo>
                  <a:lnTo>
                    <a:pt x="1851" y="1471"/>
                  </a:lnTo>
                  <a:lnTo>
                    <a:pt x="1851" y="1471"/>
                  </a:lnTo>
                  <a:lnTo>
                    <a:pt x="1853" y="1471"/>
                  </a:lnTo>
                  <a:lnTo>
                    <a:pt x="1853" y="1471"/>
                  </a:lnTo>
                  <a:lnTo>
                    <a:pt x="1853" y="1471"/>
                  </a:lnTo>
                  <a:lnTo>
                    <a:pt x="1853" y="1471"/>
                  </a:lnTo>
                  <a:lnTo>
                    <a:pt x="1855" y="1471"/>
                  </a:lnTo>
                  <a:lnTo>
                    <a:pt x="1855" y="1473"/>
                  </a:lnTo>
                  <a:lnTo>
                    <a:pt x="1858" y="1471"/>
                  </a:lnTo>
                  <a:lnTo>
                    <a:pt x="1858" y="1471"/>
                  </a:lnTo>
                  <a:lnTo>
                    <a:pt x="1858" y="1471"/>
                  </a:lnTo>
                  <a:lnTo>
                    <a:pt x="1855" y="1471"/>
                  </a:lnTo>
                  <a:lnTo>
                    <a:pt x="1858" y="1471"/>
                  </a:lnTo>
                  <a:lnTo>
                    <a:pt x="1858" y="1471"/>
                  </a:lnTo>
                  <a:lnTo>
                    <a:pt x="1860" y="1471"/>
                  </a:lnTo>
                  <a:lnTo>
                    <a:pt x="1860" y="1471"/>
                  </a:lnTo>
                  <a:lnTo>
                    <a:pt x="1860" y="1471"/>
                  </a:lnTo>
                  <a:lnTo>
                    <a:pt x="1860" y="1471"/>
                  </a:lnTo>
                  <a:lnTo>
                    <a:pt x="1860" y="1469"/>
                  </a:lnTo>
                  <a:lnTo>
                    <a:pt x="1860" y="1469"/>
                  </a:lnTo>
                  <a:lnTo>
                    <a:pt x="1862" y="1469"/>
                  </a:lnTo>
                  <a:lnTo>
                    <a:pt x="1862" y="1469"/>
                  </a:lnTo>
                  <a:lnTo>
                    <a:pt x="1862" y="1469"/>
                  </a:lnTo>
                  <a:lnTo>
                    <a:pt x="1862" y="1466"/>
                  </a:lnTo>
                  <a:lnTo>
                    <a:pt x="1862" y="1466"/>
                  </a:lnTo>
                  <a:lnTo>
                    <a:pt x="1862" y="1466"/>
                  </a:lnTo>
                  <a:lnTo>
                    <a:pt x="1862" y="1466"/>
                  </a:lnTo>
                  <a:lnTo>
                    <a:pt x="1862" y="1464"/>
                  </a:lnTo>
                  <a:lnTo>
                    <a:pt x="1860" y="1464"/>
                  </a:lnTo>
                  <a:lnTo>
                    <a:pt x="1860" y="1464"/>
                  </a:lnTo>
                  <a:lnTo>
                    <a:pt x="1860" y="1464"/>
                  </a:lnTo>
                  <a:lnTo>
                    <a:pt x="1860" y="1464"/>
                  </a:lnTo>
                  <a:lnTo>
                    <a:pt x="1860" y="1464"/>
                  </a:lnTo>
                  <a:lnTo>
                    <a:pt x="1860" y="1462"/>
                  </a:lnTo>
                  <a:lnTo>
                    <a:pt x="1860" y="1464"/>
                  </a:lnTo>
                  <a:lnTo>
                    <a:pt x="1860" y="1464"/>
                  </a:lnTo>
                  <a:lnTo>
                    <a:pt x="1860" y="1464"/>
                  </a:lnTo>
                  <a:lnTo>
                    <a:pt x="1862" y="1464"/>
                  </a:lnTo>
                  <a:lnTo>
                    <a:pt x="1860" y="1462"/>
                  </a:lnTo>
                  <a:lnTo>
                    <a:pt x="1860" y="1462"/>
                  </a:lnTo>
                  <a:lnTo>
                    <a:pt x="1858" y="1462"/>
                  </a:lnTo>
                  <a:lnTo>
                    <a:pt x="1858" y="1462"/>
                  </a:lnTo>
                  <a:lnTo>
                    <a:pt x="1860" y="1462"/>
                  </a:lnTo>
                  <a:lnTo>
                    <a:pt x="1860" y="1462"/>
                  </a:lnTo>
                  <a:lnTo>
                    <a:pt x="1862" y="1462"/>
                  </a:lnTo>
                  <a:lnTo>
                    <a:pt x="1862" y="1462"/>
                  </a:lnTo>
                  <a:lnTo>
                    <a:pt x="1862" y="1459"/>
                  </a:lnTo>
                  <a:lnTo>
                    <a:pt x="1858" y="1457"/>
                  </a:lnTo>
                  <a:lnTo>
                    <a:pt x="1853" y="1452"/>
                  </a:lnTo>
                  <a:lnTo>
                    <a:pt x="1853" y="1452"/>
                  </a:lnTo>
                  <a:lnTo>
                    <a:pt x="1853" y="1452"/>
                  </a:lnTo>
                  <a:lnTo>
                    <a:pt x="1851" y="1452"/>
                  </a:lnTo>
                  <a:lnTo>
                    <a:pt x="1851" y="1452"/>
                  </a:lnTo>
                  <a:lnTo>
                    <a:pt x="1851" y="1452"/>
                  </a:lnTo>
                  <a:lnTo>
                    <a:pt x="1851" y="1452"/>
                  </a:lnTo>
                  <a:lnTo>
                    <a:pt x="1851" y="1452"/>
                  </a:lnTo>
                  <a:lnTo>
                    <a:pt x="1851" y="1450"/>
                  </a:lnTo>
                  <a:lnTo>
                    <a:pt x="1851" y="1450"/>
                  </a:lnTo>
                  <a:lnTo>
                    <a:pt x="1848" y="1450"/>
                  </a:lnTo>
                  <a:lnTo>
                    <a:pt x="1848" y="1450"/>
                  </a:lnTo>
                  <a:lnTo>
                    <a:pt x="1846" y="1450"/>
                  </a:lnTo>
                  <a:lnTo>
                    <a:pt x="1846" y="1447"/>
                  </a:lnTo>
                  <a:lnTo>
                    <a:pt x="1846" y="1447"/>
                  </a:lnTo>
                  <a:lnTo>
                    <a:pt x="1848" y="1447"/>
                  </a:lnTo>
                  <a:lnTo>
                    <a:pt x="1848" y="1447"/>
                  </a:lnTo>
                  <a:lnTo>
                    <a:pt x="1848" y="1447"/>
                  </a:lnTo>
                  <a:lnTo>
                    <a:pt x="1851" y="1447"/>
                  </a:lnTo>
                  <a:lnTo>
                    <a:pt x="1851" y="1447"/>
                  </a:lnTo>
                  <a:lnTo>
                    <a:pt x="1851" y="1447"/>
                  </a:lnTo>
                  <a:lnTo>
                    <a:pt x="1851" y="1447"/>
                  </a:lnTo>
                  <a:lnTo>
                    <a:pt x="1851" y="1447"/>
                  </a:lnTo>
                  <a:lnTo>
                    <a:pt x="1851" y="1447"/>
                  </a:lnTo>
                  <a:lnTo>
                    <a:pt x="1851" y="1447"/>
                  </a:lnTo>
                  <a:lnTo>
                    <a:pt x="1853" y="1447"/>
                  </a:lnTo>
                  <a:lnTo>
                    <a:pt x="1853" y="1447"/>
                  </a:lnTo>
                  <a:lnTo>
                    <a:pt x="1853" y="1447"/>
                  </a:lnTo>
                  <a:lnTo>
                    <a:pt x="1853" y="1447"/>
                  </a:lnTo>
                  <a:lnTo>
                    <a:pt x="1853" y="1445"/>
                  </a:lnTo>
                  <a:lnTo>
                    <a:pt x="1853" y="1445"/>
                  </a:lnTo>
                  <a:lnTo>
                    <a:pt x="1851" y="1443"/>
                  </a:lnTo>
                  <a:lnTo>
                    <a:pt x="1851" y="1443"/>
                  </a:lnTo>
                  <a:lnTo>
                    <a:pt x="1851" y="1443"/>
                  </a:lnTo>
                  <a:lnTo>
                    <a:pt x="1853" y="1443"/>
                  </a:lnTo>
                  <a:lnTo>
                    <a:pt x="1853" y="1443"/>
                  </a:lnTo>
                  <a:lnTo>
                    <a:pt x="1853" y="1440"/>
                  </a:lnTo>
                  <a:lnTo>
                    <a:pt x="1853" y="1440"/>
                  </a:lnTo>
                  <a:lnTo>
                    <a:pt x="1853" y="1440"/>
                  </a:lnTo>
                  <a:lnTo>
                    <a:pt x="1853" y="1440"/>
                  </a:lnTo>
                  <a:lnTo>
                    <a:pt x="1855" y="1440"/>
                  </a:lnTo>
                  <a:lnTo>
                    <a:pt x="1855" y="1440"/>
                  </a:lnTo>
                  <a:lnTo>
                    <a:pt x="1855" y="1440"/>
                  </a:lnTo>
                  <a:lnTo>
                    <a:pt x="1855" y="1440"/>
                  </a:lnTo>
                  <a:lnTo>
                    <a:pt x="1855" y="1440"/>
                  </a:lnTo>
                  <a:lnTo>
                    <a:pt x="1855" y="1440"/>
                  </a:lnTo>
                  <a:lnTo>
                    <a:pt x="1855" y="1440"/>
                  </a:lnTo>
                  <a:lnTo>
                    <a:pt x="1858" y="1440"/>
                  </a:lnTo>
                  <a:lnTo>
                    <a:pt x="1858" y="1443"/>
                  </a:lnTo>
                  <a:lnTo>
                    <a:pt x="1858" y="1443"/>
                  </a:lnTo>
                  <a:lnTo>
                    <a:pt x="1858" y="1443"/>
                  </a:lnTo>
                  <a:lnTo>
                    <a:pt x="1855" y="1443"/>
                  </a:lnTo>
                  <a:lnTo>
                    <a:pt x="1855" y="1443"/>
                  </a:lnTo>
                  <a:lnTo>
                    <a:pt x="1855" y="1445"/>
                  </a:lnTo>
                  <a:lnTo>
                    <a:pt x="1855" y="1447"/>
                  </a:lnTo>
                  <a:lnTo>
                    <a:pt x="1855" y="1447"/>
                  </a:lnTo>
                  <a:lnTo>
                    <a:pt x="1855" y="1447"/>
                  </a:lnTo>
                  <a:lnTo>
                    <a:pt x="1855" y="1447"/>
                  </a:lnTo>
                  <a:lnTo>
                    <a:pt x="1855" y="1447"/>
                  </a:lnTo>
                  <a:lnTo>
                    <a:pt x="1855" y="1447"/>
                  </a:lnTo>
                  <a:lnTo>
                    <a:pt x="1853" y="1447"/>
                  </a:lnTo>
                  <a:lnTo>
                    <a:pt x="1853" y="1450"/>
                  </a:lnTo>
                  <a:lnTo>
                    <a:pt x="1853" y="1450"/>
                  </a:lnTo>
                  <a:lnTo>
                    <a:pt x="1853" y="1450"/>
                  </a:lnTo>
                  <a:lnTo>
                    <a:pt x="1853" y="1450"/>
                  </a:lnTo>
                  <a:lnTo>
                    <a:pt x="1855" y="1452"/>
                  </a:lnTo>
                  <a:lnTo>
                    <a:pt x="1855" y="1452"/>
                  </a:lnTo>
                  <a:lnTo>
                    <a:pt x="1858" y="1452"/>
                  </a:lnTo>
                  <a:lnTo>
                    <a:pt x="1858" y="1452"/>
                  </a:lnTo>
                  <a:lnTo>
                    <a:pt x="1858" y="1454"/>
                  </a:lnTo>
                  <a:lnTo>
                    <a:pt x="1860" y="1454"/>
                  </a:lnTo>
                  <a:lnTo>
                    <a:pt x="1860" y="1454"/>
                  </a:lnTo>
                  <a:lnTo>
                    <a:pt x="1860" y="1454"/>
                  </a:lnTo>
                  <a:lnTo>
                    <a:pt x="1860" y="1457"/>
                  </a:lnTo>
                  <a:lnTo>
                    <a:pt x="1860" y="1457"/>
                  </a:lnTo>
                  <a:lnTo>
                    <a:pt x="1860" y="1457"/>
                  </a:lnTo>
                  <a:lnTo>
                    <a:pt x="1862" y="1457"/>
                  </a:lnTo>
                  <a:lnTo>
                    <a:pt x="1862" y="1454"/>
                  </a:lnTo>
                  <a:lnTo>
                    <a:pt x="1862" y="1454"/>
                  </a:lnTo>
                  <a:lnTo>
                    <a:pt x="1862" y="1454"/>
                  </a:lnTo>
                  <a:lnTo>
                    <a:pt x="1862" y="1454"/>
                  </a:lnTo>
                  <a:lnTo>
                    <a:pt x="1862" y="1457"/>
                  </a:lnTo>
                  <a:lnTo>
                    <a:pt x="1862" y="1457"/>
                  </a:lnTo>
                  <a:lnTo>
                    <a:pt x="1862" y="1457"/>
                  </a:lnTo>
                  <a:lnTo>
                    <a:pt x="1865" y="1457"/>
                  </a:lnTo>
                  <a:lnTo>
                    <a:pt x="1865" y="1457"/>
                  </a:lnTo>
                  <a:lnTo>
                    <a:pt x="1865" y="1457"/>
                  </a:lnTo>
                  <a:lnTo>
                    <a:pt x="1865" y="1457"/>
                  </a:lnTo>
                  <a:lnTo>
                    <a:pt x="1865" y="1454"/>
                  </a:lnTo>
                  <a:lnTo>
                    <a:pt x="1862" y="1454"/>
                  </a:lnTo>
                  <a:lnTo>
                    <a:pt x="1862" y="1452"/>
                  </a:lnTo>
                  <a:lnTo>
                    <a:pt x="1862" y="1452"/>
                  </a:lnTo>
                  <a:lnTo>
                    <a:pt x="1865" y="1454"/>
                  </a:lnTo>
                  <a:lnTo>
                    <a:pt x="1865" y="1454"/>
                  </a:lnTo>
                  <a:lnTo>
                    <a:pt x="1865" y="1454"/>
                  </a:lnTo>
                  <a:lnTo>
                    <a:pt x="1865" y="1452"/>
                  </a:lnTo>
                  <a:lnTo>
                    <a:pt x="1865" y="1450"/>
                  </a:lnTo>
                  <a:lnTo>
                    <a:pt x="1865" y="1450"/>
                  </a:lnTo>
                  <a:lnTo>
                    <a:pt x="1865" y="1452"/>
                  </a:lnTo>
                  <a:lnTo>
                    <a:pt x="1867" y="1452"/>
                  </a:lnTo>
                  <a:lnTo>
                    <a:pt x="1867" y="1452"/>
                  </a:lnTo>
                  <a:lnTo>
                    <a:pt x="1867" y="1452"/>
                  </a:lnTo>
                  <a:lnTo>
                    <a:pt x="1867" y="1452"/>
                  </a:lnTo>
                  <a:lnTo>
                    <a:pt x="1867" y="1454"/>
                  </a:lnTo>
                  <a:lnTo>
                    <a:pt x="1867" y="1454"/>
                  </a:lnTo>
                  <a:lnTo>
                    <a:pt x="1867" y="1454"/>
                  </a:lnTo>
                  <a:lnTo>
                    <a:pt x="1867" y="1457"/>
                  </a:lnTo>
                  <a:lnTo>
                    <a:pt x="1870" y="1454"/>
                  </a:lnTo>
                  <a:lnTo>
                    <a:pt x="1870" y="1454"/>
                  </a:lnTo>
                  <a:lnTo>
                    <a:pt x="1867" y="1452"/>
                  </a:lnTo>
                  <a:lnTo>
                    <a:pt x="1867" y="1452"/>
                  </a:lnTo>
                  <a:lnTo>
                    <a:pt x="1867" y="1452"/>
                  </a:lnTo>
                  <a:lnTo>
                    <a:pt x="1867" y="1450"/>
                  </a:lnTo>
                  <a:lnTo>
                    <a:pt x="1867" y="1452"/>
                  </a:lnTo>
                  <a:lnTo>
                    <a:pt x="1870" y="1452"/>
                  </a:lnTo>
                  <a:lnTo>
                    <a:pt x="1870" y="1450"/>
                  </a:lnTo>
                  <a:lnTo>
                    <a:pt x="1870" y="1450"/>
                  </a:lnTo>
                  <a:lnTo>
                    <a:pt x="1870" y="1450"/>
                  </a:lnTo>
                  <a:lnTo>
                    <a:pt x="1870" y="1450"/>
                  </a:lnTo>
                  <a:lnTo>
                    <a:pt x="1870" y="1447"/>
                  </a:lnTo>
                  <a:lnTo>
                    <a:pt x="1870" y="1447"/>
                  </a:lnTo>
                  <a:lnTo>
                    <a:pt x="1870" y="1445"/>
                  </a:lnTo>
                  <a:lnTo>
                    <a:pt x="1870" y="1445"/>
                  </a:lnTo>
                  <a:lnTo>
                    <a:pt x="1870" y="1445"/>
                  </a:lnTo>
                  <a:lnTo>
                    <a:pt x="1872" y="1445"/>
                  </a:lnTo>
                  <a:lnTo>
                    <a:pt x="1872" y="1447"/>
                  </a:lnTo>
                  <a:lnTo>
                    <a:pt x="1872" y="1447"/>
                  </a:lnTo>
                  <a:lnTo>
                    <a:pt x="1872" y="1450"/>
                  </a:lnTo>
                  <a:lnTo>
                    <a:pt x="1872" y="1450"/>
                  </a:lnTo>
                  <a:lnTo>
                    <a:pt x="1872" y="1452"/>
                  </a:lnTo>
                  <a:lnTo>
                    <a:pt x="1872" y="1452"/>
                  </a:lnTo>
                  <a:lnTo>
                    <a:pt x="1872" y="1454"/>
                  </a:lnTo>
                  <a:lnTo>
                    <a:pt x="1874" y="1454"/>
                  </a:lnTo>
                  <a:lnTo>
                    <a:pt x="1874" y="1454"/>
                  </a:lnTo>
                  <a:lnTo>
                    <a:pt x="1872" y="1454"/>
                  </a:lnTo>
                  <a:lnTo>
                    <a:pt x="1870" y="1457"/>
                  </a:lnTo>
                  <a:lnTo>
                    <a:pt x="1870" y="1457"/>
                  </a:lnTo>
                  <a:lnTo>
                    <a:pt x="1872" y="1457"/>
                  </a:lnTo>
                  <a:lnTo>
                    <a:pt x="1872" y="1457"/>
                  </a:lnTo>
                  <a:lnTo>
                    <a:pt x="1872" y="1457"/>
                  </a:lnTo>
                  <a:lnTo>
                    <a:pt x="1874" y="1457"/>
                  </a:lnTo>
                  <a:lnTo>
                    <a:pt x="1877" y="1457"/>
                  </a:lnTo>
                  <a:lnTo>
                    <a:pt x="1877" y="1459"/>
                  </a:lnTo>
                  <a:lnTo>
                    <a:pt x="1877" y="1459"/>
                  </a:lnTo>
                  <a:lnTo>
                    <a:pt x="1877" y="1459"/>
                  </a:lnTo>
                  <a:lnTo>
                    <a:pt x="1874" y="1459"/>
                  </a:lnTo>
                  <a:lnTo>
                    <a:pt x="1872" y="1459"/>
                  </a:lnTo>
                  <a:lnTo>
                    <a:pt x="1874" y="1462"/>
                  </a:lnTo>
                  <a:lnTo>
                    <a:pt x="1877" y="1464"/>
                  </a:lnTo>
                  <a:lnTo>
                    <a:pt x="1874" y="1464"/>
                  </a:lnTo>
                  <a:lnTo>
                    <a:pt x="1874" y="1464"/>
                  </a:lnTo>
                  <a:lnTo>
                    <a:pt x="1874" y="1464"/>
                  </a:lnTo>
                  <a:lnTo>
                    <a:pt x="1872" y="1464"/>
                  </a:lnTo>
                  <a:lnTo>
                    <a:pt x="1872" y="1464"/>
                  </a:lnTo>
                  <a:lnTo>
                    <a:pt x="1874" y="1464"/>
                  </a:lnTo>
                  <a:lnTo>
                    <a:pt x="1874" y="1466"/>
                  </a:lnTo>
                  <a:lnTo>
                    <a:pt x="1874" y="1466"/>
                  </a:lnTo>
                  <a:lnTo>
                    <a:pt x="1874" y="1466"/>
                  </a:lnTo>
                  <a:lnTo>
                    <a:pt x="1874" y="1469"/>
                  </a:lnTo>
                  <a:lnTo>
                    <a:pt x="1874" y="1469"/>
                  </a:lnTo>
                  <a:lnTo>
                    <a:pt x="1874" y="1469"/>
                  </a:lnTo>
                  <a:lnTo>
                    <a:pt x="1874" y="1469"/>
                  </a:lnTo>
                  <a:lnTo>
                    <a:pt x="1874" y="1469"/>
                  </a:lnTo>
                  <a:lnTo>
                    <a:pt x="1874" y="1471"/>
                  </a:lnTo>
                  <a:lnTo>
                    <a:pt x="1874" y="1471"/>
                  </a:lnTo>
                  <a:lnTo>
                    <a:pt x="1874" y="1469"/>
                  </a:lnTo>
                  <a:lnTo>
                    <a:pt x="1874" y="1471"/>
                  </a:lnTo>
                  <a:lnTo>
                    <a:pt x="1874" y="1471"/>
                  </a:lnTo>
                  <a:lnTo>
                    <a:pt x="1877" y="1471"/>
                  </a:lnTo>
                  <a:lnTo>
                    <a:pt x="1877" y="1471"/>
                  </a:lnTo>
                  <a:lnTo>
                    <a:pt x="1877" y="1471"/>
                  </a:lnTo>
                  <a:lnTo>
                    <a:pt x="1877" y="1471"/>
                  </a:lnTo>
                  <a:lnTo>
                    <a:pt x="1877" y="1471"/>
                  </a:lnTo>
                  <a:lnTo>
                    <a:pt x="1877" y="1471"/>
                  </a:lnTo>
                  <a:lnTo>
                    <a:pt x="1879" y="1471"/>
                  </a:lnTo>
                  <a:lnTo>
                    <a:pt x="1879" y="1471"/>
                  </a:lnTo>
                  <a:lnTo>
                    <a:pt x="1879" y="1471"/>
                  </a:lnTo>
                  <a:lnTo>
                    <a:pt x="1879" y="1469"/>
                  </a:lnTo>
                  <a:lnTo>
                    <a:pt x="1879" y="1469"/>
                  </a:lnTo>
                  <a:lnTo>
                    <a:pt x="1879" y="1466"/>
                  </a:lnTo>
                  <a:lnTo>
                    <a:pt x="1877" y="1466"/>
                  </a:lnTo>
                  <a:lnTo>
                    <a:pt x="1879" y="1466"/>
                  </a:lnTo>
                  <a:lnTo>
                    <a:pt x="1879" y="1466"/>
                  </a:lnTo>
                  <a:lnTo>
                    <a:pt x="1879" y="1466"/>
                  </a:lnTo>
                  <a:lnTo>
                    <a:pt x="1879" y="1464"/>
                  </a:lnTo>
                  <a:lnTo>
                    <a:pt x="1877" y="1464"/>
                  </a:lnTo>
                  <a:lnTo>
                    <a:pt x="1877" y="1462"/>
                  </a:lnTo>
                  <a:lnTo>
                    <a:pt x="1877" y="1462"/>
                  </a:lnTo>
                  <a:lnTo>
                    <a:pt x="1877" y="1462"/>
                  </a:lnTo>
                  <a:lnTo>
                    <a:pt x="1879" y="1462"/>
                  </a:lnTo>
                  <a:lnTo>
                    <a:pt x="1879" y="1462"/>
                  </a:lnTo>
                  <a:lnTo>
                    <a:pt x="1879" y="1462"/>
                  </a:lnTo>
                  <a:lnTo>
                    <a:pt x="1879" y="1462"/>
                  </a:lnTo>
                  <a:lnTo>
                    <a:pt x="1879" y="1459"/>
                  </a:lnTo>
                  <a:lnTo>
                    <a:pt x="1879" y="1459"/>
                  </a:lnTo>
                  <a:lnTo>
                    <a:pt x="1879" y="1459"/>
                  </a:lnTo>
                  <a:lnTo>
                    <a:pt x="1879" y="1459"/>
                  </a:lnTo>
                  <a:lnTo>
                    <a:pt x="1881" y="1459"/>
                  </a:lnTo>
                  <a:lnTo>
                    <a:pt x="1881" y="1462"/>
                  </a:lnTo>
                  <a:lnTo>
                    <a:pt x="1881" y="1462"/>
                  </a:lnTo>
                  <a:lnTo>
                    <a:pt x="1881" y="1462"/>
                  </a:lnTo>
                  <a:lnTo>
                    <a:pt x="1881" y="1459"/>
                  </a:lnTo>
                  <a:lnTo>
                    <a:pt x="1881" y="1459"/>
                  </a:lnTo>
                  <a:lnTo>
                    <a:pt x="1881" y="1459"/>
                  </a:lnTo>
                  <a:lnTo>
                    <a:pt x="1881" y="1459"/>
                  </a:lnTo>
                  <a:lnTo>
                    <a:pt x="1881" y="1459"/>
                  </a:lnTo>
                  <a:lnTo>
                    <a:pt x="1881" y="1459"/>
                  </a:lnTo>
                  <a:lnTo>
                    <a:pt x="1881" y="1459"/>
                  </a:lnTo>
                  <a:lnTo>
                    <a:pt x="1881" y="1459"/>
                  </a:lnTo>
                  <a:lnTo>
                    <a:pt x="1879" y="1459"/>
                  </a:lnTo>
                  <a:lnTo>
                    <a:pt x="1879" y="1459"/>
                  </a:lnTo>
                  <a:lnTo>
                    <a:pt x="1879" y="1457"/>
                  </a:lnTo>
                  <a:lnTo>
                    <a:pt x="1879" y="1457"/>
                  </a:lnTo>
                  <a:lnTo>
                    <a:pt x="1879" y="1457"/>
                  </a:lnTo>
                  <a:lnTo>
                    <a:pt x="1877" y="1454"/>
                  </a:lnTo>
                  <a:lnTo>
                    <a:pt x="1877" y="1454"/>
                  </a:lnTo>
                  <a:lnTo>
                    <a:pt x="1877" y="1454"/>
                  </a:lnTo>
                  <a:lnTo>
                    <a:pt x="1877" y="1454"/>
                  </a:lnTo>
                  <a:lnTo>
                    <a:pt x="1877" y="1452"/>
                  </a:lnTo>
                  <a:lnTo>
                    <a:pt x="1877" y="1452"/>
                  </a:lnTo>
                  <a:lnTo>
                    <a:pt x="1877" y="1452"/>
                  </a:lnTo>
                  <a:lnTo>
                    <a:pt x="1879" y="1454"/>
                  </a:lnTo>
                  <a:lnTo>
                    <a:pt x="1879" y="1454"/>
                  </a:lnTo>
                  <a:lnTo>
                    <a:pt x="1881" y="1457"/>
                  </a:lnTo>
                  <a:lnTo>
                    <a:pt x="1881" y="1457"/>
                  </a:lnTo>
                  <a:lnTo>
                    <a:pt x="1881" y="1457"/>
                  </a:lnTo>
                  <a:lnTo>
                    <a:pt x="1881" y="1457"/>
                  </a:lnTo>
                  <a:lnTo>
                    <a:pt x="1881" y="1457"/>
                  </a:lnTo>
                  <a:lnTo>
                    <a:pt x="1881" y="1457"/>
                  </a:lnTo>
                  <a:lnTo>
                    <a:pt x="1881" y="1457"/>
                  </a:lnTo>
                  <a:lnTo>
                    <a:pt x="1881" y="1454"/>
                  </a:lnTo>
                  <a:lnTo>
                    <a:pt x="1881" y="1454"/>
                  </a:lnTo>
                  <a:lnTo>
                    <a:pt x="1884" y="1454"/>
                  </a:lnTo>
                  <a:lnTo>
                    <a:pt x="1884" y="1454"/>
                  </a:lnTo>
                  <a:lnTo>
                    <a:pt x="1884" y="1452"/>
                  </a:lnTo>
                  <a:lnTo>
                    <a:pt x="1884" y="1452"/>
                  </a:lnTo>
                  <a:lnTo>
                    <a:pt x="1884" y="1452"/>
                  </a:lnTo>
                  <a:lnTo>
                    <a:pt x="1884" y="1452"/>
                  </a:lnTo>
                  <a:lnTo>
                    <a:pt x="1884" y="1452"/>
                  </a:lnTo>
                  <a:lnTo>
                    <a:pt x="1884" y="1450"/>
                  </a:lnTo>
                  <a:lnTo>
                    <a:pt x="1884" y="1450"/>
                  </a:lnTo>
                  <a:lnTo>
                    <a:pt x="1881" y="1447"/>
                  </a:lnTo>
                  <a:lnTo>
                    <a:pt x="1881" y="1447"/>
                  </a:lnTo>
                  <a:lnTo>
                    <a:pt x="1884" y="1447"/>
                  </a:lnTo>
                  <a:lnTo>
                    <a:pt x="1884" y="1447"/>
                  </a:lnTo>
                  <a:lnTo>
                    <a:pt x="1884" y="1450"/>
                  </a:lnTo>
                  <a:lnTo>
                    <a:pt x="1884" y="1450"/>
                  </a:lnTo>
                  <a:lnTo>
                    <a:pt x="1886" y="1450"/>
                  </a:lnTo>
                  <a:lnTo>
                    <a:pt x="1886" y="1452"/>
                  </a:lnTo>
                  <a:lnTo>
                    <a:pt x="1886" y="1452"/>
                  </a:lnTo>
                  <a:lnTo>
                    <a:pt x="1886" y="1452"/>
                  </a:lnTo>
                  <a:lnTo>
                    <a:pt x="1886" y="1452"/>
                  </a:lnTo>
                  <a:lnTo>
                    <a:pt x="1889" y="1450"/>
                  </a:lnTo>
                  <a:lnTo>
                    <a:pt x="1889" y="1450"/>
                  </a:lnTo>
                  <a:lnTo>
                    <a:pt x="1889" y="1450"/>
                  </a:lnTo>
                  <a:lnTo>
                    <a:pt x="1889" y="1450"/>
                  </a:lnTo>
                  <a:lnTo>
                    <a:pt x="1889" y="1450"/>
                  </a:lnTo>
                  <a:lnTo>
                    <a:pt x="1889" y="1452"/>
                  </a:lnTo>
                  <a:lnTo>
                    <a:pt x="1889" y="1452"/>
                  </a:lnTo>
                  <a:lnTo>
                    <a:pt x="1891" y="1452"/>
                  </a:lnTo>
                  <a:lnTo>
                    <a:pt x="1891" y="1452"/>
                  </a:lnTo>
                  <a:lnTo>
                    <a:pt x="1891" y="1452"/>
                  </a:lnTo>
                  <a:lnTo>
                    <a:pt x="1891" y="1452"/>
                  </a:lnTo>
                  <a:lnTo>
                    <a:pt x="1891" y="1454"/>
                  </a:lnTo>
                  <a:lnTo>
                    <a:pt x="1889" y="1452"/>
                  </a:lnTo>
                  <a:lnTo>
                    <a:pt x="1889" y="1452"/>
                  </a:lnTo>
                  <a:lnTo>
                    <a:pt x="1889" y="1452"/>
                  </a:lnTo>
                  <a:lnTo>
                    <a:pt x="1889" y="1452"/>
                  </a:lnTo>
                  <a:lnTo>
                    <a:pt x="1889" y="1452"/>
                  </a:lnTo>
                  <a:lnTo>
                    <a:pt x="1889" y="1452"/>
                  </a:lnTo>
                  <a:lnTo>
                    <a:pt x="1889" y="1454"/>
                  </a:lnTo>
                  <a:lnTo>
                    <a:pt x="1889" y="1454"/>
                  </a:lnTo>
                  <a:lnTo>
                    <a:pt x="1889" y="1457"/>
                  </a:lnTo>
                  <a:lnTo>
                    <a:pt x="1891" y="1457"/>
                  </a:lnTo>
                  <a:lnTo>
                    <a:pt x="1891" y="1457"/>
                  </a:lnTo>
                  <a:lnTo>
                    <a:pt x="1891" y="1454"/>
                  </a:lnTo>
                  <a:lnTo>
                    <a:pt x="1893" y="1454"/>
                  </a:lnTo>
                  <a:lnTo>
                    <a:pt x="1893" y="1454"/>
                  </a:lnTo>
                  <a:lnTo>
                    <a:pt x="1893" y="1452"/>
                  </a:lnTo>
                  <a:lnTo>
                    <a:pt x="1893" y="1450"/>
                  </a:lnTo>
                  <a:lnTo>
                    <a:pt x="1891" y="1450"/>
                  </a:lnTo>
                  <a:lnTo>
                    <a:pt x="1891" y="1447"/>
                  </a:lnTo>
                  <a:lnTo>
                    <a:pt x="1891" y="1447"/>
                  </a:lnTo>
                  <a:lnTo>
                    <a:pt x="1891" y="1447"/>
                  </a:lnTo>
                  <a:lnTo>
                    <a:pt x="1891" y="1447"/>
                  </a:lnTo>
                  <a:lnTo>
                    <a:pt x="1891" y="1447"/>
                  </a:lnTo>
                  <a:lnTo>
                    <a:pt x="1891" y="1445"/>
                  </a:lnTo>
                  <a:lnTo>
                    <a:pt x="1891" y="1445"/>
                  </a:lnTo>
                  <a:lnTo>
                    <a:pt x="1891" y="1445"/>
                  </a:lnTo>
                  <a:lnTo>
                    <a:pt x="1891" y="1445"/>
                  </a:lnTo>
                  <a:lnTo>
                    <a:pt x="1891" y="1445"/>
                  </a:lnTo>
                  <a:lnTo>
                    <a:pt x="1893" y="1447"/>
                  </a:lnTo>
                  <a:lnTo>
                    <a:pt x="1893" y="1447"/>
                  </a:lnTo>
                  <a:lnTo>
                    <a:pt x="1893" y="1447"/>
                  </a:lnTo>
                  <a:lnTo>
                    <a:pt x="1893" y="1447"/>
                  </a:lnTo>
                  <a:lnTo>
                    <a:pt x="1893" y="1450"/>
                  </a:lnTo>
                  <a:lnTo>
                    <a:pt x="1893" y="1450"/>
                  </a:lnTo>
                  <a:lnTo>
                    <a:pt x="1893" y="1450"/>
                  </a:lnTo>
                  <a:lnTo>
                    <a:pt x="1893" y="1450"/>
                  </a:lnTo>
                  <a:lnTo>
                    <a:pt x="1893" y="1450"/>
                  </a:lnTo>
                  <a:lnTo>
                    <a:pt x="1896" y="1450"/>
                  </a:lnTo>
                  <a:lnTo>
                    <a:pt x="1896" y="1450"/>
                  </a:lnTo>
                  <a:lnTo>
                    <a:pt x="1896" y="1447"/>
                  </a:lnTo>
                  <a:lnTo>
                    <a:pt x="1896" y="1447"/>
                  </a:lnTo>
                  <a:lnTo>
                    <a:pt x="1896" y="1447"/>
                  </a:lnTo>
                  <a:lnTo>
                    <a:pt x="1896" y="1450"/>
                  </a:lnTo>
                  <a:lnTo>
                    <a:pt x="1896" y="1450"/>
                  </a:lnTo>
                  <a:lnTo>
                    <a:pt x="1896" y="1450"/>
                  </a:lnTo>
                  <a:lnTo>
                    <a:pt x="1896" y="1450"/>
                  </a:lnTo>
                  <a:lnTo>
                    <a:pt x="1896" y="1450"/>
                  </a:lnTo>
                  <a:lnTo>
                    <a:pt x="1896" y="1452"/>
                  </a:lnTo>
                  <a:lnTo>
                    <a:pt x="1896" y="1452"/>
                  </a:lnTo>
                  <a:lnTo>
                    <a:pt x="1896" y="1452"/>
                  </a:lnTo>
                  <a:lnTo>
                    <a:pt x="1896" y="1454"/>
                  </a:lnTo>
                  <a:lnTo>
                    <a:pt x="1896" y="1454"/>
                  </a:lnTo>
                  <a:lnTo>
                    <a:pt x="1893" y="1454"/>
                  </a:lnTo>
                  <a:lnTo>
                    <a:pt x="1891" y="1457"/>
                  </a:lnTo>
                  <a:lnTo>
                    <a:pt x="1891" y="1457"/>
                  </a:lnTo>
                  <a:lnTo>
                    <a:pt x="1891" y="1459"/>
                  </a:lnTo>
                  <a:lnTo>
                    <a:pt x="1893" y="1459"/>
                  </a:lnTo>
                  <a:lnTo>
                    <a:pt x="1893" y="1459"/>
                  </a:lnTo>
                  <a:lnTo>
                    <a:pt x="1893" y="1457"/>
                  </a:lnTo>
                  <a:lnTo>
                    <a:pt x="1893" y="1457"/>
                  </a:lnTo>
                  <a:lnTo>
                    <a:pt x="1896" y="1457"/>
                  </a:lnTo>
                  <a:lnTo>
                    <a:pt x="1893" y="1459"/>
                  </a:lnTo>
                  <a:lnTo>
                    <a:pt x="1893" y="1459"/>
                  </a:lnTo>
                  <a:lnTo>
                    <a:pt x="1893" y="1459"/>
                  </a:lnTo>
                  <a:lnTo>
                    <a:pt x="1893" y="1459"/>
                  </a:lnTo>
                  <a:lnTo>
                    <a:pt x="1891" y="1459"/>
                  </a:lnTo>
                  <a:lnTo>
                    <a:pt x="1891" y="1459"/>
                  </a:lnTo>
                  <a:lnTo>
                    <a:pt x="1891" y="1462"/>
                  </a:lnTo>
                  <a:lnTo>
                    <a:pt x="1893" y="1464"/>
                  </a:lnTo>
                  <a:lnTo>
                    <a:pt x="1893" y="1464"/>
                  </a:lnTo>
                  <a:lnTo>
                    <a:pt x="1893" y="1464"/>
                  </a:lnTo>
                  <a:lnTo>
                    <a:pt x="1893" y="1462"/>
                  </a:lnTo>
                  <a:lnTo>
                    <a:pt x="1896" y="1462"/>
                  </a:lnTo>
                  <a:lnTo>
                    <a:pt x="1896" y="1462"/>
                  </a:lnTo>
                  <a:lnTo>
                    <a:pt x="1898" y="1464"/>
                  </a:lnTo>
                  <a:lnTo>
                    <a:pt x="1898" y="1464"/>
                  </a:lnTo>
                  <a:lnTo>
                    <a:pt x="1898" y="1464"/>
                  </a:lnTo>
                  <a:lnTo>
                    <a:pt x="1898" y="1464"/>
                  </a:lnTo>
                  <a:lnTo>
                    <a:pt x="1898" y="1464"/>
                  </a:lnTo>
                  <a:lnTo>
                    <a:pt x="1896" y="1464"/>
                  </a:lnTo>
                  <a:lnTo>
                    <a:pt x="1896" y="1464"/>
                  </a:lnTo>
                  <a:lnTo>
                    <a:pt x="1896" y="1464"/>
                  </a:lnTo>
                  <a:lnTo>
                    <a:pt x="1896" y="1464"/>
                  </a:lnTo>
                  <a:lnTo>
                    <a:pt x="1896" y="1464"/>
                  </a:lnTo>
                  <a:lnTo>
                    <a:pt x="1896" y="1464"/>
                  </a:lnTo>
                  <a:lnTo>
                    <a:pt x="1896" y="1464"/>
                  </a:lnTo>
                  <a:lnTo>
                    <a:pt x="1896" y="1464"/>
                  </a:lnTo>
                  <a:lnTo>
                    <a:pt x="1896" y="1466"/>
                  </a:lnTo>
                  <a:lnTo>
                    <a:pt x="1896" y="1466"/>
                  </a:lnTo>
                  <a:lnTo>
                    <a:pt x="1896" y="1466"/>
                  </a:lnTo>
                  <a:lnTo>
                    <a:pt x="1896" y="1466"/>
                  </a:lnTo>
                  <a:lnTo>
                    <a:pt x="1896" y="1466"/>
                  </a:lnTo>
                  <a:lnTo>
                    <a:pt x="1896" y="1466"/>
                  </a:lnTo>
                  <a:lnTo>
                    <a:pt x="1896" y="1469"/>
                  </a:lnTo>
                  <a:lnTo>
                    <a:pt x="1896" y="1469"/>
                  </a:lnTo>
                  <a:lnTo>
                    <a:pt x="1896" y="1469"/>
                  </a:lnTo>
                  <a:lnTo>
                    <a:pt x="1896" y="1471"/>
                  </a:lnTo>
                  <a:lnTo>
                    <a:pt x="1898" y="1471"/>
                  </a:lnTo>
                  <a:lnTo>
                    <a:pt x="1898" y="1471"/>
                  </a:lnTo>
                  <a:lnTo>
                    <a:pt x="1898" y="1471"/>
                  </a:lnTo>
                  <a:lnTo>
                    <a:pt x="1898" y="1469"/>
                  </a:lnTo>
                  <a:lnTo>
                    <a:pt x="1898" y="1469"/>
                  </a:lnTo>
                  <a:lnTo>
                    <a:pt x="1898" y="1469"/>
                  </a:lnTo>
                  <a:lnTo>
                    <a:pt x="1898" y="1466"/>
                  </a:lnTo>
                  <a:lnTo>
                    <a:pt x="1898" y="1466"/>
                  </a:lnTo>
                  <a:lnTo>
                    <a:pt x="1898" y="1466"/>
                  </a:lnTo>
                  <a:lnTo>
                    <a:pt x="1898" y="1466"/>
                  </a:lnTo>
                  <a:lnTo>
                    <a:pt x="1898" y="1466"/>
                  </a:lnTo>
                  <a:lnTo>
                    <a:pt x="1898" y="1466"/>
                  </a:lnTo>
                  <a:lnTo>
                    <a:pt x="1898" y="1466"/>
                  </a:lnTo>
                  <a:lnTo>
                    <a:pt x="1898" y="1466"/>
                  </a:lnTo>
                  <a:lnTo>
                    <a:pt x="1898" y="1466"/>
                  </a:lnTo>
                  <a:lnTo>
                    <a:pt x="1900" y="1466"/>
                  </a:lnTo>
                  <a:lnTo>
                    <a:pt x="1903" y="1466"/>
                  </a:lnTo>
                  <a:lnTo>
                    <a:pt x="1903" y="1469"/>
                  </a:lnTo>
                  <a:lnTo>
                    <a:pt x="1903" y="1469"/>
                  </a:lnTo>
                  <a:lnTo>
                    <a:pt x="1903" y="1469"/>
                  </a:lnTo>
                  <a:lnTo>
                    <a:pt x="1903" y="1469"/>
                  </a:lnTo>
                  <a:lnTo>
                    <a:pt x="1903" y="1469"/>
                  </a:lnTo>
                  <a:lnTo>
                    <a:pt x="1903" y="1469"/>
                  </a:lnTo>
                  <a:lnTo>
                    <a:pt x="1903" y="1469"/>
                  </a:lnTo>
                  <a:lnTo>
                    <a:pt x="1905" y="1469"/>
                  </a:lnTo>
                  <a:lnTo>
                    <a:pt x="1905" y="1471"/>
                  </a:lnTo>
                  <a:lnTo>
                    <a:pt x="1905" y="1471"/>
                  </a:lnTo>
                  <a:lnTo>
                    <a:pt x="1905" y="1471"/>
                  </a:lnTo>
                  <a:lnTo>
                    <a:pt x="1905" y="1473"/>
                  </a:lnTo>
                  <a:lnTo>
                    <a:pt x="1905" y="1473"/>
                  </a:lnTo>
                  <a:lnTo>
                    <a:pt x="1905" y="1473"/>
                  </a:lnTo>
                  <a:lnTo>
                    <a:pt x="1907" y="1473"/>
                  </a:lnTo>
                  <a:lnTo>
                    <a:pt x="1907" y="1473"/>
                  </a:lnTo>
                  <a:lnTo>
                    <a:pt x="1910" y="1473"/>
                  </a:lnTo>
                  <a:lnTo>
                    <a:pt x="1910" y="1473"/>
                  </a:lnTo>
                  <a:lnTo>
                    <a:pt x="1910" y="1473"/>
                  </a:lnTo>
                  <a:lnTo>
                    <a:pt x="1910" y="1473"/>
                  </a:lnTo>
                  <a:lnTo>
                    <a:pt x="1910" y="1476"/>
                  </a:lnTo>
                  <a:lnTo>
                    <a:pt x="1910" y="1476"/>
                  </a:lnTo>
                  <a:lnTo>
                    <a:pt x="1910" y="1476"/>
                  </a:lnTo>
                  <a:lnTo>
                    <a:pt x="1912" y="1476"/>
                  </a:lnTo>
                  <a:lnTo>
                    <a:pt x="1912" y="1476"/>
                  </a:lnTo>
                  <a:lnTo>
                    <a:pt x="1912" y="1476"/>
                  </a:lnTo>
                  <a:lnTo>
                    <a:pt x="1912" y="1478"/>
                  </a:lnTo>
                  <a:lnTo>
                    <a:pt x="1912" y="1478"/>
                  </a:lnTo>
                  <a:lnTo>
                    <a:pt x="1912" y="1478"/>
                  </a:lnTo>
                  <a:lnTo>
                    <a:pt x="1912" y="1478"/>
                  </a:lnTo>
                  <a:lnTo>
                    <a:pt x="1910" y="1478"/>
                  </a:lnTo>
                  <a:lnTo>
                    <a:pt x="1910" y="1478"/>
                  </a:lnTo>
                  <a:lnTo>
                    <a:pt x="1910" y="1480"/>
                  </a:lnTo>
                  <a:lnTo>
                    <a:pt x="1910" y="1480"/>
                  </a:lnTo>
                  <a:lnTo>
                    <a:pt x="1912" y="1480"/>
                  </a:lnTo>
                  <a:lnTo>
                    <a:pt x="1912" y="1480"/>
                  </a:lnTo>
                  <a:lnTo>
                    <a:pt x="1912" y="1480"/>
                  </a:lnTo>
                  <a:lnTo>
                    <a:pt x="1912" y="1480"/>
                  </a:lnTo>
                  <a:lnTo>
                    <a:pt x="1912" y="1480"/>
                  </a:lnTo>
                  <a:lnTo>
                    <a:pt x="1912" y="1480"/>
                  </a:lnTo>
                  <a:lnTo>
                    <a:pt x="1912" y="1480"/>
                  </a:lnTo>
                  <a:lnTo>
                    <a:pt x="1915" y="1483"/>
                  </a:lnTo>
                  <a:lnTo>
                    <a:pt x="1915" y="1483"/>
                  </a:lnTo>
                  <a:lnTo>
                    <a:pt x="1917" y="1483"/>
                  </a:lnTo>
                  <a:lnTo>
                    <a:pt x="1917" y="1483"/>
                  </a:lnTo>
                  <a:lnTo>
                    <a:pt x="1917" y="1483"/>
                  </a:lnTo>
                  <a:lnTo>
                    <a:pt x="1917" y="1485"/>
                  </a:lnTo>
                  <a:lnTo>
                    <a:pt x="1917" y="1485"/>
                  </a:lnTo>
                  <a:lnTo>
                    <a:pt x="1919" y="1485"/>
                  </a:lnTo>
                  <a:lnTo>
                    <a:pt x="1919" y="1483"/>
                  </a:lnTo>
                  <a:lnTo>
                    <a:pt x="1919" y="1483"/>
                  </a:lnTo>
                  <a:lnTo>
                    <a:pt x="1919" y="1483"/>
                  </a:lnTo>
                  <a:lnTo>
                    <a:pt x="1919" y="1483"/>
                  </a:lnTo>
                  <a:lnTo>
                    <a:pt x="1919" y="1483"/>
                  </a:lnTo>
                  <a:lnTo>
                    <a:pt x="1917" y="1483"/>
                  </a:lnTo>
                  <a:lnTo>
                    <a:pt x="1917" y="1480"/>
                  </a:lnTo>
                  <a:lnTo>
                    <a:pt x="1917" y="1480"/>
                  </a:lnTo>
                  <a:lnTo>
                    <a:pt x="1917" y="1480"/>
                  </a:lnTo>
                  <a:lnTo>
                    <a:pt x="1917" y="1480"/>
                  </a:lnTo>
                  <a:lnTo>
                    <a:pt x="1917" y="1480"/>
                  </a:lnTo>
                  <a:lnTo>
                    <a:pt x="1917" y="1478"/>
                  </a:lnTo>
                  <a:lnTo>
                    <a:pt x="1917" y="1478"/>
                  </a:lnTo>
                  <a:lnTo>
                    <a:pt x="1917" y="1476"/>
                  </a:lnTo>
                  <a:lnTo>
                    <a:pt x="1917" y="1476"/>
                  </a:lnTo>
                  <a:lnTo>
                    <a:pt x="1917" y="1476"/>
                  </a:lnTo>
                  <a:lnTo>
                    <a:pt x="1917" y="1478"/>
                  </a:lnTo>
                  <a:lnTo>
                    <a:pt x="1917" y="1478"/>
                  </a:lnTo>
                  <a:lnTo>
                    <a:pt x="1917" y="1478"/>
                  </a:lnTo>
                  <a:lnTo>
                    <a:pt x="1917" y="1480"/>
                  </a:lnTo>
                  <a:lnTo>
                    <a:pt x="1919" y="1480"/>
                  </a:lnTo>
                  <a:lnTo>
                    <a:pt x="1919" y="1480"/>
                  </a:lnTo>
                  <a:lnTo>
                    <a:pt x="1919" y="1480"/>
                  </a:lnTo>
                  <a:lnTo>
                    <a:pt x="1919" y="1480"/>
                  </a:lnTo>
                  <a:lnTo>
                    <a:pt x="1919" y="1480"/>
                  </a:lnTo>
                  <a:lnTo>
                    <a:pt x="1919" y="1483"/>
                  </a:lnTo>
                  <a:lnTo>
                    <a:pt x="1922" y="1483"/>
                  </a:lnTo>
                  <a:lnTo>
                    <a:pt x="1922" y="1483"/>
                  </a:lnTo>
                  <a:lnTo>
                    <a:pt x="1922" y="1483"/>
                  </a:lnTo>
                  <a:lnTo>
                    <a:pt x="1922" y="1485"/>
                  </a:lnTo>
                  <a:lnTo>
                    <a:pt x="1922" y="1485"/>
                  </a:lnTo>
                  <a:lnTo>
                    <a:pt x="1919" y="1485"/>
                  </a:lnTo>
                  <a:lnTo>
                    <a:pt x="1922" y="1488"/>
                  </a:lnTo>
                  <a:lnTo>
                    <a:pt x="1922" y="1488"/>
                  </a:lnTo>
                  <a:lnTo>
                    <a:pt x="1922" y="1490"/>
                  </a:lnTo>
                  <a:lnTo>
                    <a:pt x="1922" y="1490"/>
                  </a:lnTo>
                  <a:lnTo>
                    <a:pt x="1922" y="1490"/>
                  </a:lnTo>
                  <a:lnTo>
                    <a:pt x="1922" y="1490"/>
                  </a:lnTo>
                  <a:lnTo>
                    <a:pt x="1922" y="1490"/>
                  </a:lnTo>
                  <a:lnTo>
                    <a:pt x="1924" y="1490"/>
                  </a:lnTo>
                  <a:lnTo>
                    <a:pt x="1926" y="1492"/>
                  </a:lnTo>
                  <a:lnTo>
                    <a:pt x="1926" y="1492"/>
                  </a:lnTo>
                  <a:lnTo>
                    <a:pt x="1926" y="1492"/>
                  </a:lnTo>
                  <a:lnTo>
                    <a:pt x="1926" y="1492"/>
                  </a:lnTo>
                  <a:lnTo>
                    <a:pt x="1926" y="1492"/>
                  </a:lnTo>
                  <a:lnTo>
                    <a:pt x="1926" y="1495"/>
                  </a:lnTo>
                  <a:lnTo>
                    <a:pt x="1926" y="1495"/>
                  </a:lnTo>
                  <a:lnTo>
                    <a:pt x="1929" y="1492"/>
                  </a:lnTo>
                  <a:lnTo>
                    <a:pt x="1929" y="1492"/>
                  </a:lnTo>
                  <a:lnTo>
                    <a:pt x="1931" y="1492"/>
                  </a:lnTo>
                  <a:lnTo>
                    <a:pt x="1929" y="1492"/>
                  </a:lnTo>
                  <a:lnTo>
                    <a:pt x="1929" y="1492"/>
                  </a:lnTo>
                  <a:lnTo>
                    <a:pt x="1929" y="1490"/>
                  </a:lnTo>
                  <a:lnTo>
                    <a:pt x="1929" y="1490"/>
                  </a:lnTo>
                  <a:lnTo>
                    <a:pt x="1929" y="1490"/>
                  </a:lnTo>
                  <a:lnTo>
                    <a:pt x="1929" y="1488"/>
                  </a:lnTo>
                  <a:lnTo>
                    <a:pt x="1929" y="1488"/>
                  </a:lnTo>
                  <a:lnTo>
                    <a:pt x="1929" y="1485"/>
                  </a:lnTo>
                  <a:lnTo>
                    <a:pt x="1931" y="1485"/>
                  </a:lnTo>
                  <a:lnTo>
                    <a:pt x="1931" y="1485"/>
                  </a:lnTo>
                  <a:lnTo>
                    <a:pt x="1931" y="1485"/>
                  </a:lnTo>
                  <a:lnTo>
                    <a:pt x="1931" y="1485"/>
                  </a:lnTo>
                  <a:lnTo>
                    <a:pt x="1931" y="1485"/>
                  </a:lnTo>
                  <a:lnTo>
                    <a:pt x="1931" y="1485"/>
                  </a:lnTo>
                  <a:lnTo>
                    <a:pt x="1931" y="1485"/>
                  </a:lnTo>
                  <a:lnTo>
                    <a:pt x="1931" y="1483"/>
                  </a:lnTo>
                  <a:lnTo>
                    <a:pt x="1931" y="1483"/>
                  </a:lnTo>
                  <a:lnTo>
                    <a:pt x="1931" y="1483"/>
                  </a:lnTo>
                  <a:lnTo>
                    <a:pt x="1931" y="1483"/>
                  </a:lnTo>
                  <a:lnTo>
                    <a:pt x="1931" y="1483"/>
                  </a:lnTo>
                  <a:lnTo>
                    <a:pt x="1931" y="1480"/>
                  </a:lnTo>
                  <a:lnTo>
                    <a:pt x="1931" y="1483"/>
                  </a:lnTo>
                  <a:lnTo>
                    <a:pt x="1931" y="1483"/>
                  </a:lnTo>
                  <a:lnTo>
                    <a:pt x="1931" y="1485"/>
                  </a:lnTo>
                  <a:lnTo>
                    <a:pt x="1933" y="1485"/>
                  </a:lnTo>
                  <a:lnTo>
                    <a:pt x="1933" y="1485"/>
                  </a:lnTo>
                  <a:lnTo>
                    <a:pt x="1933" y="1485"/>
                  </a:lnTo>
                  <a:lnTo>
                    <a:pt x="1936" y="1483"/>
                  </a:lnTo>
                  <a:lnTo>
                    <a:pt x="1936" y="1485"/>
                  </a:lnTo>
                  <a:lnTo>
                    <a:pt x="1933" y="1485"/>
                  </a:lnTo>
                  <a:lnTo>
                    <a:pt x="1933" y="1485"/>
                  </a:lnTo>
                  <a:lnTo>
                    <a:pt x="1933" y="1485"/>
                  </a:lnTo>
                  <a:lnTo>
                    <a:pt x="1933" y="1488"/>
                  </a:lnTo>
                  <a:lnTo>
                    <a:pt x="1933" y="1490"/>
                  </a:lnTo>
                  <a:lnTo>
                    <a:pt x="1933" y="1490"/>
                  </a:lnTo>
                  <a:lnTo>
                    <a:pt x="1931" y="1490"/>
                  </a:lnTo>
                  <a:lnTo>
                    <a:pt x="1933" y="1492"/>
                  </a:lnTo>
                  <a:lnTo>
                    <a:pt x="1933" y="1492"/>
                  </a:lnTo>
                  <a:lnTo>
                    <a:pt x="1933" y="1492"/>
                  </a:lnTo>
                  <a:lnTo>
                    <a:pt x="1933" y="1492"/>
                  </a:lnTo>
                  <a:lnTo>
                    <a:pt x="1931" y="1492"/>
                  </a:lnTo>
                  <a:lnTo>
                    <a:pt x="1931" y="1492"/>
                  </a:lnTo>
                  <a:lnTo>
                    <a:pt x="1931" y="1492"/>
                  </a:lnTo>
                  <a:lnTo>
                    <a:pt x="1931" y="1492"/>
                  </a:lnTo>
                  <a:lnTo>
                    <a:pt x="1931" y="1495"/>
                  </a:lnTo>
                  <a:lnTo>
                    <a:pt x="1931" y="1495"/>
                  </a:lnTo>
                  <a:lnTo>
                    <a:pt x="1931" y="1495"/>
                  </a:lnTo>
                  <a:lnTo>
                    <a:pt x="1931" y="1495"/>
                  </a:lnTo>
                  <a:lnTo>
                    <a:pt x="1933" y="1499"/>
                  </a:lnTo>
                  <a:lnTo>
                    <a:pt x="1933" y="1499"/>
                  </a:lnTo>
                  <a:lnTo>
                    <a:pt x="1936" y="1499"/>
                  </a:lnTo>
                  <a:lnTo>
                    <a:pt x="1936" y="1499"/>
                  </a:lnTo>
                  <a:lnTo>
                    <a:pt x="1936" y="1497"/>
                  </a:lnTo>
                  <a:lnTo>
                    <a:pt x="1936" y="1497"/>
                  </a:lnTo>
                  <a:lnTo>
                    <a:pt x="1936" y="1495"/>
                  </a:lnTo>
                  <a:lnTo>
                    <a:pt x="1936" y="1495"/>
                  </a:lnTo>
                  <a:lnTo>
                    <a:pt x="1936" y="1495"/>
                  </a:lnTo>
                  <a:lnTo>
                    <a:pt x="1933" y="1492"/>
                  </a:lnTo>
                  <a:lnTo>
                    <a:pt x="1933" y="1492"/>
                  </a:lnTo>
                  <a:lnTo>
                    <a:pt x="1933" y="1492"/>
                  </a:lnTo>
                  <a:lnTo>
                    <a:pt x="1933" y="1492"/>
                  </a:lnTo>
                  <a:lnTo>
                    <a:pt x="1936" y="1492"/>
                  </a:lnTo>
                  <a:lnTo>
                    <a:pt x="1936" y="1492"/>
                  </a:lnTo>
                  <a:lnTo>
                    <a:pt x="1936" y="1495"/>
                  </a:lnTo>
                  <a:lnTo>
                    <a:pt x="1938" y="1495"/>
                  </a:lnTo>
                  <a:lnTo>
                    <a:pt x="1938" y="1495"/>
                  </a:lnTo>
                  <a:lnTo>
                    <a:pt x="1938" y="1495"/>
                  </a:lnTo>
                  <a:lnTo>
                    <a:pt x="1938" y="1495"/>
                  </a:lnTo>
                  <a:lnTo>
                    <a:pt x="1938" y="1495"/>
                  </a:lnTo>
                  <a:lnTo>
                    <a:pt x="1938" y="1495"/>
                  </a:lnTo>
                  <a:lnTo>
                    <a:pt x="1938" y="1495"/>
                  </a:lnTo>
                  <a:lnTo>
                    <a:pt x="1941" y="1495"/>
                  </a:lnTo>
                  <a:lnTo>
                    <a:pt x="1941" y="1497"/>
                  </a:lnTo>
                  <a:lnTo>
                    <a:pt x="1941" y="1497"/>
                  </a:lnTo>
                  <a:lnTo>
                    <a:pt x="1941" y="1497"/>
                  </a:lnTo>
                  <a:lnTo>
                    <a:pt x="1941" y="1497"/>
                  </a:lnTo>
                  <a:lnTo>
                    <a:pt x="1941" y="1495"/>
                  </a:lnTo>
                  <a:lnTo>
                    <a:pt x="1943" y="1495"/>
                  </a:lnTo>
                  <a:lnTo>
                    <a:pt x="1943" y="1495"/>
                  </a:lnTo>
                  <a:lnTo>
                    <a:pt x="1943" y="1495"/>
                  </a:lnTo>
                  <a:lnTo>
                    <a:pt x="1943" y="1495"/>
                  </a:lnTo>
                  <a:lnTo>
                    <a:pt x="1943" y="1497"/>
                  </a:lnTo>
                  <a:lnTo>
                    <a:pt x="1943" y="1497"/>
                  </a:lnTo>
                  <a:lnTo>
                    <a:pt x="1943" y="1497"/>
                  </a:lnTo>
                  <a:lnTo>
                    <a:pt x="1943" y="1497"/>
                  </a:lnTo>
                  <a:lnTo>
                    <a:pt x="1943" y="1497"/>
                  </a:lnTo>
                  <a:lnTo>
                    <a:pt x="1943" y="1497"/>
                  </a:lnTo>
                  <a:lnTo>
                    <a:pt x="1943" y="1497"/>
                  </a:lnTo>
                  <a:lnTo>
                    <a:pt x="1943" y="1497"/>
                  </a:lnTo>
                  <a:lnTo>
                    <a:pt x="1943" y="1497"/>
                  </a:lnTo>
                  <a:lnTo>
                    <a:pt x="1943" y="1497"/>
                  </a:lnTo>
                  <a:lnTo>
                    <a:pt x="1945" y="1497"/>
                  </a:lnTo>
                  <a:lnTo>
                    <a:pt x="1945" y="1495"/>
                  </a:lnTo>
                  <a:lnTo>
                    <a:pt x="1943" y="1495"/>
                  </a:lnTo>
                  <a:lnTo>
                    <a:pt x="1943" y="1495"/>
                  </a:lnTo>
                  <a:lnTo>
                    <a:pt x="1943" y="1495"/>
                  </a:lnTo>
                  <a:lnTo>
                    <a:pt x="1943" y="1492"/>
                  </a:lnTo>
                  <a:lnTo>
                    <a:pt x="1945" y="1492"/>
                  </a:lnTo>
                  <a:lnTo>
                    <a:pt x="1945" y="1492"/>
                  </a:lnTo>
                  <a:lnTo>
                    <a:pt x="1945" y="1490"/>
                  </a:lnTo>
                  <a:lnTo>
                    <a:pt x="1943" y="1490"/>
                  </a:lnTo>
                  <a:lnTo>
                    <a:pt x="1943" y="1492"/>
                  </a:lnTo>
                  <a:lnTo>
                    <a:pt x="1943" y="1492"/>
                  </a:lnTo>
                  <a:lnTo>
                    <a:pt x="1943" y="1490"/>
                  </a:lnTo>
                  <a:lnTo>
                    <a:pt x="1943" y="1490"/>
                  </a:lnTo>
                  <a:lnTo>
                    <a:pt x="1941" y="1490"/>
                  </a:lnTo>
                  <a:lnTo>
                    <a:pt x="1941" y="1492"/>
                  </a:lnTo>
                  <a:lnTo>
                    <a:pt x="1941" y="1492"/>
                  </a:lnTo>
                  <a:lnTo>
                    <a:pt x="1941" y="1492"/>
                  </a:lnTo>
                  <a:lnTo>
                    <a:pt x="1941" y="1492"/>
                  </a:lnTo>
                  <a:lnTo>
                    <a:pt x="1941" y="1490"/>
                  </a:lnTo>
                  <a:lnTo>
                    <a:pt x="1941" y="1488"/>
                  </a:lnTo>
                  <a:lnTo>
                    <a:pt x="1941" y="1488"/>
                  </a:lnTo>
                  <a:lnTo>
                    <a:pt x="1943" y="1488"/>
                  </a:lnTo>
                  <a:lnTo>
                    <a:pt x="1943" y="1488"/>
                  </a:lnTo>
                  <a:lnTo>
                    <a:pt x="1943" y="1490"/>
                  </a:lnTo>
                  <a:lnTo>
                    <a:pt x="1943" y="1490"/>
                  </a:lnTo>
                  <a:lnTo>
                    <a:pt x="1943" y="1490"/>
                  </a:lnTo>
                  <a:lnTo>
                    <a:pt x="1943" y="1490"/>
                  </a:lnTo>
                  <a:lnTo>
                    <a:pt x="1943" y="1490"/>
                  </a:lnTo>
                  <a:lnTo>
                    <a:pt x="1945" y="1490"/>
                  </a:lnTo>
                  <a:lnTo>
                    <a:pt x="1945" y="1492"/>
                  </a:lnTo>
                  <a:lnTo>
                    <a:pt x="1948" y="1492"/>
                  </a:lnTo>
                  <a:lnTo>
                    <a:pt x="1948" y="1492"/>
                  </a:lnTo>
                  <a:lnTo>
                    <a:pt x="1948" y="1495"/>
                  </a:lnTo>
                  <a:lnTo>
                    <a:pt x="1948" y="1495"/>
                  </a:lnTo>
                  <a:lnTo>
                    <a:pt x="1948" y="1495"/>
                  </a:lnTo>
                  <a:lnTo>
                    <a:pt x="1948" y="1495"/>
                  </a:lnTo>
                  <a:lnTo>
                    <a:pt x="1948" y="1492"/>
                  </a:lnTo>
                  <a:lnTo>
                    <a:pt x="1948" y="1490"/>
                  </a:lnTo>
                  <a:lnTo>
                    <a:pt x="1950" y="1490"/>
                  </a:lnTo>
                  <a:lnTo>
                    <a:pt x="1950" y="1492"/>
                  </a:lnTo>
                  <a:lnTo>
                    <a:pt x="1950" y="1492"/>
                  </a:lnTo>
                  <a:lnTo>
                    <a:pt x="1950" y="1492"/>
                  </a:lnTo>
                  <a:lnTo>
                    <a:pt x="1948" y="1495"/>
                  </a:lnTo>
                  <a:lnTo>
                    <a:pt x="1948" y="1495"/>
                  </a:lnTo>
                  <a:lnTo>
                    <a:pt x="1950" y="1495"/>
                  </a:lnTo>
                  <a:lnTo>
                    <a:pt x="1950" y="1495"/>
                  </a:lnTo>
                  <a:lnTo>
                    <a:pt x="1950" y="1495"/>
                  </a:lnTo>
                  <a:lnTo>
                    <a:pt x="1952" y="1495"/>
                  </a:lnTo>
                  <a:lnTo>
                    <a:pt x="1952" y="1495"/>
                  </a:lnTo>
                  <a:lnTo>
                    <a:pt x="1952" y="1495"/>
                  </a:lnTo>
                  <a:lnTo>
                    <a:pt x="1952" y="1495"/>
                  </a:lnTo>
                  <a:lnTo>
                    <a:pt x="1950" y="1492"/>
                  </a:lnTo>
                  <a:lnTo>
                    <a:pt x="1950" y="1492"/>
                  </a:lnTo>
                  <a:lnTo>
                    <a:pt x="1950" y="1492"/>
                  </a:lnTo>
                  <a:lnTo>
                    <a:pt x="1950" y="1492"/>
                  </a:lnTo>
                  <a:lnTo>
                    <a:pt x="1950" y="1492"/>
                  </a:lnTo>
                  <a:lnTo>
                    <a:pt x="1952" y="1492"/>
                  </a:lnTo>
                  <a:lnTo>
                    <a:pt x="1952" y="1492"/>
                  </a:lnTo>
                  <a:lnTo>
                    <a:pt x="1952" y="1492"/>
                  </a:lnTo>
                  <a:lnTo>
                    <a:pt x="1952" y="1492"/>
                  </a:lnTo>
                  <a:lnTo>
                    <a:pt x="1952" y="1492"/>
                  </a:lnTo>
                  <a:lnTo>
                    <a:pt x="1952" y="1492"/>
                  </a:lnTo>
                  <a:lnTo>
                    <a:pt x="1952" y="1492"/>
                  </a:lnTo>
                  <a:lnTo>
                    <a:pt x="1952" y="1492"/>
                  </a:lnTo>
                  <a:lnTo>
                    <a:pt x="1952" y="1492"/>
                  </a:lnTo>
                  <a:lnTo>
                    <a:pt x="1952" y="1492"/>
                  </a:lnTo>
                  <a:lnTo>
                    <a:pt x="1952" y="1492"/>
                  </a:lnTo>
                  <a:lnTo>
                    <a:pt x="1952" y="1492"/>
                  </a:lnTo>
                  <a:lnTo>
                    <a:pt x="1952" y="1495"/>
                  </a:lnTo>
                  <a:lnTo>
                    <a:pt x="1952" y="1495"/>
                  </a:lnTo>
                  <a:lnTo>
                    <a:pt x="1952" y="1495"/>
                  </a:lnTo>
                  <a:lnTo>
                    <a:pt x="1952" y="1495"/>
                  </a:lnTo>
                  <a:lnTo>
                    <a:pt x="1952" y="1495"/>
                  </a:lnTo>
                  <a:lnTo>
                    <a:pt x="1955" y="1495"/>
                  </a:lnTo>
                  <a:lnTo>
                    <a:pt x="1955" y="1497"/>
                  </a:lnTo>
                  <a:lnTo>
                    <a:pt x="1955" y="1497"/>
                  </a:lnTo>
                  <a:lnTo>
                    <a:pt x="1955" y="1497"/>
                  </a:lnTo>
                  <a:lnTo>
                    <a:pt x="1955" y="1497"/>
                  </a:lnTo>
                  <a:lnTo>
                    <a:pt x="1955" y="1499"/>
                  </a:lnTo>
                  <a:lnTo>
                    <a:pt x="1955" y="1499"/>
                  </a:lnTo>
                  <a:lnTo>
                    <a:pt x="1955" y="1499"/>
                  </a:lnTo>
                  <a:lnTo>
                    <a:pt x="1957" y="1499"/>
                  </a:lnTo>
                  <a:lnTo>
                    <a:pt x="1957" y="1497"/>
                  </a:lnTo>
                  <a:lnTo>
                    <a:pt x="1957" y="1497"/>
                  </a:lnTo>
                  <a:lnTo>
                    <a:pt x="1957" y="1497"/>
                  </a:lnTo>
                  <a:lnTo>
                    <a:pt x="1957" y="1497"/>
                  </a:lnTo>
                  <a:lnTo>
                    <a:pt x="1957" y="1497"/>
                  </a:lnTo>
                  <a:lnTo>
                    <a:pt x="1957" y="1497"/>
                  </a:lnTo>
                  <a:lnTo>
                    <a:pt x="1957" y="1497"/>
                  </a:lnTo>
                  <a:lnTo>
                    <a:pt x="1957" y="1497"/>
                  </a:lnTo>
                  <a:lnTo>
                    <a:pt x="1957" y="1497"/>
                  </a:lnTo>
                  <a:lnTo>
                    <a:pt x="1957" y="1495"/>
                  </a:lnTo>
                  <a:lnTo>
                    <a:pt x="1957" y="1495"/>
                  </a:lnTo>
                  <a:lnTo>
                    <a:pt x="1960" y="1495"/>
                  </a:lnTo>
                  <a:lnTo>
                    <a:pt x="1960" y="1495"/>
                  </a:lnTo>
                  <a:lnTo>
                    <a:pt x="1960" y="1497"/>
                  </a:lnTo>
                  <a:lnTo>
                    <a:pt x="1960" y="1497"/>
                  </a:lnTo>
                  <a:lnTo>
                    <a:pt x="1960" y="1499"/>
                  </a:lnTo>
                  <a:lnTo>
                    <a:pt x="1960" y="1499"/>
                  </a:lnTo>
                  <a:lnTo>
                    <a:pt x="1960" y="1499"/>
                  </a:lnTo>
                  <a:lnTo>
                    <a:pt x="1962" y="1499"/>
                  </a:lnTo>
                  <a:lnTo>
                    <a:pt x="1962" y="1499"/>
                  </a:lnTo>
                  <a:lnTo>
                    <a:pt x="1962" y="1497"/>
                  </a:lnTo>
                  <a:lnTo>
                    <a:pt x="1960" y="1497"/>
                  </a:lnTo>
                  <a:lnTo>
                    <a:pt x="1960" y="1497"/>
                  </a:lnTo>
                  <a:lnTo>
                    <a:pt x="1962" y="1495"/>
                  </a:lnTo>
                  <a:lnTo>
                    <a:pt x="1962" y="1495"/>
                  </a:lnTo>
                  <a:lnTo>
                    <a:pt x="1964" y="1497"/>
                  </a:lnTo>
                  <a:lnTo>
                    <a:pt x="1962" y="1497"/>
                  </a:lnTo>
                  <a:lnTo>
                    <a:pt x="1962" y="1497"/>
                  </a:lnTo>
                  <a:lnTo>
                    <a:pt x="1962" y="1497"/>
                  </a:lnTo>
                  <a:lnTo>
                    <a:pt x="1962" y="1497"/>
                  </a:lnTo>
                  <a:lnTo>
                    <a:pt x="1962" y="1497"/>
                  </a:lnTo>
                  <a:lnTo>
                    <a:pt x="1962" y="1497"/>
                  </a:lnTo>
                  <a:lnTo>
                    <a:pt x="1962" y="1499"/>
                  </a:lnTo>
                  <a:lnTo>
                    <a:pt x="1962" y="1499"/>
                  </a:lnTo>
                  <a:lnTo>
                    <a:pt x="1960" y="1502"/>
                  </a:lnTo>
                  <a:lnTo>
                    <a:pt x="1960" y="1502"/>
                  </a:lnTo>
                  <a:lnTo>
                    <a:pt x="1960" y="1502"/>
                  </a:lnTo>
                  <a:lnTo>
                    <a:pt x="1960" y="1504"/>
                  </a:lnTo>
                  <a:lnTo>
                    <a:pt x="1960" y="1504"/>
                  </a:lnTo>
                  <a:lnTo>
                    <a:pt x="1960" y="1504"/>
                  </a:lnTo>
                  <a:lnTo>
                    <a:pt x="1957" y="1506"/>
                  </a:lnTo>
                  <a:lnTo>
                    <a:pt x="1957" y="1506"/>
                  </a:lnTo>
                  <a:lnTo>
                    <a:pt x="1957" y="1506"/>
                  </a:lnTo>
                  <a:lnTo>
                    <a:pt x="1957" y="1509"/>
                  </a:lnTo>
                  <a:lnTo>
                    <a:pt x="1955" y="1509"/>
                  </a:lnTo>
                  <a:lnTo>
                    <a:pt x="1955" y="1509"/>
                  </a:lnTo>
                  <a:lnTo>
                    <a:pt x="1948" y="1509"/>
                  </a:lnTo>
                  <a:lnTo>
                    <a:pt x="1945" y="1511"/>
                  </a:lnTo>
                  <a:lnTo>
                    <a:pt x="1945" y="1511"/>
                  </a:lnTo>
                  <a:lnTo>
                    <a:pt x="1943" y="1511"/>
                  </a:lnTo>
                  <a:lnTo>
                    <a:pt x="1943" y="1511"/>
                  </a:lnTo>
                  <a:lnTo>
                    <a:pt x="1943" y="1511"/>
                  </a:lnTo>
                  <a:lnTo>
                    <a:pt x="1943" y="1511"/>
                  </a:lnTo>
                  <a:lnTo>
                    <a:pt x="1943" y="1511"/>
                  </a:lnTo>
                  <a:lnTo>
                    <a:pt x="1943" y="1511"/>
                  </a:lnTo>
                  <a:lnTo>
                    <a:pt x="1941" y="1511"/>
                  </a:lnTo>
                  <a:lnTo>
                    <a:pt x="1941" y="1511"/>
                  </a:lnTo>
                  <a:lnTo>
                    <a:pt x="1943" y="1511"/>
                  </a:lnTo>
                  <a:lnTo>
                    <a:pt x="1943" y="1514"/>
                  </a:lnTo>
                  <a:lnTo>
                    <a:pt x="1943" y="1511"/>
                  </a:lnTo>
                  <a:lnTo>
                    <a:pt x="1943" y="1514"/>
                  </a:lnTo>
                  <a:lnTo>
                    <a:pt x="1943" y="1514"/>
                  </a:lnTo>
                  <a:lnTo>
                    <a:pt x="1943" y="1514"/>
                  </a:lnTo>
                  <a:lnTo>
                    <a:pt x="1943" y="1514"/>
                  </a:lnTo>
                  <a:lnTo>
                    <a:pt x="1943" y="1514"/>
                  </a:lnTo>
                  <a:lnTo>
                    <a:pt x="1945" y="1514"/>
                  </a:lnTo>
                  <a:lnTo>
                    <a:pt x="1945" y="1514"/>
                  </a:lnTo>
                  <a:lnTo>
                    <a:pt x="1945" y="1514"/>
                  </a:lnTo>
                  <a:lnTo>
                    <a:pt x="1945" y="1511"/>
                  </a:lnTo>
                  <a:lnTo>
                    <a:pt x="1945" y="1511"/>
                  </a:lnTo>
                  <a:lnTo>
                    <a:pt x="1945" y="1511"/>
                  </a:lnTo>
                  <a:lnTo>
                    <a:pt x="1945" y="1511"/>
                  </a:lnTo>
                  <a:lnTo>
                    <a:pt x="1948" y="1514"/>
                  </a:lnTo>
                  <a:lnTo>
                    <a:pt x="1948" y="1514"/>
                  </a:lnTo>
                  <a:lnTo>
                    <a:pt x="1950" y="1514"/>
                  </a:lnTo>
                  <a:lnTo>
                    <a:pt x="1950" y="1514"/>
                  </a:lnTo>
                  <a:lnTo>
                    <a:pt x="1950" y="1511"/>
                  </a:lnTo>
                  <a:lnTo>
                    <a:pt x="1952" y="1511"/>
                  </a:lnTo>
                  <a:lnTo>
                    <a:pt x="1952" y="1511"/>
                  </a:lnTo>
                  <a:lnTo>
                    <a:pt x="1952" y="1514"/>
                  </a:lnTo>
                  <a:lnTo>
                    <a:pt x="1952" y="1514"/>
                  </a:lnTo>
                  <a:lnTo>
                    <a:pt x="1952" y="1514"/>
                  </a:lnTo>
                  <a:lnTo>
                    <a:pt x="1955" y="1514"/>
                  </a:lnTo>
                  <a:lnTo>
                    <a:pt x="1952" y="1514"/>
                  </a:lnTo>
                  <a:lnTo>
                    <a:pt x="1952" y="1516"/>
                  </a:lnTo>
                  <a:lnTo>
                    <a:pt x="1952" y="1516"/>
                  </a:lnTo>
                  <a:lnTo>
                    <a:pt x="1952" y="1516"/>
                  </a:lnTo>
                  <a:lnTo>
                    <a:pt x="1952" y="1516"/>
                  </a:lnTo>
                  <a:lnTo>
                    <a:pt x="1952" y="1518"/>
                  </a:lnTo>
                  <a:lnTo>
                    <a:pt x="1955" y="1518"/>
                  </a:lnTo>
                  <a:lnTo>
                    <a:pt x="1955" y="1518"/>
                  </a:lnTo>
                  <a:lnTo>
                    <a:pt x="1955" y="1518"/>
                  </a:lnTo>
                  <a:lnTo>
                    <a:pt x="1955" y="1521"/>
                  </a:lnTo>
                  <a:lnTo>
                    <a:pt x="1955" y="1521"/>
                  </a:lnTo>
                  <a:lnTo>
                    <a:pt x="1955" y="1521"/>
                  </a:lnTo>
                  <a:lnTo>
                    <a:pt x="1957" y="1518"/>
                  </a:lnTo>
                  <a:lnTo>
                    <a:pt x="1957" y="1518"/>
                  </a:lnTo>
                  <a:lnTo>
                    <a:pt x="1957" y="1521"/>
                  </a:lnTo>
                  <a:lnTo>
                    <a:pt x="1957" y="1521"/>
                  </a:lnTo>
                  <a:lnTo>
                    <a:pt x="1955" y="1521"/>
                  </a:lnTo>
                  <a:lnTo>
                    <a:pt x="1955" y="1521"/>
                  </a:lnTo>
                  <a:lnTo>
                    <a:pt x="1955" y="1521"/>
                  </a:lnTo>
                  <a:lnTo>
                    <a:pt x="1955" y="1523"/>
                  </a:lnTo>
                  <a:lnTo>
                    <a:pt x="1957" y="1523"/>
                  </a:lnTo>
                  <a:lnTo>
                    <a:pt x="1957" y="1523"/>
                  </a:lnTo>
                  <a:lnTo>
                    <a:pt x="1957" y="1523"/>
                  </a:lnTo>
                  <a:lnTo>
                    <a:pt x="1957" y="1523"/>
                  </a:lnTo>
                  <a:lnTo>
                    <a:pt x="1957" y="1523"/>
                  </a:lnTo>
                  <a:lnTo>
                    <a:pt x="1957" y="1525"/>
                  </a:lnTo>
                  <a:lnTo>
                    <a:pt x="1957" y="1525"/>
                  </a:lnTo>
                  <a:lnTo>
                    <a:pt x="1960" y="1525"/>
                  </a:lnTo>
                  <a:lnTo>
                    <a:pt x="1962" y="1525"/>
                  </a:lnTo>
                  <a:lnTo>
                    <a:pt x="1964" y="1525"/>
                  </a:lnTo>
                  <a:lnTo>
                    <a:pt x="1964" y="1528"/>
                  </a:lnTo>
                  <a:lnTo>
                    <a:pt x="1964" y="1528"/>
                  </a:lnTo>
                  <a:lnTo>
                    <a:pt x="1964" y="1528"/>
                  </a:lnTo>
                  <a:lnTo>
                    <a:pt x="1967" y="1525"/>
                  </a:lnTo>
                  <a:lnTo>
                    <a:pt x="1967" y="1525"/>
                  </a:lnTo>
                  <a:lnTo>
                    <a:pt x="1967" y="1525"/>
                  </a:lnTo>
                  <a:lnTo>
                    <a:pt x="1967" y="1528"/>
                  </a:lnTo>
                  <a:lnTo>
                    <a:pt x="1967" y="1528"/>
                  </a:lnTo>
                  <a:lnTo>
                    <a:pt x="1967" y="1528"/>
                  </a:lnTo>
                  <a:lnTo>
                    <a:pt x="1967" y="1530"/>
                  </a:lnTo>
                  <a:lnTo>
                    <a:pt x="1969" y="1530"/>
                  </a:lnTo>
                  <a:lnTo>
                    <a:pt x="1969" y="1530"/>
                  </a:lnTo>
                  <a:lnTo>
                    <a:pt x="1971" y="1530"/>
                  </a:lnTo>
                  <a:lnTo>
                    <a:pt x="1971" y="1530"/>
                  </a:lnTo>
                  <a:lnTo>
                    <a:pt x="1971" y="1530"/>
                  </a:lnTo>
                  <a:lnTo>
                    <a:pt x="1971" y="1530"/>
                  </a:lnTo>
                  <a:lnTo>
                    <a:pt x="1971" y="1530"/>
                  </a:lnTo>
                  <a:lnTo>
                    <a:pt x="1971" y="1532"/>
                  </a:lnTo>
                  <a:lnTo>
                    <a:pt x="1971" y="1532"/>
                  </a:lnTo>
                  <a:lnTo>
                    <a:pt x="1974" y="1530"/>
                  </a:lnTo>
                  <a:lnTo>
                    <a:pt x="1974" y="1530"/>
                  </a:lnTo>
                  <a:lnTo>
                    <a:pt x="1974" y="1528"/>
                  </a:lnTo>
                  <a:lnTo>
                    <a:pt x="1974" y="1528"/>
                  </a:lnTo>
                  <a:lnTo>
                    <a:pt x="1974" y="1525"/>
                  </a:lnTo>
                  <a:lnTo>
                    <a:pt x="1974" y="1525"/>
                  </a:lnTo>
                  <a:lnTo>
                    <a:pt x="1974" y="1525"/>
                  </a:lnTo>
                  <a:lnTo>
                    <a:pt x="1974" y="1525"/>
                  </a:lnTo>
                  <a:lnTo>
                    <a:pt x="1974" y="1525"/>
                  </a:lnTo>
                  <a:lnTo>
                    <a:pt x="1974" y="1525"/>
                  </a:lnTo>
                  <a:lnTo>
                    <a:pt x="1976" y="1525"/>
                  </a:lnTo>
                  <a:lnTo>
                    <a:pt x="1976" y="1525"/>
                  </a:lnTo>
                  <a:lnTo>
                    <a:pt x="1978" y="1525"/>
                  </a:lnTo>
                  <a:lnTo>
                    <a:pt x="1978" y="1523"/>
                  </a:lnTo>
                  <a:lnTo>
                    <a:pt x="1976" y="1523"/>
                  </a:lnTo>
                  <a:lnTo>
                    <a:pt x="1976" y="1521"/>
                  </a:lnTo>
                  <a:lnTo>
                    <a:pt x="1976" y="1521"/>
                  </a:lnTo>
                  <a:lnTo>
                    <a:pt x="1978" y="1518"/>
                  </a:lnTo>
                  <a:lnTo>
                    <a:pt x="1978" y="1521"/>
                  </a:lnTo>
                  <a:lnTo>
                    <a:pt x="1978" y="1521"/>
                  </a:lnTo>
                  <a:lnTo>
                    <a:pt x="1978" y="1521"/>
                  </a:lnTo>
                  <a:lnTo>
                    <a:pt x="1978" y="1521"/>
                  </a:lnTo>
                  <a:lnTo>
                    <a:pt x="1978" y="1521"/>
                  </a:lnTo>
                  <a:lnTo>
                    <a:pt x="1978" y="1523"/>
                  </a:lnTo>
                  <a:lnTo>
                    <a:pt x="1978" y="1523"/>
                  </a:lnTo>
                  <a:lnTo>
                    <a:pt x="1978" y="1523"/>
                  </a:lnTo>
                  <a:lnTo>
                    <a:pt x="1978" y="1523"/>
                  </a:lnTo>
                  <a:lnTo>
                    <a:pt x="1978" y="1523"/>
                  </a:lnTo>
                  <a:lnTo>
                    <a:pt x="1981" y="1521"/>
                  </a:lnTo>
                  <a:lnTo>
                    <a:pt x="1981" y="1521"/>
                  </a:lnTo>
                  <a:lnTo>
                    <a:pt x="1981" y="1521"/>
                  </a:lnTo>
                  <a:lnTo>
                    <a:pt x="1981" y="1521"/>
                  </a:lnTo>
                  <a:lnTo>
                    <a:pt x="1981" y="1521"/>
                  </a:lnTo>
                  <a:lnTo>
                    <a:pt x="1981" y="1521"/>
                  </a:lnTo>
                  <a:lnTo>
                    <a:pt x="1981" y="1521"/>
                  </a:lnTo>
                  <a:lnTo>
                    <a:pt x="1981" y="1523"/>
                  </a:lnTo>
                  <a:lnTo>
                    <a:pt x="1981" y="1523"/>
                  </a:lnTo>
                  <a:lnTo>
                    <a:pt x="1978" y="1523"/>
                  </a:lnTo>
                  <a:lnTo>
                    <a:pt x="1978" y="1523"/>
                  </a:lnTo>
                  <a:lnTo>
                    <a:pt x="1978" y="1525"/>
                  </a:lnTo>
                  <a:lnTo>
                    <a:pt x="1978" y="1525"/>
                  </a:lnTo>
                  <a:lnTo>
                    <a:pt x="1978" y="1525"/>
                  </a:lnTo>
                  <a:lnTo>
                    <a:pt x="1978" y="1525"/>
                  </a:lnTo>
                  <a:lnTo>
                    <a:pt x="1978" y="1525"/>
                  </a:lnTo>
                  <a:lnTo>
                    <a:pt x="1978" y="1525"/>
                  </a:lnTo>
                  <a:lnTo>
                    <a:pt x="1978" y="1528"/>
                  </a:lnTo>
                  <a:lnTo>
                    <a:pt x="1978" y="1528"/>
                  </a:lnTo>
                  <a:lnTo>
                    <a:pt x="1978" y="1528"/>
                  </a:lnTo>
                  <a:lnTo>
                    <a:pt x="1978" y="1528"/>
                  </a:lnTo>
                  <a:lnTo>
                    <a:pt x="1976" y="1530"/>
                  </a:lnTo>
                  <a:lnTo>
                    <a:pt x="1976" y="1530"/>
                  </a:lnTo>
                  <a:lnTo>
                    <a:pt x="1974" y="1530"/>
                  </a:lnTo>
                  <a:lnTo>
                    <a:pt x="1974" y="1530"/>
                  </a:lnTo>
                  <a:lnTo>
                    <a:pt x="1974" y="1532"/>
                  </a:lnTo>
                  <a:lnTo>
                    <a:pt x="1976" y="1532"/>
                  </a:lnTo>
                  <a:lnTo>
                    <a:pt x="1976" y="1532"/>
                  </a:lnTo>
                  <a:lnTo>
                    <a:pt x="1978" y="1530"/>
                  </a:lnTo>
                  <a:lnTo>
                    <a:pt x="1978" y="1530"/>
                  </a:lnTo>
                  <a:lnTo>
                    <a:pt x="1978" y="1530"/>
                  </a:lnTo>
                  <a:lnTo>
                    <a:pt x="1978" y="1530"/>
                  </a:lnTo>
                  <a:lnTo>
                    <a:pt x="1978" y="1530"/>
                  </a:lnTo>
                  <a:lnTo>
                    <a:pt x="1978" y="1530"/>
                  </a:lnTo>
                  <a:lnTo>
                    <a:pt x="1978" y="1530"/>
                  </a:lnTo>
                  <a:lnTo>
                    <a:pt x="1978" y="1528"/>
                  </a:lnTo>
                  <a:lnTo>
                    <a:pt x="1978" y="1528"/>
                  </a:lnTo>
                  <a:lnTo>
                    <a:pt x="1981" y="1528"/>
                  </a:lnTo>
                  <a:lnTo>
                    <a:pt x="1981" y="1528"/>
                  </a:lnTo>
                  <a:lnTo>
                    <a:pt x="1981" y="1530"/>
                  </a:lnTo>
                  <a:lnTo>
                    <a:pt x="1981" y="1530"/>
                  </a:lnTo>
                  <a:lnTo>
                    <a:pt x="1981" y="1530"/>
                  </a:lnTo>
                  <a:lnTo>
                    <a:pt x="1981" y="1530"/>
                  </a:lnTo>
                  <a:lnTo>
                    <a:pt x="1981" y="1532"/>
                  </a:lnTo>
                  <a:lnTo>
                    <a:pt x="1978" y="1532"/>
                  </a:lnTo>
                  <a:lnTo>
                    <a:pt x="1978" y="1532"/>
                  </a:lnTo>
                  <a:lnTo>
                    <a:pt x="1978" y="1532"/>
                  </a:lnTo>
                  <a:lnTo>
                    <a:pt x="1978" y="1532"/>
                  </a:lnTo>
                  <a:lnTo>
                    <a:pt x="1981" y="1532"/>
                  </a:lnTo>
                  <a:lnTo>
                    <a:pt x="1983" y="1532"/>
                  </a:lnTo>
                  <a:lnTo>
                    <a:pt x="1983" y="1532"/>
                  </a:lnTo>
                  <a:lnTo>
                    <a:pt x="1986" y="1532"/>
                  </a:lnTo>
                  <a:lnTo>
                    <a:pt x="1986" y="1532"/>
                  </a:lnTo>
                  <a:lnTo>
                    <a:pt x="1986" y="1532"/>
                  </a:lnTo>
                  <a:lnTo>
                    <a:pt x="1983" y="1532"/>
                  </a:lnTo>
                  <a:lnTo>
                    <a:pt x="1983" y="1535"/>
                  </a:lnTo>
                  <a:lnTo>
                    <a:pt x="1983" y="1535"/>
                  </a:lnTo>
                  <a:lnTo>
                    <a:pt x="1986" y="1535"/>
                  </a:lnTo>
                  <a:lnTo>
                    <a:pt x="1986" y="1535"/>
                  </a:lnTo>
                  <a:lnTo>
                    <a:pt x="1986" y="1535"/>
                  </a:lnTo>
                  <a:lnTo>
                    <a:pt x="1990" y="1535"/>
                  </a:lnTo>
                  <a:lnTo>
                    <a:pt x="1993" y="1535"/>
                  </a:lnTo>
                  <a:lnTo>
                    <a:pt x="1995" y="1535"/>
                  </a:lnTo>
                  <a:lnTo>
                    <a:pt x="1995" y="1535"/>
                  </a:lnTo>
                  <a:lnTo>
                    <a:pt x="1995" y="1535"/>
                  </a:lnTo>
                  <a:lnTo>
                    <a:pt x="1995" y="1535"/>
                  </a:lnTo>
                  <a:lnTo>
                    <a:pt x="1995" y="1535"/>
                  </a:lnTo>
                  <a:lnTo>
                    <a:pt x="1995" y="1535"/>
                  </a:lnTo>
                  <a:lnTo>
                    <a:pt x="1997" y="1535"/>
                  </a:lnTo>
                  <a:lnTo>
                    <a:pt x="2000" y="1537"/>
                  </a:lnTo>
                  <a:lnTo>
                    <a:pt x="2000" y="1537"/>
                  </a:lnTo>
                  <a:lnTo>
                    <a:pt x="2000" y="1537"/>
                  </a:lnTo>
                  <a:lnTo>
                    <a:pt x="2002" y="1540"/>
                  </a:lnTo>
                  <a:lnTo>
                    <a:pt x="2004" y="1540"/>
                  </a:lnTo>
                  <a:lnTo>
                    <a:pt x="2004" y="1537"/>
                  </a:lnTo>
                  <a:lnTo>
                    <a:pt x="2007" y="1537"/>
                  </a:lnTo>
                  <a:lnTo>
                    <a:pt x="2007" y="1537"/>
                  </a:lnTo>
                  <a:lnTo>
                    <a:pt x="2007" y="1537"/>
                  </a:lnTo>
                  <a:lnTo>
                    <a:pt x="2009" y="1537"/>
                  </a:lnTo>
                  <a:lnTo>
                    <a:pt x="2009" y="1537"/>
                  </a:lnTo>
                  <a:lnTo>
                    <a:pt x="2009" y="1535"/>
                  </a:lnTo>
                  <a:lnTo>
                    <a:pt x="2012" y="1535"/>
                  </a:lnTo>
                  <a:lnTo>
                    <a:pt x="2012" y="1535"/>
                  </a:lnTo>
                  <a:lnTo>
                    <a:pt x="2012" y="1535"/>
                  </a:lnTo>
                  <a:lnTo>
                    <a:pt x="2014" y="1535"/>
                  </a:lnTo>
                  <a:lnTo>
                    <a:pt x="2014" y="1535"/>
                  </a:lnTo>
                  <a:lnTo>
                    <a:pt x="2014" y="1535"/>
                  </a:lnTo>
                  <a:lnTo>
                    <a:pt x="2014" y="1535"/>
                  </a:lnTo>
                  <a:lnTo>
                    <a:pt x="2016" y="1537"/>
                  </a:lnTo>
                  <a:lnTo>
                    <a:pt x="2016" y="1537"/>
                  </a:lnTo>
                  <a:lnTo>
                    <a:pt x="2016" y="1537"/>
                  </a:lnTo>
                  <a:lnTo>
                    <a:pt x="2016" y="1537"/>
                  </a:lnTo>
                  <a:lnTo>
                    <a:pt x="2016" y="1535"/>
                  </a:lnTo>
                  <a:lnTo>
                    <a:pt x="2016" y="1535"/>
                  </a:lnTo>
                  <a:lnTo>
                    <a:pt x="2016" y="1535"/>
                  </a:lnTo>
                  <a:lnTo>
                    <a:pt x="2016" y="1535"/>
                  </a:lnTo>
                  <a:lnTo>
                    <a:pt x="2016" y="1535"/>
                  </a:lnTo>
                  <a:lnTo>
                    <a:pt x="2016" y="1535"/>
                  </a:lnTo>
                  <a:lnTo>
                    <a:pt x="2014" y="1535"/>
                  </a:lnTo>
                  <a:lnTo>
                    <a:pt x="2014" y="1535"/>
                  </a:lnTo>
                  <a:lnTo>
                    <a:pt x="2014" y="1532"/>
                  </a:lnTo>
                  <a:lnTo>
                    <a:pt x="2014" y="1532"/>
                  </a:lnTo>
                  <a:lnTo>
                    <a:pt x="2014" y="1532"/>
                  </a:lnTo>
                  <a:lnTo>
                    <a:pt x="2014" y="1532"/>
                  </a:lnTo>
                  <a:lnTo>
                    <a:pt x="2014" y="1532"/>
                  </a:lnTo>
                  <a:lnTo>
                    <a:pt x="2016" y="1532"/>
                  </a:lnTo>
                  <a:lnTo>
                    <a:pt x="2016" y="1532"/>
                  </a:lnTo>
                  <a:lnTo>
                    <a:pt x="2019" y="1532"/>
                  </a:lnTo>
                  <a:lnTo>
                    <a:pt x="2019" y="1535"/>
                  </a:lnTo>
                  <a:lnTo>
                    <a:pt x="2019" y="1535"/>
                  </a:lnTo>
                  <a:lnTo>
                    <a:pt x="2019" y="1535"/>
                  </a:lnTo>
                  <a:lnTo>
                    <a:pt x="2019" y="1535"/>
                  </a:lnTo>
                  <a:lnTo>
                    <a:pt x="2019" y="1535"/>
                  </a:lnTo>
                  <a:lnTo>
                    <a:pt x="2019" y="1532"/>
                  </a:lnTo>
                  <a:lnTo>
                    <a:pt x="2019" y="1532"/>
                  </a:lnTo>
                  <a:lnTo>
                    <a:pt x="2019" y="1532"/>
                  </a:lnTo>
                  <a:lnTo>
                    <a:pt x="2019" y="1532"/>
                  </a:lnTo>
                  <a:lnTo>
                    <a:pt x="2021" y="1532"/>
                  </a:lnTo>
                  <a:lnTo>
                    <a:pt x="2021" y="1532"/>
                  </a:lnTo>
                  <a:lnTo>
                    <a:pt x="2021" y="1532"/>
                  </a:lnTo>
                  <a:lnTo>
                    <a:pt x="2023" y="1532"/>
                  </a:lnTo>
                  <a:lnTo>
                    <a:pt x="2023" y="1532"/>
                  </a:lnTo>
                  <a:lnTo>
                    <a:pt x="2023" y="1532"/>
                  </a:lnTo>
                  <a:lnTo>
                    <a:pt x="2023" y="1532"/>
                  </a:lnTo>
                  <a:lnTo>
                    <a:pt x="2026" y="1532"/>
                  </a:lnTo>
                  <a:lnTo>
                    <a:pt x="2026" y="1532"/>
                  </a:lnTo>
                  <a:lnTo>
                    <a:pt x="2026" y="1532"/>
                  </a:lnTo>
                  <a:lnTo>
                    <a:pt x="2026" y="1532"/>
                  </a:lnTo>
                  <a:lnTo>
                    <a:pt x="2026" y="1532"/>
                  </a:lnTo>
                  <a:lnTo>
                    <a:pt x="2026" y="1532"/>
                  </a:lnTo>
                  <a:lnTo>
                    <a:pt x="2023" y="1535"/>
                  </a:lnTo>
                  <a:lnTo>
                    <a:pt x="2023" y="1535"/>
                  </a:lnTo>
                  <a:lnTo>
                    <a:pt x="2021" y="1535"/>
                  </a:lnTo>
                  <a:lnTo>
                    <a:pt x="2023" y="1537"/>
                  </a:lnTo>
                  <a:lnTo>
                    <a:pt x="2023" y="1537"/>
                  </a:lnTo>
                  <a:lnTo>
                    <a:pt x="2023" y="1535"/>
                  </a:lnTo>
                  <a:lnTo>
                    <a:pt x="2026" y="1535"/>
                  </a:lnTo>
                  <a:lnTo>
                    <a:pt x="2026" y="1537"/>
                  </a:lnTo>
                  <a:lnTo>
                    <a:pt x="2026" y="1537"/>
                  </a:lnTo>
                  <a:lnTo>
                    <a:pt x="2026" y="1537"/>
                  </a:lnTo>
                  <a:lnTo>
                    <a:pt x="2026" y="1537"/>
                  </a:lnTo>
                  <a:lnTo>
                    <a:pt x="2026" y="1537"/>
                  </a:lnTo>
                  <a:lnTo>
                    <a:pt x="2026" y="1537"/>
                  </a:lnTo>
                  <a:lnTo>
                    <a:pt x="2023" y="1537"/>
                  </a:lnTo>
                  <a:lnTo>
                    <a:pt x="2023" y="1540"/>
                  </a:lnTo>
                  <a:lnTo>
                    <a:pt x="2023" y="1540"/>
                  </a:lnTo>
                  <a:lnTo>
                    <a:pt x="2023" y="1540"/>
                  </a:lnTo>
                  <a:lnTo>
                    <a:pt x="2023" y="1542"/>
                  </a:lnTo>
                  <a:lnTo>
                    <a:pt x="2026" y="1542"/>
                  </a:lnTo>
                  <a:lnTo>
                    <a:pt x="2026" y="1542"/>
                  </a:lnTo>
                  <a:lnTo>
                    <a:pt x="2026" y="1542"/>
                  </a:lnTo>
                  <a:lnTo>
                    <a:pt x="2028" y="1544"/>
                  </a:lnTo>
                  <a:lnTo>
                    <a:pt x="2028" y="1544"/>
                  </a:lnTo>
                  <a:lnTo>
                    <a:pt x="2028" y="1544"/>
                  </a:lnTo>
                  <a:lnTo>
                    <a:pt x="2028" y="1544"/>
                  </a:lnTo>
                  <a:lnTo>
                    <a:pt x="2028" y="1544"/>
                  </a:lnTo>
                  <a:lnTo>
                    <a:pt x="2028" y="1544"/>
                  </a:lnTo>
                  <a:lnTo>
                    <a:pt x="2028" y="1542"/>
                  </a:lnTo>
                  <a:lnTo>
                    <a:pt x="2028" y="1542"/>
                  </a:lnTo>
                  <a:lnTo>
                    <a:pt x="2028" y="1542"/>
                  </a:lnTo>
                  <a:lnTo>
                    <a:pt x="2028" y="1542"/>
                  </a:lnTo>
                  <a:lnTo>
                    <a:pt x="2026" y="1542"/>
                  </a:lnTo>
                  <a:lnTo>
                    <a:pt x="2026" y="1540"/>
                  </a:lnTo>
                  <a:lnTo>
                    <a:pt x="2028" y="1542"/>
                  </a:lnTo>
                  <a:lnTo>
                    <a:pt x="2028" y="1542"/>
                  </a:lnTo>
                  <a:lnTo>
                    <a:pt x="2028" y="1542"/>
                  </a:lnTo>
                  <a:lnTo>
                    <a:pt x="2028" y="1542"/>
                  </a:lnTo>
                  <a:lnTo>
                    <a:pt x="2028" y="1542"/>
                  </a:lnTo>
                  <a:lnTo>
                    <a:pt x="2028" y="1542"/>
                  </a:lnTo>
                  <a:lnTo>
                    <a:pt x="2028" y="1544"/>
                  </a:lnTo>
                  <a:lnTo>
                    <a:pt x="2028" y="1544"/>
                  </a:lnTo>
                  <a:lnTo>
                    <a:pt x="2031" y="1544"/>
                  </a:lnTo>
                  <a:lnTo>
                    <a:pt x="2031" y="1544"/>
                  </a:lnTo>
                  <a:lnTo>
                    <a:pt x="2031" y="1544"/>
                  </a:lnTo>
                  <a:lnTo>
                    <a:pt x="2031" y="1544"/>
                  </a:lnTo>
                  <a:lnTo>
                    <a:pt x="2031" y="1544"/>
                  </a:lnTo>
                  <a:lnTo>
                    <a:pt x="2031" y="1544"/>
                  </a:lnTo>
                  <a:lnTo>
                    <a:pt x="2031" y="1544"/>
                  </a:lnTo>
                  <a:lnTo>
                    <a:pt x="2031" y="1544"/>
                  </a:lnTo>
                  <a:lnTo>
                    <a:pt x="2031" y="1544"/>
                  </a:lnTo>
                  <a:lnTo>
                    <a:pt x="2031" y="1544"/>
                  </a:lnTo>
                  <a:lnTo>
                    <a:pt x="2031" y="1542"/>
                  </a:lnTo>
                  <a:lnTo>
                    <a:pt x="2031" y="1542"/>
                  </a:lnTo>
                  <a:lnTo>
                    <a:pt x="2031" y="1542"/>
                  </a:lnTo>
                  <a:lnTo>
                    <a:pt x="2031" y="1542"/>
                  </a:lnTo>
                  <a:lnTo>
                    <a:pt x="2031" y="1540"/>
                  </a:lnTo>
                  <a:lnTo>
                    <a:pt x="2031" y="1540"/>
                  </a:lnTo>
                  <a:lnTo>
                    <a:pt x="2031" y="1540"/>
                  </a:lnTo>
                  <a:lnTo>
                    <a:pt x="2033" y="1540"/>
                  </a:lnTo>
                  <a:lnTo>
                    <a:pt x="2033" y="1544"/>
                  </a:lnTo>
                  <a:lnTo>
                    <a:pt x="2033" y="1544"/>
                  </a:lnTo>
                  <a:lnTo>
                    <a:pt x="2033" y="1547"/>
                  </a:lnTo>
                  <a:lnTo>
                    <a:pt x="2038" y="1549"/>
                  </a:lnTo>
                  <a:lnTo>
                    <a:pt x="2042" y="1551"/>
                  </a:lnTo>
                  <a:lnTo>
                    <a:pt x="2042" y="1551"/>
                  </a:lnTo>
                  <a:lnTo>
                    <a:pt x="2045" y="1551"/>
                  </a:lnTo>
                  <a:lnTo>
                    <a:pt x="2045" y="1551"/>
                  </a:lnTo>
                  <a:lnTo>
                    <a:pt x="2045" y="1551"/>
                  </a:lnTo>
                  <a:lnTo>
                    <a:pt x="2045" y="1551"/>
                  </a:lnTo>
                  <a:lnTo>
                    <a:pt x="2047" y="1551"/>
                  </a:lnTo>
                  <a:lnTo>
                    <a:pt x="2047" y="1551"/>
                  </a:lnTo>
                  <a:lnTo>
                    <a:pt x="2047" y="1551"/>
                  </a:lnTo>
                  <a:lnTo>
                    <a:pt x="2047" y="1551"/>
                  </a:lnTo>
                  <a:lnTo>
                    <a:pt x="2047" y="1551"/>
                  </a:lnTo>
                  <a:lnTo>
                    <a:pt x="2047" y="1551"/>
                  </a:lnTo>
                  <a:lnTo>
                    <a:pt x="2049" y="1551"/>
                  </a:lnTo>
                  <a:lnTo>
                    <a:pt x="2049" y="1551"/>
                  </a:lnTo>
                  <a:lnTo>
                    <a:pt x="2052" y="1551"/>
                  </a:lnTo>
                  <a:lnTo>
                    <a:pt x="2052" y="1554"/>
                  </a:lnTo>
                  <a:lnTo>
                    <a:pt x="2052" y="1554"/>
                  </a:lnTo>
                  <a:lnTo>
                    <a:pt x="2052" y="1554"/>
                  </a:lnTo>
                  <a:lnTo>
                    <a:pt x="2052" y="1554"/>
                  </a:lnTo>
                  <a:lnTo>
                    <a:pt x="2052" y="1554"/>
                  </a:lnTo>
                  <a:lnTo>
                    <a:pt x="2054" y="1554"/>
                  </a:lnTo>
                  <a:lnTo>
                    <a:pt x="2054" y="1554"/>
                  </a:lnTo>
                  <a:lnTo>
                    <a:pt x="2054" y="1554"/>
                  </a:lnTo>
                  <a:lnTo>
                    <a:pt x="2057" y="1556"/>
                  </a:lnTo>
                  <a:lnTo>
                    <a:pt x="2057" y="1556"/>
                  </a:lnTo>
                  <a:lnTo>
                    <a:pt x="2071" y="1554"/>
                  </a:lnTo>
                  <a:lnTo>
                    <a:pt x="2071" y="1554"/>
                  </a:lnTo>
                  <a:lnTo>
                    <a:pt x="2071" y="1554"/>
                  </a:lnTo>
                  <a:lnTo>
                    <a:pt x="2071" y="1554"/>
                  </a:lnTo>
                  <a:lnTo>
                    <a:pt x="2071" y="1554"/>
                  </a:lnTo>
                  <a:lnTo>
                    <a:pt x="2071" y="1554"/>
                  </a:lnTo>
                  <a:lnTo>
                    <a:pt x="2071" y="1554"/>
                  </a:lnTo>
                  <a:lnTo>
                    <a:pt x="2071" y="1554"/>
                  </a:lnTo>
                  <a:lnTo>
                    <a:pt x="2073" y="1554"/>
                  </a:lnTo>
                  <a:lnTo>
                    <a:pt x="2073" y="1554"/>
                  </a:lnTo>
                  <a:lnTo>
                    <a:pt x="2073" y="1554"/>
                  </a:lnTo>
                  <a:lnTo>
                    <a:pt x="2073" y="1554"/>
                  </a:lnTo>
                  <a:lnTo>
                    <a:pt x="2075" y="1554"/>
                  </a:lnTo>
                  <a:lnTo>
                    <a:pt x="2078" y="1554"/>
                  </a:lnTo>
                  <a:lnTo>
                    <a:pt x="2078" y="1554"/>
                  </a:lnTo>
                  <a:lnTo>
                    <a:pt x="2078" y="1554"/>
                  </a:lnTo>
                  <a:lnTo>
                    <a:pt x="2078" y="1554"/>
                  </a:lnTo>
                  <a:lnTo>
                    <a:pt x="2078" y="1551"/>
                  </a:lnTo>
                  <a:lnTo>
                    <a:pt x="2078" y="1551"/>
                  </a:lnTo>
                  <a:lnTo>
                    <a:pt x="2078" y="1551"/>
                  </a:lnTo>
                  <a:lnTo>
                    <a:pt x="2078" y="1551"/>
                  </a:lnTo>
                  <a:lnTo>
                    <a:pt x="2078" y="1554"/>
                  </a:lnTo>
                  <a:lnTo>
                    <a:pt x="2078" y="1554"/>
                  </a:lnTo>
                  <a:lnTo>
                    <a:pt x="2078" y="1554"/>
                  </a:lnTo>
                  <a:lnTo>
                    <a:pt x="2078" y="1554"/>
                  </a:lnTo>
                  <a:lnTo>
                    <a:pt x="2078" y="1554"/>
                  </a:lnTo>
                  <a:lnTo>
                    <a:pt x="2080" y="1554"/>
                  </a:lnTo>
                  <a:lnTo>
                    <a:pt x="2083" y="1554"/>
                  </a:lnTo>
                  <a:lnTo>
                    <a:pt x="2085" y="1554"/>
                  </a:lnTo>
                  <a:lnTo>
                    <a:pt x="2085" y="1551"/>
                  </a:lnTo>
                  <a:lnTo>
                    <a:pt x="2085" y="1551"/>
                  </a:lnTo>
                  <a:lnTo>
                    <a:pt x="2087" y="1551"/>
                  </a:lnTo>
                  <a:lnTo>
                    <a:pt x="2087" y="1554"/>
                  </a:lnTo>
                  <a:lnTo>
                    <a:pt x="2087" y="1554"/>
                  </a:lnTo>
                  <a:lnTo>
                    <a:pt x="2090" y="1551"/>
                  </a:lnTo>
                  <a:lnTo>
                    <a:pt x="2092" y="1551"/>
                  </a:lnTo>
                  <a:lnTo>
                    <a:pt x="2092" y="1551"/>
                  </a:lnTo>
                  <a:lnTo>
                    <a:pt x="2092" y="1554"/>
                  </a:lnTo>
                  <a:lnTo>
                    <a:pt x="2092" y="1554"/>
                  </a:lnTo>
                  <a:lnTo>
                    <a:pt x="2092" y="1554"/>
                  </a:lnTo>
                  <a:lnTo>
                    <a:pt x="2094" y="1554"/>
                  </a:lnTo>
                  <a:lnTo>
                    <a:pt x="2094" y="1556"/>
                  </a:lnTo>
                  <a:lnTo>
                    <a:pt x="2094" y="1556"/>
                  </a:lnTo>
                  <a:lnTo>
                    <a:pt x="2094" y="1556"/>
                  </a:lnTo>
                  <a:lnTo>
                    <a:pt x="2097" y="1554"/>
                  </a:lnTo>
                  <a:lnTo>
                    <a:pt x="2097" y="1554"/>
                  </a:lnTo>
                  <a:lnTo>
                    <a:pt x="2097" y="1554"/>
                  </a:lnTo>
                  <a:lnTo>
                    <a:pt x="2097" y="1554"/>
                  </a:lnTo>
                  <a:lnTo>
                    <a:pt x="2097" y="1554"/>
                  </a:lnTo>
                  <a:lnTo>
                    <a:pt x="2097" y="1554"/>
                  </a:lnTo>
                  <a:lnTo>
                    <a:pt x="2099" y="1556"/>
                  </a:lnTo>
                  <a:lnTo>
                    <a:pt x="2101" y="1556"/>
                  </a:lnTo>
                  <a:lnTo>
                    <a:pt x="2101" y="1556"/>
                  </a:lnTo>
                  <a:lnTo>
                    <a:pt x="2101" y="1556"/>
                  </a:lnTo>
                  <a:lnTo>
                    <a:pt x="2101" y="1554"/>
                  </a:lnTo>
                  <a:lnTo>
                    <a:pt x="2101" y="1554"/>
                  </a:lnTo>
                  <a:lnTo>
                    <a:pt x="2104" y="1556"/>
                  </a:lnTo>
                  <a:lnTo>
                    <a:pt x="2106" y="1556"/>
                  </a:lnTo>
                  <a:lnTo>
                    <a:pt x="2106" y="1554"/>
                  </a:lnTo>
                  <a:lnTo>
                    <a:pt x="2106" y="1554"/>
                  </a:lnTo>
                  <a:lnTo>
                    <a:pt x="2104" y="1554"/>
                  </a:lnTo>
                  <a:lnTo>
                    <a:pt x="2106" y="1554"/>
                  </a:lnTo>
                  <a:lnTo>
                    <a:pt x="2109" y="1556"/>
                  </a:lnTo>
                  <a:lnTo>
                    <a:pt x="2111" y="1554"/>
                  </a:lnTo>
                  <a:lnTo>
                    <a:pt x="2111" y="1554"/>
                  </a:lnTo>
                  <a:lnTo>
                    <a:pt x="2111" y="1556"/>
                  </a:lnTo>
                  <a:lnTo>
                    <a:pt x="2111" y="1556"/>
                  </a:lnTo>
                  <a:lnTo>
                    <a:pt x="2111" y="1556"/>
                  </a:lnTo>
                  <a:lnTo>
                    <a:pt x="2111" y="1556"/>
                  </a:lnTo>
                  <a:lnTo>
                    <a:pt x="2113" y="1556"/>
                  </a:lnTo>
                  <a:lnTo>
                    <a:pt x="2113" y="1556"/>
                  </a:lnTo>
                  <a:lnTo>
                    <a:pt x="2113" y="1556"/>
                  </a:lnTo>
                  <a:lnTo>
                    <a:pt x="2113" y="1556"/>
                  </a:lnTo>
                  <a:lnTo>
                    <a:pt x="2116" y="1556"/>
                  </a:lnTo>
                  <a:lnTo>
                    <a:pt x="2116" y="1556"/>
                  </a:lnTo>
                  <a:lnTo>
                    <a:pt x="2116" y="1559"/>
                  </a:lnTo>
                  <a:lnTo>
                    <a:pt x="2116" y="1559"/>
                  </a:lnTo>
                  <a:lnTo>
                    <a:pt x="2116" y="1559"/>
                  </a:lnTo>
                  <a:lnTo>
                    <a:pt x="2116" y="1559"/>
                  </a:lnTo>
                  <a:lnTo>
                    <a:pt x="2116" y="1559"/>
                  </a:lnTo>
                  <a:lnTo>
                    <a:pt x="2116" y="1559"/>
                  </a:lnTo>
                  <a:lnTo>
                    <a:pt x="2116" y="1559"/>
                  </a:lnTo>
                  <a:lnTo>
                    <a:pt x="2118" y="1559"/>
                  </a:lnTo>
                  <a:lnTo>
                    <a:pt x="2118" y="1559"/>
                  </a:lnTo>
                  <a:lnTo>
                    <a:pt x="2118" y="1559"/>
                  </a:lnTo>
                  <a:lnTo>
                    <a:pt x="2120" y="1559"/>
                  </a:lnTo>
                  <a:lnTo>
                    <a:pt x="2120" y="1559"/>
                  </a:lnTo>
                  <a:lnTo>
                    <a:pt x="2123" y="1559"/>
                  </a:lnTo>
                  <a:lnTo>
                    <a:pt x="2123" y="1559"/>
                  </a:lnTo>
                  <a:lnTo>
                    <a:pt x="2125" y="1559"/>
                  </a:lnTo>
                  <a:lnTo>
                    <a:pt x="2128" y="1559"/>
                  </a:lnTo>
                  <a:lnTo>
                    <a:pt x="2130" y="1559"/>
                  </a:lnTo>
                  <a:lnTo>
                    <a:pt x="2132" y="1556"/>
                  </a:lnTo>
                  <a:lnTo>
                    <a:pt x="2132" y="1556"/>
                  </a:lnTo>
                  <a:lnTo>
                    <a:pt x="2132" y="1556"/>
                  </a:lnTo>
                  <a:lnTo>
                    <a:pt x="2135" y="1556"/>
                  </a:lnTo>
                  <a:lnTo>
                    <a:pt x="2135" y="1554"/>
                  </a:lnTo>
                  <a:lnTo>
                    <a:pt x="2135" y="1554"/>
                  </a:lnTo>
                  <a:lnTo>
                    <a:pt x="2135" y="1554"/>
                  </a:lnTo>
                  <a:lnTo>
                    <a:pt x="2135" y="1554"/>
                  </a:lnTo>
                  <a:lnTo>
                    <a:pt x="2132" y="1554"/>
                  </a:lnTo>
                  <a:lnTo>
                    <a:pt x="2132" y="1551"/>
                  </a:lnTo>
                  <a:lnTo>
                    <a:pt x="2132" y="1551"/>
                  </a:lnTo>
                  <a:lnTo>
                    <a:pt x="2132" y="1551"/>
                  </a:lnTo>
                  <a:lnTo>
                    <a:pt x="2132" y="1551"/>
                  </a:lnTo>
                  <a:lnTo>
                    <a:pt x="2132" y="1551"/>
                  </a:lnTo>
                  <a:lnTo>
                    <a:pt x="2132" y="1551"/>
                  </a:lnTo>
                  <a:lnTo>
                    <a:pt x="2130" y="1551"/>
                  </a:lnTo>
                  <a:lnTo>
                    <a:pt x="2130" y="1551"/>
                  </a:lnTo>
                  <a:lnTo>
                    <a:pt x="2130" y="1549"/>
                  </a:lnTo>
                  <a:lnTo>
                    <a:pt x="2130" y="1549"/>
                  </a:lnTo>
                  <a:lnTo>
                    <a:pt x="2128" y="1549"/>
                  </a:lnTo>
                  <a:lnTo>
                    <a:pt x="2128" y="1549"/>
                  </a:lnTo>
                  <a:lnTo>
                    <a:pt x="2128" y="1549"/>
                  </a:lnTo>
                  <a:lnTo>
                    <a:pt x="2128" y="1549"/>
                  </a:lnTo>
                  <a:lnTo>
                    <a:pt x="2128" y="1549"/>
                  </a:lnTo>
                  <a:lnTo>
                    <a:pt x="2128" y="1547"/>
                  </a:lnTo>
                  <a:lnTo>
                    <a:pt x="2128" y="1547"/>
                  </a:lnTo>
                  <a:lnTo>
                    <a:pt x="2125" y="1544"/>
                  </a:lnTo>
                  <a:lnTo>
                    <a:pt x="2125" y="1544"/>
                  </a:lnTo>
                  <a:lnTo>
                    <a:pt x="2125" y="1544"/>
                  </a:lnTo>
                  <a:lnTo>
                    <a:pt x="2125" y="1544"/>
                  </a:lnTo>
                  <a:lnTo>
                    <a:pt x="2125" y="1544"/>
                  </a:lnTo>
                  <a:lnTo>
                    <a:pt x="2125" y="1544"/>
                  </a:lnTo>
                  <a:lnTo>
                    <a:pt x="2123" y="1544"/>
                  </a:lnTo>
                  <a:lnTo>
                    <a:pt x="2123" y="1544"/>
                  </a:lnTo>
                  <a:lnTo>
                    <a:pt x="2125" y="1542"/>
                  </a:lnTo>
                  <a:lnTo>
                    <a:pt x="2125" y="1542"/>
                  </a:lnTo>
                  <a:lnTo>
                    <a:pt x="2125" y="1544"/>
                  </a:lnTo>
                  <a:lnTo>
                    <a:pt x="2128" y="1544"/>
                  </a:lnTo>
                  <a:lnTo>
                    <a:pt x="2128" y="1544"/>
                  </a:lnTo>
                  <a:lnTo>
                    <a:pt x="2128" y="1544"/>
                  </a:lnTo>
                  <a:lnTo>
                    <a:pt x="2128" y="1544"/>
                  </a:lnTo>
                  <a:lnTo>
                    <a:pt x="2128" y="1544"/>
                  </a:lnTo>
                  <a:lnTo>
                    <a:pt x="2130" y="1544"/>
                  </a:lnTo>
                  <a:lnTo>
                    <a:pt x="2130" y="1544"/>
                  </a:lnTo>
                  <a:lnTo>
                    <a:pt x="2130" y="1544"/>
                  </a:lnTo>
                  <a:lnTo>
                    <a:pt x="2130" y="1544"/>
                  </a:lnTo>
                  <a:lnTo>
                    <a:pt x="2130" y="1544"/>
                  </a:lnTo>
                  <a:lnTo>
                    <a:pt x="2128" y="1542"/>
                  </a:lnTo>
                  <a:lnTo>
                    <a:pt x="2128" y="1542"/>
                  </a:lnTo>
                  <a:lnTo>
                    <a:pt x="2128" y="1542"/>
                  </a:lnTo>
                  <a:lnTo>
                    <a:pt x="2128" y="1542"/>
                  </a:lnTo>
                  <a:lnTo>
                    <a:pt x="2128" y="1540"/>
                  </a:lnTo>
                  <a:lnTo>
                    <a:pt x="2128" y="1540"/>
                  </a:lnTo>
                  <a:lnTo>
                    <a:pt x="2128" y="1540"/>
                  </a:lnTo>
                  <a:lnTo>
                    <a:pt x="2130" y="1537"/>
                  </a:lnTo>
                  <a:lnTo>
                    <a:pt x="2130" y="1537"/>
                  </a:lnTo>
                  <a:lnTo>
                    <a:pt x="2128" y="1535"/>
                  </a:lnTo>
                  <a:lnTo>
                    <a:pt x="2125" y="1535"/>
                  </a:lnTo>
                  <a:lnTo>
                    <a:pt x="2125" y="1535"/>
                  </a:lnTo>
                  <a:lnTo>
                    <a:pt x="2125" y="1535"/>
                  </a:lnTo>
                  <a:lnTo>
                    <a:pt x="2125" y="1537"/>
                  </a:lnTo>
                  <a:lnTo>
                    <a:pt x="2123" y="1537"/>
                  </a:lnTo>
                  <a:lnTo>
                    <a:pt x="2120" y="1535"/>
                  </a:lnTo>
                  <a:lnTo>
                    <a:pt x="2120" y="1535"/>
                  </a:lnTo>
                  <a:lnTo>
                    <a:pt x="2120" y="1535"/>
                  </a:lnTo>
                  <a:lnTo>
                    <a:pt x="2123" y="1535"/>
                  </a:lnTo>
                  <a:lnTo>
                    <a:pt x="2123" y="1535"/>
                  </a:lnTo>
                  <a:lnTo>
                    <a:pt x="2123" y="1535"/>
                  </a:lnTo>
                  <a:lnTo>
                    <a:pt x="2123" y="1535"/>
                  </a:lnTo>
                  <a:lnTo>
                    <a:pt x="2123" y="1535"/>
                  </a:lnTo>
                  <a:lnTo>
                    <a:pt x="2123" y="1535"/>
                  </a:lnTo>
                  <a:lnTo>
                    <a:pt x="2120" y="1535"/>
                  </a:lnTo>
                  <a:lnTo>
                    <a:pt x="2120" y="1532"/>
                  </a:lnTo>
                  <a:lnTo>
                    <a:pt x="2120" y="1532"/>
                  </a:lnTo>
                  <a:lnTo>
                    <a:pt x="2120" y="1532"/>
                  </a:lnTo>
                  <a:lnTo>
                    <a:pt x="2120" y="1532"/>
                  </a:lnTo>
                  <a:lnTo>
                    <a:pt x="2120" y="1532"/>
                  </a:lnTo>
                  <a:lnTo>
                    <a:pt x="2120" y="1532"/>
                  </a:lnTo>
                  <a:lnTo>
                    <a:pt x="2120" y="1532"/>
                  </a:lnTo>
                  <a:lnTo>
                    <a:pt x="2120" y="1532"/>
                  </a:lnTo>
                  <a:lnTo>
                    <a:pt x="2120" y="1530"/>
                  </a:lnTo>
                  <a:lnTo>
                    <a:pt x="2120" y="1530"/>
                  </a:lnTo>
                  <a:lnTo>
                    <a:pt x="2118" y="1530"/>
                  </a:lnTo>
                  <a:lnTo>
                    <a:pt x="2118" y="1530"/>
                  </a:lnTo>
                  <a:lnTo>
                    <a:pt x="2118" y="1530"/>
                  </a:lnTo>
                  <a:lnTo>
                    <a:pt x="2118" y="1532"/>
                  </a:lnTo>
                  <a:lnTo>
                    <a:pt x="2118" y="1532"/>
                  </a:lnTo>
                  <a:lnTo>
                    <a:pt x="2118" y="1532"/>
                  </a:lnTo>
                  <a:lnTo>
                    <a:pt x="2118" y="1530"/>
                  </a:lnTo>
                  <a:lnTo>
                    <a:pt x="2116" y="1530"/>
                  </a:lnTo>
                  <a:lnTo>
                    <a:pt x="2116" y="1532"/>
                  </a:lnTo>
                  <a:lnTo>
                    <a:pt x="2116" y="1532"/>
                  </a:lnTo>
                  <a:lnTo>
                    <a:pt x="2116" y="1535"/>
                  </a:lnTo>
                  <a:lnTo>
                    <a:pt x="2118" y="1535"/>
                  </a:lnTo>
                  <a:lnTo>
                    <a:pt x="2118" y="1537"/>
                  </a:lnTo>
                  <a:lnTo>
                    <a:pt x="2113" y="1535"/>
                  </a:lnTo>
                  <a:lnTo>
                    <a:pt x="2113" y="1532"/>
                  </a:lnTo>
                  <a:lnTo>
                    <a:pt x="2113" y="1532"/>
                  </a:lnTo>
                  <a:lnTo>
                    <a:pt x="2111" y="1532"/>
                  </a:lnTo>
                  <a:lnTo>
                    <a:pt x="2111" y="1532"/>
                  </a:lnTo>
                  <a:lnTo>
                    <a:pt x="2111" y="1532"/>
                  </a:lnTo>
                  <a:lnTo>
                    <a:pt x="2113" y="1532"/>
                  </a:lnTo>
                  <a:lnTo>
                    <a:pt x="2113" y="1532"/>
                  </a:lnTo>
                  <a:lnTo>
                    <a:pt x="2113" y="1532"/>
                  </a:lnTo>
                  <a:lnTo>
                    <a:pt x="2113" y="1532"/>
                  </a:lnTo>
                  <a:lnTo>
                    <a:pt x="2113" y="1532"/>
                  </a:lnTo>
                  <a:lnTo>
                    <a:pt x="2113" y="1530"/>
                  </a:lnTo>
                  <a:lnTo>
                    <a:pt x="2113" y="1530"/>
                  </a:lnTo>
                  <a:lnTo>
                    <a:pt x="2116" y="1530"/>
                  </a:lnTo>
                  <a:lnTo>
                    <a:pt x="2116" y="1530"/>
                  </a:lnTo>
                  <a:lnTo>
                    <a:pt x="2116" y="1530"/>
                  </a:lnTo>
                  <a:lnTo>
                    <a:pt x="2116" y="1530"/>
                  </a:lnTo>
                  <a:lnTo>
                    <a:pt x="2113" y="1528"/>
                  </a:lnTo>
                  <a:lnTo>
                    <a:pt x="2113" y="1528"/>
                  </a:lnTo>
                  <a:lnTo>
                    <a:pt x="2113" y="1525"/>
                  </a:lnTo>
                  <a:lnTo>
                    <a:pt x="2113" y="1525"/>
                  </a:lnTo>
                  <a:lnTo>
                    <a:pt x="2111" y="1528"/>
                  </a:lnTo>
                  <a:lnTo>
                    <a:pt x="2111" y="1528"/>
                  </a:lnTo>
                  <a:lnTo>
                    <a:pt x="2111" y="1528"/>
                  </a:lnTo>
                  <a:lnTo>
                    <a:pt x="2111" y="1528"/>
                  </a:lnTo>
                  <a:lnTo>
                    <a:pt x="2111" y="1528"/>
                  </a:lnTo>
                  <a:lnTo>
                    <a:pt x="2109" y="1528"/>
                  </a:lnTo>
                  <a:lnTo>
                    <a:pt x="2109" y="1525"/>
                  </a:lnTo>
                  <a:lnTo>
                    <a:pt x="2109" y="1525"/>
                  </a:lnTo>
                  <a:lnTo>
                    <a:pt x="2109" y="1523"/>
                  </a:lnTo>
                  <a:lnTo>
                    <a:pt x="2109" y="1523"/>
                  </a:lnTo>
                  <a:lnTo>
                    <a:pt x="2109" y="1523"/>
                  </a:lnTo>
                  <a:lnTo>
                    <a:pt x="2106" y="1523"/>
                  </a:lnTo>
                  <a:lnTo>
                    <a:pt x="2106" y="1521"/>
                  </a:lnTo>
                  <a:lnTo>
                    <a:pt x="2104" y="1521"/>
                  </a:lnTo>
                  <a:lnTo>
                    <a:pt x="2104" y="1518"/>
                  </a:lnTo>
                  <a:lnTo>
                    <a:pt x="2104" y="1518"/>
                  </a:lnTo>
                  <a:lnTo>
                    <a:pt x="2104" y="1518"/>
                  </a:lnTo>
                  <a:lnTo>
                    <a:pt x="2104" y="1518"/>
                  </a:lnTo>
                  <a:lnTo>
                    <a:pt x="2104" y="1518"/>
                  </a:lnTo>
                  <a:lnTo>
                    <a:pt x="2104" y="1518"/>
                  </a:lnTo>
                  <a:lnTo>
                    <a:pt x="2104" y="1518"/>
                  </a:lnTo>
                  <a:lnTo>
                    <a:pt x="2101" y="1518"/>
                  </a:lnTo>
                  <a:lnTo>
                    <a:pt x="2101" y="1518"/>
                  </a:lnTo>
                  <a:lnTo>
                    <a:pt x="2101" y="1518"/>
                  </a:lnTo>
                  <a:lnTo>
                    <a:pt x="2101" y="1518"/>
                  </a:lnTo>
                  <a:lnTo>
                    <a:pt x="2101" y="1518"/>
                  </a:lnTo>
                  <a:lnTo>
                    <a:pt x="2101" y="1518"/>
                  </a:lnTo>
                  <a:lnTo>
                    <a:pt x="2101" y="1518"/>
                  </a:lnTo>
                  <a:lnTo>
                    <a:pt x="2101" y="1516"/>
                  </a:lnTo>
                  <a:lnTo>
                    <a:pt x="2099" y="1518"/>
                  </a:lnTo>
                  <a:lnTo>
                    <a:pt x="2099" y="1518"/>
                  </a:lnTo>
                  <a:lnTo>
                    <a:pt x="2099" y="1516"/>
                  </a:lnTo>
                  <a:lnTo>
                    <a:pt x="2099" y="1516"/>
                  </a:lnTo>
                  <a:lnTo>
                    <a:pt x="2099" y="1516"/>
                  </a:lnTo>
                  <a:lnTo>
                    <a:pt x="2099" y="1516"/>
                  </a:lnTo>
                  <a:lnTo>
                    <a:pt x="2092" y="1518"/>
                  </a:lnTo>
                  <a:lnTo>
                    <a:pt x="2092" y="1518"/>
                  </a:lnTo>
                  <a:lnTo>
                    <a:pt x="2092" y="1518"/>
                  </a:lnTo>
                  <a:lnTo>
                    <a:pt x="2092" y="1518"/>
                  </a:lnTo>
                  <a:lnTo>
                    <a:pt x="2092" y="1518"/>
                  </a:lnTo>
                  <a:lnTo>
                    <a:pt x="2094" y="1516"/>
                  </a:lnTo>
                  <a:lnTo>
                    <a:pt x="2094" y="1516"/>
                  </a:lnTo>
                  <a:lnTo>
                    <a:pt x="2092" y="1516"/>
                  </a:lnTo>
                  <a:lnTo>
                    <a:pt x="2092" y="1516"/>
                  </a:lnTo>
                  <a:lnTo>
                    <a:pt x="2090" y="1518"/>
                  </a:lnTo>
                  <a:lnTo>
                    <a:pt x="2090" y="1518"/>
                  </a:lnTo>
                  <a:lnTo>
                    <a:pt x="2090" y="1516"/>
                  </a:lnTo>
                  <a:lnTo>
                    <a:pt x="2090" y="1516"/>
                  </a:lnTo>
                  <a:lnTo>
                    <a:pt x="2090" y="1514"/>
                  </a:lnTo>
                  <a:lnTo>
                    <a:pt x="2090" y="1514"/>
                  </a:lnTo>
                  <a:lnTo>
                    <a:pt x="2090" y="1514"/>
                  </a:lnTo>
                  <a:lnTo>
                    <a:pt x="2090" y="1514"/>
                  </a:lnTo>
                  <a:lnTo>
                    <a:pt x="2090" y="1514"/>
                  </a:lnTo>
                  <a:lnTo>
                    <a:pt x="2090" y="1514"/>
                  </a:lnTo>
                  <a:lnTo>
                    <a:pt x="2090" y="1514"/>
                  </a:lnTo>
                  <a:lnTo>
                    <a:pt x="2090" y="1514"/>
                  </a:lnTo>
                  <a:lnTo>
                    <a:pt x="2090" y="1514"/>
                  </a:lnTo>
                  <a:lnTo>
                    <a:pt x="2090" y="1514"/>
                  </a:lnTo>
                  <a:lnTo>
                    <a:pt x="2087" y="1514"/>
                  </a:lnTo>
                  <a:lnTo>
                    <a:pt x="2087" y="1514"/>
                  </a:lnTo>
                  <a:lnTo>
                    <a:pt x="2087" y="1514"/>
                  </a:lnTo>
                  <a:lnTo>
                    <a:pt x="2087" y="1514"/>
                  </a:lnTo>
                  <a:lnTo>
                    <a:pt x="2087" y="1514"/>
                  </a:lnTo>
                  <a:lnTo>
                    <a:pt x="2087" y="1511"/>
                  </a:lnTo>
                  <a:lnTo>
                    <a:pt x="2087" y="1511"/>
                  </a:lnTo>
                  <a:lnTo>
                    <a:pt x="2087" y="1511"/>
                  </a:lnTo>
                  <a:lnTo>
                    <a:pt x="2085" y="1511"/>
                  </a:lnTo>
                  <a:lnTo>
                    <a:pt x="2085" y="1511"/>
                  </a:lnTo>
                  <a:lnTo>
                    <a:pt x="2085" y="1511"/>
                  </a:lnTo>
                  <a:lnTo>
                    <a:pt x="2085" y="1511"/>
                  </a:lnTo>
                  <a:lnTo>
                    <a:pt x="2085" y="1511"/>
                  </a:lnTo>
                  <a:lnTo>
                    <a:pt x="2083" y="1511"/>
                  </a:lnTo>
                  <a:lnTo>
                    <a:pt x="2083" y="1511"/>
                  </a:lnTo>
                  <a:lnTo>
                    <a:pt x="2083" y="1511"/>
                  </a:lnTo>
                  <a:lnTo>
                    <a:pt x="2085" y="1511"/>
                  </a:lnTo>
                  <a:lnTo>
                    <a:pt x="2085" y="1509"/>
                  </a:lnTo>
                  <a:lnTo>
                    <a:pt x="2083" y="1509"/>
                  </a:lnTo>
                  <a:lnTo>
                    <a:pt x="2083" y="1509"/>
                  </a:lnTo>
                  <a:lnTo>
                    <a:pt x="2083" y="1509"/>
                  </a:lnTo>
                  <a:lnTo>
                    <a:pt x="2080" y="1509"/>
                  </a:lnTo>
                  <a:lnTo>
                    <a:pt x="2080" y="1509"/>
                  </a:lnTo>
                  <a:lnTo>
                    <a:pt x="2080" y="1511"/>
                  </a:lnTo>
                  <a:lnTo>
                    <a:pt x="2080" y="1511"/>
                  </a:lnTo>
                  <a:lnTo>
                    <a:pt x="2078" y="1511"/>
                  </a:lnTo>
                  <a:lnTo>
                    <a:pt x="2078" y="1511"/>
                  </a:lnTo>
                  <a:lnTo>
                    <a:pt x="2083" y="1509"/>
                  </a:lnTo>
                  <a:lnTo>
                    <a:pt x="2083" y="1506"/>
                  </a:lnTo>
                  <a:lnTo>
                    <a:pt x="2080" y="1509"/>
                  </a:lnTo>
                  <a:lnTo>
                    <a:pt x="2080" y="1506"/>
                  </a:lnTo>
                  <a:lnTo>
                    <a:pt x="2078" y="1506"/>
                  </a:lnTo>
                  <a:lnTo>
                    <a:pt x="2078" y="1506"/>
                  </a:lnTo>
                  <a:lnTo>
                    <a:pt x="2078" y="1506"/>
                  </a:lnTo>
                  <a:lnTo>
                    <a:pt x="2075" y="1506"/>
                  </a:lnTo>
                  <a:lnTo>
                    <a:pt x="2075" y="1506"/>
                  </a:lnTo>
                  <a:lnTo>
                    <a:pt x="2075" y="1506"/>
                  </a:lnTo>
                  <a:lnTo>
                    <a:pt x="2075" y="1506"/>
                  </a:lnTo>
                  <a:lnTo>
                    <a:pt x="2075" y="1506"/>
                  </a:lnTo>
                  <a:lnTo>
                    <a:pt x="2075" y="1506"/>
                  </a:lnTo>
                  <a:lnTo>
                    <a:pt x="2075" y="1506"/>
                  </a:lnTo>
                  <a:lnTo>
                    <a:pt x="2075" y="1504"/>
                  </a:lnTo>
                  <a:lnTo>
                    <a:pt x="2075" y="1504"/>
                  </a:lnTo>
                  <a:lnTo>
                    <a:pt x="2075" y="1504"/>
                  </a:lnTo>
                  <a:lnTo>
                    <a:pt x="2075" y="1504"/>
                  </a:lnTo>
                  <a:lnTo>
                    <a:pt x="2075" y="1504"/>
                  </a:lnTo>
                  <a:lnTo>
                    <a:pt x="2073" y="1504"/>
                  </a:lnTo>
                  <a:lnTo>
                    <a:pt x="2073" y="1504"/>
                  </a:lnTo>
                  <a:lnTo>
                    <a:pt x="2073" y="1504"/>
                  </a:lnTo>
                  <a:lnTo>
                    <a:pt x="2073" y="1506"/>
                  </a:lnTo>
                  <a:lnTo>
                    <a:pt x="2071" y="1506"/>
                  </a:lnTo>
                  <a:lnTo>
                    <a:pt x="2071" y="1506"/>
                  </a:lnTo>
                  <a:lnTo>
                    <a:pt x="2071" y="1509"/>
                  </a:lnTo>
                  <a:lnTo>
                    <a:pt x="2071" y="1509"/>
                  </a:lnTo>
                  <a:lnTo>
                    <a:pt x="2071" y="1509"/>
                  </a:lnTo>
                  <a:lnTo>
                    <a:pt x="2071" y="1509"/>
                  </a:lnTo>
                  <a:lnTo>
                    <a:pt x="2071" y="1509"/>
                  </a:lnTo>
                  <a:lnTo>
                    <a:pt x="2068" y="1509"/>
                  </a:lnTo>
                  <a:lnTo>
                    <a:pt x="2068" y="1509"/>
                  </a:lnTo>
                  <a:lnTo>
                    <a:pt x="2068" y="1509"/>
                  </a:lnTo>
                  <a:lnTo>
                    <a:pt x="2068" y="1506"/>
                  </a:lnTo>
                  <a:lnTo>
                    <a:pt x="2071" y="1506"/>
                  </a:lnTo>
                  <a:lnTo>
                    <a:pt x="2068" y="1506"/>
                  </a:lnTo>
                  <a:lnTo>
                    <a:pt x="2071" y="1506"/>
                  </a:lnTo>
                  <a:lnTo>
                    <a:pt x="2071" y="1504"/>
                  </a:lnTo>
                  <a:lnTo>
                    <a:pt x="2071" y="1504"/>
                  </a:lnTo>
                  <a:lnTo>
                    <a:pt x="2071" y="1504"/>
                  </a:lnTo>
                  <a:lnTo>
                    <a:pt x="2073" y="1504"/>
                  </a:lnTo>
                  <a:lnTo>
                    <a:pt x="2073" y="1502"/>
                  </a:lnTo>
                  <a:lnTo>
                    <a:pt x="2073" y="1502"/>
                  </a:lnTo>
                  <a:lnTo>
                    <a:pt x="2071" y="1502"/>
                  </a:lnTo>
                  <a:lnTo>
                    <a:pt x="2071" y="1502"/>
                  </a:lnTo>
                  <a:lnTo>
                    <a:pt x="2071" y="1502"/>
                  </a:lnTo>
                  <a:lnTo>
                    <a:pt x="2071" y="1502"/>
                  </a:lnTo>
                  <a:lnTo>
                    <a:pt x="2071" y="1502"/>
                  </a:lnTo>
                  <a:lnTo>
                    <a:pt x="2068" y="1502"/>
                  </a:lnTo>
                  <a:lnTo>
                    <a:pt x="2068" y="1502"/>
                  </a:lnTo>
                  <a:lnTo>
                    <a:pt x="2068" y="1502"/>
                  </a:lnTo>
                  <a:lnTo>
                    <a:pt x="2068" y="1504"/>
                  </a:lnTo>
                  <a:lnTo>
                    <a:pt x="2066" y="1504"/>
                  </a:lnTo>
                  <a:lnTo>
                    <a:pt x="2066" y="1506"/>
                  </a:lnTo>
                  <a:lnTo>
                    <a:pt x="2068" y="1506"/>
                  </a:lnTo>
                  <a:lnTo>
                    <a:pt x="2068" y="1506"/>
                  </a:lnTo>
                  <a:lnTo>
                    <a:pt x="2068" y="1506"/>
                  </a:lnTo>
                  <a:lnTo>
                    <a:pt x="2068" y="1506"/>
                  </a:lnTo>
                  <a:lnTo>
                    <a:pt x="2066" y="1509"/>
                  </a:lnTo>
                  <a:lnTo>
                    <a:pt x="2066" y="1509"/>
                  </a:lnTo>
                  <a:lnTo>
                    <a:pt x="2066" y="1506"/>
                  </a:lnTo>
                  <a:lnTo>
                    <a:pt x="2066" y="1506"/>
                  </a:lnTo>
                  <a:lnTo>
                    <a:pt x="2066" y="1506"/>
                  </a:lnTo>
                  <a:lnTo>
                    <a:pt x="2066" y="1506"/>
                  </a:lnTo>
                  <a:lnTo>
                    <a:pt x="2066" y="1506"/>
                  </a:lnTo>
                  <a:lnTo>
                    <a:pt x="2066" y="1506"/>
                  </a:lnTo>
                  <a:lnTo>
                    <a:pt x="2066" y="1506"/>
                  </a:lnTo>
                  <a:lnTo>
                    <a:pt x="2066" y="1506"/>
                  </a:lnTo>
                  <a:lnTo>
                    <a:pt x="2066" y="1504"/>
                  </a:lnTo>
                  <a:lnTo>
                    <a:pt x="2064" y="1504"/>
                  </a:lnTo>
                  <a:lnTo>
                    <a:pt x="2064" y="1504"/>
                  </a:lnTo>
                  <a:lnTo>
                    <a:pt x="2066" y="1504"/>
                  </a:lnTo>
                  <a:lnTo>
                    <a:pt x="2066" y="1502"/>
                  </a:lnTo>
                  <a:lnTo>
                    <a:pt x="2066" y="1502"/>
                  </a:lnTo>
                  <a:lnTo>
                    <a:pt x="2066" y="1502"/>
                  </a:lnTo>
                  <a:lnTo>
                    <a:pt x="2068" y="1502"/>
                  </a:lnTo>
                  <a:lnTo>
                    <a:pt x="2068" y="1499"/>
                  </a:lnTo>
                  <a:lnTo>
                    <a:pt x="2068" y="1499"/>
                  </a:lnTo>
                  <a:lnTo>
                    <a:pt x="2068" y="1499"/>
                  </a:lnTo>
                  <a:lnTo>
                    <a:pt x="2068" y="1499"/>
                  </a:lnTo>
                  <a:lnTo>
                    <a:pt x="2066" y="1499"/>
                  </a:lnTo>
                  <a:lnTo>
                    <a:pt x="2064" y="1499"/>
                  </a:lnTo>
                  <a:lnTo>
                    <a:pt x="2064" y="1499"/>
                  </a:lnTo>
                  <a:lnTo>
                    <a:pt x="2061" y="1499"/>
                  </a:lnTo>
                  <a:lnTo>
                    <a:pt x="2061" y="1499"/>
                  </a:lnTo>
                  <a:lnTo>
                    <a:pt x="2059" y="1499"/>
                  </a:lnTo>
                  <a:lnTo>
                    <a:pt x="2061" y="1502"/>
                  </a:lnTo>
                  <a:lnTo>
                    <a:pt x="2061" y="1502"/>
                  </a:lnTo>
                  <a:lnTo>
                    <a:pt x="2059" y="1502"/>
                  </a:lnTo>
                  <a:lnTo>
                    <a:pt x="2059" y="1504"/>
                  </a:lnTo>
                  <a:lnTo>
                    <a:pt x="2059" y="1502"/>
                  </a:lnTo>
                  <a:lnTo>
                    <a:pt x="2059" y="1502"/>
                  </a:lnTo>
                  <a:lnTo>
                    <a:pt x="2059" y="1499"/>
                  </a:lnTo>
                  <a:lnTo>
                    <a:pt x="2059" y="1499"/>
                  </a:lnTo>
                  <a:lnTo>
                    <a:pt x="2059" y="1499"/>
                  </a:lnTo>
                  <a:lnTo>
                    <a:pt x="2059" y="1497"/>
                  </a:lnTo>
                  <a:lnTo>
                    <a:pt x="2059" y="1499"/>
                  </a:lnTo>
                  <a:lnTo>
                    <a:pt x="2057" y="1499"/>
                  </a:lnTo>
                  <a:lnTo>
                    <a:pt x="2054" y="1497"/>
                  </a:lnTo>
                  <a:lnTo>
                    <a:pt x="2054" y="1499"/>
                  </a:lnTo>
                  <a:lnTo>
                    <a:pt x="2054" y="1499"/>
                  </a:lnTo>
                  <a:lnTo>
                    <a:pt x="2052" y="1499"/>
                  </a:lnTo>
                  <a:lnTo>
                    <a:pt x="2052" y="1499"/>
                  </a:lnTo>
                  <a:lnTo>
                    <a:pt x="2052" y="1497"/>
                  </a:lnTo>
                  <a:lnTo>
                    <a:pt x="2052" y="1497"/>
                  </a:lnTo>
                  <a:lnTo>
                    <a:pt x="2049" y="1497"/>
                  </a:lnTo>
                  <a:lnTo>
                    <a:pt x="2049" y="1497"/>
                  </a:lnTo>
                  <a:lnTo>
                    <a:pt x="2049" y="1497"/>
                  </a:lnTo>
                  <a:lnTo>
                    <a:pt x="2049" y="1497"/>
                  </a:lnTo>
                  <a:lnTo>
                    <a:pt x="2049" y="1497"/>
                  </a:lnTo>
                  <a:lnTo>
                    <a:pt x="2049" y="1495"/>
                  </a:lnTo>
                  <a:lnTo>
                    <a:pt x="2049" y="1495"/>
                  </a:lnTo>
                  <a:lnTo>
                    <a:pt x="2049" y="1495"/>
                  </a:lnTo>
                  <a:lnTo>
                    <a:pt x="2047" y="1495"/>
                  </a:lnTo>
                  <a:lnTo>
                    <a:pt x="2047" y="1495"/>
                  </a:lnTo>
                  <a:lnTo>
                    <a:pt x="2047" y="1495"/>
                  </a:lnTo>
                  <a:lnTo>
                    <a:pt x="2047" y="1492"/>
                  </a:lnTo>
                  <a:lnTo>
                    <a:pt x="2047" y="1492"/>
                  </a:lnTo>
                  <a:lnTo>
                    <a:pt x="2047" y="1492"/>
                  </a:lnTo>
                  <a:lnTo>
                    <a:pt x="2047" y="1492"/>
                  </a:lnTo>
                  <a:lnTo>
                    <a:pt x="2047" y="1492"/>
                  </a:lnTo>
                  <a:lnTo>
                    <a:pt x="2047" y="1492"/>
                  </a:lnTo>
                  <a:lnTo>
                    <a:pt x="2047" y="1492"/>
                  </a:lnTo>
                  <a:lnTo>
                    <a:pt x="2045" y="1490"/>
                  </a:lnTo>
                  <a:lnTo>
                    <a:pt x="2042" y="1490"/>
                  </a:lnTo>
                  <a:lnTo>
                    <a:pt x="2042" y="1488"/>
                  </a:lnTo>
                  <a:lnTo>
                    <a:pt x="2040" y="1488"/>
                  </a:lnTo>
                  <a:lnTo>
                    <a:pt x="2040" y="1485"/>
                  </a:lnTo>
                  <a:lnTo>
                    <a:pt x="2038" y="1485"/>
                  </a:lnTo>
                  <a:lnTo>
                    <a:pt x="2040" y="1485"/>
                  </a:lnTo>
                  <a:lnTo>
                    <a:pt x="2040" y="1485"/>
                  </a:lnTo>
                  <a:lnTo>
                    <a:pt x="2040" y="1485"/>
                  </a:lnTo>
                  <a:lnTo>
                    <a:pt x="2038" y="1485"/>
                  </a:lnTo>
                  <a:lnTo>
                    <a:pt x="2038" y="1485"/>
                  </a:lnTo>
                  <a:lnTo>
                    <a:pt x="2035" y="1483"/>
                  </a:lnTo>
                  <a:lnTo>
                    <a:pt x="2033" y="1483"/>
                  </a:lnTo>
                  <a:lnTo>
                    <a:pt x="2033" y="1483"/>
                  </a:lnTo>
                  <a:lnTo>
                    <a:pt x="2031" y="1483"/>
                  </a:lnTo>
                  <a:lnTo>
                    <a:pt x="2031" y="1480"/>
                  </a:lnTo>
                  <a:lnTo>
                    <a:pt x="2028" y="1480"/>
                  </a:lnTo>
                  <a:lnTo>
                    <a:pt x="2028" y="1478"/>
                  </a:lnTo>
                  <a:lnTo>
                    <a:pt x="2028" y="1478"/>
                  </a:lnTo>
                  <a:lnTo>
                    <a:pt x="2028" y="1478"/>
                  </a:lnTo>
                  <a:lnTo>
                    <a:pt x="2026" y="1478"/>
                  </a:lnTo>
                  <a:lnTo>
                    <a:pt x="2026" y="1478"/>
                  </a:lnTo>
                  <a:lnTo>
                    <a:pt x="2026" y="1478"/>
                  </a:lnTo>
                  <a:lnTo>
                    <a:pt x="2026" y="1478"/>
                  </a:lnTo>
                  <a:lnTo>
                    <a:pt x="2028" y="1476"/>
                  </a:lnTo>
                  <a:lnTo>
                    <a:pt x="2026" y="1476"/>
                  </a:lnTo>
                  <a:lnTo>
                    <a:pt x="2026" y="1476"/>
                  </a:lnTo>
                  <a:lnTo>
                    <a:pt x="2023" y="1473"/>
                  </a:lnTo>
                  <a:lnTo>
                    <a:pt x="2023" y="1473"/>
                  </a:lnTo>
                  <a:lnTo>
                    <a:pt x="2021" y="1471"/>
                  </a:lnTo>
                  <a:lnTo>
                    <a:pt x="2021" y="1471"/>
                  </a:lnTo>
                  <a:lnTo>
                    <a:pt x="2021" y="1471"/>
                  </a:lnTo>
                  <a:lnTo>
                    <a:pt x="2021" y="1469"/>
                  </a:lnTo>
                  <a:lnTo>
                    <a:pt x="2021" y="1469"/>
                  </a:lnTo>
                  <a:lnTo>
                    <a:pt x="2023" y="1471"/>
                  </a:lnTo>
                  <a:lnTo>
                    <a:pt x="2026" y="1471"/>
                  </a:lnTo>
                  <a:lnTo>
                    <a:pt x="2026" y="1469"/>
                  </a:lnTo>
                  <a:lnTo>
                    <a:pt x="2028" y="1469"/>
                  </a:lnTo>
                  <a:lnTo>
                    <a:pt x="2028" y="1469"/>
                  </a:lnTo>
                  <a:lnTo>
                    <a:pt x="2028" y="1469"/>
                  </a:lnTo>
                  <a:lnTo>
                    <a:pt x="2028" y="1469"/>
                  </a:lnTo>
                  <a:lnTo>
                    <a:pt x="2028" y="1469"/>
                  </a:lnTo>
                  <a:lnTo>
                    <a:pt x="2026" y="1469"/>
                  </a:lnTo>
                  <a:lnTo>
                    <a:pt x="2026" y="1469"/>
                  </a:lnTo>
                  <a:lnTo>
                    <a:pt x="2026" y="1466"/>
                  </a:lnTo>
                  <a:lnTo>
                    <a:pt x="2026" y="1466"/>
                  </a:lnTo>
                  <a:lnTo>
                    <a:pt x="2031" y="1469"/>
                  </a:lnTo>
                  <a:lnTo>
                    <a:pt x="2033" y="1469"/>
                  </a:lnTo>
                  <a:lnTo>
                    <a:pt x="2033" y="1469"/>
                  </a:lnTo>
                  <a:lnTo>
                    <a:pt x="2033" y="1469"/>
                  </a:lnTo>
                  <a:lnTo>
                    <a:pt x="2033" y="1466"/>
                  </a:lnTo>
                  <a:lnTo>
                    <a:pt x="2033" y="1466"/>
                  </a:lnTo>
                  <a:lnTo>
                    <a:pt x="2033" y="1466"/>
                  </a:lnTo>
                  <a:lnTo>
                    <a:pt x="2033" y="1466"/>
                  </a:lnTo>
                  <a:lnTo>
                    <a:pt x="2033" y="1466"/>
                  </a:lnTo>
                  <a:lnTo>
                    <a:pt x="2033" y="1469"/>
                  </a:lnTo>
                  <a:lnTo>
                    <a:pt x="2035" y="1469"/>
                  </a:lnTo>
                  <a:lnTo>
                    <a:pt x="2035" y="1469"/>
                  </a:lnTo>
                  <a:lnTo>
                    <a:pt x="2035" y="1469"/>
                  </a:lnTo>
                  <a:lnTo>
                    <a:pt x="2038" y="1471"/>
                  </a:lnTo>
                  <a:lnTo>
                    <a:pt x="2038" y="1471"/>
                  </a:lnTo>
                  <a:lnTo>
                    <a:pt x="2038" y="1471"/>
                  </a:lnTo>
                  <a:lnTo>
                    <a:pt x="2038" y="1471"/>
                  </a:lnTo>
                  <a:lnTo>
                    <a:pt x="2040" y="1471"/>
                  </a:lnTo>
                  <a:lnTo>
                    <a:pt x="2040" y="1471"/>
                  </a:lnTo>
                  <a:lnTo>
                    <a:pt x="2040" y="1471"/>
                  </a:lnTo>
                  <a:lnTo>
                    <a:pt x="2040" y="1471"/>
                  </a:lnTo>
                  <a:lnTo>
                    <a:pt x="2040" y="1469"/>
                  </a:lnTo>
                  <a:lnTo>
                    <a:pt x="2040" y="1469"/>
                  </a:lnTo>
                  <a:lnTo>
                    <a:pt x="2040" y="1469"/>
                  </a:lnTo>
                  <a:lnTo>
                    <a:pt x="2040" y="1469"/>
                  </a:lnTo>
                  <a:lnTo>
                    <a:pt x="2040" y="1469"/>
                  </a:lnTo>
                  <a:lnTo>
                    <a:pt x="2042" y="1471"/>
                  </a:lnTo>
                  <a:lnTo>
                    <a:pt x="2042" y="1471"/>
                  </a:lnTo>
                  <a:lnTo>
                    <a:pt x="2042" y="1473"/>
                  </a:lnTo>
                  <a:lnTo>
                    <a:pt x="2042" y="1473"/>
                  </a:lnTo>
                  <a:lnTo>
                    <a:pt x="2042" y="1473"/>
                  </a:lnTo>
                  <a:lnTo>
                    <a:pt x="2045" y="1473"/>
                  </a:lnTo>
                  <a:lnTo>
                    <a:pt x="2045" y="1473"/>
                  </a:lnTo>
                  <a:lnTo>
                    <a:pt x="2045" y="1473"/>
                  </a:lnTo>
                  <a:lnTo>
                    <a:pt x="2045" y="1473"/>
                  </a:lnTo>
                  <a:lnTo>
                    <a:pt x="2045" y="1473"/>
                  </a:lnTo>
                  <a:lnTo>
                    <a:pt x="2045" y="1473"/>
                  </a:lnTo>
                  <a:lnTo>
                    <a:pt x="2045" y="1473"/>
                  </a:lnTo>
                  <a:lnTo>
                    <a:pt x="2047" y="1473"/>
                  </a:lnTo>
                  <a:lnTo>
                    <a:pt x="2047" y="1473"/>
                  </a:lnTo>
                  <a:lnTo>
                    <a:pt x="2047" y="1476"/>
                  </a:lnTo>
                  <a:lnTo>
                    <a:pt x="2047" y="1476"/>
                  </a:lnTo>
                  <a:lnTo>
                    <a:pt x="2049" y="1476"/>
                  </a:lnTo>
                  <a:lnTo>
                    <a:pt x="2049" y="1476"/>
                  </a:lnTo>
                  <a:lnTo>
                    <a:pt x="2049" y="1476"/>
                  </a:lnTo>
                  <a:lnTo>
                    <a:pt x="2052" y="1476"/>
                  </a:lnTo>
                  <a:lnTo>
                    <a:pt x="2054" y="1478"/>
                  </a:lnTo>
                  <a:lnTo>
                    <a:pt x="2054" y="1478"/>
                  </a:lnTo>
                  <a:lnTo>
                    <a:pt x="2057" y="1480"/>
                  </a:lnTo>
                  <a:lnTo>
                    <a:pt x="2057" y="1480"/>
                  </a:lnTo>
                  <a:lnTo>
                    <a:pt x="2057" y="1483"/>
                  </a:lnTo>
                  <a:lnTo>
                    <a:pt x="2057" y="1483"/>
                  </a:lnTo>
                  <a:lnTo>
                    <a:pt x="2059" y="1483"/>
                  </a:lnTo>
                  <a:lnTo>
                    <a:pt x="2061" y="1483"/>
                  </a:lnTo>
                  <a:lnTo>
                    <a:pt x="2061" y="1483"/>
                  </a:lnTo>
                  <a:lnTo>
                    <a:pt x="2061" y="1480"/>
                  </a:lnTo>
                  <a:lnTo>
                    <a:pt x="2061" y="1478"/>
                  </a:lnTo>
                  <a:lnTo>
                    <a:pt x="2059" y="1478"/>
                  </a:lnTo>
                  <a:lnTo>
                    <a:pt x="2057" y="1473"/>
                  </a:lnTo>
                  <a:lnTo>
                    <a:pt x="2057" y="1473"/>
                  </a:lnTo>
                  <a:lnTo>
                    <a:pt x="2054" y="1473"/>
                  </a:lnTo>
                  <a:lnTo>
                    <a:pt x="2054" y="1471"/>
                  </a:lnTo>
                  <a:lnTo>
                    <a:pt x="2054" y="1471"/>
                  </a:lnTo>
                  <a:lnTo>
                    <a:pt x="2054" y="1469"/>
                  </a:lnTo>
                  <a:lnTo>
                    <a:pt x="2052" y="1466"/>
                  </a:lnTo>
                  <a:lnTo>
                    <a:pt x="2052" y="1466"/>
                  </a:lnTo>
                  <a:lnTo>
                    <a:pt x="2052" y="1466"/>
                  </a:lnTo>
                  <a:lnTo>
                    <a:pt x="2052" y="1464"/>
                  </a:lnTo>
                  <a:lnTo>
                    <a:pt x="2049" y="1464"/>
                  </a:lnTo>
                  <a:lnTo>
                    <a:pt x="2049" y="1462"/>
                  </a:lnTo>
                  <a:lnTo>
                    <a:pt x="2047" y="1462"/>
                  </a:lnTo>
                  <a:lnTo>
                    <a:pt x="2049" y="1462"/>
                  </a:lnTo>
                  <a:lnTo>
                    <a:pt x="2052" y="1464"/>
                  </a:lnTo>
                  <a:lnTo>
                    <a:pt x="2052" y="1464"/>
                  </a:lnTo>
                  <a:lnTo>
                    <a:pt x="2052" y="1464"/>
                  </a:lnTo>
                  <a:lnTo>
                    <a:pt x="2052" y="1464"/>
                  </a:lnTo>
                  <a:lnTo>
                    <a:pt x="2052" y="1464"/>
                  </a:lnTo>
                  <a:lnTo>
                    <a:pt x="2052" y="1464"/>
                  </a:lnTo>
                  <a:lnTo>
                    <a:pt x="2052" y="1466"/>
                  </a:lnTo>
                  <a:lnTo>
                    <a:pt x="2054" y="1466"/>
                  </a:lnTo>
                  <a:lnTo>
                    <a:pt x="2054" y="1466"/>
                  </a:lnTo>
                  <a:lnTo>
                    <a:pt x="2054" y="1469"/>
                  </a:lnTo>
                  <a:lnTo>
                    <a:pt x="2054" y="1466"/>
                  </a:lnTo>
                  <a:lnTo>
                    <a:pt x="2057" y="1466"/>
                  </a:lnTo>
                  <a:lnTo>
                    <a:pt x="2057" y="1466"/>
                  </a:lnTo>
                  <a:lnTo>
                    <a:pt x="2057" y="1466"/>
                  </a:lnTo>
                  <a:lnTo>
                    <a:pt x="2057" y="1469"/>
                  </a:lnTo>
                  <a:lnTo>
                    <a:pt x="2059" y="1469"/>
                  </a:lnTo>
                  <a:lnTo>
                    <a:pt x="2059" y="1469"/>
                  </a:lnTo>
                  <a:lnTo>
                    <a:pt x="2059" y="1471"/>
                  </a:lnTo>
                  <a:lnTo>
                    <a:pt x="2061" y="1471"/>
                  </a:lnTo>
                  <a:lnTo>
                    <a:pt x="2061" y="1471"/>
                  </a:lnTo>
                  <a:lnTo>
                    <a:pt x="2064" y="1473"/>
                  </a:lnTo>
                  <a:lnTo>
                    <a:pt x="2064" y="1473"/>
                  </a:lnTo>
                  <a:lnTo>
                    <a:pt x="2064" y="1473"/>
                  </a:lnTo>
                  <a:lnTo>
                    <a:pt x="2064" y="1476"/>
                  </a:lnTo>
                  <a:lnTo>
                    <a:pt x="2064" y="1476"/>
                  </a:lnTo>
                  <a:lnTo>
                    <a:pt x="2064" y="1476"/>
                  </a:lnTo>
                  <a:lnTo>
                    <a:pt x="2066" y="1478"/>
                  </a:lnTo>
                  <a:lnTo>
                    <a:pt x="2066" y="1478"/>
                  </a:lnTo>
                  <a:lnTo>
                    <a:pt x="2066" y="1478"/>
                  </a:lnTo>
                  <a:lnTo>
                    <a:pt x="2066" y="1478"/>
                  </a:lnTo>
                  <a:lnTo>
                    <a:pt x="2068" y="1478"/>
                  </a:lnTo>
                  <a:lnTo>
                    <a:pt x="2068" y="1478"/>
                  </a:lnTo>
                  <a:lnTo>
                    <a:pt x="2068" y="1478"/>
                  </a:lnTo>
                  <a:lnTo>
                    <a:pt x="2068" y="1478"/>
                  </a:lnTo>
                  <a:lnTo>
                    <a:pt x="2068" y="1478"/>
                  </a:lnTo>
                  <a:lnTo>
                    <a:pt x="2068" y="1476"/>
                  </a:lnTo>
                  <a:lnTo>
                    <a:pt x="2066" y="1476"/>
                  </a:lnTo>
                  <a:lnTo>
                    <a:pt x="2066" y="1476"/>
                  </a:lnTo>
                  <a:lnTo>
                    <a:pt x="2066" y="1476"/>
                  </a:lnTo>
                  <a:lnTo>
                    <a:pt x="2068" y="1476"/>
                  </a:lnTo>
                  <a:lnTo>
                    <a:pt x="2068" y="1476"/>
                  </a:lnTo>
                  <a:lnTo>
                    <a:pt x="2068" y="1476"/>
                  </a:lnTo>
                  <a:lnTo>
                    <a:pt x="2068" y="1478"/>
                  </a:lnTo>
                  <a:lnTo>
                    <a:pt x="2068" y="1478"/>
                  </a:lnTo>
                  <a:lnTo>
                    <a:pt x="2071" y="1478"/>
                  </a:lnTo>
                  <a:lnTo>
                    <a:pt x="2071" y="1480"/>
                  </a:lnTo>
                  <a:lnTo>
                    <a:pt x="2073" y="1483"/>
                  </a:lnTo>
                  <a:lnTo>
                    <a:pt x="2075" y="1483"/>
                  </a:lnTo>
                  <a:lnTo>
                    <a:pt x="2075" y="1485"/>
                  </a:lnTo>
                  <a:lnTo>
                    <a:pt x="2078" y="1483"/>
                  </a:lnTo>
                  <a:lnTo>
                    <a:pt x="2078" y="1483"/>
                  </a:lnTo>
                  <a:lnTo>
                    <a:pt x="2075" y="1483"/>
                  </a:lnTo>
                  <a:lnTo>
                    <a:pt x="2075" y="1483"/>
                  </a:lnTo>
                  <a:lnTo>
                    <a:pt x="2075" y="1483"/>
                  </a:lnTo>
                  <a:lnTo>
                    <a:pt x="2075" y="1483"/>
                  </a:lnTo>
                  <a:lnTo>
                    <a:pt x="2078" y="1483"/>
                  </a:lnTo>
                  <a:lnTo>
                    <a:pt x="2078" y="1483"/>
                  </a:lnTo>
                  <a:lnTo>
                    <a:pt x="2080" y="1483"/>
                  </a:lnTo>
                  <a:lnTo>
                    <a:pt x="2080" y="1483"/>
                  </a:lnTo>
                  <a:lnTo>
                    <a:pt x="2080" y="1480"/>
                  </a:lnTo>
                  <a:lnTo>
                    <a:pt x="2080" y="1480"/>
                  </a:lnTo>
                  <a:lnTo>
                    <a:pt x="2080" y="1478"/>
                  </a:lnTo>
                  <a:lnTo>
                    <a:pt x="2078" y="1478"/>
                  </a:lnTo>
                  <a:lnTo>
                    <a:pt x="2078" y="1476"/>
                  </a:lnTo>
                  <a:lnTo>
                    <a:pt x="2078" y="1476"/>
                  </a:lnTo>
                  <a:lnTo>
                    <a:pt x="2078" y="1476"/>
                  </a:lnTo>
                  <a:lnTo>
                    <a:pt x="2080" y="1476"/>
                  </a:lnTo>
                  <a:lnTo>
                    <a:pt x="2080" y="1476"/>
                  </a:lnTo>
                  <a:lnTo>
                    <a:pt x="2080" y="1476"/>
                  </a:lnTo>
                  <a:lnTo>
                    <a:pt x="2080" y="1478"/>
                  </a:lnTo>
                  <a:lnTo>
                    <a:pt x="2080" y="1480"/>
                  </a:lnTo>
                  <a:lnTo>
                    <a:pt x="2080" y="1480"/>
                  </a:lnTo>
                  <a:lnTo>
                    <a:pt x="2083" y="1480"/>
                  </a:lnTo>
                  <a:lnTo>
                    <a:pt x="2083" y="1483"/>
                  </a:lnTo>
                  <a:lnTo>
                    <a:pt x="2083" y="1483"/>
                  </a:lnTo>
                  <a:lnTo>
                    <a:pt x="2083" y="1483"/>
                  </a:lnTo>
                  <a:lnTo>
                    <a:pt x="2080" y="1483"/>
                  </a:lnTo>
                  <a:lnTo>
                    <a:pt x="2083" y="1485"/>
                  </a:lnTo>
                  <a:lnTo>
                    <a:pt x="2083" y="1485"/>
                  </a:lnTo>
                  <a:lnTo>
                    <a:pt x="2085" y="1488"/>
                  </a:lnTo>
                  <a:lnTo>
                    <a:pt x="2085" y="1488"/>
                  </a:lnTo>
                  <a:lnTo>
                    <a:pt x="2085" y="1488"/>
                  </a:lnTo>
                  <a:lnTo>
                    <a:pt x="2087" y="1488"/>
                  </a:lnTo>
                  <a:lnTo>
                    <a:pt x="2087" y="1490"/>
                  </a:lnTo>
                  <a:lnTo>
                    <a:pt x="2087" y="1490"/>
                  </a:lnTo>
                  <a:lnTo>
                    <a:pt x="2087" y="1488"/>
                  </a:lnTo>
                  <a:lnTo>
                    <a:pt x="2087" y="1488"/>
                  </a:lnTo>
                  <a:lnTo>
                    <a:pt x="2087" y="1485"/>
                  </a:lnTo>
                  <a:lnTo>
                    <a:pt x="2087" y="1485"/>
                  </a:lnTo>
                  <a:lnTo>
                    <a:pt x="2087" y="1485"/>
                  </a:lnTo>
                  <a:lnTo>
                    <a:pt x="2085" y="1483"/>
                  </a:lnTo>
                  <a:lnTo>
                    <a:pt x="2085" y="1483"/>
                  </a:lnTo>
                  <a:lnTo>
                    <a:pt x="2087" y="1480"/>
                  </a:lnTo>
                  <a:lnTo>
                    <a:pt x="2087" y="1483"/>
                  </a:lnTo>
                  <a:lnTo>
                    <a:pt x="2087" y="1483"/>
                  </a:lnTo>
                  <a:lnTo>
                    <a:pt x="2090" y="1485"/>
                  </a:lnTo>
                  <a:lnTo>
                    <a:pt x="2090" y="1488"/>
                  </a:lnTo>
                  <a:lnTo>
                    <a:pt x="2090" y="1488"/>
                  </a:lnTo>
                  <a:lnTo>
                    <a:pt x="2090" y="1488"/>
                  </a:lnTo>
                  <a:lnTo>
                    <a:pt x="2090" y="1488"/>
                  </a:lnTo>
                  <a:lnTo>
                    <a:pt x="2090" y="1490"/>
                  </a:lnTo>
                  <a:lnTo>
                    <a:pt x="2090" y="1490"/>
                  </a:lnTo>
                  <a:lnTo>
                    <a:pt x="2090" y="1490"/>
                  </a:lnTo>
                  <a:lnTo>
                    <a:pt x="2090" y="1490"/>
                  </a:lnTo>
                  <a:lnTo>
                    <a:pt x="2090" y="1492"/>
                  </a:lnTo>
                  <a:lnTo>
                    <a:pt x="2090" y="1492"/>
                  </a:lnTo>
                  <a:lnTo>
                    <a:pt x="2092" y="1492"/>
                  </a:lnTo>
                  <a:lnTo>
                    <a:pt x="2094" y="1495"/>
                  </a:lnTo>
                  <a:lnTo>
                    <a:pt x="2094" y="1495"/>
                  </a:lnTo>
                  <a:lnTo>
                    <a:pt x="2094" y="1495"/>
                  </a:lnTo>
                  <a:lnTo>
                    <a:pt x="2094" y="1495"/>
                  </a:lnTo>
                  <a:lnTo>
                    <a:pt x="2094" y="1495"/>
                  </a:lnTo>
                  <a:lnTo>
                    <a:pt x="2094" y="1495"/>
                  </a:lnTo>
                  <a:lnTo>
                    <a:pt x="2097" y="1495"/>
                  </a:lnTo>
                  <a:lnTo>
                    <a:pt x="2097" y="1495"/>
                  </a:lnTo>
                  <a:lnTo>
                    <a:pt x="2099" y="1495"/>
                  </a:lnTo>
                  <a:lnTo>
                    <a:pt x="2099" y="1495"/>
                  </a:lnTo>
                  <a:lnTo>
                    <a:pt x="2097" y="1495"/>
                  </a:lnTo>
                  <a:lnTo>
                    <a:pt x="2097" y="1495"/>
                  </a:lnTo>
                  <a:lnTo>
                    <a:pt x="2094" y="1492"/>
                  </a:lnTo>
                  <a:lnTo>
                    <a:pt x="2094" y="1492"/>
                  </a:lnTo>
                  <a:lnTo>
                    <a:pt x="2094" y="1492"/>
                  </a:lnTo>
                  <a:lnTo>
                    <a:pt x="2094" y="1492"/>
                  </a:lnTo>
                  <a:lnTo>
                    <a:pt x="2092" y="1490"/>
                  </a:lnTo>
                  <a:lnTo>
                    <a:pt x="2094" y="1490"/>
                  </a:lnTo>
                  <a:lnTo>
                    <a:pt x="2094" y="1492"/>
                  </a:lnTo>
                  <a:lnTo>
                    <a:pt x="2097" y="1492"/>
                  </a:lnTo>
                  <a:lnTo>
                    <a:pt x="2097" y="1490"/>
                  </a:lnTo>
                  <a:lnTo>
                    <a:pt x="2097" y="1490"/>
                  </a:lnTo>
                  <a:lnTo>
                    <a:pt x="2097" y="1490"/>
                  </a:lnTo>
                  <a:lnTo>
                    <a:pt x="2097" y="1490"/>
                  </a:lnTo>
                  <a:lnTo>
                    <a:pt x="2097" y="1490"/>
                  </a:lnTo>
                  <a:lnTo>
                    <a:pt x="2094" y="1490"/>
                  </a:lnTo>
                  <a:lnTo>
                    <a:pt x="2094" y="1490"/>
                  </a:lnTo>
                  <a:lnTo>
                    <a:pt x="2094" y="1488"/>
                  </a:lnTo>
                  <a:lnTo>
                    <a:pt x="2094" y="1488"/>
                  </a:lnTo>
                  <a:lnTo>
                    <a:pt x="2094" y="1488"/>
                  </a:lnTo>
                  <a:lnTo>
                    <a:pt x="2094" y="1488"/>
                  </a:lnTo>
                  <a:lnTo>
                    <a:pt x="2094" y="1488"/>
                  </a:lnTo>
                  <a:lnTo>
                    <a:pt x="2092" y="1485"/>
                  </a:lnTo>
                  <a:lnTo>
                    <a:pt x="2092" y="1483"/>
                  </a:lnTo>
                  <a:lnTo>
                    <a:pt x="2092" y="1483"/>
                  </a:lnTo>
                  <a:lnTo>
                    <a:pt x="2092" y="1483"/>
                  </a:lnTo>
                  <a:lnTo>
                    <a:pt x="2092" y="1483"/>
                  </a:lnTo>
                  <a:lnTo>
                    <a:pt x="2092" y="1483"/>
                  </a:lnTo>
                  <a:lnTo>
                    <a:pt x="2090" y="1480"/>
                  </a:lnTo>
                  <a:lnTo>
                    <a:pt x="2087" y="1480"/>
                  </a:lnTo>
                  <a:lnTo>
                    <a:pt x="2087" y="1480"/>
                  </a:lnTo>
                  <a:lnTo>
                    <a:pt x="2087" y="1478"/>
                  </a:lnTo>
                  <a:lnTo>
                    <a:pt x="2087" y="1476"/>
                  </a:lnTo>
                  <a:lnTo>
                    <a:pt x="2090" y="1476"/>
                  </a:lnTo>
                  <a:lnTo>
                    <a:pt x="2090" y="1476"/>
                  </a:lnTo>
                  <a:lnTo>
                    <a:pt x="2087" y="1476"/>
                  </a:lnTo>
                  <a:lnTo>
                    <a:pt x="2087" y="1473"/>
                  </a:lnTo>
                  <a:lnTo>
                    <a:pt x="2090" y="1473"/>
                  </a:lnTo>
                  <a:lnTo>
                    <a:pt x="2090" y="1473"/>
                  </a:lnTo>
                  <a:lnTo>
                    <a:pt x="2090" y="1473"/>
                  </a:lnTo>
                  <a:lnTo>
                    <a:pt x="2090" y="1476"/>
                  </a:lnTo>
                  <a:lnTo>
                    <a:pt x="2090" y="1476"/>
                  </a:lnTo>
                  <a:lnTo>
                    <a:pt x="2090" y="1476"/>
                  </a:lnTo>
                  <a:lnTo>
                    <a:pt x="2090" y="1476"/>
                  </a:lnTo>
                  <a:lnTo>
                    <a:pt x="2090" y="1478"/>
                  </a:lnTo>
                  <a:lnTo>
                    <a:pt x="2090" y="1478"/>
                  </a:lnTo>
                  <a:lnTo>
                    <a:pt x="2090" y="1480"/>
                  </a:lnTo>
                  <a:lnTo>
                    <a:pt x="2090" y="1480"/>
                  </a:lnTo>
                  <a:lnTo>
                    <a:pt x="2090" y="1480"/>
                  </a:lnTo>
                  <a:lnTo>
                    <a:pt x="2092" y="1480"/>
                  </a:lnTo>
                  <a:lnTo>
                    <a:pt x="2092" y="1480"/>
                  </a:lnTo>
                  <a:lnTo>
                    <a:pt x="2094" y="1483"/>
                  </a:lnTo>
                  <a:lnTo>
                    <a:pt x="2094" y="1483"/>
                  </a:lnTo>
                  <a:lnTo>
                    <a:pt x="2094" y="1483"/>
                  </a:lnTo>
                  <a:lnTo>
                    <a:pt x="2094" y="1485"/>
                  </a:lnTo>
                  <a:lnTo>
                    <a:pt x="2094" y="1485"/>
                  </a:lnTo>
                  <a:lnTo>
                    <a:pt x="2094" y="1488"/>
                  </a:lnTo>
                  <a:lnTo>
                    <a:pt x="2097" y="1488"/>
                  </a:lnTo>
                  <a:lnTo>
                    <a:pt x="2097" y="1490"/>
                  </a:lnTo>
                  <a:lnTo>
                    <a:pt x="2099" y="1490"/>
                  </a:lnTo>
                  <a:lnTo>
                    <a:pt x="2097" y="1490"/>
                  </a:lnTo>
                  <a:lnTo>
                    <a:pt x="2097" y="1490"/>
                  </a:lnTo>
                  <a:lnTo>
                    <a:pt x="2099" y="1492"/>
                  </a:lnTo>
                  <a:lnTo>
                    <a:pt x="2099" y="1492"/>
                  </a:lnTo>
                  <a:lnTo>
                    <a:pt x="2099" y="1492"/>
                  </a:lnTo>
                  <a:lnTo>
                    <a:pt x="2099" y="1492"/>
                  </a:lnTo>
                  <a:lnTo>
                    <a:pt x="2101" y="1495"/>
                  </a:lnTo>
                  <a:lnTo>
                    <a:pt x="2101" y="1495"/>
                  </a:lnTo>
                  <a:lnTo>
                    <a:pt x="2104" y="1495"/>
                  </a:lnTo>
                  <a:lnTo>
                    <a:pt x="2104" y="1495"/>
                  </a:lnTo>
                  <a:lnTo>
                    <a:pt x="2106" y="1495"/>
                  </a:lnTo>
                  <a:lnTo>
                    <a:pt x="2106" y="1495"/>
                  </a:lnTo>
                  <a:lnTo>
                    <a:pt x="2106" y="1495"/>
                  </a:lnTo>
                  <a:lnTo>
                    <a:pt x="2106" y="1495"/>
                  </a:lnTo>
                  <a:lnTo>
                    <a:pt x="2106" y="1495"/>
                  </a:lnTo>
                  <a:lnTo>
                    <a:pt x="2106" y="1495"/>
                  </a:lnTo>
                  <a:lnTo>
                    <a:pt x="2106" y="1495"/>
                  </a:lnTo>
                  <a:lnTo>
                    <a:pt x="2106" y="1495"/>
                  </a:lnTo>
                  <a:lnTo>
                    <a:pt x="2109" y="1495"/>
                  </a:lnTo>
                  <a:lnTo>
                    <a:pt x="2109" y="1495"/>
                  </a:lnTo>
                  <a:lnTo>
                    <a:pt x="2109" y="1495"/>
                  </a:lnTo>
                  <a:lnTo>
                    <a:pt x="2109" y="1495"/>
                  </a:lnTo>
                  <a:lnTo>
                    <a:pt x="2111" y="1495"/>
                  </a:lnTo>
                  <a:lnTo>
                    <a:pt x="2111" y="1495"/>
                  </a:lnTo>
                  <a:lnTo>
                    <a:pt x="2111" y="1492"/>
                  </a:lnTo>
                  <a:lnTo>
                    <a:pt x="2111" y="1492"/>
                  </a:lnTo>
                  <a:lnTo>
                    <a:pt x="2111" y="1492"/>
                  </a:lnTo>
                  <a:lnTo>
                    <a:pt x="2111" y="1492"/>
                  </a:lnTo>
                  <a:lnTo>
                    <a:pt x="2111" y="1492"/>
                  </a:lnTo>
                  <a:lnTo>
                    <a:pt x="2109" y="1492"/>
                  </a:lnTo>
                  <a:lnTo>
                    <a:pt x="2109" y="1490"/>
                  </a:lnTo>
                  <a:lnTo>
                    <a:pt x="2106" y="1490"/>
                  </a:lnTo>
                  <a:lnTo>
                    <a:pt x="2106" y="1490"/>
                  </a:lnTo>
                  <a:lnTo>
                    <a:pt x="2106" y="1490"/>
                  </a:lnTo>
                  <a:lnTo>
                    <a:pt x="2106" y="1488"/>
                  </a:lnTo>
                  <a:lnTo>
                    <a:pt x="2106" y="1488"/>
                  </a:lnTo>
                  <a:lnTo>
                    <a:pt x="2106" y="1488"/>
                  </a:lnTo>
                  <a:lnTo>
                    <a:pt x="2104" y="1488"/>
                  </a:lnTo>
                  <a:lnTo>
                    <a:pt x="2104" y="1485"/>
                  </a:lnTo>
                  <a:lnTo>
                    <a:pt x="2104" y="1485"/>
                  </a:lnTo>
                  <a:lnTo>
                    <a:pt x="2104" y="1485"/>
                  </a:lnTo>
                  <a:lnTo>
                    <a:pt x="2106" y="1485"/>
                  </a:lnTo>
                  <a:lnTo>
                    <a:pt x="2106" y="1485"/>
                  </a:lnTo>
                  <a:lnTo>
                    <a:pt x="2106" y="1488"/>
                  </a:lnTo>
                  <a:lnTo>
                    <a:pt x="2106" y="1488"/>
                  </a:lnTo>
                  <a:lnTo>
                    <a:pt x="2109" y="1488"/>
                  </a:lnTo>
                  <a:lnTo>
                    <a:pt x="2109" y="1490"/>
                  </a:lnTo>
                  <a:lnTo>
                    <a:pt x="2109" y="1490"/>
                  </a:lnTo>
                  <a:lnTo>
                    <a:pt x="2109" y="1490"/>
                  </a:lnTo>
                  <a:lnTo>
                    <a:pt x="2111" y="1488"/>
                  </a:lnTo>
                  <a:lnTo>
                    <a:pt x="2111" y="1488"/>
                  </a:lnTo>
                  <a:lnTo>
                    <a:pt x="2111" y="1488"/>
                  </a:lnTo>
                  <a:lnTo>
                    <a:pt x="2111" y="1490"/>
                  </a:lnTo>
                  <a:lnTo>
                    <a:pt x="2111" y="1490"/>
                  </a:lnTo>
                  <a:lnTo>
                    <a:pt x="2111" y="1490"/>
                  </a:lnTo>
                  <a:lnTo>
                    <a:pt x="2111" y="1490"/>
                  </a:lnTo>
                  <a:lnTo>
                    <a:pt x="2111" y="1490"/>
                  </a:lnTo>
                  <a:lnTo>
                    <a:pt x="2111" y="1490"/>
                  </a:lnTo>
                  <a:lnTo>
                    <a:pt x="2111" y="1492"/>
                  </a:lnTo>
                  <a:lnTo>
                    <a:pt x="2113" y="1492"/>
                  </a:lnTo>
                  <a:lnTo>
                    <a:pt x="2113" y="1492"/>
                  </a:lnTo>
                  <a:lnTo>
                    <a:pt x="2116" y="1492"/>
                  </a:lnTo>
                  <a:lnTo>
                    <a:pt x="2116" y="1492"/>
                  </a:lnTo>
                  <a:lnTo>
                    <a:pt x="2113" y="1490"/>
                  </a:lnTo>
                  <a:lnTo>
                    <a:pt x="2113" y="1490"/>
                  </a:lnTo>
                  <a:lnTo>
                    <a:pt x="2113" y="1490"/>
                  </a:lnTo>
                  <a:lnTo>
                    <a:pt x="2116" y="1488"/>
                  </a:lnTo>
                  <a:lnTo>
                    <a:pt x="2116" y="1488"/>
                  </a:lnTo>
                  <a:lnTo>
                    <a:pt x="2116" y="1488"/>
                  </a:lnTo>
                  <a:lnTo>
                    <a:pt x="2116" y="1488"/>
                  </a:lnTo>
                  <a:lnTo>
                    <a:pt x="2116" y="1488"/>
                  </a:lnTo>
                  <a:lnTo>
                    <a:pt x="2116" y="1490"/>
                  </a:lnTo>
                  <a:lnTo>
                    <a:pt x="2116" y="1490"/>
                  </a:lnTo>
                  <a:lnTo>
                    <a:pt x="2116" y="1490"/>
                  </a:lnTo>
                  <a:lnTo>
                    <a:pt x="2116" y="1492"/>
                  </a:lnTo>
                  <a:lnTo>
                    <a:pt x="2116" y="1492"/>
                  </a:lnTo>
                  <a:lnTo>
                    <a:pt x="2116" y="1495"/>
                  </a:lnTo>
                  <a:lnTo>
                    <a:pt x="2116" y="1495"/>
                  </a:lnTo>
                  <a:lnTo>
                    <a:pt x="2116" y="1495"/>
                  </a:lnTo>
                  <a:lnTo>
                    <a:pt x="2118" y="1495"/>
                  </a:lnTo>
                  <a:lnTo>
                    <a:pt x="2118" y="1495"/>
                  </a:lnTo>
                  <a:lnTo>
                    <a:pt x="2118" y="1495"/>
                  </a:lnTo>
                  <a:lnTo>
                    <a:pt x="2120" y="1497"/>
                  </a:lnTo>
                  <a:lnTo>
                    <a:pt x="2120" y="1497"/>
                  </a:lnTo>
                  <a:lnTo>
                    <a:pt x="2120" y="1495"/>
                  </a:lnTo>
                  <a:lnTo>
                    <a:pt x="2120" y="1495"/>
                  </a:lnTo>
                  <a:lnTo>
                    <a:pt x="2120" y="1495"/>
                  </a:lnTo>
                  <a:lnTo>
                    <a:pt x="2118" y="1495"/>
                  </a:lnTo>
                  <a:lnTo>
                    <a:pt x="2118" y="1492"/>
                  </a:lnTo>
                  <a:lnTo>
                    <a:pt x="2120" y="1490"/>
                  </a:lnTo>
                  <a:lnTo>
                    <a:pt x="2120" y="1490"/>
                  </a:lnTo>
                  <a:lnTo>
                    <a:pt x="2120" y="1490"/>
                  </a:lnTo>
                  <a:lnTo>
                    <a:pt x="2118" y="1488"/>
                  </a:lnTo>
                  <a:lnTo>
                    <a:pt x="2118" y="1488"/>
                  </a:lnTo>
                  <a:lnTo>
                    <a:pt x="2118" y="1485"/>
                  </a:lnTo>
                  <a:lnTo>
                    <a:pt x="2118" y="1485"/>
                  </a:lnTo>
                  <a:lnTo>
                    <a:pt x="2120" y="1485"/>
                  </a:lnTo>
                  <a:lnTo>
                    <a:pt x="2120" y="1485"/>
                  </a:lnTo>
                  <a:lnTo>
                    <a:pt x="2120" y="1488"/>
                  </a:lnTo>
                  <a:lnTo>
                    <a:pt x="2120" y="1488"/>
                  </a:lnTo>
                  <a:lnTo>
                    <a:pt x="2120" y="1488"/>
                  </a:lnTo>
                  <a:lnTo>
                    <a:pt x="2120" y="1488"/>
                  </a:lnTo>
                  <a:lnTo>
                    <a:pt x="2120" y="1488"/>
                  </a:lnTo>
                  <a:lnTo>
                    <a:pt x="2120" y="1488"/>
                  </a:lnTo>
                  <a:lnTo>
                    <a:pt x="2120" y="1488"/>
                  </a:lnTo>
                  <a:lnTo>
                    <a:pt x="2120" y="1488"/>
                  </a:lnTo>
                  <a:lnTo>
                    <a:pt x="2120" y="1490"/>
                  </a:lnTo>
                  <a:lnTo>
                    <a:pt x="2120" y="1490"/>
                  </a:lnTo>
                  <a:lnTo>
                    <a:pt x="2120" y="1492"/>
                  </a:lnTo>
                  <a:lnTo>
                    <a:pt x="2120" y="1492"/>
                  </a:lnTo>
                  <a:lnTo>
                    <a:pt x="2123" y="1495"/>
                  </a:lnTo>
                  <a:lnTo>
                    <a:pt x="2123" y="1495"/>
                  </a:lnTo>
                  <a:lnTo>
                    <a:pt x="2123" y="1495"/>
                  </a:lnTo>
                  <a:lnTo>
                    <a:pt x="2123" y="1492"/>
                  </a:lnTo>
                  <a:lnTo>
                    <a:pt x="2123" y="1492"/>
                  </a:lnTo>
                  <a:lnTo>
                    <a:pt x="2123" y="1495"/>
                  </a:lnTo>
                  <a:lnTo>
                    <a:pt x="2123" y="1495"/>
                  </a:lnTo>
                  <a:lnTo>
                    <a:pt x="2125" y="1495"/>
                  </a:lnTo>
                  <a:lnTo>
                    <a:pt x="2125" y="1497"/>
                  </a:lnTo>
                  <a:lnTo>
                    <a:pt x="2128" y="1497"/>
                  </a:lnTo>
                  <a:lnTo>
                    <a:pt x="2128" y="1497"/>
                  </a:lnTo>
                  <a:lnTo>
                    <a:pt x="2128" y="1497"/>
                  </a:lnTo>
                  <a:lnTo>
                    <a:pt x="2130" y="1497"/>
                  </a:lnTo>
                  <a:lnTo>
                    <a:pt x="2130" y="1497"/>
                  </a:lnTo>
                  <a:lnTo>
                    <a:pt x="2130" y="1495"/>
                  </a:lnTo>
                  <a:lnTo>
                    <a:pt x="2130" y="1495"/>
                  </a:lnTo>
                  <a:lnTo>
                    <a:pt x="2130" y="1495"/>
                  </a:lnTo>
                  <a:lnTo>
                    <a:pt x="2130" y="1495"/>
                  </a:lnTo>
                  <a:lnTo>
                    <a:pt x="2132" y="1497"/>
                  </a:lnTo>
                  <a:lnTo>
                    <a:pt x="2132" y="1497"/>
                  </a:lnTo>
                  <a:lnTo>
                    <a:pt x="2132" y="1497"/>
                  </a:lnTo>
                  <a:lnTo>
                    <a:pt x="2132" y="1497"/>
                  </a:lnTo>
                  <a:lnTo>
                    <a:pt x="2132" y="1495"/>
                  </a:lnTo>
                  <a:lnTo>
                    <a:pt x="2132" y="1495"/>
                  </a:lnTo>
                  <a:lnTo>
                    <a:pt x="2132" y="1492"/>
                  </a:lnTo>
                  <a:lnTo>
                    <a:pt x="2132" y="1490"/>
                  </a:lnTo>
                  <a:lnTo>
                    <a:pt x="2132" y="1490"/>
                  </a:lnTo>
                  <a:lnTo>
                    <a:pt x="2132" y="1490"/>
                  </a:lnTo>
                  <a:lnTo>
                    <a:pt x="2132" y="1492"/>
                  </a:lnTo>
                  <a:lnTo>
                    <a:pt x="2132" y="1492"/>
                  </a:lnTo>
                  <a:lnTo>
                    <a:pt x="2132" y="1495"/>
                  </a:lnTo>
                  <a:lnTo>
                    <a:pt x="2135" y="1495"/>
                  </a:lnTo>
                  <a:lnTo>
                    <a:pt x="2135" y="1495"/>
                  </a:lnTo>
                  <a:lnTo>
                    <a:pt x="2135" y="1495"/>
                  </a:lnTo>
                  <a:lnTo>
                    <a:pt x="2137" y="1495"/>
                  </a:lnTo>
                  <a:lnTo>
                    <a:pt x="2135" y="1495"/>
                  </a:lnTo>
                  <a:lnTo>
                    <a:pt x="2135" y="1495"/>
                  </a:lnTo>
                  <a:lnTo>
                    <a:pt x="2135" y="1495"/>
                  </a:lnTo>
                  <a:lnTo>
                    <a:pt x="2132" y="1495"/>
                  </a:lnTo>
                  <a:lnTo>
                    <a:pt x="2132" y="1497"/>
                  </a:lnTo>
                  <a:lnTo>
                    <a:pt x="2135" y="1497"/>
                  </a:lnTo>
                  <a:lnTo>
                    <a:pt x="2135" y="1497"/>
                  </a:lnTo>
                  <a:lnTo>
                    <a:pt x="2135" y="1499"/>
                  </a:lnTo>
                  <a:lnTo>
                    <a:pt x="2137" y="1497"/>
                  </a:lnTo>
                  <a:lnTo>
                    <a:pt x="2137" y="1497"/>
                  </a:lnTo>
                  <a:lnTo>
                    <a:pt x="2137" y="1499"/>
                  </a:lnTo>
                  <a:lnTo>
                    <a:pt x="2137" y="1499"/>
                  </a:lnTo>
                  <a:lnTo>
                    <a:pt x="2135" y="1502"/>
                  </a:lnTo>
                  <a:lnTo>
                    <a:pt x="2135" y="1504"/>
                  </a:lnTo>
                  <a:lnTo>
                    <a:pt x="2137" y="1504"/>
                  </a:lnTo>
                  <a:lnTo>
                    <a:pt x="2137" y="1504"/>
                  </a:lnTo>
                  <a:lnTo>
                    <a:pt x="2137" y="1504"/>
                  </a:lnTo>
                  <a:lnTo>
                    <a:pt x="2137" y="1504"/>
                  </a:lnTo>
                  <a:lnTo>
                    <a:pt x="2137" y="1504"/>
                  </a:lnTo>
                  <a:lnTo>
                    <a:pt x="2137" y="1502"/>
                  </a:lnTo>
                  <a:lnTo>
                    <a:pt x="2137" y="1502"/>
                  </a:lnTo>
                  <a:lnTo>
                    <a:pt x="2139" y="1502"/>
                  </a:lnTo>
                  <a:lnTo>
                    <a:pt x="2137" y="1504"/>
                  </a:lnTo>
                  <a:lnTo>
                    <a:pt x="2139" y="1506"/>
                  </a:lnTo>
                  <a:lnTo>
                    <a:pt x="2142" y="1509"/>
                  </a:lnTo>
                  <a:lnTo>
                    <a:pt x="2144" y="1509"/>
                  </a:lnTo>
                  <a:lnTo>
                    <a:pt x="2144" y="1509"/>
                  </a:lnTo>
                  <a:lnTo>
                    <a:pt x="2144" y="1509"/>
                  </a:lnTo>
                  <a:lnTo>
                    <a:pt x="2146" y="1506"/>
                  </a:lnTo>
                  <a:lnTo>
                    <a:pt x="2146" y="1504"/>
                  </a:lnTo>
                  <a:lnTo>
                    <a:pt x="2146" y="1504"/>
                  </a:lnTo>
                  <a:lnTo>
                    <a:pt x="2146" y="1502"/>
                  </a:lnTo>
                  <a:lnTo>
                    <a:pt x="2146" y="1502"/>
                  </a:lnTo>
                  <a:lnTo>
                    <a:pt x="2149" y="1504"/>
                  </a:lnTo>
                  <a:lnTo>
                    <a:pt x="2149" y="1504"/>
                  </a:lnTo>
                  <a:lnTo>
                    <a:pt x="2149" y="1502"/>
                  </a:lnTo>
                  <a:lnTo>
                    <a:pt x="2146" y="1502"/>
                  </a:lnTo>
                  <a:lnTo>
                    <a:pt x="2146" y="1502"/>
                  </a:lnTo>
                  <a:lnTo>
                    <a:pt x="2146" y="1502"/>
                  </a:lnTo>
                  <a:lnTo>
                    <a:pt x="2146" y="1499"/>
                  </a:lnTo>
                  <a:lnTo>
                    <a:pt x="2146" y="1499"/>
                  </a:lnTo>
                  <a:lnTo>
                    <a:pt x="2146" y="1499"/>
                  </a:lnTo>
                  <a:lnTo>
                    <a:pt x="2144" y="1499"/>
                  </a:lnTo>
                  <a:lnTo>
                    <a:pt x="2144" y="1497"/>
                  </a:lnTo>
                  <a:lnTo>
                    <a:pt x="2144" y="1497"/>
                  </a:lnTo>
                  <a:lnTo>
                    <a:pt x="2144" y="1497"/>
                  </a:lnTo>
                  <a:lnTo>
                    <a:pt x="2144" y="1497"/>
                  </a:lnTo>
                  <a:lnTo>
                    <a:pt x="2144" y="1497"/>
                  </a:lnTo>
                  <a:lnTo>
                    <a:pt x="2144" y="1497"/>
                  </a:lnTo>
                  <a:lnTo>
                    <a:pt x="2142" y="1495"/>
                  </a:lnTo>
                  <a:lnTo>
                    <a:pt x="2142" y="1495"/>
                  </a:lnTo>
                  <a:lnTo>
                    <a:pt x="2142" y="1495"/>
                  </a:lnTo>
                  <a:lnTo>
                    <a:pt x="2139" y="1492"/>
                  </a:lnTo>
                  <a:lnTo>
                    <a:pt x="2137" y="1492"/>
                  </a:lnTo>
                  <a:lnTo>
                    <a:pt x="2137" y="1490"/>
                  </a:lnTo>
                  <a:lnTo>
                    <a:pt x="2137" y="1490"/>
                  </a:lnTo>
                  <a:lnTo>
                    <a:pt x="2137" y="1490"/>
                  </a:lnTo>
                  <a:lnTo>
                    <a:pt x="2137" y="1490"/>
                  </a:lnTo>
                  <a:lnTo>
                    <a:pt x="2137" y="1488"/>
                  </a:lnTo>
                  <a:lnTo>
                    <a:pt x="2135" y="1488"/>
                  </a:lnTo>
                  <a:lnTo>
                    <a:pt x="2135" y="1488"/>
                  </a:lnTo>
                  <a:lnTo>
                    <a:pt x="2132" y="1485"/>
                  </a:lnTo>
                  <a:lnTo>
                    <a:pt x="2132" y="1485"/>
                  </a:lnTo>
                  <a:lnTo>
                    <a:pt x="2132" y="1485"/>
                  </a:lnTo>
                  <a:lnTo>
                    <a:pt x="2132" y="1485"/>
                  </a:lnTo>
                  <a:lnTo>
                    <a:pt x="2135" y="1485"/>
                  </a:lnTo>
                  <a:lnTo>
                    <a:pt x="2135" y="1488"/>
                  </a:lnTo>
                  <a:lnTo>
                    <a:pt x="2137" y="1488"/>
                  </a:lnTo>
                  <a:lnTo>
                    <a:pt x="2137" y="1488"/>
                  </a:lnTo>
                  <a:lnTo>
                    <a:pt x="2137" y="1485"/>
                  </a:lnTo>
                  <a:lnTo>
                    <a:pt x="2137" y="1485"/>
                  </a:lnTo>
                  <a:lnTo>
                    <a:pt x="2137" y="1485"/>
                  </a:lnTo>
                  <a:lnTo>
                    <a:pt x="2137" y="1483"/>
                  </a:lnTo>
                  <a:lnTo>
                    <a:pt x="2137" y="1483"/>
                  </a:lnTo>
                  <a:lnTo>
                    <a:pt x="2137" y="1485"/>
                  </a:lnTo>
                  <a:lnTo>
                    <a:pt x="2137" y="1485"/>
                  </a:lnTo>
                  <a:lnTo>
                    <a:pt x="2137" y="1485"/>
                  </a:lnTo>
                  <a:lnTo>
                    <a:pt x="2139" y="1485"/>
                  </a:lnTo>
                  <a:lnTo>
                    <a:pt x="2139" y="1488"/>
                  </a:lnTo>
                  <a:lnTo>
                    <a:pt x="2142" y="1488"/>
                  </a:lnTo>
                  <a:lnTo>
                    <a:pt x="2144" y="1488"/>
                  </a:lnTo>
                  <a:lnTo>
                    <a:pt x="2144" y="1488"/>
                  </a:lnTo>
                  <a:lnTo>
                    <a:pt x="2144" y="1490"/>
                  </a:lnTo>
                  <a:lnTo>
                    <a:pt x="2149" y="1488"/>
                  </a:lnTo>
                  <a:lnTo>
                    <a:pt x="2149" y="1488"/>
                  </a:lnTo>
                  <a:lnTo>
                    <a:pt x="2149" y="1488"/>
                  </a:lnTo>
                  <a:lnTo>
                    <a:pt x="2149" y="1485"/>
                  </a:lnTo>
                  <a:lnTo>
                    <a:pt x="2149" y="1485"/>
                  </a:lnTo>
                  <a:lnTo>
                    <a:pt x="2149" y="1485"/>
                  </a:lnTo>
                  <a:lnTo>
                    <a:pt x="2151" y="1485"/>
                  </a:lnTo>
                  <a:lnTo>
                    <a:pt x="2151" y="1485"/>
                  </a:lnTo>
                  <a:lnTo>
                    <a:pt x="2151" y="1485"/>
                  </a:lnTo>
                  <a:lnTo>
                    <a:pt x="2149" y="1483"/>
                  </a:lnTo>
                  <a:lnTo>
                    <a:pt x="2149" y="1483"/>
                  </a:lnTo>
                  <a:lnTo>
                    <a:pt x="2149" y="1483"/>
                  </a:lnTo>
                  <a:lnTo>
                    <a:pt x="2149" y="1483"/>
                  </a:lnTo>
                  <a:lnTo>
                    <a:pt x="2149" y="1483"/>
                  </a:lnTo>
                  <a:lnTo>
                    <a:pt x="2149" y="1485"/>
                  </a:lnTo>
                  <a:lnTo>
                    <a:pt x="2149" y="1485"/>
                  </a:lnTo>
                  <a:lnTo>
                    <a:pt x="2146" y="1483"/>
                  </a:lnTo>
                  <a:lnTo>
                    <a:pt x="2146" y="1483"/>
                  </a:lnTo>
                  <a:lnTo>
                    <a:pt x="2144" y="1483"/>
                  </a:lnTo>
                  <a:lnTo>
                    <a:pt x="2144" y="1483"/>
                  </a:lnTo>
                  <a:lnTo>
                    <a:pt x="2144" y="1483"/>
                  </a:lnTo>
                  <a:lnTo>
                    <a:pt x="2146" y="1480"/>
                  </a:lnTo>
                  <a:lnTo>
                    <a:pt x="2146" y="1480"/>
                  </a:lnTo>
                  <a:lnTo>
                    <a:pt x="2146" y="1480"/>
                  </a:lnTo>
                  <a:lnTo>
                    <a:pt x="2146" y="1480"/>
                  </a:lnTo>
                  <a:lnTo>
                    <a:pt x="2144" y="1480"/>
                  </a:lnTo>
                  <a:lnTo>
                    <a:pt x="2144" y="1480"/>
                  </a:lnTo>
                  <a:lnTo>
                    <a:pt x="2144" y="1478"/>
                  </a:lnTo>
                  <a:lnTo>
                    <a:pt x="2144" y="1478"/>
                  </a:lnTo>
                  <a:lnTo>
                    <a:pt x="2144" y="1478"/>
                  </a:lnTo>
                  <a:lnTo>
                    <a:pt x="2144" y="1478"/>
                  </a:lnTo>
                  <a:lnTo>
                    <a:pt x="2144" y="1478"/>
                  </a:lnTo>
                  <a:lnTo>
                    <a:pt x="2144" y="1478"/>
                  </a:lnTo>
                  <a:lnTo>
                    <a:pt x="2144" y="1478"/>
                  </a:lnTo>
                  <a:lnTo>
                    <a:pt x="2144" y="1478"/>
                  </a:lnTo>
                  <a:lnTo>
                    <a:pt x="2144" y="1478"/>
                  </a:lnTo>
                  <a:lnTo>
                    <a:pt x="2144" y="1478"/>
                  </a:lnTo>
                  <a:lnTo>
                    <a:pt x="2144" y="1476"/>
                  </a:lnTo>
                  <a:lnTo>
                    <a:pt x="2142" y="1476"/>
                  </a:lnTo>
                  <a:lnTo>
                    <a:pt x="2142" y="1476"/>
                  </a:lnTo>
                  <a:lnTo>
                    <a:pt x="2142" y="1476"/>
                  </a:lnTo>
                  <a:lnTo>
                    <a:pt x="2144" y="1476"/>
                  </a:lnTo>
                  <a:lnTo>
                    <a:pt x="2144" y="1473"/>
                  </a:lnTo>
                  <a:lnTo>
                    <a:pt x="2144" y="1473"/>
                  </a:lnTo>
                  <a:lnTo>
                    <a:pt x="2144" y="1473"/>
                  </a:lnTo>
                  <a:lnTo>
                    <a:pt x="2144" y="1473"/>
                  </a:lnTo>
                  <a:lnTo>
                    <a:pt x="2142" y="1473"/>
                  </a:lnTo>
                  <a:lnTo>
                    <a:pt x="2142" y="1473"/>
                  </a:lnTo>
                  <a:lnTo>
                    <a:pt x="2142" y="1473"/>
                  </a:lnTo>
                  <a:lnTo>
                    <a:pt x="2139" y="1473"/>
                  </a:lnTo>
                  <a:lnTo>
                    <a:pt x="2139" y="1473"/>
                  </a:lnTo>
                  <a:lnTo>
                    <a:pt x="2139" y="1473"/>
                  </a:lnTo>
                  <a:lnTo>
                    <a:pt x="2139" y="1471"/>
                  </a:lnTo>
                  <a:lnTo>
                    <a:pt x="2139" y="1471"/>
                  </a:lnTo>
                  <a:lnTo>
                    <a:pt x="2139" y="1471"/>
                  </a:lnTo>
                  <a:lnTo>
                    <a:pt x="2139" y="1471"/>
                  </a:lnTo>
                  <a:lnTo>
                    <a:pt x="2139" y="1471"/>
                  </a:lnTo>
                  <a:lnTo>
                    <a:pt x="2137" y="1471"/>
                  </a:lnTo>
                  <a:lnTo>
                    <a:pt x="2135" y="1473"/>
                  </a:lnTo>
                  <a:lnTo>
                    <a:pt x="2135" y="1471"/>
                  </a:lnTo>
                  <a:lnTo>
                    <a:pt x="2135" y="1471"/>
                  </a:lnTo>
                  <a:lnTo>
                    <a:pt x="2135" y="1471"/>
                  </a:lnTo>
                  <a:lnTo>
                    <a:pt x="2135" y="1471"/>
                  </a:lnTo>
                  <a:lnTo>
                    <a:pt x="2132" y="1471"/>
                  </a:lnTo>
                  <a:lnTo>
                    <a:pt x="2132" y="1471"/>
                  </a:lnTo>
                  <a:lnTo>
                    <a:pt x="2135" y="1471"/>
                  </a:lnTo>
                  <a:lnTo>
                    <a:pt x="2135" y="1471"/>
                  </a:lnTo>
                  <a:lnTo>
                    <a:pt x="2135" y="1471"/>
                  </a:lnTo>
                  <a:lnTo>
                    <a:pt x="2137" y="1471"/>
                  </a:lnTo>
                  <a:lnTo>
                    <a:pt x="2137" y="1469"/>
                  </a:lnTo>
                  <a:lnTo>
                    <a:pt x="2135" y="1469"/>
                  </a:lnTo>
                  <a:lnTo>
                    <a:pt x="2135" y="1469"/>
                  </a:lnTo>
                  <a:lnTo>
                    <a:pt x="2132" y="1469"/>
                  </a:lnTo>
                  <a:lnTo>
                    <a:pt x="2132" y="1469"/>
                  </a:lnTo>
                  <a:lnTo>
                    <a:pt x="2130" y="1466"/>
                  </a:lnTo>
                  <a:lnTo>
                    <a:pt x="2130" y="1466"/>
                  </a:lnTo>
                  <a:lnTo>
                    <a:pt x="2132" y="1469"/>
                  </a:lnTo>
                  <a:lnTo>
                    <a:pt x="2135" y="1469"/>
                  </a:lnTo>
                  <a:lnTo>
                    <a:pt x="2135" y="1466"/>
                  </a:lnTo>
                  <a:lnTo>
                    <a:pt x="2132" y="1464"/>
                  </a:lnTo>
                  <a:lnTo>
                    <a:pt x="2132" y="1464"/>
                  </a:lnTo>
                  <a:lnTo>
                    <a:pt x="2132" y="1464"/>
                  </a:lnTo>
                  <a:lnTo>
                    <a:pt x="2132" y="1464"/>
                  </a:lnTo>
                  <a:lnTo>
                    <a:pt x="2135" y="1464"/>
                  </a:lnTo>
                  <a:lnTo>
                    <a:pt x="2135" y="1466"/>
                  </a:lnTo>
                  <a:lnTo>
                    <a:pt x="2137" y="1466"/>
                  </a:lnTo>
                  <a:lnTo>
                    <a:pt x="2137" y="1466"/>
                  </a:lnTo>
                  <a:lnTo>
                    <a:pt x="2137" y="1466"/>
                  </a:lnTo>
                  <a:lnTo>
                    <a:pt x="2137" y="1466"/>
                  </a:lnTo>
                  <a:lnTo>
                    <a:pt x="2137" y="1466"/>
                  </a:lnTo>
                  <a:lnTo>
                    <a:pt x="2137" y="1464"/>
                  </a:lnTo>
                  <a:lnTo>
                    <a:pt x="2137" y="1464"/>
                  </a:lnTo>
                  <a:lnTo>
                    <a:pt x="2137" y="1464"/>
                  </a:lnTo>
                  <a:lnTo>
                    <a:pt x="2135" y="1464"/>
                  </a:lnTo>
                  <a:lnTo>
                    <a:pt x="2135" y="1462"/>
                  </a:lnTo>
                  <a:lnTo>
                    <a:pt x="2135" y="1462"/>
                  </a:lnTo>
                  <a:lnTo>
                    <a:pt x="2135" y="1462"/>
                  </a:lnTo>
                  <a:lnTo>
                    <a:pt x="2135" y="1462"/>
                  </a:lnTo>
                  <a:lnTo>
                    <a:pt x="2135" y="1462"/>
                  </a:lnTo>
                  <a:lnTo>
                    <a:pt x="2132" y="1459"/>
                  </a:lnTo>
                  <a:lnTo>
                    <a:pt x="2132" y="1459"/>
                  </a:lnTo>
                  <a:lnTo>
                    <a:pt x="2130" y="1459"/>
                  </a:lnTo>
                  <a:lnTo>
                    <a:pt x="2130" y="1459"/>
                  </a:lnTo>
                  <a:lnTo>
                    <a:pt x="2128" y="1459"/>
                  </a:lnTo>
                  <a:lnTo>
                    <a:pt x="2130" y="1459"/>
                  </a:lnTo>
                  <a:lnTo>
                    <a:pt x="2130" y="1457"/>
                  </a:lnTo>
                  <a:lnTo>
                    <a:pt x="2130" y="1457"/>
                  </a:lnTo>
                  <a:lnTo>
                    <a:pt x="2128" y="1457"/>
                  </a:lnTo>
                  <a:lnTo>
                    <a:pt x="2128" y="1459"/>
                  </a:lnTo>
                  <a:lnTo>
                    <a:pt x="2128" y="1457"/>
                  </a:lnTo>
                  <a:lnTo>
                    <a:pt x="2130" y="1457"/>
                  </a:lnTo>
                  <a:lnTo>
                    <a:pt x="2130" y="1457"/>
                  </a:lnTo>
                  <a:lnTo>
                    <a:pt x="2128" y="1454"/>
                  </a:lnTo>
                  <a:lnTo>
                    <a:pt x="2128" y="1452"/>
                  </a:lnTo>
                  <a:lnTo>
                    <a:pt x="2125" y="1450"/>
                  </a:lnTo>
                  <a:lnTo>
                    <a:pt x="2128" y="1450"/>
                  </a:lnTo>
                  <a:lnTo>
                    <a:pt x="2128" y="1447"/>
                  </a:lnTo>
                  <a:lnTo>
                    <a:pt x="2128" y="1447"/>
                  </a:lnTo>
                  <a:lnTo>
                    <a:pt x="2128" y="1447"/>
                  </a:lnTo>
                  <a:lnTo>
                    <a:pt x="2128" y="1447"/>
                  </a:lnTo>
                  <a:lnTo>
                    <a:pt x="2128" y="1445"/>
                  </a:lnTo>
                  <a:lnTo>
                    <a:pt x="2125" y="1445"/>
                  </a:lnTo>
                  <a:lnTo>
                    <a:pt x="2125" y="1445"/>
                  </a:lnTo>
                  <a:lnTo>
                    <a:pt x="2123" y="1443"/>
                  </a:lnTo>
                  <a:lnTo>
                    <a:pt x="2123" y="1443"/>
                  </a:lnTo>
                  <a:lnTo>
                    <a:pt x="2123" y="1440"/>
                  </a:lnTo>
                  <a:lnTo>
                    <a:pt x="2120" y="1440"/>
                  </a:lnTo>
                  <a:lnTo>
                    <a:pt x="2120" y="1440"/>
                  </a:lnTo>
                  <a:lnTo>
                    <a:pt x="2120" y="1440"/>
                  </a:lnTo>
                  <a:lnTo>
                    <a:pt x="2120" y="1440"/>
                  </a:lnTo>
                  <a:lnTo>
                    <a:pt x="2116" y="1438"/>
                  </a:lnTo>
                  <a:lnTo>
                    <a:pt x="2116" y="1438"/>
                  </a:lnTo>
                  <a:lnTo>
                    <a:pt x="2116" y="1438"/>
                  </a:lnTo>
                  <a:lnTo>
                    <a:pt x="2116" y="1438"/>
                  </a:lnTo>
                  <a:lnTo>
                    <a:pt x="2118" y="1438"/>
                  </a:lnTo>
                  <a:lnTo>
                    <a:pt x="2118" y="1438"/>
                  </a:lnTo>
                  <a:lnTo>
                    <a:pt x="2118" y="1438"/>
                  </a:lnTo>
                  <a:lnTo>
                    <a:pt x="2120" y="1438"/>
                  </a:lnTo>
                  <a:lnTo>
                    <a:pt x="2120" y="1438"/>
                  </a:lnTo>
                  <a:lnTo>
                    <a:pt x="2120" y="1438"/>
                  </a:lnTo>
                  <a:lnTo>
                    <a:pt x="2118" y="1438"/>
                  </a:lnTo>
                  <a:lnTo>
                    <a:pt x="2120" y="1438"/>
                  </a:lnTo>
                  <a:lnTo>
                    <a:pt x="2120" y="1440"/>
                  </a:lnTo>
                  <a:lnTo>
                    <a:pt x="2123" y="1440"/>
                  </a:lnTo>
                  <a:lnTo>
                    <a:pt x="2123" y="1443"/>
                  </a:lnTo>
                  <a:lnTo>
                    <a:pt x="2125" y="1443"/>
                  </a:lnTo>
                  <a:lnTo>
                    <a:pt x="2125" y="1443"/>
                  </a:lnTo>
                  <a:lnTo>
                    <a:pt x="2128" y="1443"/>
                  </a:lnTo>
                  <a:lnTo>
                    <a:pt x="2128" y="1445"/>
                  </a:lnTo>
                  <a:lnTo>
                    <a:pt x="2130" y="1445"/>
                  </a:lnTo>
                  <a:lnTo>
                    <a:pt x="2130" y="1445"/>
                  </a:lnTo>
                  <a:lnTo>
                    <a:pt x="2130" y="1445"/>
                  </a:lnTo>
                  <a:lnTo>
                    <a:pt x="2130" y="1447"/>
                  </a:lnTo>
                  <a:lnTo>
                    <a:pt x="2130" y="1447"/>
                  </a:lnTo>
                  <a:lnTo>
                    <a:pt x="2130" y="1447"/>
                  </a:lnTo>
                  <a:lnTo>
                    <a:pt x="2132" y="1450"/>
                  </a:lnTo>
                  <a:lnTo>
                    <a:pt x="2132" y="1450"/>
                  </a:lnTo>
                  <a:lnTo>
                    <a:pt x="2132" y="1450"/>
                  </a:lnTo>
                  <a:lnTo>
                    <a:pt x="2135" y="1452"/>
                  </a:lnTo>
                  <a:lnTo>
                    <a:pt x="2135" y="1452"/>
                  </a:lnTo>
                  <a:lnTo>
                    <a:pt x="2135" y="1452"/>
                  </a:lnTo>
                  <a:lnTo>
                    <a:pt x="2135" y="1452"/>
                  </a:lnTo>
                  <a:lnTo>
                    <a:pt x="2135" y="1452"/>
                  </a:lnTo>
                  <a:lnTo>
                    <a:pt x="2135" y="1452"/>
                  </a:lnTo>
                  <a:lnTo>
                    <a:pt x="2135" y="1452"/>
                  </a:lnTo>
                  <a:lnTo>
                    <a:pt x="2135" y="1452"/>
                  </a:lnTo>
                  <a:lnTo>
                    <a:pt x="2137" y="1457"/>
                  </a:lnTo>
                  <a:lnTo>
                    <a:pt x="2137" y="1457"/>
                  </a:lnTo>
                  <a:lnTo>
                    <a:pt x="2137" y="1457"/>
                  </a:lnTo>
                  <a:lnTo>
                    <a:pt x="2137" y="1457"/>
                  </a:lnTo>
                  <a:lnTo>
                    <a:pt x="2139" y="1457"/>
                  </a:lnTo>
                  <a:lnTo>
                    <a:pt x="2139" y="1459"/>
                  </a:lnTo>
                  <a:lnTo>
                    <a:pt x="2139" y="1459"/>
                  </a:lnTo>
                  <a:lnTo>
                    <a:pt x="2139" y="1459"/>
                  </a:lnTo>
                  <a:lnTo>
                    <a:pt x="2139" y="1462"/>
                  </a:lnTo>
                  <a:lnTo>
                    <a:pt x="2142" y="1462"/>
                  </a:lnTo>
                  <a:lnTo>
                    <a:pt x="2142" y="1462"/>
                  </a:lnTo>
                  <a:lnTo>
                    <a:pt x="2142" y="1462"/>
                  </a:lnTo>
                  <a:lnTo>
                    <a:pt x="2142" y="1464"/>
                  </a:lnTo>
                  <a:lnTo>
                    <a:pt x="2142" y="1464"/>
                  </a:lnTo>
                  <a:lnTo>
                    <a:pt x="2142" y="1464"/>
                  </a:lnTo>
                  <a:lnTo>
                    <a:pt x="2142" y="1464"/>
                  </a:lnTo>
                  <a:lnTo>
                    <a:pt x="2144" y="1464"/>
                  </a:lnTo>
                  <a:lnTo>
                    <a:pt x="2144" y="1464"/>
                  </a:lnTo>
                  <a:lnTo>
                    <a:pt x="2144" y="1464"/>
                  </a:lnTo>
                  <a:lnTo>
                    <a:pt x="2144" y="1464"/>
                  </a:lnTo>
                  <a:lnTo>
                    <a:pt x="2144" y="1466"/>
                  </a:lnTo>
                  <a:lnTo>
                    <a:pt x="2144" y="1464"/>
                  </a:lnTo>
                  <a:lnTo>
                    <a:pt x="2144" y="1464"/>
                  </a:lnTo>
                  <a:lnTo>
                    <a:pt x="2144" y="1464"/>
                  </a:lnTo>
                  <a:lnTo>
                    <a:pt x="2144" y="1464"/>
                  </a:lnTo>
                  <a:lnTo>
                    <a:pt x="2144" y="1464"/>
                  </a:lnTo>
                  <a:lnTo>
                    <a:pt x="2146" y="1464"/>
                  </a:lnTo>
                  <a:lnTo>
                    <a:pt x="2146" y="1464"/>
                  </a:lnTo>
                  <a:lnTo>
                    <a:pt x="2146" y="1464"/>
                  </a:lnTo>
                  <a:lnTo>
                    <a:pt x="2146" y="1464"/>
                  </a:lnTo>
                  <a:lnTo>
                    <a:pt x="2146" y="1464"/>
                  </a:lnTo>
                  <a:lnTo>
                    <a:pt x="2146" y="1462"/>
                  </a:lnTo>
                  <a:lnTo>
                    <a:pt x="2146" y="1462"/>
                  </a:lnTo>
                  <a:lnTo>
                    <a:pt x="2146" y="1462"/>
                  </a:lnTo>
                  <a:lnTo>
                    <a:pt x="2146" y="1462"/>
                  </a:lnTo>
                  <a:lnTo>
                    <a:pt x="2146" y="1462"/>
                  </a:lnTo>
                  <a:lnTo>
                    <a:pt x="2146" y="1462"/>
                  </a:lnTo>
                  <a:lnTo>
                    <a:pt x="2144" y="1462"/>
                  </a:lnTo>
                  <a:lnTo>
                    <a:pt x="2144" y="1459"/>
                  </a:lnTo>
                  <a:lnTo>
                    <a:pt x="2144" y="1459"/>
                  </a:lnTo>
                  <a:lnTo>
                    <a:pt x="2144" y="1459"/>
                  </a:lnTo>
                  <a:lnTo>
                    <a:pt x="2146" y="1459"/>
                  </a:lnTo>
                  <a:lnTo>
                    <a:pt x="2146" y="1459"/>
                  </a:lnTo>
                  <a:lnTo>
                    <a:pt x="2146" y="1459"/>
                  </a:lnTo>
                  <a:lnTo>
                    <a:pt x="2146" y="1459"/>
                  </a:lnTo>
                  <a:lnTo>
                    <a:pt x="2146" y="1459"/>
                  </a:lnTo>
                  <a:lnTo>
                    <a:pt x="2146" y="1457"/>
                  </a:lnTo>
                  <a:lnTo>
                    <a:pt x="2144" y="1457"/>
                  </a:lnTo>
                  <a:lnTo>
                    <a:pt x="2142" y="1457"/>
                  </a:lnTo>
                  <a:lnTo>
                    <a:pt x="2142" y="1454"/>
                  </a:lnTo>
                  <a:lnTo>
                    <a:pt x="2142" y="1454"/>
                  </a:lnTo>
                  <a:lnTo>
                    <a:pt x="2144" y="1454"/>
                  </a:lnTo>
                  <a:lnTo>
                    <a:pt x="2144" y="1454"/>
                  </a:lnTo>
                  <a:lnTo>
                    <a:pt x="2144" y="1452"/>
                  </a:lnTo>
                  <a:lnTo>
                    <a:pt x="2144" y="1452"/>
                  </a:lnTo>
                  <a:lnTo>
                    <a:pt x="2144" y="1452"/>
                  </a:lnTo>
                  <a:lnTo>
                    <a:pt x="2142" y="1450"/>
                  </a:lnTo>
                  <a:lnTo>
                    <a:pt x="2142" y="1450"/>
                  </a:lnTo>
                  <a:lnTo>
                    <a:pt x="2142" y="1450"/>
                  </a:lnTo>
                  <a:lnTo>
                    <a:pt x="2142" y="1450"/>
                  </a:lnTo>
                  <a:lnTo>
                    <a:pt x="2142" y="1447"/>
                  </a:lnTo>
                  <a:lnTo>
                    <a:pt x="2142" y="1447"/>
                  </a:lnTo>
                  <a:lnTo>
                    <a:pt x="2142" y="1447"/>
                  </a:lnTo>
                  <a:lnTo>
                    <a:pt x="2142" y="1445"/>
                  </a:lnTo>
                  <a:lnTo>
                    <a:pt x="2139" y="1445"/>
                  </a:lnTo>
                  <a:lnTo>
                    <a:pt x="2142" y="1445"/>
                  </a:lnTo>
                  <a:lnTo>
                    <a:pt x="2139" y="1445"/>
                  </a:lnTo>
                  <a:lnTo>
                    <a:pt x="2139" y="1443"/>
                  </a:lnTo>
                  <a:lnTo>
                    <a:pt x="2139" y="1443"/>
                  </a:lnTo>
                  <a:lnTo>
                    <a:pt x="2139" y="1443"/>
                  </a:lnTo>
                  <a:lnTo>
                    <a:pt x="2139" y="1443"/>
                  </a:lnTo>
                  <a:lnTo>
                    <a:pt x="2139" y="1443"/>
                  </a:lnTo>
                  <a:lnTo>
                    <a:pt x="2139" y="1443"/>
                  </a:lnTo>
                  <a:lnTo>
                    <a:pt x="2139" y="1443"/>
                  </a:lnTo>
                  <a:lnTo>
                    <a:pt x="2139" y="1440"/>
                  </a:lnTo>
                  <a:lnTo>
                    <a:pt x="2139" y="1438"/>
                  </a:lnTo>
                  <a:lnTo>
                    <a:pt x="2139" y="1438"/>
                  </a:lnTo>
                  <a:lnTo>
                    <a:pt x="2135" y="1436"/>
                  </a:lnTo>
                  <a:lnTo>
                    <a:pt x="2132" y="1436"/>
                  </a:lnTo>
                  <a:lnTo>
                    <a:pt x="2132" y="1436"/>
                  </a:lnTo>
                  <a:lnTo>
                    <a:pt x="2132" y="1436"/>
                  </a:lnTo>
                  <a:lnTo>
                    <a:pt x="2132" y="1436"/>
                  </a:lnTo>
                  <a:lnTo>
                    <a:pt x="2128" y="1436"/>
                  </a:lnTo>
                  <a:lnTo>
                    <a:pt x="2125" y="1436"/>
                  </a:lnTo>
                  <a:lnTo>
                    <a:pt x="2125" y="1436"/>
                  </a:lnTo>
                  <a:lnTo>
                    <a:pt x="2123" y="1433"/>
                  </a:lnTo>
                  <a:lnTo>
                    <a:pt x="2123" y="1433"/>
                  </a:lnTo>
                  <a:lnTo>
                    <a:pt x="2123" y="1431"/>
                  </a:lnTo>
                  <a:lnTo>
                    <a:pt x="2125" y="1431"/>
                  </a:lnTo>
                  <a:lnTo>
                    <a:pt x="2125" y="1431"/>
                  </a:lnTo>
                  <a:lnTo>
                    <a:pt x="2125" y="1431"/>
                  </a:lnTo>
                  <a:lnTo>
                    <a:pt x="2125" y="1428"/>
                  </a:lnTo>
                  <a:lnTo>
                    <a:pt x="2125" y="1428"/>
                  </a:lnTo>
                  <a:lnTo>
                    <a:pt x="2125" y="1426"/>
                  </a:lnTo>
                  <a:lnTo>
                    <a:pt x="2128" y="1426"/>
                  </a:lnTo>
                  <a:lnTo>
                    <a:pt x="2128" y="1426"/>
                  </a:lnTo>
                  <a:lnTo>
                    <a:pt x="2130" y="1421"/>
                  </a:lnTo>
                  <a:lnTo>
                    <a:pt x="2130" y="1421"/>
                  </a:lnTo>
                  <a:lnTo>
                    <a:pt x="2130" y="1421"/>
                  </a:lnTo>
                  <a:lnTo>
                    <a:pt x="2130" y="1421"/>
                  </a:lnTo>
                  <a:lnTo>
                    <a:pt x="2130" y="1419"/>
                  </a:lnTo>
                  <a:lnTo>
                    <a:pt x="2128" y="1419"/>
                  </a:lnTo>
                  <a:lnTo>
                    <a:pt x="2128" y="1419"/>
                  </a:lnTo>
                  <a:lnTo>
                    <a:pt x="2128" y="1419"/>
                  </a:lnTo>
                  <a:lnTo>
                    <a:pt x="2128" y="1419"/>
                  </a:lnTo>
                  <a:lnTo>
                    <a:pt x="2128" y="1419"/>
                  </a:lnTo>
                  <a:lnTo>
                    <a:pt x="2128" y="1419"/>
                  </a:lnTo>
                  <a:lnTo>
                    <a:pt x="2128" y="1421"/>
                  </a:lnTo>
                  <a:lnTo>
                    <a:pt x="2128" y="1421"/>
                  </a:lnTo>
                  <a:lnTo>
                    <a:pt x="2125" y="1421"/>
                  </a:lnTo>
                  <a:lnTo>
                    <a:pt x="2125" y="1421"/>
                  </a:lnTo>
                  <a:lnTo>
                    <a:pt x="2125" y="1421"/>
                  </a:lnTo>
                  <a:lnTo>
                    <a:pt x="2125" y="1419"/>
                  </a:lnTo>
                  <a:lnTo>
                    <a:pt x="2125" y="1419"/>
                  </a:lnTo>
                  <a:lnTo>
                    <a:pt x="2125" y="1419"/>
                  </a:lnTo>
                  <a:lnTo>
                    <a:pt x="2125" y="1421"/>
                  </a:lnTo>
                  <a:lnTo>
                    <a:pt x="2123" y="1421"/>
                  </a:lnTo>
                  <a:lnTo>
                    <a:pt x="2123" y="1424"/>
                  </a:lnTo>
                  <a:lnTo>
                    <a:pt x="2123" y="1424"/>
                  </a:lnTo>
                  <a:lnTo>
                    <a:pt x="2123" y="1424"/>
                  </a:lnTo>
                  <a:lnTo>
                    <a:pt x="2123" y="1424"/>
                  </a:lnTo>
                  <a:lnTo>
                    <a:pt x="2123" y="1424"/>
                  </a:lnTo>
                  <a:lnTo>
                    <a:pt x="2123" y="1424"/>
                  </a:lnTo>
                  <a:lnTo>
                    <a:pt x="2123" y="1421"/>
                  </a:lnTo>
                  <a:lnTo>
                    <a:pt x="2118" y="1424"/>
                  </a:lnTo>
                  <a:lnTo>
                    <a:pt x="2118" y="1424"/>
                  </a:lnTo>
                  <a:lnTo>
                    <a:pt x="2118" y="1424"/>
                  </a:lnTo>
                  <a:lnTo>
                    <a:pt x="2116" y="1424"/>
                  </a:lnTo>
                  <a:lnTo>
                    <a:pt x="2113" y="1424"/>
                  </a:lnTo>
                  <a:lnTo>
                    <a:pt x="2113" y="1424"/>
                  </a:lnTo>
                  <a:lnTo>
                    <a:pt x="2116" y="1421"/>
                  </a:lnTo>
                  <a:lnTo>
                    <a:pt x="2116" y="1421"/>
                  </a:lnTo>
                  <a:lnTo>
                    <a:pt x="2118" y="1419"/>
                  </a:lnTo>
                  <a:lnTo>
                    <a:pt x="2118" y="1419"/>
                  </a:lnTo>
                  <a:lnTo>
                    <a:pt x="2116" y="1419"/>
                  </a:lnTo>
                  <a:lnTo>
                    <a:pt x="2116" y="1419"/>
                  </a:lnTo>
                  <a:lnTo>
                    <a:pt x="2113" y="1421"/>
                  </a:lnTo>
                  <a:lnTo>
                    <a:pt x="2116" y="1419"/>
                  </a:lnTo>
                  <a:lnTo>
                    <a:pt x="2116" y="1419"/>
                  </a:lnTo>
                  <a:lnTo>
                    <a:pt x="2113" y="1419"/>
                  </a:lnTo>
                  <a:lnTo>
                    <a:pt x="2113" y="1417"/>
                  </a:lnTo>
                  <a:lnTo>
                    <a:pt x="2113" y="1417"/>
                  </a:lnTo>
                  <a:lnTo>
                    <a:pt x="2113" y="1417"/>
                  </a:lnTo>
                  <a:lnTo>
                    <a:pt x="2113" y="1417"/>
                  </a:lnTo>
                  <a:lnTo>
                    <a:pt x="2113" y="1417"/>
                  </a:lnTo>
                  <a:lnTo>
                    <a:pt x="2113" y="1417"/>
                  </a:lnTo>
                  <a:lnTo>
                    <a:pt x="2113" y="1417"/>
                  </a:lnTo>
                  <a:lnTo>
                    <a:pt x="2111" y="1414"/>
                  </a:lnTo>
                  <a:lnTo>
                    <a:pt x="2111" y="1414"/>
                  </a:lnTo>
                  <a:lnTo>
                    <a:pt x="2109" y="1414"/>
                  </a:lnTo>
                  <a:lnTo>
                    <a:pt x="2109" y="1417"/>
                  </a:lnTo>
                  <a:lnTo>
                    <a:pt x="2109" y="1417"/>
                  </a:lnTo>
                  <a:lnTo>
                    <a:pt x="2109" y="1417"/>
                  </a:lnTo>
                  <a:lnTo>
                    <a:pt x="2106" y="1419"/>
                  </a:lnTo>
                  <a:lnTo>
                    <a:pt x="2106" y="1417"/>
                  </a:lnTo>
                  <a:lnTo>
                    <a:pt x="2106" y="1417"/>
                  </a:lnTo>
                  <a:lnTo>
                    <a:pt x="2109" y="1414"/>
                  </a:lnTo>
                  <a:lnTo>
                    <a:pt x="2109" y="1414"/>
                  </a:lnTo>
                  <a:lnTo>
                    <a:pt x="2111" y="1414"/>
                  </a:lnTo>
                  <a:lnTo>
                    <a:pt x="2109" y="1412"/>
                  </a:lnTo>
                  <a:lnTo>
                    <a:pt x="2109" y="1412"/>
                  </a:lnTo>
                  <a:lnTo>
                    <a:pt x="2106" y="1412"/>
                  </a:lnTo>
                  <a:lnTo>
                    <a:pt x="2106" y="1412"/>
                  </a:lnTo>
                  <a:lnTo>
                    <a:pt x="2106" y="1412"/>
                  </a:lnTo>
                  <a:lnTo>
                    <a:pt x="2106" y="1412"/>
                  </a:lnTo>
                  <a:lnTo>
                    <a:pt x="2106" y="1412"/>
                  </a:lnTo>
                  <a:lnTo>
                    <a:pt x="2106" y="1412"/>
                  </a:lnTo>
                  <a:lnTo>
                    <a:pt x="2101" y="1414"/>
                  </a:lnTo>
                  <a:lnTo>
                    <a:pt x="2101" y="1414"/>
                  </a:lnTo>
                  <a:lnTo>
                    <a:pt x="2101" y="1414"/>
                  </a:lnTo>
                  <a:lnTo>
                    <a:pt x="2101" y="1412"/>
                  </a:lnTo>
                  <a:lnTo>
                    <a:pt x="2104" y="1412"/>
                  </a:lnTo>
                  <a:lnTo>
                    <a:pt x="2104" y="1412"/>
                  </a:lnTo>
                  <a:lnTo>
                    <a:pt x="2104" y="1409"/>
                  </a:lnTo>
                  <a:lnTo>
                    <a:pt x="2104" y="1409"/>
                  </a:lnTo>
                  <a:lnTo>
                    <a:pt x="2104" y="1409"/>
                  </a:lnTo>
                  <a:lnTo>
                    <a:pt x="2101" y="1409"/>
                  </a:lnTo>
                  <a:lnTo>
                    <a:pt x="2104" y="1409"/>
                  </a:lnTo>
                  <a:lnTo>
                    <a:pt x="2104" y="1409"/>
                  </a:lnTo>
                  <a:lnTo>
                    <a:pt x="2104" y="1409"/>
                  </a:lnTo>
                  <a:lnTo>
                    <a:pt x="2104" y="1409"/>
                  </a:lnTo>
                  <a:lnTo>
                    <a:pt x="2101" y="1409"/>
                  </a:lnTo>
                  <a:lnTo>
                    <a:pt x="2097" y="1412"/>
                  </a:lnTo>
                  <a:lnTo>
                    <a:pt x="2097" y="1412"/>
                  </a:lnTo>
                  <a:lnTo>
                    <a:pt x="2097" y="1412"/>
                  </a:lnTo>
                  <a:lnTo>
                    <a:pt x="2097" y="1409"/>
                  </a:lnTo>
                  <a:lnTo>
                    <a:pt x="2099" y="1409"/>
                  </a:lnTo>
                  <a:lnTo>
                    <a:pt x="2099" y="1409"/>
                  </a:lnTo>
                  <a:lnTo>
                    <a:pt x="2099" y="1409"/>
                  </a:lnTo>
                  <a:lnTo>
                    <a:pt x="2099" y="1409"/>
                  </a:lnTo>
                  <a:lnTo>
                    <a:pt x="2109" y="1407"/>
                  </a:lnTo>
                  <a:lnTo>
                    <a:pt x="2109" y="1407"/>
                  </a:lnTo>
                  <a:lnTo>
                    <a:pt x="2109" y="1407"/>
                  </a:lnTo>
                  <a:lnTo>
                    <a:pt x="2109" y="1405"/>
                  </a:lnTo>
                  <a:lnTo>
                    <a:pt x="2109" y="1402"/>
                  </a:lnTo>
                  <a:lnTo>
                    <a:pt x="2106" y="1402"/>
                  </a:lnTo>
                  <a:lnTo>
                    <a:pt x="2106" y="1402"/>
                  </a:lnTo>
                  <a:lnTo>
                    <a:pt x="2106" y="1402"/>
                  </a:lnTo>
                  <a:lnTo>
                    <a:pt x="2109" y="1400"/>
                  </a:lnTo>
                  <a:lnTo>
                    <a:pt x="2109" y="1400"/>
                  </a:lnTo>
                  <a:lnTo>
                    <a:pt x="2109" y="1398"/>
                  </a:lnTo>
                  <a:lnTo>
                    <a:pt x="2109" y="1398"/>
                  </a:lnTo>
                  <a:lnTo>
                    <a:pt x="2109" y="1395"/>
                  </a:lnTo>
                  <a:lnTo>
                    <a:pt x="2109" y="1395"/>
                  </a:lnTo>
                  <a:lnTo>
                    <a:pt x="2109" y="1395"/>
                  </a:lnTo>
                  <a:lnTo>
                    <a:pt x="2109" y="1395"/>
                  </a:lnTo>
                  <a:lnTo>
                    <a:pt x="2106" y="1398"/>
                  </a:lnTo>
                  <a:lnTo>
                    <a:pt x="2106" y="1395"/>
                  </a:lnTo>
                  <a:lnTo>
                    <a:pt x="2106" y="1395"/>
                  </a:lnTo>
                  <a:lnTo>
                    <a:pt x="2106" y="1395"/>
                  </a:lnTo>
                  <a:lnTo>
                    <a:pt x="2106" y="1393"/>
                  </a:lnTo>
                  <a:lnTo>
                    <a:pt x="2106" y="1393"/>
                  </a:lnTo>
                  <a:lnTo>
                    <a:pt x="2106" y="1395"/>
                  </a:lnTo>
                  <a:lnTo>
                    <a:pt x="2104" y="1398"/>
                  </a:lnTo>
                  <a:lnTo>
                    <a:pt x="2104" y="1395"/>
                  </a:lnTo>
                  <a:lnTo>
                    <a:pt x="2104" y="1395"/>
                  </a:lnTo>
                  <a:lnTo>
                    <a:pt x="2104" y="1393"/>
                  </a:lnTo>
                  <a:lnTo>
                    <a:pt x="2104" y="1393"/>
                  </a:lnTo>
                  <a:lnTo>
                    <a:pt x="2104" y="1393"/>
                  </a:lnTo>
                  <a:lnTo>
                    <a:pt x="2104" y="1393"/>
                  </a:lnTo>
                  <a:lnTo>
                    <a:pt x="2104" y="1393"/>
                  </a:lnTo>
                  <a:lnTo>
                    <a:pt x="2104" y="1395"/>
                  </a:lnTo>
                  <a:lnTo>
                    <a:pt x="2104" y="1395"/>
                  </a:lnTo>
                  <a:lnTo>
                    <a:pt x="2104" y="1395"/>
                  </a:lnTo>
                  <a:lnTo>
                    <a:pt x="2104" y="1395"/>
                  </a:lnTo>
                  <a:lnTo>
                    <a:pt x="2104" y="1398"/>
                  </a:lnTo>
                  <a:lnTo>
                    <a:pt x="2104" y="1398"/>
                  </a:lnTo>
                  <a:lnTo>
                    <a:pt x="2104" y="1398"/>
                  </a:lnTo>
                  <a:lnTo>
                    <a:pt x="2104" y="1398"/>
                  </a:lnTo>
                  <a:lnTo>
                    <a:pt x="2104" y="1398"/>
                  </a:lnTo>
                  <a:lnTo>
                    <a:pt x="2104" y="1398"/>
                  </a:lnTo>
                  <a:lnTo>
                    <a:pt x="2101" y="1398"/>
                  </a:lnTo>
                  <a:lnTo>
                    <a:pt x="2101" y="1398"/>
                  </a:lnTo>
                  <a:lnTo>
                    <a:pt x="2101" y="1398"/>
                  </a:lnTo>
                  <a:lnTo>
                    <a:pt x="2101" y="1398"/>
                  </a:lnTo>
                  <a:lnTo>
                    <a:pt x="2101" y="1398"/>
                  </a:lnTo>
                  <a:lnTo>
                    <a:pt x="2101" y="1400"/>
                  </a:lnTo>
                  <a:lnTo>
                    <a:pt x="2101" y="1400"/>
                  </a:lnTo>
                  <a:lnTo>
                    <a:pt x="2101" y="1400"/>
                  </a:lnTo>
                  <a:lnTo>
                    <a:pt x="2101" y="1400"/>
                  </a:lnTo>
                  <a:lnTo>
                    <a:pt x="2101" y="1398"/>
                  </a:lnTo>
                  <a:lnTo>
                    <a:pt x="2101" y="1398"/>
                  </a:lnTo>
                  <a:lnTo>
                    <a:pt x="2101" y="1395"/>
                  </a:lnTo>
                  <a:lnTo>
                    <a:pt x="2101" y="1395"/>
                  </a:lnTo>
                  <a:lnTo>
                    <a:pt x="2101" y="1395"/>
                  </a:lnTo>
                  <a:lnTo>
                    <a:pt x="2099" y="1395"/>
                  </a:lnTo>
                  <a:lnTo>
                    <a:pt x="2099" y="1395"/>
                  </a:lnTo>
                  <a:lnTo>
                    <a:pt x="2099" y="1398"/>
                  </a:lnTo>
                  <a:lnTo>
                    <a:pt x="2099" y="1398"/>
                  </a:lnTo>
                  <a:lnTo>
                    <a:pt x="2099" y="1400"/>
                  </a:lnTo>
                  <a:lnTo>
                    <a:pt x="2097" y="1400"/>
                  </a:lnTo>
                  <a:lnTo>
                    <a:pt x="2097" y="1400"/>
                  </a:lnTo>
                  <a:lnTo>
                    <a:pt x="2097" y="1398"/>
                  </a:lnTo>
                  <a:lnTo>
                    <a:pt x="2097" y="1398"/>
                  </a:lnTo>
                  <a:lnTo>
                    <a:pt x="2094" y="1398"/>
                  </a:lnTo>
                  <a:lnTo>
                    <a:pt x="2092" y="1400"/>
                  </a:lnTo>
                  <a:lnTo>
                    <a:pt x="2092" y="1400"/>
                  </a:lnTo>
                  <a:lnTo>
                    <a:pt x="2092" y="1400"/>
                  </a:lnTo>
                  <a:lnTo>
                    <a:pt x="2092" y="1400"/>
                  </a:lnTo>
                  <a:lnTo>
                    <a:pt x="2092" y="1398"/>
                  </a:lnTo>
                  <a:lnTo>
                    <a:pt x="2092" y="1398"/>
                  </a:lnTo>
                  <a:lnTo>
                    <a:pt x="2090" y="1395"/>
                  </a:lnTo>
                  <a:lnTo>
                    <a:pt x="2090" y="1395"/>
                  </a:lnTo>
                  <a:lnTo>
                    <a:pt x="2090" y="1395"/>
                  </a:lnTo>
                  <a:lnTo>
                    <a:pt x="2090" y="1395"/>
                  </a:lnTo>
                  <a:lnTo>
                    <a:pt x="2090" y="1393"/>
                  </a:lnTo>
                  <a:lnTo>
                    <a:pt x="2090" y="1393"/>
                  </a:lnTo>
                  <a:lnTo>
                    <a:pt x="2092" y="1393"/>
                  </a:lnTo>
                  <a:lnTo>
                    <a:pt x="2092" y="1393"/>
                  </a:lnTo>
                  <a:lnTo>
                    <a:pt x="2092" y="1391"/>
                  </a:lnTo>
                  <a:lnTo>
                    <a:pt x="2092" y="1391"/>
                  </a:lnTo>
                  <a:lnTo>
                    <a:pt x="2092" y="1388"/>
                  </a:lnTo>
                  <a:lnTo>
                    <a:pt x="2092" y="1388"/>
                  </a:lnTo>
                  <a:lnTo>
                    <a:pt x="2092" y="1388"/>
                  </a:lnTo>
                  <a:lnTo>
                    <a:pt x="2092" y="1388"/>
                  </a:lnTo>
                  <a:lnTo>
                    <a:pt x="2092" y="1388"/>
                  </a:lnTo>
                  <a:lnTo>
                    <a:pt x="2092" y="1386"/>
                  </a:lnTo>
                  <a:lnTo>
                    <a:pt x="2092" y="1386"/>
                  </a:lnTo>
                  <a:lnTo>
                    <a:pt x="2092" y="1386"/>
                  </a:lnTo>
                  <a:lnTo>
                    <a:pt x="2092" y="1386"/>
                  </a:lnTo>
                  <a:lnTo>
                    <a:pt x="2090" y="1383"/>
                  </a:lnTo>
                  <a:lnTo>
                    <a:pt x="2090" y="1383"/>
                  </a:lnTo>
                  <a:lnTo>
                    <a:pt x="2087" y="1383"/>
                  </a:lnTo>
                  <a:lnTo>
                    <a:pt x="2090" y="1388"/>
                  </a:lnTo>
                  <a:lnTo>
                    <a:pt x="2087" y="1388"/>
                  </a:lnTo>
                  <a:lnTo>
                    <a:pt x="2087" y="1386"/>
                  </a:lnTo>
                  <a:lnTo>
                    <a:pt x="2087" y="1386"/>
                  </a:lnTo>
                  <a:lnTo>
                    <a:pt x="2087" y="1386"/>
                  </a:lnTo>
                  <a:lnTo>
                    <a:pt x="2087" y="1383"/>
                  </a:lnTo>
                  <a:lnTo>
                    <a:pt x="2087" y="1383"/>
                  </a:lnTo>
                  <a:lnTo>
                    <a:pt x="2087" y="1381"/>
                  </a:lnTo>
                  <a:lnTo>
                    <a:pt x="2087" y="1381"/>
                  </a:lnTo>
                  <a:lnTo>
                    <a:pt x="2087" y="1379"/>
                  </a:lnTo>
                  <a:lnTo>
                    <a:pt x="2085" y="1379"/>
                  </a:lnTo>
                  <a:lnTo>
                    <a:pt x="2085" y="1379"/>
                  </a:lnTo>
                  <a:lnTo>
                    <a:pt x="2085" y="1381"/>
                  </a:lnTo>
                  <a:lnTo>
                    <a:pt x="2085" y="1381"/>
                  </a:lnTo>
                  <a:lnTo>
                    <a:pt x="2085" y="1381"/>
                  </a:lnTo>
                  <a:lnTo>
                    <a:pt x="2085" y="1381"/>
                  </a:lnTo>
                  <a:lnTo>
                    <a:pt x="2083" y="1379"/>
                  </a:lnTo>
                  <a:lnTo>
                    <a:pt x="2083" y="1379"/>
                  </a:lnTo>
                  <a:lnTo>
                    <a:pt x="2083" y="1379"/>
                  </a:lnTo>
                  <a:lnTo>
                    <a:pt x="2083" y="1379"/>
                  </a:lnTo>
                  <a:lnTo>
                    <a:pt x="2083" y="1379"/>
                  </a:lnTo>
                  <a:lnTo>
                    <a:pt x="2083" y="1379"/>
                  </a:lnTo>
                  <a:lnTo>
                    <a:pt x="2083" y="1379"/>
                  </a:lnTo>
                  <a:lnTo>
                    <a:pt x="2083" y="1379"/>
                  </a:lnTo>
                  <a:lnTo>
                    <a:pt x="2083" y="1379"/>
                  </a:lnTo>
                  <a:lnTo>
                    <a:pt x="2080" y="1379"/>
                  </a:lnTo>
                  <a:lnTo>
                    <a:pt x="2080" y="1379"/>
                  </a:lnTo>
                  <a:lnTo>
                    <a:pt x="2080" y="1379"/>
                  </a:lnTo>
                  <a:lnTo>
                    <a:pt x="2080" y="1379"/>
                  </a:lnTo>
                  <a:lnTo>
                    <a:pt x="2080" y="1379"/>
                  </a:lnTo>
                  <a:lnTo>
                    <a:pt x="2080" y="1379"/>
                  </a:lnTo>
                  <a:lnTo>
                    <a:pt x="2080" y="1379"/>
                  </a:lnTo>
                  <a:lnTo>
                    <a:pt x="2080" y="1379"/>
                  </a:lnTo>
                  <a:lnTo>
                    <a:pt x="2078" y="1379"/>
                  </a:lnTo>
                  <a:lnTo>
                    <a:pt x="2078" y="1379"/>
                  </a:lnTo>
                  <a:lnTo>
                    <a:pt x="2080" y="1379"/>
                  </a:lnTo>
                  <a:lnTo>
                    <a:pt x="2080" y="1381"/>
                  </a:lnTo>
                  <a:lnTo>
                    <a:pt x="2080" y="1381"/>
                  </a:lnTo>
                  <a:lnTo>
                    <a:pt x="2080" y="1383"/>
                  </a:lnTo>
                  <a:lnTo>
                    <a:pt x="2080" y="1383"/>
                  </a:lnTo>
                  <a:lnTo>
                    <a:pt x="2080" y="1383"/>
                  </a:lnTo>
                  <a:lnTo>
                    <a:pt x="2080" y="1383"/>
                  </a:lnTo>
                  <a:lnTo>
                    <a:pt x="2083" y="1383"/>
                  </a:lnTo>
                  <a:lnTo>
                    <a:pt x="2083" y="1386"/>
                  </a:lnTo>
                  <a:lnTo>
                    <a:pt x="2083" y="1386"/>
                  </a:lnTo>
                  <a:lnTo>
                    <a:pt x="2083" y="1386"/>
                  </a:lnTo>
                  <a:lnTo>
                    <a:pt x="2083" y="1386"/>
                  </a:lnTo>
                  <a:lnTo>
                    <a:pt x="2083" y="1388"/>
                  </a:lnTo>
                  <a:lnTo>
                    <a:pt x="2085" y="1388"/>
                  </a:lnTo>
                  <a:lnTo>
                    <a:pt x="2085" y="1391"/>
                  </a:lnTo>
                  <a:lnTo>
                    <a:pt x="2087" y="1391"/>
                  </a:lnTo>
                  <a:lnTo>
                    <a:pt x="2087" y="1391"/>
                  </a:lnTo>
                  <a:lnTo>
                    <a:pt x="2087" y="1393"/>
                  </a:lnTo>
                  <a:lnTo>
                    <a:pt x="2087" y="1393"/>
                  </a:lnTo>
                  <a:lnTo>
                    <a:pt x="2085" y="1393"/>
                  </a:lnTo>
                  <a:lnTo>
                    <a:pt x="2085" y="1391"/>
                  </a:lnTo>
                  <a:lnTo>
                    <a:pt x="2085" y="1391"/>
                  </a:lnTo>
                  <a:lnTo>
                    <a:pt x="2083" y="1391"/>
                  </a:lnTo>
                  <a:lnTo>
                    <a:pt x="2080" y="1388"/>
                  </a:lnTo>
                  <a:lnTo>
                    <a:pt x="2080" y="1388"/>
                  </a:lnTo>
                  <a:lnTo>
                    <a:pt x="2080" y="1386"/>
                  </a:lnTo>
                  <a:lnTo>
                    <a:pt x="2080" y="1386"/>
                  </a:lnTo>
                  <a:lnTo>
                    <a:pt x="2080" y="1386"/>
                  </a:lnTo>
                  <a:lnTo>
                    <a:pt x="2080" y="1386"/>
                  </a:lnTo>
                  <a:lnTo>
                    <a:pt x="2080" y="1386"/>
                  </a:lnTo>
                  <a:lnTo>
                    <a:pt x="2080" y="1386"/>
                  </a:lnTo>
                  <a:lnTo>
                    <a:pt x="2080" y="1386"/>
                  </a:lnTo>
                  <a:lnTo>
                    <a:pt x="2080" y="1386"/>
                  </a:lnTo>
                  <a:lnTo>
                    <a:pt x="2080" y="1388"/>
                  </a:lnTo>
                  <a:lnTo>
                    <a:pt x="2080" y="1388"/>
                  </a:lnTo>
                  <a:lnTo>
                    <a:pt x="2080" y="1388"/>
                  </a:lnTo>
                  <a:lnTo>
                    <a:pt x="2080" y="1391"/>
                  </a:lnTo>
                  <a:lnTo>
                    <a:pt x="2080" y="1388"/>
                  </a:lnTo>
                  <a:lnTo>
                    <a:pt x="2078" y="1388"/>
                  </a:lnTo>
                  <a:lnTo>
                    <a:pt x="2078" y="1386"/>
                  </a:lnTo>
                  <a:lnTo>
                    <a:pt x="2078" y="1386"/>
                  </a:lnTo>
                  <a:lnTo>
                    <a:pt x="2078" y="1383"/>
                  </a:lnTo>
                  <a:lnTo>
                    <a:pt x="2078" y="1381"/>
                  </a:lnTo>
                  <a:lnTo>
                    <a:pt x="2078" y="1381"/>
                  </a:lnTo>
                  <a:lnTo>
                    <a:pt x="2075" y="1383"/>
                  </a:lnTo>
                  <a:lnTo>
                    <a:pt x="2075" y="1383"/>
                  </a:lnTo>
                  <a:lnTo>
                    <a:pt x="2075" y="1383"/>
                  </a:lnTo>
                  <a:lnTo>
                    <a:pt x="2075" y="1386"/>
                  </a:lnTo>
                  <a:lnTo>
                    <a:pt x="2075" y="1388"/>
                  </a:lnTo>
                  <a:lnTo>
                    <a:pt x="2078" y="1391"/>
                  </a:lnTo>
                  <a:lnTo>
                    <a:pt x="2078" y="1393"/>
                  </a:lnTo>
                  <a:lnTo>
                    <a:pt x="2075" y="1393"/>
                  </a:lnTo>
                  <a:lnTo>
                    <a:pt x="2075" y="1391"/>
                  </a:lnTo>
                  <a:lnTo>
                    <a:pt x="2075" y="1391"/>
                  </a:lnTo>
                  <a:lnTo>
                    <a:pt x="2075" y="1391"/>
                  </a:lnTo>
                  <a:lnTo>
                    <a:pt x="2075" y="1391"/>
                  </a:lnTo>
                  <a:lnTo>
                    <a:pt x="2075" y="1391"/>
                  </a:lnTo>
                  <a:lnTo>
                    <a:pt x="2073" y="1388"/>
                  </a:lnTo>
                  <a:lnTo>
                    <a:pt x="2073" y="1388"/>
                  </a:lnTo>
                  <a:lnTo>
                    <a:pt x="2073" y="1388"/>
                  </a:lnTo>
                  <a:lnTo>
                    <a:pt x="2071" y="1388"/>
                  </a:lnTo>
                  <a:lnTo>
                    <a:pt x="2071" y="1388"/>
                  </a:lnTo>
                  <a:lnTo>
                    <a:pt x="2073" y="1388"/>
                  </a:lnTo>
                  <a:lnTo>
                    <a:pt x="2075" y="1386"/>
                  </a:lnTo>
                  <a:lnTo>
                    <a:pt x="2075" y="1386"/>
                  </a:lnTo>
                  <a:lnTo>
                    <a:pt x="2073" y="1386"/>
                  </a:lnTo>
                  <a:lnTo>
                    <a:pt x="2073" y="1383"/>
                  </a:lnTo>
                  <a:lnTo>
                    <a:pt x="2073" y="1383"/>
                  </a:lnTo>
                  <a:lnTo>
                    <a:pt x="2073" y="1383"/>
                  </a:lnTo>
                  <a:lnTo>
                    <a:pt x="2073" y="1381"/>
                  </a:lnTo>
                  <a:lnTo>
                    <a:pt x="2073" y="1381"/>
                  </a:lnTo>
                  <a:lnTo>
                    <a:pt x="2071" y="1379"/>
                  </a:lnTo>
                  <a:lnTo>
                    <a:pt x="2071" y="1379"/>
                  </a:lnTo>
                  <a:lnTo>
                    <a:pt x="2071" y="1381"/>
                  </a:lnTo>
                  <a:lnTo>
                    <a:pt x="2071" y="1381"/>
                  </a:lnTo>
                  <a:lnTo>
                    <a:pt x="2071" y="1381"/>
                  </a:lnTo>
                  <a:lnTo>
                    <a:pt x="2071" y="1381"/>
                  </a:lnTo>
                  <a:lnTo>
                    <a:pt x="2071" y="1381"/>
                  </a:lnTo>
                  <a:lnTo>
                    <a:pt x="2068" y="1381"/>
                  </a:lnTo>
                  <a:lnTo>
                    <a:pt x="2068" y="1381"/>
                  </a:lnTo>
                  <a:lnTo>
                    <a:pt x="2068" y="1381"/>
                  </a:lnTo>
                  <a:lnTo>
                    <a:pt x="2068" y="1381"/>
                  </a:lnTo>
                  <a:lnTo>
                    <a:pt x="2068" y="1381"/>
                  </a:lnTo>
                  <a:lnTo>
                    <a:pt x="2068" y="1379"/>
                  </a:lnTo>
                  <a:lnTo>
                    <a:pt x="2068" y="1379"/>
                  </a:lnTo>
                  <a:lnTo>
                    <a:pt x="2068" y="1379"/>
                  </a:lnTo>
                  <a:lnTo>
                    <a:pt x="2068" y="1379"/>
                  </a:lnTo>
                  <a:lnTo>
                    <a:pt x="2066" y="1379"/>
                  </a:lnTo>
                  <a:lnTo>
                    <a:pt x="2068" y="1379"/>
                  </a:lnTo>
                  <a:lnTo>
                    <a:pt x="2066" y="1379"/>
                  </a:lnTo>
                  <a:lnTo>
                    <a:pt x="2066" y="1379"/>
                  </a:lnTo>
                  <a:lnTo>
                    <a:pt x="2064" y="1379"/>
                  </a:lnTo>
                  <a:lnTo>
                    <a:pt x="2064" y="1379"/>
                  </a:lnTo>
                  <a:lnTo>
                    <a:pt x="2064" y="1379"/>
                  </a:lnTo>
                  <a:lnTo>
                    <a:pt x="2064" y="1376"/>
                  </a:lnTo>
                  <a:lnTo>
                    <a:pt x="2064" y="1376"/>
                  </a:lnTo>
                  <a:lnTo>
                    <a:pt x="2064" y="1376"/>
                  </a:lnTo>
                  <a:lnTo>
                    <a:pt x="2064" y="1376"/>
                  </a:lnTo>
                  <a:lnTo>
                    <a:pt x="2061" y="1379"/>
                  </a:lnTo>
                  <a:lnTo>
                    <a:pt x="2061" y="1379"/>
                  </a:lnTo>
                  <a:lnTo>
                    <a:pt x="2061" y="1376"/>
                  </a:lnTo>
                  <a:lnTo>
                    <a:pt x="2061" y="1376"/>
                  </a:lnTo>
                  <a:lnTo>
                    <a:pt x="2061" y="1376"/>
                  </a:lnTo>
                  <a:lnTo>
                    <a:pt x="2061" y="1376"/>
                  </a:lnTo>
                  <a:lnTo>
                    <a:pt x="2061" y="1376"/>
                  </a:lnTo>
                  <a:lnTo>
                    <a:pt x="2061" y="1376"/>
                  </a:lnTo>
                  <a:lnTo>
                    <a:pt x="2059" y="1376"/>
                  </a:lnTo>
                  <a:lnTo>
                    <a:pt x="2057" y="1374"/>
                  </a:lnTo>
                  <a:lnTo>
                    <a:pt x="2057" y="1376"/>
                  </a:lnTo>
                  <a:lnTo>
                    <a:pt x="2057" y="1376"/>
                  </a:lnTo>
                  <a:lnTo>
                    <a:pt x="2059" y="1379"/>
                  </a:lnTo>
                  <a:lnTo>
                    <a:pt x="2059" y="1379"/>
                  </a:lnTo>
                  <a:lnTo>
                    <a:pt x="2059" y="1381"/>
                  </a:lnTo>
                  <a:lnTo>
                    <a:pt x="2059" y="1381"/>
                  </a:lnTo>
                  <a:lnTo>
                    <a:pt x="2061" y="1386"/>
                  </a:lnTo>
                  <a:lnTo>
                    <a:pt x="2061" y="1386"/>
                  </a:lnTo>
                  <a:lnTo>
                    <a:pt x="2061" y="1388"/>
                  </a:lnTo>
                  <a:lnTo>
                    <a:pt x="2061" y="1388"/>
                  </a:lnTo>
                  <a:lnTo>
                    <a:pt x="2061" y="1391"/>
                  </a:lnTo>
                  <a:lnTo>
                    <a:pt x="2061" y="1391"/>
                  </a:lnTo>
                  <a:lnTo>
                    <a:pt x="2064" y="1391"/>
                  </a:lnTo>
                  <a:lnTo>
                    <a:pt x="2061" y="1391"/>
                  </a:lnTo>
                  <a:lnTo>
                    <a:pt x="2061" y="1391"/>
                  </a:lnTo>
                  <a:lnTo>
                    <a:pt x="2061" y="1391"/>
                  </a:lnTo>
                  <a:lnTo>
                    <a:pt x="2061" y="1391"/>
                  </a:lnTo>
                  <a:lnTo>
                    <a:pt x="2061" y="1391"/>
                  </a:lnTo>
                  <a:lnTo>
                    <a:pt x="2061" y="1391"/>
                  </a:lnTo>
                  <a:lnTo>
                    <a:pt x="2061" y="1391"/>
                  </a:lnTo>
                  <a:lnTo>
                    <a:pt x="2061" y="1391"/>
                  </a:lnTo>
                  <a:lnTo>
                    <a:pt x="2061" y="1391"/>
                  </a:lnTo>
                  <a:lnTo>
                    <a:pt x="2061" y="1391"/>
                  </a:lnTo>
                  <a:lnTo>
                    <a:pt x="2061" y="1391"/>
                  </a:lnTo>
                  <a:lnTo>
                    <a:pt x="2061" y="1388"/>
                  </a:lnTo>
                  <a:lnTo>
                    <a:pt x="2059" y="1388"/>
                  </a:lnTo>
                  <a:lnTo>
                    <a:pt x="2059" y="1388"/>
                  </a:lnTo>
                  <a:lnTo>
                    <a:pt x="2059" y="1388"/>
                  </a:lnTo>
                  <a:lnTo>
                    <a:pt x="2059" y="1386"/>
                  </a:lnTo>
                  <a:lnTo>
                    <a:pt x="2059" y="1386"/>
                  </a:lnTo>
                  <a:lnTo>
                    <a:pt x="2059" y="1386"/>
                  </a:lnTo>
                  <a:lnTo>
                    <a:pt x="2059" y="1386"/>
                  </a:lnTo>
                  <a:lnTo>
                    <a:pt x="2059" y="1386"/>
                  </a:lnTo>
                  <a:lnTo>
                    <a:pt x="2059" y="1383"/>
                  </a:lnTo>
                  <a:lnTo>
                    <a:pt x="2059" y="1383"/>
                  </a:lnTo>
                  <a:lnTo>
                    <a:pt x="2059" y="1383"/>
                  </a:lnTo>
                  <a:lnTo>
                    <a:pt x="2057" y="1381"/>
                  </a:lnTo>
                  <a:lnTo>
                    <a:pt x="2054" y="1381"/>
                  </a:lnTo>
                  <a:lnTo>
                    <a:pt x="2057" y="1381"/>
                  </a:lnTo>
                  <a:lnTo>
                    <a:pt x="2057" y="1379"/>
                  </a:lnTo>
                  <a:lnTo>
                    <a:pt x="2057" y="1379"/>
                  </a:lnTo>
                  <a:lnTo>
                    <a:pt x="2057" y="1379"/>
                  </a:lnTo>
                  <a:lnTo>
                    <a:pt x="2057" y="1379"/>
                  </a:lnTo>
                  <a:lnTo>
                    <a:pt x="2057" y="1379"/>
                  </a:lnTo>
                  <a:lnTo>
                    <a:pt x="2054" y="1379"/>
                  </a:lnTo>
                  <a:lnTo>
                    <a:pt x="2054" y="1379"/>
                  </a:lnTo>
                  <a:lnTo>
                    <a:pt x="2054" y="1376"/>
                  </a:lnTo>
                  <a:lnTo>
                    <a:pt x="2054" y="1376"/>
                  </a:lnTo>
                  <a:lnTo>
                    <a:pt x="2054" y="1376"/>
                  </a:lnTo>
                  <a:lnTo>
                    <a:pt x="2054" y="1376"/>
                  </a:lnTo>
                  <a:lnTo>
                    <a:pt x="2054" y="1376"/>
                  </a:lnTo>
                  <a:lnTo>
                    <a:pt x="2054" y="1376"/>
                  </a:lnTo>
                  <a:lnTo>
                    <a:pt x="2054" y="1376"/>
                  </a:lnTo>
                  <a:lnTo>
                    <a:pt x="2054" y="1376"/>
                  </a:lnTo>
                  <a:lnTo>
                    <a:pt x="2054" y="1374"/>
                  </a:lnTo>
                  <a:lnTo>
                    <a:pt x="2054" y="1374"/>
                  </a:lnTo>
                  <a:lnTo>
                    <a:pt x="2054" y="1376"/>
                  </a:lnTo>
                  <a:lnTo>
                    <a:pt x="2052" y="1376"/>
                  </a:lnTo>
                  <a:lnTo>
                    <a:pt x="2052" y="1376"/>
                  </a:lnTo>
                  <a:lnTo>
                    <a:pt x="2052" y="1376"/>
                  </a:lnTo>
                  <a:lnTo>
                    <a:pt x="2052" y="1374"/>
                  </a:lnTo>
                  <a:lnTo>
                    <a:pt x="2054" y="1374"/>
                  </a:lnTo>
                  <a:lnTo>
                    <a:pt x="2054" y="1374"/>
                  </a:lnTo>
                  <a:lnTo>
                    <a:pt x="2052" y="1374"/>
                  </a:lnTo>
                  <a:lnTo>
                    <a:pt x="2052" y="1372"/>
                  </a:lnTo>
                  <a:lnTo>
                    <a:pt x="2054" y="1372"/>
                  </a:lnTo>
                  <a:lnTo>
                    <a:pt x="2054" y="1369"/>
                  </a:lnTo>
                  <a:lnTo>
                    <a:pt x="2054" y="1369"/>
                  </a:lnTo>
                  <a:lnTo>
                    <a:pt x="2054" y="1369"/>
                  </a:lnTo>
                  <a:lnTo>
                    <a:pt x="2054" y="1367"/>
                  </a:lnTo>
                  <a:lnTo>
                    <a:pt x="2054" y="1367"/>
                  </a:lnTo>
                  <a:lnTo>
                    <a:pt x="2054" y="1367"/>
                  </a:lnTo>
                  <a:lnTo>
                    <a:pt x="2052" y="1367"/>
                  </a:lnTo>
                  <a:lnTo>
                    <a:pt x="2052" y="1369"/>
                  </a:lnTo>
                  <a:lnTo>
                    <a:pt x="2052" y="1369"/>
                  </a:lnTo>
                  <a:lnTo>
                    <a:pt x="2052" y="1369"/>
                  </a:lnTo>
                  <a:lnTo>
                    <a:pt x="2049" y="1374"/>
                  </a:lnTo>
                  <a:lnTo>
                    <a:pt x="2052" y="1374"/>
                  </a:lnTo>
                  <a:lnTo>
                    <a:pt x="2049" y="1374"/>
                  </a:lnTo>
                  <a:lnTo>
                    <a:pt x="2049" y="1376"/>
                  </a:lnTo>
                  <a:lnTo>
                    <a:pt x="2049" y="1376"/>
                  </a:lnTo>
                  <a:lnTo>
                    <a:pt x="2049" y="1374"/>
                  </a:lnTo>
                  <a:lnTo>
                    <a:pt x="2049" y="1374"/>
                  </a:lnTo>
                  <a:lnTo>
                    <a:pt x="2047" y="1374"/>
                  </a:lnTo>
                  <a:lnTo>
                    <a:pt x="2047" y="1374"/>
                  </a:lnTo>
                  <a:lnTo>
                    <a:pt x="2047" y="1376"/>
                  </a:lnTo>
                  <a:lnTo>
                    <a:pt x="2045" y="1376"/>
                  </a:lnTo>
                  <a:lnTo>
                    <a:pt x="2045" y="1376"/>
                  </a:lnTo>
                  <a:lnTo>
                    <a:pt x="2045" y="1376"/>
                  </a:lnTo>
                  <a:lnTo>
                    <a:pt x="2045" y="1374"/>
                  </a:lnTo>
                  <a:lnTo>
                    <a:pt x="2047" y="1374"/>
                  </a:lnTo>
                  <a:lnTo>
                    <a:pt x="2047" y="1374"/>
                  </a:lnTo>
                  <a:lnTo>
                    <a:pt x="2049" y="1374"/>
                  </a:lnTo>
                  <a:lnTo>
                    <a:pt x="2049" y="1372"/>
                  </a:lnTo>
                  <a:lnTo>
                    <a:pt x="2047" y="1367"/>
                  </a:lnTo>
                  <a:lnTo>
                    <a:pt x="2047" y="1365"/>
                  </a:lnTo>
                  <a:lnTo>
                    <a:pt x="2047" y="1367"/>
                  </a:lnTo>
                  <a:lnTo>
                    <a:pt x="2047" y="1367"/>
                  </a:lnTo>
                  <a:lnTo>
                    <a:pt x="2045" y="1367"/>
                  </a:lnTo>
                  <a:lnTo>
                    <a:pt x="2045" y="1367"/>
                  </a:lnTo>
                  <a:lnTo>
                    <a:pt x="2045" y="1367"/>
                  </a:lnTo>
                  <a:lnTo>
                    <a:pt x="2045" y="1367"/>
                  </a:lnTo>
                  <a:lnTo>
                    <a:pt x="2045" y="1367"/>
                  </a:lnTo>
                  <a:lnTo>
                    <a:pt x="2045" y="1367"/>
                  </a:lnTo>
                  <a:lnTo>
                    <a:pt x="2042" y="1369"/>
                  </a:lnTo>
                  <a:lnTo>
                    <a:pt x="2042" y="1369"/>
                  </a:lnTo>
                  <a:lnTo>
                    <a:pt x="2042" y="1369"/>
                  </a:lnTo>
                  <a:lnTo>
                    <a:pt x="2042" y="1367"/>
                  </a:lnTo>
                  <a:lnTo>
                    <a:pt x="2042" y="1367"/>
                  </a:lnTo>
                  <a:lnTo>
                    <a:pt x="2042" y="1367"/>
                  </a:lnTo>
                  <a:lnTo>
                    <a:pt x="2042" y="1367"/>
                  </a:lnTo>
                  <a:lnTo>
                    <a:pt x="2040" y="1367"/>
                  </a:lnTo>
                  <a:lnTo>
                    <a:pt x="2040" y="1367"/>
                  </a:lnTo>
                  <a:lnTo>
                    <a:pt x="2042" y="1367"/>
                  </a:lnTo>
                  <a:lnTo>
                    <a:pt x="2042" y="1365"/>
                  </a:lnTo>
                  <a:lnTo>
                    <a:pt x="2042" y="1365"/>
                  </a:lnTo>
                  <a:lnTo>
                    <a:pt x="2042" y="1365"/>
                  </a:lnTo>
                  <a:lnTo>
                    <a:pt x="2042" y="1365"/>
                  </a:lnTo>
                  <a:lnTo>
                    <a:pt x="2042" y="1365"/>
                  </a:lnTo>
                  <a:lnTo>
                    <a:pt x="2042" y="1365"/>
                  </a:lnTo>
                  <a:lnTo>
                    <a:pt x="2042" y="1365"/>
                  </a:lnTo>
                  <a:lnTo>
                    <a:pt x="2040" y="1365"/>
                  </a:lnTo>
                  <a:lnTo>
                    <a:pt x="2040" y="1365"/>
                  </a:lnTo>
                  <a:lnTo>
                    <a:pt x="2040" y="1365"/>
                  </a:lnTo>
                  <a:lnTo>
                    <a:pt x="2040" y="1365"/>
                  </a:lnTo>
                  <a:lnTo>
                    <a:pt x="2040" y="1362"/>
                  </a:lnTo>
                  <a:lnTo>
                    <a:pt x="2040" y="1362"/>
                  </a:lnTo>
                  <a:lnTo>
                    <a:pt x="2038" y="1360"/>
                  </a:lnTo>
                  <a:lnTo>
                    <a:pt x="2035" y="1360"/>
                  </a:lnTo>
                  <a:lnTo>
                    <a:pt x="2035" y="1360"/>
                  </a:lnTo>
                  <a:lnTo>
                    <a:pt x="2035" y="1362"/>
                  </a:lnTo>
                  <a:lnTo>
                    <a:pt x="2035" y="1362"/>
                  </a:lnTo>
                  <a:lnTo>
                    <a:pt x="2035" y="1362"/>
                  </a:lnTo>
                  <a:lnTo>
                    <a:pt x="2035" y="1362"/>
                  </a:lnTo>
                  <a:lnTo>
                    <a:pt x="2035" y="1362"/>
                  </a:lnTo>
                  <a:lnTo>
                    <a:pt x="2035" y="1362"/>
                  </a:lnTo>
                  <a:lnTo>
                    <a:pt x="2035" y="1362"/>
                  </a:lnTo>
                  <a:lnTo>
                    <a:pt x="2035" y="1362"/>
                  </a:lnTo>
                  <a:lnTo>
                    <a:pt x="2033" y="1362"/>
                  </a:lnTo>
                  <a:lnTo>
                    <a:pt x="2033" y="1362"/>
                  </a:lnTo>
                  <a:lnTo>
                    <a:pt x="2033" y="1362"/>
                  </a:lnTo>
                  <a:lnTo>
                    <a:pt x="2035" y="1360"/>
                  </a:lnTo>
                  <a:lnTo>
                    <a:pt x="2035" y="1360"/>
                  </a:lnTo>
                  <a:lnTo>
                    <a:pt x="2040" y="1360"/>
                  </a:lnTo>
                  <a:lnTo>
                    <a:pt x="2040" y="1357"/>
                  </a:lnTo>
                  <a:lnTo>
                    <a:pt x="2040" y="1357"/>
                  </a:lnTo>
                  <a:lnTo>
                    <a:pt x="2040" y="1357"/>
                  </a:lnTo>
                  <a:lnTo>
                    <a:pt x="2040" y="1355"/>
                  </a:lnTo>
                  <a:lnTo>
                    <a:pt x="2040" y="1355"/>
                  </a:lnTo>
                  <a:lnTo>
                    <a:pt x="2040" y="1355"/>
                  </a:lnTo>
                  <a:lnTo>
                    <a:pt x="2040" y="1355"/>
                  </a:lnTo>
                  <a:lnTo>
                    <a:pt x="2038" y="1355"/>
                  </a:lnTo>
                  <a:lnTo>
                    <a:pt x="2038" y="1355"/>
                  </a:lnTo>
                  <a:lnTo>
                    <a:pt x="2038" y="1353"/>
                  </a:lnTo>
                  <a:lnTo>
                    <a:pt x="2040" y="1353"/>
                  </a:lnTo>
                  <a:lnTo>
                    <a:pt x="2040" y="1353"/>
                  </a:lnTo>
                  <a:lnTo>
                    <a:pt x="2038" y="1353"/>
                  </a:lnTo>
                  <a:lnTo>
                    <a:pt x="2038" y="1353"/>
                  </a:lnTo>
                  <a:lnTo>
                    <a:pt x="2038" y="1353"/>
                  </a:lnTo>
                  <a:lnTo>
                    <a:pt x="2035" y="1353"/>
                  </a:lnTo>
                  <a:lnTo>
                    <a:pt x="2035" y="1353"/>
                  </a:lnTo>
                  <a:lnTo>
                    <a:pt x="2035" y="1353"/>
                  </a:lnTo>
                  <a:lnTo>
                    <a:pt x="2035" y="1353"/>
                  </a:lnTo>
                  <a:lnTo>
                    <a:pt x="2033" y="1353"/>
                  </a:lnTo>
                  <a:lnTo>
                    <a:pt x="2033" y="1353"/>
                  </a:lnTo>
                  <a:lnTo>
                    <a:pt x="2033" y="1355"/>
                  </a:lnTo>
                  <a:lnTo>
                    <a:pt x="2033" y="1355"/>
                  </a:lnTo>
                  <a:lnTo>
                    <a:pt x="2033" y="1355"/>
                  </a:lnTo>
                  <a:lnTo>
                    <a:pt x="2033" y="1355"/>
                  </a:lnTo>
                  <a:lnTo>
                    <a:pt x="2033" y="1355"/>
                  </a:lnTo>
                  <a:lnTo>
                    <a:pt x="2033" y="1355"/>
                  </a:lnTo>
                  <a:lnTo>
                    <a:pt x="2033" y="1355"/>
                  </a:lnTo>
                  <a:lnTo>
                    <a:pt x="2031" y="1355"/>
                  </a:lnTo>
                  <a:lnTo>
                    <a:pt x="2028" y="1353"/>
                  </a:lnTo>
                  <a:lnTo>
                    <a:pt x="2028" y="1353"/>
                  </a:lnTo>
                  <a:lnTo>
                    <a:pt x="2028" y="1353"/>
                  </a:lnTo>
                  <a:lnTo>
                    <a:pt x="2031" y="1353"/>
                  </a:lnTo>
                  <a:lnTo>
                    <a:pt x="2033" y="1353"/>
                  </a:lnTo>
                  <a:lnTo>
                    <a:pt x="2031" y="1350"/>
                  </a:lnTo>
                  <a:lnTo>
                    <a:pt x="2031" y="1350"/>
                  </a:lnTo>
                  <a:lnTo>
                    <a:pt x="2031" y="1350"/>
                  </a:lnTo>
                  <a:lnTo>
                    <a:pt x="2031" y="1350"/>
                  </a:lnTo>
                  <a:lnTo>
                    <a:pt x="2028" y="1350"/>
                  </a:lnTo>
                  <a:lnTo>
                    <a:pt x="2031" y="1350"/>
                  </a:lnTo>
                  <a:lnTo>
                    <a:pt x="2031" y="1350"/>
                  </a:lnTo>
                  <a:lnTo>
                    <a:pt x="2033" y="1350"/>
                  </a:lnTo>
                  <a:lnTo>
                    <a:pt x="2033" y="1348"/>
                  </a:lnTo>
                  <a:lnTo>
                    <a:pt x="2033" y="1348"/>
                  </a:lnTo>
                  <a:lnTo>
                    <a:pt x="2033" y="1348"/>
                  </a:lnTo>
                  <a:lnTo>
                    <a:pt x="2033" y="1348"/>
                  </a:lnTo>
                  <a:lnTo>
                    <a:pt x="2031" y="1348"/>
                  </a:lnTo>
                  <a:lnTo>
                    <a:pt x="2031" y="1348"/>
                  </a:lnTo>
                  <a:lnTo>
                    <a:pt x="2031" y="1348"/>
                  </a:lnTo>
                  <a:lnTo>
                    <a:pt x="2031" y="1348"/>
                  </a:lnTo>
                  <a:lnTo>
                    <a:pt x="2031" y="1346"/>
                  </a:lnTo>
                  <a:lnTo>
                    <a:pt x="2031" y="1346"/>
                  </a:lnTo>
                  <a:lnTo>
                    <a:pt x="2033" y="1346"/>
                  </a:lnTo>
                  <a:lnTo>
                    <a:pt x="2031" y="1343"/>
                  </a:lnTo>
                  <a:lnTo>
                    <a:pt x="2031" y="1343"/>
                  </a:lnTo>
                  <a:lnTo>
                    <a:pt x="2028" y="1341"/>
                  </a:lnTo>
                  <a:lnTo>
                    <a:pt x="2026" y="1341"/>
                  </a:lnTo>
                  <a:lnTo>
                    <a:pt x="2026" y="1341"/>
                  </a:lnTo>
                  <a:lnTo>
                    <a:pt x="2026" y="1341"/>
                  </a:lnTo>
                  <a:lnTo>
                    <a:pt x="2026" y="1343"/>
                  </a:lnTo>
                  <a:lnTo>
                    <a:pt x="2026" y="1343"/>
                  </a:lnTo>
                  <a:lnTo>
                    <a:pt x="2026" y="1343"/>
                  </a:lnTo>
                  <a:lnTo>
                    <a:pt x="2026" y="1343"/>
                  </a:lnTo>
                  <a:lnTo>
                    <a:pt x="2026" y="1346"/>
                  </a:lnTo>
                  <a:lnTo>
                    <a:pt x="2026" y="1343"/>
                  </a:lnTo>
                  <a:lnTo>
                    <a:pt x="2023" y="1343"/>
                  </a:lnTo>
                  <a:lnTo>
                    <a:pt x="2023" y="1343"/>
                  </a:lnTo>
                  <a:lnTo>
                    <a:pt x="2019" y="1348"/>
                  </a:lnTo>
                  <a:lnTo>
                    <a:pt x="2019" y="1348"/>
                  </a:lnTo>
                  <a:lnTo>
                    <a:pt x="2019" y="1348"/>
                  </a:lnTo>
                  <a:lnTo>
                    <a:pt x="2019" y="1350"/>
                  </a:lnTo>
                  <a:lnTo>
                    <a:pt x="2019" y="1350"/>
                  </a:lnTo>
                  <a:lnTo>
                    <a:pt x="2019" y="1350"/>
                  </a:lnTo>
                  <a:lnTo>
                    <a:pt x="2016" y="1350"/>
                  </a:lnTo>
                  <a:lnTo>
                    <a:pt x="2016" y="1350"/>
                  </a:lnTo>
                  <a:lnTo>
                    <a:pt x="2016" y="1353"/>
                  </a:lnTo>
                  <a:lnTo>
                    <a:pt x="2016" y="1353"/>
                  </a:lnTo>
                  <a:lnTo>
                    <a:pt x="2014" y="1355"/>
                  </a:lnTo>
                  <a:lnTo>
                    <a:pt x="2014" y="1357"/>
                  </a:lnTo>
                  <a:lnTo>
                    <a:pt x="2014" y="1357"/>
                  </a:lnTo>
                  <a:lnTo>
                    <a:pt x="2014" y="1357"/>
                  </a:lnTo>
                  <a:lnTo>
                    <a:pt x="2014" y="1357"/>
                  </a:lnTo>
                  <a:lnTo>
                    <a:pt x="2014" y="1357"/>
                  </a:lnTo>
                  <a:lnTo>
                    <a:pt x="2014" y="1357"/>
                  </a:lnTo>
                  <a:lnTo>
                    <a:pt x="2014" y="1355"/>
                  </a:lnTo>
                  <a:lnTo>
                    <a:pt x="2014" y="1353"/>
                  </a:lnTo>
                  <a:lnTo>
                    <a:pt x="2014" y="1353"/>
                  </a:lnTo>
                  <a:lnTo>
                    <a:pt x="2014" y="1353"/>
                  </a:lnTo>
                  <a:lnTo>
                    <a:pt x="2014" y="1353"/>
                  </a:lnTo>
                  <a:lnTo>
                    <a:pt x="2014" y="1353"/>
                  </a:lnTo>
                  <a:lnTo>
                    <a:pt x="2014" y="1353"/>
                  </a:lnTo>
                  <a:lnTo>
                    <a:pt x="2014" y="1353"/>
                  </a:lnTo>
                  <a:lnTo>
                    <a:pt x="2012" y="1353"/>
                  </a:lnTo>
                  <a:lnTo>
                    <a:pt x="2012" y="1353"/>
                  </a:lnTo>
                  <a:lnTo>
                    <a:pt x="2014" y="1350"/>
                  </a:lnTo>
                  <a:lnTo>
                    <a:pt x="2014" y="1350"/>
                  </a:lnTo>
                  <a:lnTo>
                    <a:pt x="2014" y="1350"/>
                  </a:lnTo>
                  <a:lnTo>
                    <a:pt x="2014" y="1350"/>
                  </a:lnTo>
                  <a:lnTo>
                    <a:pt x="2014" y="1350"/>
                  </a:lnTo>
                  <a:lnTo>
                    <a:pt x="2014" y="1350"/>
                  </a:lnTo>
                  <a:lnTo>
                    <a:pt x="2014" y="1350"/>
                  </a:lnTo>
                  <a:lnTo>
                    <a:pt x="2014" y="1350"/>
                  </a:lnTo>
                  <a:lnTo>
                    <a:pt x="2014" y="1350"/>
                  </a:lnTo>
                  <a:lnTo>
                    <a:pt x="2012" y="1348"/>
                  </a:lnTo>
                  <a:lnTo>
                    <a:pt x="2014" y="1348"/>
                  </a:lnTo>
                  <a:lnTo>
                    <a:pt x="2014" y="1350"/>
                  </a:lnTo>
                  <a:lnTo>
                    <a:pt x="2014" y="1350"/>
                  </a:lnTo>
                  <a:lnTo>
                    <a:pt x="2016" y="1348"/>
                  </a:lnTo>
                  <a:lnTo>
                    <a:pt x="2016" y="1348"/>
                  </a:lnTo>
                  <a:lnTo>
                    <a:pt x="2016" y="1348"/>
                  </a:lnTo>
                  <a:lnTo>
                    <a:pt x="2016" y="1348"/>
                  </a:lnTo>
                  <a:lnTo>
                    <a:pt x="2014" y="1348"/>
                  </a:lnTo>
                  <a:lnTo>
                    <a:pt x="2014" y="1346"/>
                  </a:lnTo>
                  <a:lnTo>
                    <a:pt x="2014" y="1346"/>
                  </a:lnTo>
                  <a:lnTo>
                    <a:pt x="2014" y="1346"/>
                  </a:lnTo>
                  <a:lnTo>
                    <a:pt x="2014" y="1346"/>
                  </a:lnTo>
                  <a:lnTo>
                    <a:pt x="2014" y="1343"/>
                  </a:lnTo>
                  <a:lnTo>
                    <a:pt x="2014" y="1343"/>
                  </a:lnTo>
                  <a:lnTo>
                    <a:pt x="2014" y="1343"/>
                  </a:lnTo>
                  <a:lnTo>
                    <a:pt x="2014" y="1343"/>
                  </a:lnTo>
                  <a:lnTo>
                    <a:pt x="2014" y="1346"/>
                  </a:lnTo>
                  <a:lnTo>
                    <a:pt x="2012" y="1346"/>
                  </a:lnTo>
                  <a:lnTo>
                    <a:pt x="2012" y="1346"/>
                  </a:lnTo>
                  <a:lnTo>
                    <a:pt x="2012" y="1343"/>
                  </a:lnTo>
                  <a:lnTo>
                    <a:pt x="2012" y="1343"/>
                  </a:lnTo>
                  <a:lnTo>
                    <a:pt x="2012" y="1343"/>
                  </a:lnTo>
                  <a:lnTo>
                    <a:pt x="2012" y="1341"/>
                  </a:lnTo>
                  <a:lnTo>
                    <a:pt x="2014" y="1341"/>
                  </a:lnTo>
                  <a:lnTo>
                    <a:pt x="2014" y="1339"/>
                  </a:lnTo>
                  <a:lnTo>
                    <a:pt x="2014" y="1339"/>
                  </a:lnTo>
                  <a:lnTo>
                    <a:pt x="2014" y="1339"/>
                  </a:lnTo>
                  <a:lnTo>
                    <a:pt x="2014" y="1336"/>
                  </a:lnTo>
                  <a:lnTo>
                    <a:pt x="2014" y="1336"/>
                  </a:lnTo>
                  <a:lnTo>
                    <a:pt x="2014" y="1336"/>
                  </a:lnTo>
                  <a:lnTo>
                    <a:pt x="2012" y="1336"/>
                  </a:lnTo>
                  <a:lnTo>
                    <a:pt x="2012" y="1336"/>
                  </a:lnTo>
                  <a:lnTo>
                    <a:pt x="2012" y="1339"/>
                  </a:lnTo>
                  <a:lnTo>
                    <a:pt x="2012" y="1339"/>
                  </a:lnTo>
                  <a:lnTo>
                    <a:pt x="2009" y="1339"/>
                  </a:lnTo>
                  <a:lnTo>
                    <a:pt x="2009" y="1339"/>
                  </a:lnTo>
                  <a:lnTo>
                    <a:pt x="2009" y="1341"/>
                  </a:lnTo>
                  <a:lnTo>
                    <a:pt x="2009" y="1341"/>
                  </a:lnTo>
                  <a:lnTo>
                    <a:pt x="2007" y="1341"/>
                  </a:lnTo>
                  <a:lnTo>
                    <a:pt x="2007" y="1341"/>
                  </a:lnTo>
                  <a:lnTo>
                    <a:pt x="2004" y="1341"/>
                  </a:lnTo>
                  <a:lnTo>
                    <a:pt x="2004" y="1341"/>
                  </a:lnTo>
                  <a:lnTo>
                    <a:pt x="2004" y="1339"/>
                  </a:lnTo>
                  <a:lnTo>
                    <a:pt x="2007" y="1339"/>
                  </a:lnTo>
                  <a:lnTo>
                    <a:pt x="2007" y="1339"/>
                  </a:lnTo>
                  <a:lnTo>
                    <a:pt x="2007" y="1339"/>
                  </a:lnTo>
                  <a:lnTo>
                    <a:pt x="2007" y="1339"/>
                  </a:lnTo>
                  <a:lnTo>
                    <a:pt x="2004" y="1339"/>
                  </a:lnTo>
                  <a:lnTo>
                    <a:pt x="2004" y="1336"/>
                  </a:lnTo>
                  <a:lnTo>
                    <a:pt x="2004" y="1336"/>
                  </a:lnTo>
                  <a:lnTo>
                    <a:pt x="2004" y="1336"/>
                  </a:lnTo>
                  <a:lnTo>
                    <a:pt x="2004" y="1336"/>
                  </a:lnTo>
                  <a:lnTo>
                    <a:pt x="2004" y="1334"/>
                  </a:lnTo>
                  <a:lnTo>
                    <a:pt x="2004" y="1334"/>
                  </a:lnTo>
                  <a:lnTo>
                    <a:pt x="2004" y="1334"/>
                  </a:lnTo>
                  <a:lnTo>
                    <a:pt x="2004" y="1331"/>
                  </a:lnTo>
                  <a:lnTo>
                    <a:pt x="2002" y="1331"/>
                  </a:lnTo>
                  <a:lnTo>
                    <a:pt x="2002" y="1331"/>
                  </a:lnTo>
                  <a:lnTo>
                    <a:pt x="2002" y="1334"/>
                  </a:lnTo>
                  <a:lnTo>
                    <a:pt x="2002" y="1334"/>
                  </a:lnTo>
                  <a:lnTo>
                    <a:pt x="2002" y="1334"/>
                  </a:lnTo>
                  <a:lnTo>
                    <a:pt x="2002" y="1334"/>
                  </a:lnTo>
                  <a:lnTo>
                    <a:pt x="2002" y="1334"/>
                  </a:lnTo>
                  <a:lnTo>
                    <a:pt x="2002" y="1334"/>
                  </a:lnTo>
                  <a:lnTo>
                    <a:pt x="2000" y="1334"/>
                  </a:lnTo>
                  <a:lnTo>
                    <a:pt x="2000" y="1334"/>
                  </a:lnTo>
                  <a:lnTo>
                    <a:pt x="1997" y="1334"/>
                  </a:lnTo>
                  <a:lnTo>
                    <a:pt x="1997" y="1331"/>
                  </a:lnTo>
                  <a:lnTo>
                    <a:pt x="1997" y="1331"/>
                  </a:lnTo>
                  <a:lnTo>
                    <a:pt x="2000" y="1331"/>
                  </a:lnTo>
                  <a:lnTo>
                    <a:pt x="2000" y="1331"/>
                  </a:lnTo>
                  <a:lnTo>
                    <a:pt x="2000" y="1331"/>
                  </a:lnTo>
                  <a:lnTo>
                    <a:pt x="2002" y="1331"/>
                  </a:lnTo>
                  <a:lnTo>
                    <a:pt x="2002" y="1331"/>
                  </a:lnTo>
                  <a:lnTo>
                    <a:pt x="2000" y="1331"/>
                  </a:lnTo>
                  <a:lnTo>
                    <a:pt x="2000" y="1329"/>
                  </a:lnTo>
                  <a:lnTo>
                    <a:pt x="1997" y="1329"/>
                  </a:lnTo>
                  <a:lnTo>
                    <a:pt x="1997" y="1327"/>
                  </a:lnTo>
                  <a:lnTo>
                    <a:pt x="1995" y="1327"/>
                  </a:lnTo>
                  <a:lnTo>
                    <a:pt x="1995" y="1327"/>
                  </a:lnTo>
                  <a:lnTo>
                    <a:pt x="1997" y="1327"/>
                  </a:lnTo>
                  <a:lnTo>
                    <a:pt x="1997" y="1327"/>
                  </a:lnTo>
                  <a:lnTo>
                    <a:pt x="1997" y="1327"/>
                  </a:lnTo>
                  <a:lnTo>
                    <a:pt x="1997" y="1327"/>
                  </a:lnTo>
                  <a:lnTo>
                    <a:pt x="2002" y="1329"/>
                  </a:lnTo>
                  <a:lnTo>
                    <a:pt x="2002" y="1329"/>
                  </a:lnTo>
                  <a:lnTo>
                    <a:pt x="2004" y="1329"/>
                  </a:lnTo>
                  <a:lnTo>
                    <a:pt x="2002" y="1329"/>
                  </a:lnTo>
                  <a:lnTo>
                    <a:pt x="2002" y="1329"/>
                  </a:lnTo>
                  <a:lnTo>
                    <a:pt x="2000" y="1327"/>
                  </a:lnTo>
                  <a:lnTo>
                    <a:pt x="2000" y="1327"/>
                  </a:lnTo>
                  <a:lnTo>
                    <a:pt x="2002" y="1327"/>
                  </a:lnTo>
                  <a:lnTo>
                    <a:pt x="2002" y="1327"/>
                  </a:lnTo>
                  <a:lnTo>
                    <a:pt x="2002" y="1327"/>
                  </a:lnTo>
                  <a:lnTo>
                    <a:pt x="2002" y="1327"/>
                  </a:lnTo>
                  <a:lnTo>
                    <a:pt x="2002" y="1327"/>
                  </a:lnTo>
                  <a:lnTo>
                    <a:pt x="2004" y="1329"/>
                  </a:lnTo>
                  <a:lnTo>
                    <a:pt x="2004" y="1329"/>
                  </a:lnTo>
                  <a:lnTo>
                    <a:pt x="2004" y="1327"/>
                  </a:lnTo>
                  <a:lnTo>
                    <a:pt x="2004" y="1327"/>
                  </a:lnTo>
                  <a:lnTo>
                    <a:pt x="2004" y="1327"/>
                  </a:lnTo>
                  <a:lnTo>
                    <a:pt x="2002" y="1324"/>
                  </a:lnTo>
                  <a:lnTo>
                    <a:pt x="2002" y="1322"/>
                  </a:lnTo>
                  <a:lnTo>
                    <a:pt x="2002" y="1322"/>
                  </a:lnTo>
                  <a:lnTo>
                    <a:pt x="2004" y="1322"/>
                  </a:lnTo>
                  <a:lnTo>
                    <a:pt x="2002" y="1322"/>
                  </a:lnTo>
                  <a:lnTo>
                    <a:pt x="2002" y="1322"/>
                  </a:lnTo>
                  <a:lnTo>
                    <a:pt x="2002" y="1322"/>
                  </a:lnTo>
                  <a:lnTo>
                    <a:pt x="2002" y="1322"/>
                  </a:lnTo>
                  <a:lnTo>
                    <a:pt x="2000" y="1322"/>
                  </a:lnTo>
                  <a:lnTo>
                    <a:pt x="2000" y="1320"/>
                  </a:lnTo>
                  <a:lnTo>
                    <a:pt x="1997" y="1320"/>
                  </a:lnTo>
                  <a:lnTo>
                    <a:pt x="1997" y="1320"/>
                  </a:lnTo>
                  <a:lnTo>
                    <a:pt x="1997" y="1322"/>
                  </a:lnTo>
                  <a:lnTo>
                    <a:pt x="1997" y="1322"/>
                  </a:lnTo>
                  <a:lnTo>
                    <a:pt x="1997" y="1322"/>
                  </a:lnTo>
                  <a:lnTo>
                    <a:pt x="1997" y="1322"/>
                  </a:lnTo>
                  <a:lnTo>
                    <a:pt x="1997" y="1322"/>
                  </a:lnTo>
                  <a:lnTo>
                    <a:pt x="1997" y="1322"/>
                  </a:lnTo>
                  <a:lnTo>
                    <a:pt x="1997" y="1322"/>
                  </a:lnTo>
                  <a:lnTo>
                    <a:pt x="2000" y="1322"/>
                  </a:lnTo>
                  <a:lnTo>
                    <a:pt x="2000" y="1324"/>
                  </a:lnTo>
                  <a:lnTo>
                    <a:pt x="2000" y="1324"/>
                  </a:lnTo>
                  <a:lnTo>
                    <a:pt x="1997" y="1324"/>
                  </a:lnTo>
                  <a:lnTo>
                    <a:pt x="1995" y="1322"/>
                  </a:lnTo>
                  <a:lnTo>
                    <a:pt x="1993" y="1322"/>
                  </a:lnTo>
                  <a:lnTo>
                    <a:pt x="1993" y="1320"/>
                  </a:lnTo>
                  <a:lnTo>
                    <a:pt x="1993" y="1320"/>
                  </a:lnTo>
                  <a:lnTo>
                    <a:pt x="1990" y="1320"/>
                  </a:lnTo>
                  <a:lnTo>
                    <a:pt x="1990" y="1317"/>
                  </a:lnTo>
                  <a:lnTo>
                    <a:pt x="1990" y="1317"/>
                  </a:lnTo>
                  <a:lnTo>
                    <a:pt x="1990" y="1317"/>
                  </a:lnTo>
                  <a:lnTo>
                    <a:pt x="1988" y="1320"/>
                  </a:lnTo>
                  <a:lnTo>
                    <a:pt x="1988" y="1320"/>
                  </a:lnTo>
                  <a:lnTo>
                    <a:pt x="1988" y="1320"/>
                  </a:lnTo>
                  <a:lnTo>
                    <a:pt x="1988" y="1320"/>
                  </a:lnTo>
                  <a:lnTo>
                    <a:pt x="1988" y="1320"/>
                  </a:lnTo>
                  <a:lnTo>
                    <a:pt x="1988" y="1320"/>
                  </a:lnTo>
                  <a:lnTo>
                    <a:pt x="1988" y="1320"/>
                  </a:lnTo>
                  <a:lnTo>
                    <a:pt x="1986" y="1320"/>
                  </a:lnTo>
                  <a:lnTo>
                    <a:pt x="1986" y="1320"/>
                  </a:lnTo>
                  <a:lnTo>
                    <a:pt x="1986" y="1320"/>
                  </a:lnTo>
                  <a:lnTo>
                    <a:pt x="1986" y="1320"/>
                  </a:lnTo>
                  <a:lnTo>
                    <a:pt x="1986" y="1322"/>
                  </a:lnTo>
                  <a:lnTo>
                    <a:pt x="1986" y="1322"/>
                  </a:lnTo>
                  <a:lnTo>
                    <a:pt x="1983" y="1322"/>
                  </a:lnTo>
                  <a:lnTo>
                    <a:pt x="1981" y="1322"/>
                  </a:lnTo>
                  <a:lnTo>
                    <a:pt x="1981" y="1320"/>
                  </a:lnTo>
                  <a:lnTo>
                    <a:pt x="1988" y="1317"/>
                  </a:lnTo>
                  <a:lnTo>
                    <a:pt x="1988" y="1317"/>
                  </a:lnTo>
                  <a:lnTo>
                    <a:pt x="1990" y="1317"/>
                  </a:lnTo>
                  <a:lnTo>
                    <a:pt x="1990" y="1317"/>
                  </a:lnTo>
                  <a:lnTo>
                    <a:pt x="1990" y="1315"/>
                  </a:lnTo>
                  <a:lnTo>
                    <a:pt x="1990" y="1315"/>
                  </a:lnTo>
                  <a:lnTo>
                    <a:pt x="1990" y="1315"/>
                  </a:lnTo>
                  <a:lnTo>
                    <a:pt x="1988" y="1315"/>
                  </a:lnTo>
                  <a:lnTo>
                    <a:pt x="1988" y="1313"/>
                  </a:lnTo>
                  <a:lnTo>
                    <a:pt x="1988" y="1313"/>
                  </a:lnTo>
                  <a:lnTo>
                    <a:pt x="1988" y="1313"/>
                  </a:lnTo>
                  <a:lnTo>
                    <a:pt x="1988" y="1313"/>
                  </a:lnTo>
                  <a:lnTo>
                    <a:pt x="1988" y="1313"/>
                  </a:lnTo>
                  <a:lnTo>
                    <a:pt x="1988" y="1313"/>
                  </a:lnTo>
                  <a:lnTo>
                    <a:pt x="1990" y="1313"/>
                  </a:lnTo>
                  <a:lnTo>
                    <a:pt x="1990" y="1315"/>
                  </a:lnTo>
                  <a:lnTo>
                    <a:pt x="1990" y="1317"/>
                  </a:lnTo>
                  <a:lnTo>
                    <a:pt x="1993" y="1317"/>
                  </a:lnTo>
                  <a:lnTo>
                    <a:pt x="1993" y="1317"/>
                  </a:lnTo>
                  <a:lnTo>
                    <a:pt x="1993" y="1317"/>
                  </a:lnTo>
                  <a:lnTo>
                    <a:pt x="1993" y="1317"/>
                  </a:lnTo>
                  <a:lnTo>
                    <a:pt x="1995" y="1317"/>
                  </a:lnTo>
                  <a:lnTo>
                    <a:pt x="1993" y="1317"/>
                  </a:lnTo>
                  <a:lnTo>
                    <a:pt x="1993" y="1315"/>
                  </a:lnTo>
                  <a:lnTo>
                    <a:pt x="1993" y="1315"/>
                  </a:lnTo>
                  <a:lnTo>
                    <a:pt x="1995" y="1315"/>
                  </a:lnTo>
                  <a:lnTo>
                    <a:pt x="1995" y="1315"/>
                  </a:lnTo>
                  <a:lnTo>
                    <a:pt x="1995" y="1317"/>
                  </a:lnTo>
                  <a:lnTo>
                    <a:pt x="1997" y="1317"/>
                  </a:lnTo>
                  <a:lnTo>
                    <a:pt x="1997" y="1320"/>
                  </a:lnTo>
                  <a:lnTo>
                    <a:pt x="1997" y="1320"/>
                  </a:lnTo>
                  <a:lnTo>
                    <a:pt x="2000" y="1320"/>
                  </a:lnTo>
                  <a:lnTo>
                    <a:pt x="2002" y="1320"/>
                  </a:lnTo>
                  <a:lnTo>
                    <a:pt x="2004" y="1320"/>
                  </a:lnTo>
                  <a:lnTo>
                    <a:pt x="2004" y="1322"/>
                  </a:lnTo>
                  <a:lnTo>
                    <a:pt x="2004" y="1322"/>
                  </a:lnTo>
                  <a:lnTo>
                    <a:pt x="2004" y="1322"/>
                  </a:lnTo>
                  <a:lnTo>
                    <a:pt x="2004" y="1322"/>
                  </a:lnTo>
                  <a:lnTo>
                    <a:pt x="2004" y="1322"/>
                  </a:lnTo>
                  <a:lnTo>
                    <a:pt x="2004" y="1322"/>
                  </a:lnTo>
                  <a:lnTo>
                    <a:pt x="2004" y="1324"/>
                  </a:lnTo>
                  <a:lnTo>
                    <a:pt x="2004" y="1324"/>
                  </a:lnTo>
                  <a:lnTo>
                    <a:pt x="2004" y="1324"/>
                  </a:lnTo>
                  <a:lnTo>
                    <a:pt x="2004" y="1324"/>
                  </a:lnTo>
                  <a:lnTo>
                    <a:pt x="2004" y="1324"/>
                  </a:lnTo>
                  <a:lnTo>
                    <a:pt x="2004" y="1327"/>
                  </a:lnTo>
                  <a:lnTo>
                    <a:pt x="2004" y="1327"/>
                  </a:lnTo>
                  <a:lnTo>
                    <a:pt x="2004" y="1327"/>
                  </a:lnTo>
                  <a:lnTo>
                    <a:pt x="2007" y="1327"/>
                  </a:lnTo>
                  <a:lnTo>
                    <a:pt x="2007" y="1329"/>
                  </a:lnTo>
                  <a:lnTo>
                    <a:pt x="2007" y="1329"/>
                  </a:lnTo>
                  <a:lnTo>
                    <a:pt x="2007" y="1329"/>
                  </a:lnTo>
                  <a:lnTo>
                    <a:pt x="2007" y="1329"/>
                  </a:lnTo>
                  <a:lnTo>
                    <a:pt x="2009" y="1331"/>
                  </a:lnTo>
                  <a:lnTo>
                    <a:pt x="2009" y="1331"/>
                  </a:lnTo>
                  <a:lnTo>
                    <a:pt x="2009" y="1331"/>
                  </a:lnTo>
                  <a:lnTo>
                    <a:pt x="2012" y="1334"/>
                  </a:lnTo>
                  <a:lnTo>
                    <a:pt x="2014" y="1331"/>
                  </a:lnTo>
                  <a:lnTo>
                    <a:pt x="2014" y="1331"/>
                  </a:lnTo>
                  <a:lnTo>
                    <a:pt x="2014" y="1331"/>
                  </a:lnTo>
                  <a:lnTo>
                    <a:pt x="2014" y="1331"/>
                  </a:lnTo>
                  <a:lnTo>
                    <a:pt x="2014" y="1329"/>
                  </a:lnTo>
                  <a:lnTo>
                    <a:pt x="2014" y="1329"/>
                  </a:lnTo>
                  <a:lnTo>
                    <a:pt x="2014" y="1329"/>
                  </a:lnTo>
                  <a:lnTo>
                    <a:pt x="2012" y="1327"/>
                  </a:lnTo>
                  <a:lnTo>
                    <a:pt x="2012" y="1327"/>
                  </a:lnTo>
                  <a:lnTo>
                    <a:pt x="2014" y="1327"/>
                  </a:lnTo>
                  <a:lnTo>
                    <a:pt x="2014" y="1329"/>
                  </a:lnTo>
                  <a:lnTo>
                    <a:pt x="2014" y="1329"/>
                  </a:lnTo>
                  <a:lnTo>
                    <a:pt x="2016" y="1329"/>
                  </a:lnTo>
                  <a:lnTo>
                    <a:pt x="2016" y="1329"/>
                  </a:lnTo>
                  <a:lnTo>
                    <a:pt x="2016" y="1329"/>
                  </a:lnTo>
                  <a:lnTo>
                    <a:pt x="2016" y="1329"/>
                  </a:lnTo>
                  <a:lnTo>
                    <a:pt x="2016" y="1329"/>
                  </a:lnTo>
                  <a:lnTo>
                    <a:pt x="2016" y="1329"/>
                  </a:lnTo>
                  <a:lnTo>
                    <a:pt x="2019" y="1329"/>
                  </a:lnTo>
                  <a:lnTo>
                    <a:pt x="2019" y="1329"/>
                  </a:lnTo>
                  <a:lnTo>
                    <a:pt x="2021" y="1329"/>
                  </a:lnTo>
                  <a:lnTo>
                    <a:pt x="2021" y="1329"/>
                  </a:lnTo>
                  <a:lnTo>
                    <a:pt x="2021" y="1327"/>
                  </a:lnTo>
                  <a:lnTo>
                    <a:pt x="2021" y="1327"/>
                  </a:lnTo>
                  <a:lnTo>
                    <a:pt x="2021" y="1327"/>
                  </a:lnTo>
                  <a:lnTo>
                    <a:pt x="2021" y="1327"/>
                  </a:lnTo>
                  <a:lnTo>
                    <a:pt x="2021" y="1324"/>
                  </a:lnTo>
                  <a:lnTo>
                    <a:pt x="2021" y="1324"/>
                  </a:lnTo>
                  <a:lnTo>
                    <a:pt x="2021" y="1327"/>
                  </a:lnTo>
                  <a:lnTo>
                    <a:pt x="2021" y="1327"/>
                  </a:lnTo>
                  <a:lnTo>
                    <a:pt x="2021" y="1327"/>
                  </a:lnTo>
                  <a:lnTo>
                    <a:pt x="2021" y="1327"/>
                  </a:lnTo>
                  <a:lnTo>
                    <a:pt x="2023" y="1327"/>
                  </a:lnTo>
                  <a:lnTo>
                    <a:pt x="2023" y="1327"/>
                  </a:lnTo>
                  <a:lnTo>
                    <a:pt x="2023" y="1327"/>
                  </a:lnTo>
                  <a:lnTo>
                    <a:pt x="2023" y="1327"/>
                  </a:lnTo>
                  <a:lnTo>
                    <a:pt x="2023" y="1327"/>
                  </a:lnTo>
                  <a:lnTo>
                    <a:pt x="2023" y="1327"/>
                  </a:lnTo>
                  <a:lnTo>
                    <a:pt x="2026" y="1324"/>
                  </a:lnTo>
                  <a:lnTo>
                    <a:pt x="2028" y="1327"/>
                  </a:lnTo>
                  <a:lnTo>
                    <a:pt x="2028" y="1327"/>
                  </a:lnTo>
                  <a:lnTo>
                    <a:pt x="2028" y="1324"/>
                  </a:lnTo>
                  <a:lnTo>
                    <a:pt x="2028" y="1324"/>
                  </a:lnTo>
                  <a:lnTo>
                    <a:pt x="2026" y="1324"/>
                  </a:lnTo>
                  <a:lnTo>
                    <a:pt x="2026" y="1324"/>
                  </a:lnTo>
                  <a:lnTo>
                    <a:pt x="2026" y="1324"/>
                  </a:lnTo>
                  <a:lnTo>
                    <a:pt x="2026" y="1322"/>
                  </a:lnTo>
                  <a:lnTo>
                    <a:pt x="2026" y="1322"/>
                  </a:lnTo>
                  <a:lnTo>
                    <a:pt x="2023" y="1322"/>
                  </a:lnTo>
                  <a:lnTo>
                    <a:pt x="2023" y="1322"/>
                  </a:lnTo>
                  <a:lnTo>
                    <a:pt x="2023" y="1322"/>
                  </a:lnTo>
                  <a:lnTo>
                    <a:pt x="2023" y="1322"/>
                  </a:lnTo>
                  <a:lnTo>
                    <a:pt x="2023" y="1322"/>
                  </a:lnTo>
                  <a:lnTo>
                    <a:pt x="2026" y="1320"/>
                  </a:lnTo>
                  <a:lnTo>
                    <a:pt x="2026" y="1317"/>
                  </a:lnTo>
                  <a:lnTo>
                    <a:pt x="2026" y="1317"/>
                  </a:lnTo>
                  <a:lnTo>
                    <a:pt x="2023" y="1317"/>
                  </a:lnTo>
                  <a:lnTo>
                    <a:pt x="2023" y="1317"/>
                  </a:lnTo>
                  <a:lnTo>
                    <a:pt x="2023" y="1317"/>
                  </a:lnTo>
                  <a:lnTo>
                    <a:pt x="2023" y="1317"/>
                  </a:lnTo>
                  <a:lnTo>
                    <a:pt x="2023" y="1317"/>
                  </a:lnTo>
                  <a:lnTo>
                    <a:pt x="2023" y="1317"/>
                  </a:lnTo>
                  <a:lnTo>
                    <a:pt x="2021" y="1315"/>
                  </a:lnTo>
                  <a:lnTo>
                    <a:pt x="2021" y="1315"/>
                  </a:lnTo>
                  <a:lnTo>
                    <a:pt x="2021" y="1315"/>
                  </a:lnTo>
                  <a:lnTo>
                    <a:pt x="2016" y="1315"/>
                  </a:lnTo>
                  <a:lnTo>
                    <a:pt x="2016" y="1313"/>
                  </a:lnTo>
                  <a:lnTo>
                    <a:pt x="2016" y="1313"/>
                  </a:lnTo>
                  <a:lnTo>
                    <a:pt x="2016" y="1313"/>
                  </a:lnTo>
                  <a:lnTo>
                    <a:pt x="2016" y="1313"/>
                  </a:lnTo>
                  <a:lnTo>
                    <a:pt x="2016" y="1313"/>
                  </a:lnTo>
                  <a:lnTo>
                    <a:pt x="2016" y="1313"/>
                  </a:lnTo>
                  <a:lnTo>
                    <a:pt x="2016" y="1313"/>
                  </a:lnTo>
                  <a:lnTo>
                    <a:pt x="2014" y="1313"/>
                  </a:lnTo>
                  <a:lnTo>
                    <a:pt x="2012" y="1310"/>
                  </a:lnTo>
                  <a:lnTo>
                    <a:pt x="2009" y="1310"/>
                  </a:lnTo>
                  <a:lnTo>
                    <a:pt x="2009" y="1310"/>
                  </a:lnTo>
                  <a:lnTo>
                    <a:pt x="2009" y="1310"/>
                  </a:lnTo>
                  <a:lnTo>
                    <a:pt x="2009" y="1310"/>
                  </a:lnTo>
                  <a:lnTo>
                    <a:pt x="2007" y="1310"/>
                  </a:lnTo>
                  <a:lnTo>
                    <a:pt x="2007" y="1310"/>
                  </a:lnTo>
                  <a:lnTo>
                    <a:pt x="2007" y="1308"/>
                  </a:lnTo>
                  <a:lnTo>
                    <a:pt x="2007" y="1308"/>
                  </a:lnTo>
                  <a:lnTo>
                    <a:pt x="2007" y="1305"/>
                  </a:lnTo>
                  <a:lnTo>
                    <a:pt x="2007" y="1305"/>
                  </a:lnTo>
                  <a:lnTo>
                    <a:pt x="2007" y="1305"/>
                  </a:lnTo>
                  <a:lnTo>
                    <a:pt x="2007" y="1305"/>
                  </a:lnTo>
                  <a:lnTo>
                    <a:pt x="2007" y="1305"/>
                  </a:lnTo>
                  <a:lnTo>
                    <a:pt x="2004" y="1303"/>
                  </a:lnTo>
                  <a:lnTo>
                    <a:pt x="2004" y="1303"/>
                  </a:lnTo>
                  <a:lnTo>
                    <a:pt x="2004" y="1303"/>
                  </a:lnTo>
                  <a:lnTo>
                    <a:pt x="2004" y="1303"/>
                  </a:lnTo>
                  <a:lnTo>
                    <a:pt x="2004" y="1301"/>
                  </a:lnTo>
                  <a:lnTo>
                    <a:pt x="2004" y="1301"/>
                  </a:lnTo>
                  <a:lnTo>
                    <a:pt x="2002" y="1301"/>
                  </a:lnTo>
                  <a:lnTo>
                    <a:pt x="2002" y="1301"/>
                  </a:lnTo>
                  <a:lnTo>
                    <a:pt x="2002" y="1301"/>
                  </a:lnTo>
                  <a:lnTo>
                    <a:pt x="2002" y="1298"/>
                  </a:lnTo>
                  <a:lnTo>
                    <a:pt x="2002" y="1298"/>
                  </a:lnTo>
                  <a:lnTo>
                    <a:pt x="2000" y="1298"/>
                  </a:lnTo>
                  <a:lnTo>
                    <a:pt x="2000" y="1298"/>
                  </a:lnTo>
                  <a:lnTo>
                    <a:pt x="2000" y="1296"/>
                  </a:lnTo>
                  <a:lnTo>
                    <a:pt x="2000" y="1296"/>
                  </a:lnTo>
                  <a:lnTo>
                    <a:pt x="1997" y="1296"/>
                  </a:lnTo>
                  <a:lnTo>
                    <a:pt x="1997" y="1296"/>
                  </a:lnTo>
                  <a:lnTo>
                    <a:pt x="1997" y="1296"/>
                  </a:lnTo>
                  <a:lnTo>
                    <a:pt x="1997" y="1296"/>
                  </a:lnTo>
                  <a:lnTo>
                    <a:pt x="1997" y="1296"/>
                  </a:lnTo>
                  <a:lnTo>
                    <a:pt x="1997" y="1296"/>
                  </a:lnTo>
                  <a:lnTo>
                    <a:pt x="1997" y="1294"/>
                  </a:lnTo>
                  <a:lnTo>
                    <a:pt x="1997" y="1294"/>
                  </a:lnTo>
                  <a:lnTo>
                    <a:pt x="1997" y="1294"/>
                  </a:lnTo>
                  <a:lnTo>
                    <a:pt x="2000" y="1296"/>
                  </a:lnTo>
                  <a:lnTo>
                    <a:pt x="2000" y="1296"/>
                  </a:lnTo>
                  <a:lnTo>
                    <a:pt x="2000" y="1296"/>
                  </a:lnTo>
                  <a:lnTo>
                    <a:pt x="2000" y="1294"/>
                  </a:lnTo>
                  <a:lnTo>
                    <a:pt x="2000" y="1294"/>
                  </a:lnTo>
                  <a:lnTo>
                    <a:pt x="2000" y="1294"/>
                  </a:lnTo>
                  <a:lnTo>
                    <a:pt x="2000" y="1294"/>
                  </a:lnTo>
                  <a:lnTo>
                    <a:pt x="2000" y="1296"/>
                  </a:lnTo>
                  <a:lnTo>
                    <a:pt x="2002" y="1296"/>
                  </a:lnTo>
                  <a:lnTo>
                    <a:pt x="2002" y="1296"/>
                  </a:lnTo>
                  <a:lnTo>
                    <a:pt x="2004" y="1298"/>
                  </a:lnTo>
                  <a:lnTo>
                    <a:pt x="2007" y="1296"/>
                  </a:lnTo>
                  <a:lnTo>
                    <a:pt x="2007" y="1296"/>
                  </a:lnTo>
                  <a:lnTo>
                    <a:pt x="2007" y="1296"/>
                  </a:lnTo>
                  <a:lnTo>
                    <a:pt x="2007" y="1298"/>
                  </a:lnTo>
                  <a:lnTo>
                    <a:pt x="2007" y="1298"/>
                  </a:lnTo>
                  <a:lnTo>
                    <a:pt x="2007" y="1298"/>
                  </a:lnTo>
                  <a:lnTo>
                    <a:pt x="2009" y="1298"/>
                  </a:lnTo>
                  <a:lnTo>
                    <a:pt x="2009" y="1298"/>
                  </a:lnTo>
                  <a:lnTo>
                    <a:pt x="2009" y="1298"/>
                  </a:lnTo>
                  <a:lnTo>
                    <a:pt x="2009" y="1298"/>
                  </a:lnTo>
                  <a:lnTo>
                    <a:pt x="2012" y="1298"/>
                  </a:lnTo>
                  <a:lnTo>
                    <a:pt x="2012" y="1298"/>
                  </a:lnTo>
                  <a:lnTo>
                    <a:pt x="2012" y="1301"/>
                  </a:lnTo>
                  <a:lnTo>
                    <a:pt x="2012" y="1301"/>
                  </a:lnTo>
                  <a:lnTo>
                    <a:pt x="2012" y="1301"/>
                  </a:lnTo>
                  <a:lnTo>
                    <a:pt x="2012" y="1301"/>
                  </a:lnTo>
                  <a:lnTo>
                    <a:pt x="2014" y="1301"/>
                  </a:lnTo>
                  <a:lnTo>
                    <a:pt x="2014" y="1301"/>
                  </a:lnTo>
                  <a:lnTo>
                    <a:pt x="2014" y="1301"/>
                  </a:lnTo>
                  <a:lnTo>
                    <a:pt x="2014" y="1301"/>
                  </a:lnTo>
                  <a:lnTo>
                    <a:pt x="2014" y="1303"/>
                  </a:lnTo>
                  <a:lnTo>
                    <a:pt x="2014" y="1303"/>
                  </a:lnTo>
                  <a:lnTo>
                    <a:pt x="2014" y="1303"/>
                  </a:lnTo>
                  <a:lnTo>
                    <a:pt x="2016" y="1303"/>
                  </a:lnTo>
                  <a:lnTo>
                    <a:pt x="2016" y="1303"/>
                  </a:lnTo>
                  <a:lnTo>
                    <a:pt x="2016" y="1303"/>
                  </a:lnTo>
                  <a:lnTo>
                    <a:pt x="2016" y="1303"/>
                  </a:lnTo>
                  <a:lnTo>
                    <a:pt x="2016" y="1303"/>
                  </a:lnTo>
                  <a:lnTo>
                    <a:pt x="2019" y="1303"/>
                  </a:lnTo>
                  <a:lnTo>
                    <a:pt x="2019" y="1303"/>
                  </a:lnTo>
                  <a:lnTo>
                    <a:pt x="2019" y="1303"/>
                  </a:lnTo>
                  <a:lnTo>
                    <a:pt x="2019" y="1301"/>
                  </a:lnTo>
                  <a:lnTo>
                    <a:pt x="2021" y="1301"/>
                  </a:lnTo>
                  <a:lnTo>
                    <a:pt x="2021" y="1301"/>
                  </a:lnTo>
                  <a:lnTo>
                    <a:pt x="2021" y="1301"/>
                  </a:lnTo>
                  <a:lnTo>
                    <a:pt x="2021" y="1301"/>
                  </a:lnTo>
                  <a:lnTo>
                    <a:pt x="2019" y="1298"/>
                  </a:lnTo>
                  <a:lnTo>
                    <a:pt x="2019" y="1298"/>
                  </a:lnTo>
                  <a:lnTo>
                    <a:pt x="2019" y="1298"/>
                  </a:lnTo>
                  <a:lnTo>
                    <a:pt x="2016" y="1298"/>
                  </a:lnTo>
                  <a:lnTo>
                    <a:pt x="2016" y="1298"/>
                  </a:lnTo>
                  <a:lnTo>
                    <a:pt x="2016" y="1298"/>
                  </a:lnTo>
                  <a:lnTo>
                    <a:pt x="2014" y="1298"/>
                  </a:lnTo>
                  <a:lnTo>
                    <a:pt x="2014" y="1296"/>
                  </a:lnTo>
                  <a:lnTo>
                    <a:pt x="2012" y="1296"/>
                  </a:lnTo>
                  <a:lnTo>
                    <a:pt x="2014" y="1296"/>
                  </a:lnTo>
                  <a:lnTo>
                    <a:pt x="2014" y="1296"/>
                  </a:lnTo>
                  <a:lnTo>
                    <a:pt x="2014" y="1296"/>
                  </a:lnTo>
                  <a:lnTo>
                    <a:pt x="2014" y="1296"/>
                  </a:lnTo>
                  <a:lnTo>
                    <a:pt x="2014" y="1296"/>
                  </a:lnTo>
                  <a:lnTo>
                    <a:pt x="2014" y="1296"/>
                  </a:lnTo>
                  <a:lnTo>
                    <a:pt x="2014" y="1296"/>
                  </a:lnTo>
                  <a:lnTo>
                    <a:pt x="2016" y="1296"/>
                  </a:lnTo>
                  <a:lnTo>
                    <a:pt x="2016" y="1296"/>
                  </a:lnTo>
                  <a:lnTo>
                    <a:pt x="2019" y="1298"/>
                  </a:lnTo>
                  <a:lnTo>
                    <a:pt x="2019" y="1298"/>
                  </a:lnTo>
                  <a:lnTo>
                    <a:pt x="2019" y="1298"/>
                  </a:lnTo>
                  <a:lnTo>
                    <a:pt x="2021" y="1296"/>
                  </a:lnTo>
                  <a:lnTo>
                    <a:pt x="2019" y="1296"/>
                  </a:lnTo>
                  <a:lnTo>
                    <a:pt x="2019" y="1296"/>
                  </a:lnTo>
                  <a:lnTo>
                    <a:pt x="2019" y="1294"/>
                  </a:lnTo>
                  <a:lnTo>
                    <a:pt x="2019" y="1294"/>
                  </a:lnTo>
                  <a:lnTo>
                    <a:pt x="2019" y="1294"/>
                  </a:lnTo>
                  <a:lnTo>
                    <a:pt x="2019" y="1291"/>
                  </a:lnTo>
                  <a:lnTo>
                    <a:pt x="2016" y="1291"/>
                  </a:lnTo>
                  <a:lnTo>
                    <a:pt x="2014" y="1291"/>
                  </a:lnTo>
                  <a:lnTo>
                    <a:pt x="2014" y="1289"/>
                  </a:lnTo>
                  <a:lnTo>
                    <a:pt x="2014" y="1289"/>
                  </a:lnTo>
                  <a:lnTo>
                    <a:pt x="2014" y="1289"/>
                  </a:lnTo>
                  <a:lnTo>
                    <a:pt x="2012" y="1289"/>
                  </a:lnTo>
                  <a:lnTo>
                    <a:pt x="2012" y="1289"/>
                  </a:lnTo>
                  <a:lnTo>
                    <a:pt x="2002" y="1289"/>
                  </a:lnTo>
                  <a:lnTo>
                    <a:pt x="2002" y="1289"/>
                  </a:lnTo>
                  <a:lnTo>
                    <a:pt x="2002" y="1289"/>
                  </a:lnTo>
                  <a:lnTo>
                    <a:pt x="2002" y="1289"/>
                  </a:lnTo>
                  <a:lnTo>
                    <a:pt x="2004" y="1289"/>
                  </a:lnTo>
                  <a:lnTo>
                    <a:pt x="2004" y="1289"/>
                  </a:lnTo>
                  <a:lnTo>
                    <a:pt x="2004" y="1286"/>
                  </a:lnTo>
                  <a:lnTo>
                    <a:pt x="2002" y="1286"/>
                  </a:lnTo>
                  <a:lnTo>
                    <a:pt x="2004" y="1286"/>
                  </a:lnTo>
                  <a:lnTo>
                    <a:pt x="2004" y="1286"/>
                  </a:lnTo>
                  <a:lnTo>
                    <a:pt x="2004" y="1286"/>
                  </a:lnTo>
                  <a:lnTo>
                    <a:pt x="2004" y="1286"/>
                  </a:lnTo>
                  <a:lnTo>
                    <a:pt x="2007" y="1289"/>
                  </a:lnTo>
                  <a:lnTo>
                    <a:pt x="2007" y="1289"/>
                  </a:lnTo>
                  <a:lnTo>
                    <a:pt x="2007" y="1286"/>
                  </a:lnTo>
                  <a:lnTo>
                    <a:pt x="2007" y="1286"/>
                  </a:lnTo>
                  <a:lnTo>
                    <a:pt x="2004" y="1284"/>
                  </a:lnTo>
                  <a:lnTo>
                    <a:pt x="2004" y="1284"/>
                  </a:lnTo>
                  <a:lnTo>
                    <a:pt x="2004" y="1284"/>
                  </a:lnTo>
                  <a:lnTo>
                    <a:pt x="2007" y="1284"/>
                  </a:lnTo>
                  <a:lnTo>
                    <a:pt x="2007" y="1284"/>
                  </a:lnTo>
                  <a:lnTo>
                    <a:pt x="2007" y="1284"/>
                  </a:lnTo>
                  <a:lnTo>
                    <a:pt x="2009" y="1286"/>
                  </a:lnTo>
                  <a:lnTo>
                    <a:pt x="2009" y="1286"/>
                  </a:lnTo>
                  <a:lnTo>
                    <a:pt x="2009" y="1286"/>
                  </a:lnTo>
                  <a:lnTo>
                    <a:pt x="2009" y="1286"/>
                  </a:lnTo>
                  <a:lnTo>
                    <a:pt x="2012" y="1284"/>
                  </a:lnTo>
                  <a:lnTo>
                    <a:pt x="2012" y="1284"/>
                  </a:lnTo>
                  <a:lnTo>
                    <a:pt x="2012" y="1286"/>
                  </a:lnTo>
                  <a:lnTo>
                    <a:pt x="2012" y="1286"/>
                  </a:lnTo>
                  <a:lnTo>
                    <a:pt x="2014" y="1286"/>
                  </a:lnTo>
                  <a:lnTo>
                    <a:pt x="2016" y="1286"/>
                  </a:lnTo>
                  <a:lnTo>
                    <a:pt x="2016" y="1289"/>
                  </a:lnTo>
                  <a:lnTo>
                    <a:pt x="2016" y="1289"/>
                  </a:lnTo>
                  <a:lnTo>
                    <a:pt x="2016" y="1289"/>
                  </a:lnTo>
                  <a:lnTo>
                    <a:pt x="2016" y="1291"/>
                  </a:lnTo>
                  <a:lnTo>
                    <a:pt x="2019" y="1289"/>
                  </a:lnTo>
                  <a:lnTo>
                    <a:pt x="2019" y="1289"/>
                  </a:lnTo>
                  <a:lnTo>
                    <a:pt x="2019" y="1289"/>
                  </a:lnTo>
                  <a:lnTo>
                    <a:pt x="2019" y="1286"/>
                  </a:lnTo>
                  <a:lnTo>
                    <a:pt x="2016" y="1289"/>
                  </a:lnTo>
                  <a:lnTo>
                    <a:pt x="2016" y="1286"/>
                  </a:lnTo>
                  <a:lnTo>
                    <a:pt x="2016" y="1286"/>
                  </a:lnTo>
                  <a:lnTo>
                    <a:pt x="2019" y="1286"/>
                  </a:lnTo>
                  <a:lnTo>
                    <a:pt x="2019" y="1286"/>
                  </a:lnTo>
                  <a:lnTo>
                    <a:pt x="2019" y="1286"/>
                  </a:lnTo>
                  <a:lnTo>
                    <a:pt x="2019" y="1286"/>
                  </a:lnTo>
                  <a:lnTo>
                    <a:pt x="2019" y="1286"/>
                  </a:lnTo>
                  <a:lnTo>
                    <a:pt x="2019" y="1286"/>
                  </a:lnTo>
                  <a:lnTo>
                    <a:pt x="2019" y="1286"/>
                  </a:lnTo>
                  <a:lnTo>
                    <a:pt x="2021" y="1286"/>
                  </a:lnTo>
                  <a:lnTo>
                    <a:pt x="2021" y="1284"/>
                  </a:lnTo>
                  <a:lnTo>
                    <a:pt x="2021" y="1284"/>
                  </a:lnTo>
                  <a:lnTo>
                    <a:pt x="2023" y="1282"/>
                  </a:lnTo>
                  <a:lnTo>
                    <a:pt x="2016" y="1279"/>
                  </a:lnTo>
                  <a:lnTo>
                    <a:pt x="2016" y="1279"/>
                  </a:lnTo>
                  <a:lnTo>
                    <a:pt x="2019" y="1279"/>
                  </a:lnTo>
                  <a:lnTo>
                    <a:pt x="2019" y="1279"/>
                  </a:lnTo>
                  <a:lnTo>
                    <a:pt x="2021" y="1282"/>
                  </a:lnTo>
                  <a:lnTo>
                    <a:pt x="2023" y="1282"/>
                  </a:lnTo>
                  <a:lnTo>
                    <a:pt x="2026" y="1279"/>
                  </a:lnTo>
                  <a:lnTo>
                    <a:pt x="2026" y="1279"/>
                  </a:lnTo>
                  <a:lnTo>
                    <a:pt x="2026" y="1282"/>
                  </a:lnTo>
                  <a:lnTo>
                    <a:pt x="2023" y="1284"/>
                  </a:lnTo>
                  <a:lnTo>
                    <a:pt x="2023" y="1284"/>
                  </a:lnTo>
                  <a:lnTo>
                    <a:pt x="2023" y="1284"/>
                  </a:lnTo>
                  <a:lnTo>
                    <a:pt x="2026" y="1284"/>
                  </a:lnTo>
                  <a:lnTo>
                    <a:pt x="2026" y="1284"/>
                  </a:lnTo>
                  <a:lnTo>
                    <a:pt x="2026" y="1284"/>
                  </a:lnTo>
                  <a:lnTo>
                    <a:pt x="2026" y="1286"/>
                  </a:lnTo>
                  <a:lnTo>
                    <a:pt x="2026" y="1289"/>
                  </a:lnTo>
                  <a:lnTo>
                    <a:pt x="2026" y="1289"/>
                  </a:lnTo>
                  <a:lnTo>
                    <a:pt x="2026" y="1289"/>
                  </a:lnTo>
                  <a:lnTo>
                    <a:pt x="2028" y="1291"/>
                  </a:lnTo>
                  <a:lnTo>
                    <a:pt x="2028" y="1291"/>
                  </a:lnTo>
                  <a:lnTo>
                    <a:pt x="2028" y="1291"/>
                  </a:lnTo>
                  <a:lnTo>
                    <a:pt x="2031" y="1289"/>
                  </a:lnTo>
                  <a:lnTo>
                    <a:pt x="2028" y="1289"/>
                  </a:lnTo>
                  <a:lnTo>
                    <a:pt x="2028" y="1289"/>
                  </a:lnTo>
                  <a:lnTo>
                    <a:pt x="2031" y="1289"/>
                  </a:lnTo>
                  <a:lnTo>
                    <a:pt x="2031" y="1291"/>
                  </a:lnTo>
                  <a:lnTo>
                    <a:pt x="2031" y="1291"/>
                  </a:lnTo>
                  <a:lnTo>
                    <a:pt x="2031" y="1294"/>
                  </a:lnTo>
                  <a:lnTo>
                    <a:pt x="2028" y="1294"/>
                  </a:lnTo>
                  <a:lnTo>
                    <a:pt x="2031" y="1294"/>
                  </a:lnTo>
                  <a:lnTo>
                    <a:pt x="2031" y="1294"/>
                  </a:lnTo>
                  <a:lnTo>
                    <a:pt x="2033" y="1294"/>
                  </a:lnTo>
                  <a:lnTo>
                    <a:pt x="2033" y="1294"/>
                  </a:lnTo>
                  <a:lnTo>
                    <a:pt x="2033" y="1291"/>
                  </a:lnTo>
                  <a:lnTo>
                    <a:pt x="2033" y="1291"/>
                  </a:lnTo>
                  <a:lnTo>
                    <a:pt x="2035" y="1291"/>
                  </a:lnTo>
                  <a:lnTo>
                    <a:pt x="2035" y="1291"/>
                  </a:lnTo>
                  <a:lnTo>
                    <a:pt x="2035" y="1289"/>
                  </a:lnTo>
                  <a:lnTo>
                    <a:pt x="2035" y="1289"/>
                  </a:lnTo>
                  <a:lnTo>
                    <a:pt x="2035" y="1289"/>
                  </a:lnTo>
                  <a:lnTo>
                    <a:pt x="2038" y="1289"/>
                  </a:lnTo>
                  <a:lnTo>
                    <a:pt x="2038" y="1289"/>
                  </a:lnTo>
                  <a:lnTo>
                    <a:pt x="2038" y="1289"/>
                  </a:lnTo>
                  <a:lnTo>
                    <a:pt x="2035" y="1291"/>
                  </a:lnTo>
                  <a:lnTo>
                    <a:pt x="2035" y="1294"/>
                  </a:lnTo>
                  <a:lnTo>
                    <a:pt x="2035" y="1294"/>
                  </a:lnTo>
                  <a:lnTo>
                    <a:pt x="2035" y="1294"/>
                  </a:lnTo>
                  <a:lnTo>
                    <a:pt x="2038" y="1294"/>
                  </a:lnTo>
                  <a:lnTo>
                    <a:pt x="2038" y="1294"/>
                  </a:lnTo>
                  <a:lnTo>
                    <a:pt x="2038" y="1296"/>
                  </a:lnTo>
                  <a:lnTo>
                    <a:pt x="2038" y="1296"/>
                  </a:lnTo>
                  <a:lnTo>
                    <a:pt x="2038" y="1296"/>
                  </a:lnTo>
                  <a:lnTo>
                    <a:pt x="2038" y="1296"/>
                  </a:lnTo>
                  <a:lnTo>
                    <a:pt x="2038" y="1296"/>
                  </a:lnTo>
                  <a:lnTo>
                    <a:pt x="2038" y="1298"/>
                  </a:lnTo>
                  <a:lnTo>
                    <a:pt x="2038" y="1298"/>
                  </a:lnTo>
                  <a:lnTo>
                    <a:pt x="2038" y="1298"/>
                  </a:lnTo>
                  <a:lnTo>
                    <a:pt x="2038" y="1298"/>
                  </a:lnTo>
                  <a:lnTo>
                    <a:pt x="2038" y="1298"/>
                  </a:lnTo>
                  <a:lnTo>
                    <a:pt x="2038" y="1298"/>
                  </a:lnTo>
                  <a:lnTo>
                    <a:pt x="2038" y="1301"/>
                  </a:lnTo>
                  <a:lnTo>
                    <a:pt x="2038" y="1301"/>
                  </a:lnTo>
                  <a:lnTo>
                    <a:pt x="2040" y="1303"/>
                  </a:lnTo>
                  <a:lnTo>
                    <a:pt x="2042" y="1303"/>
                  </a:lnTo>
                  <a:lnTo>
                    <a:pt x="2042" y="1301"/>
                  </a:lnTo>
                  <a:lnTo>
                    <a:pt x="2042" y="1301"/>
                  </a:lnTo>
                  <a:lnTo>
                    <a:pt x="2042" y="1298"/>
                  </a:lnTo>
                  <a:lnTo>
                    <a:pt x="2040" y="1298"/>
                  </a:lnTo>
                  <a:lnTo>
                    <a:pt x="2040" y="1298"/>
                  </a:lnTo>
                  <a:lnTo>
                    <a:pt x="2040" y="1298"/>
                  </a:lnTo>
                  <a:lnTo>
                    <a:pt x="2040" y="1298"/>
                  </a:lnTo>
                  <a:lnTo>
                    <a:pt x="2040" y="1298"/>
                  </a:lnTo>
                  <a:lnTo>
                    <a:pt x="2042" y="1298"/>
                  </a:lnTo>
                  <a:lnTo>
                    <a:pt x="2042" y="1298"/>
                  </a:lnTo>
                  <a:lnTo>
                    <a:pt x="2042" y="1296"/>
                  </a:lnTo>
                  <a:lnTo>
                    <a:pt x="2042" y="1298"/>
                  </a:lnTo>
                  <a:lnTo>
                    <a:pt x="2045" y="1298"/>
                  </a:lnTo>
                  <a:lnTo>
                    <a:pt x="2045" y="1298"/>
                  </a:lnTo>
                  <a:lnTo>
                    <a:pt x="2047" y="1294"/>
                  </a:lnTo>
                  <a:lnTo>
                    <a:pt x="2047" y="1296"/>
                  </a:lnTo>
                  <a:lnTo>
                    <a:pt x="2047" y="1298"/>
                  </a:lnTo>
                  <a:lnTo>
                    <a:pt x="2047" y="1298"/>
                  </a:lnTo>
                  <a:lnTo>
                    <a:pt x="2045" y="1298"/>
                  </a:lnTo>
                  <a:lnTo>
                    <a:pt x="2045" y="1298"/>
                  </a:lnTo>
                  <a:lnTo>
                    <a:pt x="2045" y="1298"/>
                  </a:lnTo>
                  <a:lnTo>
                    <a:pt x="2045" y="1301"/>
                  </a:lnTo>
                  <a:lnTo>
                    <a:pt x="2045" y="1298"/>
                  </a:lnTo>
                  <a:lnTo>
                    <a:pt x="2045" y="1298"/>
                  </a:lnTo>
                  <a:lnTo>
                    <a:pt x="2045" y="1298"/>
                  </a:lnTo>
                  <a:lnTo>
                    <a:pt x="2045" y="1298"/>
                  </a:lnTo>
                  <a:lnTo>
                    <a:pt x="2045" y="1298"/>
                  </a:lnTo>
                  <a:lnTo>
                    <a:pt x="2047" y="1301"/>
                  </a:lnTo>
                  <a:lnTo>
                    <a:pt x="2047" y="1301"/>
                  </a:lnTo>
                  <a:lnTo>
                    <a:pt x="2047" y="1301"/>
                  </a:lnTo>
                  <a:lnTo>
                    <a:pt x="2047" y="1301"/>
                  </a:lnTo>
                  <a:lnTo>
                    <a:pt x="2047" y="1301"/>
                  </a:lnTo>
                  <a:lnTo>
                    <a:pt x="2047" y="1303"/>
                  </a:lnTo>
                  <a:lnTo>
                    <a:pt x="2049" y="1303"/>
                  </a:lnTo>
                  <a:lnTo>
                    <a:pt x="2049" y="1303"/>
                  </a:lnTo>
                  <a:lnTo>
                    <a:pt x="2049" y="1303"/>
                  </a:lnTo>
                  <a:lnTo>
                    <a:pt x="2049" y="1303"/>
                  </a:lnTo>
                  <a:lnTo>
                    <a:pt x="2054" y="1303"/>
                  </a:lnTo>
                  <a:lnTo>
                    <a:pt x="2054" y="1303"/>
                  </a:lnTo>
                  <a:lnTo>
                    <a:pt x="2054" y="1303"/>
                  </a:lnTo>
                  <a:lnTo>
                    <a:pt x="2057" y="1303"/>
                  </a:lnTo>
                  <a:lnTo>
                    <a:pt x="2057" y="1301"/>
                  </a:lnTo>
                  <a:lnTo>
                    <a:pt x="2057" y="1301"/>
                  </a:lnTo>
                  <a:lnTo>
                    <a:pt x="2057" y="1301"/>
                  </a:lnTo>
                  <a:lnTo>
                    <a:pt x="2059" y="1298"/>
                  </a:lnTo>
                  <a:lnTo>
                    <a:pt x="2059" y="1298"/>
                  </a:lnTo>
                  <a:lnTo>
                    <a:pt x="2059" y="1298"/>
                  </a:lnTo>
                  <a:lnTo>
                    <a:pt x="2059" y="1296"/>
                  </a:lnTo>
                  <a:lnTo>
                    <a:pt x="2061" y="1291"/>
                  </a:lnTo>
                  <a:lnTo>
                    <a:pt x="2061" y="1291"/>
                  </a:lnTo>
                  <a:lnTo>
                    <a:pt x="2061" y="1291"/>
                  </a:lnTo>
                  <a:lnTo>
                    <a:pt x="2061" y="1286"/>
                  </a:lnTo>
                  <a:lnTo>
                    <a:pt x="2061" y="1286"/>
                  </a:lnTo>
                  <a:lnTo>
                    <a:pt x="2061" y="1286"/>
                  </a:lnTo>
                  <a:lnTo>
                    <a:pt x="2061" y="1286"/>
                  </a:lnTo>
                  <a:lnTo>
                    <a:pt x="2061" y="1286"/>
                  </a:lnTo>
                  <a:lnTo>
                    <a:pt x="2061" y="1286"/>
                  </a:lnTo>
                  <a:lnTo>
                    <a:pt x="2061" y="1284"/>
                  </a:lnTo>
                  <a:lnTo>
                    <a:pt x="2061" y="1284"/>
                  </a:lnTo>
                  <a:lnTo>
                    <a:pt x="2061" y="1284"/>
                  </a:lnTo>
                  <a:lnTo>
                    <a:pt x="2061" y="1282"/>
                  </a:lnTo>
                  <a:lnTo>
                    <a:pt x="2061" y="1284"/>
                  </a:lnTo>
                  <a:lnTo>
                    <a:pt x="2061" y="1284"/>
                  </a:lnTo>
                  <a:lnTo>
                    <a:pt x="2061" y="1284"/>
                  </a:lnTo>
                  <a:lnTo>
                    <a:pt x="2061" y="1284"/>
                  </a:lnTo>
                  <a:lnTo>
                    <a:pt x="2061" y="1284"/>
                  </a:lnTo>
                  <a:lnTo>
                    <a:pt x="2061" y="1286"/>
                  </a:lnTo>
                  <a:lnTo>
                    <a:pt x="2061" y="1286"/>
                  </a:lnTo>
                  <a:lnTo>
                    <a:pt x="2061" y="1289"/>
                  </a:lnTo>
                  <a:lnTo>
                    <a:pt x="2061" y="1286"/>
                  </a:lnTo>
                  <a:lnTo>
                    <a:pt x="2064" y="1286"/>
                  </a:lnTo>
                  <a:lnTo>
                    <a:pt x="2061" y="1289"/>
                  </a:lnTo>
                  <a:lnTo>
                    <a:pt x="2061" y="1289"/>
                  </a:lnTo>
                  <a:lnTo>
                    <a:pt x="2061" y="1291"/>
                  </a:lnTo>
                  <a:lnTo>
                    <a:pt x="2061" y="1291"/>
                  </a:lnTo>
                  <a:lnTo>
                    <a:pt x="2061" y="1294"/>
                  </a:lnTo>
                  <a:lnTo>
                    <a:pt x="2061" y="1294"/>
                  </a:lnTo>
                  <a:lnTo>
                    <a:pt x="2061" y="1296"/>
                  </a:lnTo>
                  <a:lnTo>
                    <a:pt x="2061" y="1296"/>
                  </a:lnTo>
                  <a:lnTo>
                    <a:pt x="2061" y="1296"/>
                  </a:lnTo>
                  <a:lnTo>
                    <a:pt x="2061" y="1298"/>
                  </a:lnTo>
                  <a:lnTo>
                    <a:pt x="2061" y="1298"/>
                  </a:lnTo>
                  <a:lnTo>
                    <a:pt x="2057" y="1303"/>
                  </a:lnTo>
                  <a:lnTo>
                    <a:pt x="2057" y="1303"/>
                  </a:lnTo>
                  <a:lnTo>
                    <a:pt x="2057" y="1305"/>
                  </a:lnTo>
                  <a:lnTo>
                    <a:pt x="2057" y="1305"/>
                  </a:lnTo>
                  <a:lnTo>
                    <a:pt x="2057" y="1305"/>
                  </a:lnTo>
                  <a:lnTo>
                    <a:pt x="2057" y="1308"/>
                  </a:lnTo>
                  <a:lnTo>
                    <a:pt x="2057" y="1308"/>
                  </a:lnTo>
                  <a:lnTo>
                    <a:pt x="2057" y="1308"/>
                  </a:lnTo>
                  <a:lnTo>
                    <a:pt x="2057" y="1308"/>
                  </a:lnTo>
                  <a:lnTo>
                    <a:pt x="2057" y="1308"/>
                  </a:lnTo>
                  <a:lnTo>
                    <a:pt x="2057" y="1310"/>
                  </a:lnTo>
                  <a:lnTo>
                    <a:pt x="2057" y="1310"/>
                  </a:lnTo>
                  <a:lnTo>
                    <a:pt x="2057" y="1313"/>
                  </a:lnTo>
                  <a:lnTo>
                    <a:pt x="2059" y="1313"/>
                  </a:lnTo>
                  <a:lnTo>
                    <a:pt x="2059" y="1313"/>
                  </a:lnTo>
                  <a:lnTo>
                    <a:pt x="2061" y="1313"/>
                  </a:lnTo>
                  <a:lnTo>
                    <a:pt x="2061" y="1313"/>
                  </a:lnTo>
                  <a:lnTo>
                    <a:pt x="2064" y="1310"/>
                  </a:lnTo>
                  <a:lnTo>
                    <a:pt x="2071" y="1308"/>
                  </a:lnTo>
                  <a:lnTo>
                    <a:pt x="2071" y="1308"/>
                  </a:lnTo>
                  <a:lnTo>
                    <a:pt x="2071" y="1305"/>
                  </a:lnTo>
                  <a:lnTo>
                    <a:pt x="2073" y="1305"/>
                  </a:lnTo>
                  <a:lnTo>
                    <a:pt x="2073" y="1305"/>
                  </a:lnTo>
                  <a:lnTo>
                    <a:pt x="2073" y="1305"/>
                  </a:lnTo>
                  <a:lnTo>
                    <a:pt x="2073" y="1303"/>
                  </a:lnTo>
                  <a:lnTo>
                    <a:pt x="2073" y="1303"/>
                  </a:lnTo>
                  <a:lnTo>
                    <a:pt x="2073" y="1303"/>
                  </a:lnTo>
                  <a:lnTo>
                    <a:pt x="2073" y="1303"/>
                  </a:lnTo>
                  <a:lnTo>
                    <a:pt x="2073" y="1303"/>
                  </a:lnTo>
                  <a:lnTo>
                    <a:pt x="2075" y="1303"/>
                  </a:lnTo>
                  <a:lnTo>
                    <a:pt x="2075" y="1303"/>
                  </a:lnTo>
                  <a:lnTo>
                    <a:pt x="2078" y="1301"/>
                  </a:lnTo>
                  <a:lnTo>
                    <a:pt x="2078" y="1298"/>
                  </a:lnTo>
                  <a:lnTo>
                    <a:pt x="2078" y="1298"/>
                  </a:lnTo>
                  <a:lnTo>
                    <a:pt x="2080" y="1298"/>
                  </a:lnTo>
                  <a:lnTo>
                    <a:pt x="2080" y="1298"/>
                  </a:lnTo>
                  <a:lnTo>
                    <a:pt x="2080" y="1296"/>
                  </a:lnTo>
                  <a:lnTo>
                    <a:pt x="2083" y="1296"/>
                  </a:lnTo>
                  <a:lnTo>
                    <a:pt x="2083" y="1294"/>
                  </a:lnTo>
                  <a:lnTo>
                    <a:pt x="2080" y="1294"/>
                  </a:lnTo>
                  <a:lnTo>
                    <a:pt x="2080" y="1294"/>
                  </a:lnTo>
                  <a:lnTo>
                    <a:pt x="2080" y="1291"/>
                  </a:lnTo>
                  <a:lnTo>
                    <a:pt x="2080" y="1291"/>
                  </a:lnTo>
                  <a:lnTo>
                    <a:pt x="2080" y="1289"/>
                  </a:lnTo>
                  <a:lnTo>
                    <a:pt x="2080" y="1289"/>
                  </a:lnTo>
                  <a:lnTo>
                    <a:pt x="2080" y="1289"/>
                  </a:lnTo>
                  <a:lnTo>
                    <a:pt x="2080" y="1289"/>
                  </a:lnTo>
                  <a:lnTo>
                    <a:pt x="2080" y="1289"/>
                  </a:lnTo>
                  <a:lnTo>
                    <a:pt x="2080" y="1289"/>
                  </a:lnTo>
                  <a:lnTo>
                    <a:pt x="2080" y="1289"/>
                  </a:lnTo>
                  <a:lnTo>
                    <a:pt x="2080" y="1286"/>
                  </a:lnTo>
                  <a:lnTo>
                    <a:pt x="2080" y="1286"/>
                  </a:lnTo>
                  <a:lnTo>
                    <a:pt x="2083" y="1284"/>
                  </a:lnTo>
                  <a:lnTo>
                    <a:pt x="2085" y="1282"/>
                  </a:lnTo>
                  <a:lnTo>
                    <a:pt x="2085" y="1279"/>
                  </a:lnTo>
                  <a:lnTo>
                    <a:pt x="2085" y="1279"/>
                  </a:lnTo>
                  <a:lnTo>
                    <a:pt x="2085" y="1279"/>
                  </a:lnTo>
                  <a:lnTo>
                    <a:pt x="2085" y="1279"/>
                  </a:lnTo>
                  <a:lnTo>
                    <a:pt x="2087" y="1277"/>
                  </a:lnTo>
                  <a:lnTo>
                    <a:pt x="2087" y="1277"/>
                  </a:lnTo>
                  <a:lnTo>
                    <a:pt x="2087" y="1277"/>
                  </a:lnTo>
                  <a:lnTo>
                    <a:pt x="2087" y="1277"/>
                  </a:lnTo>
                  <a:lnTo>
                    <a:pt x="2087" y="1277"/>
                  </a:lnTo>
                  <a:lnTo>
                    <a:pt x="2087" y="1277"/>
                  </a:lnTo>
                  <a:lnTo>
                    <a:pt x="2090" y="1277"/>
                  </a:lnTo>
                  <a:lnTo>
                    <a:pt x="2090" y="1277"/>
                  </a:lnTo>
                  <a:lnTo>
                    <a:pt x="2090" y="1277"/>
                  </a:lnTo>
                  <a:lnTo>
                    <a:pt x="2090" y="1277"/>
                  </a:lnTo>
                  <a:lnTo>
                    <a:pt x="2090" y="1277"/>
                  </a:lnTo>
                  <a:lnTo>
                    <a:pt x="2090" y="1277"/>
                  </a:lnTo>
                  <a:lnTo>
                    <a:pt x="2090" y="1277"/>
                  </a:lnTo>
                  <a:lnTo>
                    <a:pt x="2090" y="1277"/>
                  </a:lnTo>
                  <a:lnTo>
                    <a:pt x="2090" y="1279"/>
                  </a:lnTo>
                  <a:lnTo>
                    <a:pt x="2087" y="1279"/>
                  </a:lnTo>
                  <a:lnTo>
                    <a:pt x="2087" y="1282"/>
                  </a:lnTo>
                  <a:lnTo>
                    <a:pt x="2085" y="1282"/>
                  </a:lnTo>
                  <a:lnTo>
                    <a:pt x="2085" y="1284"/>
                  </a:lnTo>
                  <a:lnTo>
                    <a:pt x="2083" y="1286"/>
                  </a:lnTo>
                  <a:lnTo>
                    <a:pt x="2083" y="1289"/>
                  </a:lnTo>
                  <a:lnTo>
                    <a:pt x="2083" y="1291"/>
                  </a:lnTo>
                  <a:lnTo>
                    <a:pt x="2085" y="1294"/>
                  </a:lnTo>
                  <a:lnTo>
                    <a:pt x="2085" y="1296"/>
                  </a:lnTo>
                  <a:lnTo>
                    <a:pt x="2085" y="1296"/>
                  </a:lnTo>
                  <a:lnTo>
                    <a:pt x="2085" y="1298"/>
                  </a:lnTo>
                  <a:lnTo>
                    <a:pt x="2083" y="1301"/>
                  </a:lnTo>
                  <a:lnTo>
                    <a:pt x="2083" y="1301"/>
                  </a:lnTo>
                  <a:lnTo>
                    <a:pt x="2085" y="1301"/>
                  </a:lnTo>
                  <a:lnTo>
                    <a:pt x="2085" y="1301"/>
                  </a:lnTo>
                  <a:lnTo>
                    <a:pt x="2087" y="1301"/>
                  </a:lnTo>
                  <a:lnTo>
                    <a:pt x="2087" y="1301"/>
                  </a:lnTo>
                  <a:lnTo>
                    <a:pt x="2087" y="1303"/>
                  </a:lnTo>
                  <a:lnTo>
                    <a:pt x="2087" y="1303"/>
                  </a:lnTo>
                  <a:lnTo>
                    <a:pt x="2087" y="1303"/>
                  </a:lnTo>
                  <a:lnTo>
                    <a:pt x="2087" y="1303"/>
                  </a:lnTo>
                  <a:lnTo>
                    <a:pt x="2087" y="1303"/>
                  </a:lnTo>
                  <a:lnTo>
                    <a:pt x="2085" y="1303"/>
                  </a:lnTo>
                  <a:lnTo>
                    <a:pt x="2085" y="1303"/>
                  </a:lnTo>
                  <a:lnTo>
                    <a:pt x="2083" y="1303"/>
                  </a:lnTo>
                  <a:lnTo>
                    <a:pt x="2083" y="1303"/>
                  </a:lnTo>
                  <a:lnTo>
                    <a:pt x="2083" y="1303"/>
                  </a:lnTo>
                  <a:lnTo>
                    <a:pt x="2080" y="1305"/>
                  </a:lnTo>
                  <a:lnTo>
                    <a:pt x="2078" y="1305"/>
                  </a:lnTo>
                  <a:lnTo>
                    <a:pt x="2078" y="1305"/>
                  </a:lnTo>
                  <a:lnTo>
                    <a:pt x="2078" y="1305"/>
                  </a:lnTo>
                  <a:lnTo>
                    <a:pt x="2078" y="1308"/>
                  </a:lnTo>
                  <a:lnTo>
                    <a:pt x="2075" y="1308"/>
                  </a:lnTo>
                  <a:lnTo>
                    <a:pt x="2075" y="1310"/>
                  </a:lnTo>
                  <a:lnTo>
                    <a:pt x="2075" y="1310"/>
                  </a:lnTo>
                  <a:lnTo>
                    <a:pt x="2073" y="1310"/>
                  </a:lnTo>
                  <a:lnTo>
                    <a:pt x="2073" y="1310"/>
                  </a:lnTo>
                  <a:lnTo>
                    <a:pt x="2073" y="1313"/>
                  </a:lnTo>
                  <a:lnTo>
                    <a:pt x="2073" y="1313"/>
                  </a:lnTo>
                  <a:lnTo>
                    <a:pt x="2073" y="1317"/>
                  </a:lnTo>
                  <a:lnTo>
                    <a:pt x="2073" y="1317"/>
                  </a:lnTo>
                  <a:lnTo>
                    <a:pt x="2073" y="1320"/>
                  </a:lnTo>
                  <a:lnTo>
                    <a:pt x="2073" y="1320"/>
                  </a:lnTo>
                  <a:lnTo>
                    <a:pt x="2073" y="1322"/>
                  </a:lnTo>
                  <a:lnTo>
                    <a:pt x="2073" y="1322"/>
                  </a:lnTo>
                  <a:lnTo>
                    <a:pt x="2073" y="1322"/>
                  </a:lnTo>
                  <a:lnTo>
                    <a:pt x="2073" y="1322"/>
                  </a:lnTo>
                  <a:lnTo>
                    <a:pt x="2075" y="1322"/>
                  </a:lnTo>
                  <a:lnTo>
                    <a:pt x="2075" y="1320"/>
                  </a:lnTo>
                  <a:lnTo>
                    <a:pt x="2075" y="1320"/>
                  </a:lnTo>
                  <a:lnTo>
                    <a:pt x="2075" y="1320"/>
                  </a:lnTo>
                  <a:lnTo>
                    <a:pt x="2075" y="1320"/>
                  </a:lnTo>
                  <a:lnTo>
                    <a:pt x="2075" y="1320"/>
                  </a:lnTo>
                  <a:lnTo>
                    <a:pt x="2075" y="1320"/>
                  </a:lnTo>
                  <a:lnTo>
                    <a:pt x="2075" y="1322"/>
                  </a:lnTo>
                  <a:lnTo>
                    <a:pt x="2075" y="1327"/>
                  </a:lnTo>
                  <a:lnTo>
                    <a:pt x="2075" y="1327"/>
                  </a:lnTo>
                  <a:lnTo>
                    <a:pt x="2083" y="1327"/>
                  </a:lnTo>
                  <a:lnTo>
                    <a:pt x="2083" y="1324"/>
                  </a:lnTo>
                  <a:lnTo>
                    <a:pt x="2083" y="1324"/>
                  </a:lnTo>
                  <a:lnTo>
                    <a:pt x="2085" y="1322"/>
                  </a:lnTo>
                  <a:lnTo>
                    <a:pt x="2085" y="1322"/>
                  </a:lnTo>
                  <a:lnTo>
                    <a:pt x="2087" y="1320"/>
                  </a:lnTo>
                  <a:lnTo>
                    <a:pt x="2090" y="1317"/>
                  </a:lnTo>
                  <a:lnTo>
                    <a:pt x="2092" y="1317"/>
                  </a:lnTo>
                  <a:lnTo>
                    <a:pt x="2090" y="1320"/>
                  </a:lnTo>
                  <a:lnTo>
                    <a:pt x="2090" y="1320"/>
                  </a:lnTo>
                  <a:lnTo>
                    <a:pt x="2087" y="1320"/>
                  </a:lnTo>
                  <a:lnTo>
                    <a:pt x="2087" y="1322"/>
                  </a:lnTo>
                  <a:lnTo>
                    <a:pt x="2085" y="1322"/>
                  </a:lnTo>
                  <a:lnTo>
                    <a:pt x="2085" y="1324"/>
                  </a:lnTo>
                  <a:lnTo>
                    <a:pt x="2085" y="1324"/>
                  </a:lnTo>
                  <a:lnTo>
                    <a:pt x="2085" y="1327"/>
                  </a:lnTo>
                  <a:lnTo>
                    <a:pt x="2085" y="1327"/>
                  </a:lnTo>
                  <a:lnTo>
                    <a:pt x="2083" y="1327"/>
                  </a:lnTo>
                  <a:lnTo>
                    <a:pt x="2083" y="1327"/>
                  </a:lnTo>
                  <a:lnTo>
                    <a:pt x="2080" y="1327"/>
                  </a:lnTo>
                  <a:lnTo>
                    <a:pt x="2080" y="1329"/>
                  </a:lnTo>
                  <a:lnTo>
                    <a:pt x="2080" y="1329"/>
                  </a:lnTo>
                  <a:lnTo>
                    <a:pt x="2080" y="1329"/>
                  </a:lnTo>
                  <a:lnTo>
                    <a:pt x="2080" y="1331"/>
                  </a:lnTo>
                  <a:lnTo>
                    <a:pt x="2080" y="1331"/>
                  </a:lnTo>
                  <a:lnTo>
                    <a:pt x="2080" y="1331"/>
                  </a:lnTo>
                  <a:lnTo>
                    <a:pt x="2080" y="1331"/>
                  </a:lnTo>
                  <a:lnTo>
                    <a:pt x="2083" y="1334"/>
                  </a:lnTo>
                  <a:lnTo>
                    <a:pt x="2083" y="1331"/>
                  </a:lnTo>
                  <a:lnTo>
                    <a:pt x="2083" y="1329"/>
                  </a:lnTo>
                  <a:lnTo>
                    <a:pt x="2085" y="1329"/>
                  </a:lnTo>
                  <a:lnTo>
                    <a:pt x="2085" y="1329"/>
                  </a:lnTo>
                  <a:lnTo>
                    <a:pt x="2085" y="1331"/>
                  </a:lnTo>
                  <a:lnTo>
                    <a:pt x="2085" y="1331"/>
                  </a:lnTo>
                  <a:lnTo>
                    <a:pt x="2085" y="1331"/>
                  </a:lnTo>
                  <a:lnTo>
                    <a:pt x="2085" y="1331"/>
                  </a:lnTo>
                  <a:lnTo>
                    <a:pt x="2085" y="1331"/>
                  </a:lnTo>
                  <a:lnTo>
                    <a:pt x="2087" y="1331"/>
                  </a:lnTo>
                  <a:lnTo>
                    <a:pt x="2090" y="1331"/>
                  </a:lnTo>
                  <a:lnTo>
                    <a:pt x="2090" y="1331"/>
                  </a:lnTo>
                  <a:lnTo>
                    <a:pt x="2090" y="1329"/>
                  </a:lnTo>
                  <a:lnTo>
                    <a:pt x="2092" y="1324"/>
                  </a:lnTo>
                  <a:lnTo>
                    <a:pt x="2092" y="1322"/>
                  </a:lnTo>
                  <a:lnTo>
                    <a:pt x="2092" y="1322"/>
                  </a:lnTo>
                  <a:lnTo>
                    <a:pt x="2094" y="1322"/>
                  </a:lnTo>
                  <a:lnTo>
                    <a:pt x="2094" y="1322"/>
                  </a:lnTo>
                  <a:lnTo>
                    <a:pt x="2094" y="1322"/>
                  </a:lnTo>
                  <a:lnTo>
                    <a:pt x="2092" y="1324"/>
                  </a:lnTo>
                  <a:lnTo>
                    <a:pt x="2092" y="1324"/>
                  </a:lnTo>
                  <a:lnTo>
                    <a:pt x="2092" y="1324"/>
                  </a:lnTo>
                  <a:lnTo>
                    <a:pt x="2092" y="1324"/>
                  </a:lnTo>
                  <a:lnTo>
                    <a:pt x="2092" y="1327"/>
                  </a:lnTo>
                  <a:lnTo>
                    <a:pt x="2094" y="1327"/>
                  </a:lnTo>
                  <a:lnTo>
                    <a:pt x="2094" y="1327"/>
                  </a:lnTo>
                  <a:lnTo>
                    <a:pt x="2094" y="1327"/>
                  </a:lnTo>
                  <a:lnTo>
                    <a:pt x="2092" y="1327"/>
                  </a:lnTo>
                  <a:lnTo>
                    <a:pt x="2092" y="1327"/>
                  </a:lnTo>
                  <a:lnTo>
                    <a:pt x="2092" y="1327"/>
                  </a:lnTo>
                  <a:lnTo>
                    <a:pt x="2092" y="1327"/>
                  </a:lnTo>
                  <a:lnTo>
                    <a:pt x="2092" y="1329"/>
                  </a:lnTo>
                  <a:lnTo>
                    <a:pt x="2092" y="1329"/>
                  </a:lnTo>
                  <a:lnTo>
                    <a:pt x="2092" y="1329"/>
                  </a:lnTo>
                  <a:lnTo>
                    <a:pt x="2092" y="1329"/>
                  </a:lnTo>
                  <a:lnTo>
                    <a:pt x="2092" y="1329"/>
                  </a:lnTo>
                  <a:lnTo>
                    <a:pt x="2092" y="1329"/>
                  </a:lnTo>
                  <a:lnTo>
                    <a:pt x="2092" y="1329"/>
                  </a:lnTo>
                  <a:lnTo>
                    <a:pt x="2092" y="1329"/>
                  </a:lnTo>
                  <a:lnTo>
                    <a:pt x="2092" y="1329"/>
                  </a:lnTo>
                  <a:lnTo>
                    <a:pt x="2092" y="1331"/>
                  </a:lnTo>
                  <a:lnTo>
                    <a:pt x="2092" y="1331"/>
                  </a:lnTo>
                  <a:lnTo>
                    <a:pt x="2092" y="1331"/>
                  </a:lnTo>
                  <a:lnTo>
                    <a:pt x="2090" y="1334"/>
                  </a:lnTo>
                  <a:lnTo>
                    <a:pt x="2087" y="1334"/>
                  </a:lnTo>
                  <a:lnTo>
                    <a:pt x="2087" y="1334"/>
                  </a:lnTo>
                  <a:lnTo>
                    <a:pt x="2087" y="1336"/>
                  </a:lnTo>
                  <a:lnTo>
                    <a:pt x="2087" y="1336"/>
                  </a:lnTo>
                  <a:lnTo>
                    <a:pt x="2087" y="1336"/>
                  </a:lnTo>
                  <a:lnTo>
                    <a:pt x="2087" y="1339"/>
                  </a:lnTo>
                  <a:lnTo>
                    <a:pt x="2087" y="1339"/>
                  </a:lnTo>
                  <a:lnTo>
                    <a:pt x="2090" y="1339"/>
                  </a:lnTo>
                  <a:lnTo>
                    <a:pt x="2090" y="1341"/>
                  </a:lnTo>
                  <a:lnTo>
                    <a:pt x="2092" y="1341"/>
                  </a:lnTo>
                  <a:lnTo>
                    <a:pt x="2092" y="1341"/>
                  </a:lnTo>
                  <a:lnTo>
                    <a:pt x="2092" y="1341"/>
                  </a:lnTo>
                  <a:lnTo>
                    <a:pt x="2094" y="1341"/>
                  </a:lnTo>
                  <a:lnTo>
                    <a:pt x="2092" y="1341"/>
                  </a:lnTo>
                  <a:lnTo>
                    <a:pt x="2094" y="1339"/>
                  </a:lnTo>
                  <a:lnTo>
                    <a:pt x="2094" y="1336"/>
                  </a:lnTo>
                  <a:lnTo>
                    <a:pt x="2094" y="1336"/>
                  </a:lnTo>
                  <a:lnTo>
                    <a:pt x="2097" y="1336"/>
                  </a:lnTo>
                  <a:lnTo>
                    <a:pt x="2097" y="1336"/>
                  </a:lnTo>
                  <a:lnTo>
                    <a:pt x="2099" y="1336"/>
                  </a:lnTo>
                  <a:lnTo>
                    <a:pt x="2099" y="1336"/>
                  </a:lnTo>
                  <a:lnTo>
                    <a:pt x="2099" y="1334"/>
                  </a:lnTo>
                  <a:lnTo>
                    <a:pt x="2099" y="1334"/>
                  </a:lnTo>
                  <a:lnTo>
                    <a:pt x="2099" y="1334"/>
                  </a:lnTo>
                  <a:lnTo>
                    <a:pt x="2099" y="1334"/>
                  </a:lnTo>
                  <a:lnTo>
                    <a:pt x="2099" y="1331"/>
                  </a:lnTo>
                  <a:lnTo>
                    <a:pt x="2101" y="1334"/>
                  </a:lnTo>
                  <a:lnTo>
                    <a:pt x="2101" y="1334"/>
                  </a:lnTo>
                  <a:lnTo>
                    <a:pt x="2104" y="1331"/>
                  </a:lnTo>
                  <a:lnTo>
                    <a:pt x="2104" y="1331"/>
                  </a:lnTo>
                  <a:lnTo>
                    <a:pt x="2104" y="1334"/>
                  </a:lnTo>
                  <a:lnTo>
                    <a:pt x="2104" y="1334"/>
                  </a:lnTo>
                  <a:lnTo>
                    <a:pt x="2104" y="1334"/>
                  </a:lnTo>
                  <a:lnTo>
                    <a:pt x="2104" y="1334"/>
                  </a:lnTo>
                  <a:lnTo>
                    <a:pt x="2106" y="1331"/>
                  </a:lnTo>
                  <a:lnTo>
                    <a:pt x="2106" y="1331"/>
                  </a:lnTo>
                  <a:lnTo>
                    <a:pt x="2104" y="1331"/>
                  </a:lnTo>
                  <a:lnTo>
                    <a:pt x="2106" y="1329"/>
                  </a:lnTo>
                  <a:lnTo>
                    <a:pt x="2106" y="1329"/>
                  </a:lnTo>
                  <a:lnTo>
                    <a:pt x="2106" y="1329"/>
                  </a:lnTo>
                  <a:lnTo>
                    <a:pt x="2106" y="1331"/>
                  </a:lnTo>
                  <a:lnTo>
                    <a:pt x="2106" y="1334"/>
                  </a:lnTo>
                  <a:lnTo>
                    <a:pt x="2106" y="1334"/>
                  </a:lnTo>
                  <a:lnTo>
                    <a:pt x="2106" y="1334"/>
                  </a:lnTo>
                  <a:lnTo>
                    <a:pt x="2104" y="1334"/>
                  </a:lnTo>
                  <a:lnTo>
                    <a:pt x="2104" y="1334"/>
                  </a:lnTo>
                  <a:lnTo>
                    <a:pt x="2101" y="1334"/>
                  </a:lnTo>
                  <a:lnTo>
                    <a:pt x="2101" y="1334"/>
                  </a:lnTo>
                  <a:lnTo>
                    <a:pt x="2101" y="1336"/>
                  </a:lnTo>
                  <a:lnTo>
                    <a:pt x="2101" y="1336"/>
                  </a:lnTo>
                  <a:lnTo>
                    <a:pt x="2099" y="1339"/>
                  </a:lnTo>
                  <a:lnTo>
                    <a:pt x="2097" y="1341"/>
                  </a:lnTo>
                  <a:lnTo>
                    <a:pt x="2097" y="1341"/>
                  </a:lnTo>
                  <a:lnTo>
                    <a:pt x="2097" y="1343"/>
                  </a:lnTo>
                  <a:lnTo>
                    <a:pt x="2097" y="1343"/>
                  </a:lnTo>
                  <a:lnTo>
                    <a:pt x="2099" y="1341"/>
                  </a:lnTo>
                  <a:lnTo>
                    <a:pt x="2101" y="1341"/>
                  </a:lnTo>
                  <a:lnTo>
                    <a:pt x="2101" y="1341"/>
                  </a:lnTo>
                  <a:lnTo>
                    <a:pt x="2101" y="1343"/>
                  </a:lnTo>
                  <a:lnTo>
                    <a:pt x="2099" y="1343"/>
                  </a:lnTo>
                  <a:lnTo>
                    <a:pt x="2099" y="1343"/>
                  </a:lnTo>
                  <a:lnTo>
                    <a:pt x="2099" y="1343"/>
                  </a:lnTo>
                  <a:lnTo>
                    <a:pt x="2099" y="1343"/>
                  </a:lnTo>
                  <a:lnTo>
                    <a:pt x="2097" y="1343"/>
                  </a:lnTo>
                  <a:lnTo>
                    <a:pt x="2097" y="1343"/>
                  </a:lnTo>
                  <a:lnTo>
                    <a:pt x="2097" y="1343"/>
                  </a:lnTo>
                  <a:lnTo>
                    <a:pt x="2097" y="1346"/>
                  </a:lnTo>
                  <a:lnTo>
                    <a:pt x="2097" y="1346"/>
                  </a:lnTo>
                  <a:lnTo>
                    <a:pt x="2097" y="1346"/>
                  </a:lnTo>
                  <a:lnTo>
                    <a:pt x="2099" y="1346"/>
                  </a:lnTo>
                  <a:lnTo>
                    <a:pt x="2099" y="1346"/>
                  </a:lnTo>
                  <a:lnTo>
                    <a:pt x="2097" y="1346"/>
                  </a:lnTo>
                  <a:lnTo>
                    <a:pt x="2099" y="1348"/>
                  </a:lnTo>
                  <a:lnTo>
                    <a:pt x="2099" y="1348"/>
                  </a:lnTo>
                  <a:lnTo>
                    <a:pt x="2101" y="1348"/>
                  </a:lnTo>
                  <a:lnTo>
                    <a:pt x="2101" y="1346"/>
                  </a:lnTo>
                  <a:lnTo>
                    <a:pt x="2101" y="1346"/>
                  </a:lnTo>
                  <a:lnTo>
                    <a:pt x="2101" y="1346"/>
                  </a:lnTo>
                  <a:lnTo>
                    <a:pt x="2101" y="1346"/>
                  </a:lnTo>
                  <a:lnTo>
                    <a:pt x="2101" y="1346"/>
                  </a:lnTo>
                  <a:lnTo>
                    <a:pt x="2101" y="1346"/>
                  </a:lnTo>
                  <a:lnTo>
                    <a:pt x="2101" y="1346"/>
                  </a:lnTo>
                  <a:lnTo>
                    <a:pt x="2104" y="1346"/>
                  </a:lnTo>
                  <a:lnTo>
                    <a:pt x="2104" y="1346"/>
                  </a:lnTo>
                  <a:lnTo>
                    <a:pt x="2104" y="1346"/>
                  </a:lnTo>
                  <a:lnTo>
                    <a:pt x="2104" y="1346"/>
                  </a:lnTo>
                  <a:lnTo>
                    <a:pt x="2104" y="1346"/>
                  </a:lnTo>
                  <a:lnTo>
                    <a:pt x="2104" y="1346"/>
                  </a:lnTo>
                  <a:lnTo>
                    <a:pt x="2104" y="1348"/>
                  </a:lnTo>
                  <a:lnTo>
                    <a:pt x="2104" y="1348"/>
                  </a:lnTo>
                  <a:lnTo>
                    <a:pt x="2104" y="1348"/>
                  </a:lnTo>
                  <a:lnTo>
                    <a:pt x="2104" y="1348"/>
                  </a:lnTo>
                  <a:lnTo>
                    <a:pt x="2104" y="1350"/>
                  </a:lnTo>
                  <a:lnTo>
                    <a:pt x="2104" y="1350"/>
                  </a:lnTo>
                  <a:lnTo>
                    <a:pt x="2104" y="1350"/>
                  </a:lnTo>
                  <a:lnTo>
                    <a:pt x="2104" y="1353"/>
                  </a:lnTo>
                  <a:lnTo>
                    <a:pt x="2104" y="1353"/>
                  </a:lnTo>
                  <a:lnTo>
                    <a:pt x="2106" y="1350"/>
                  </a:lnTo>
                  <a:lnTo>
                    <a:pt x="2106" y="1350"/>
                  </a:lnTo>
                  <a:lnTo>
                    <a:pt x="2106" y="1350"/>
                  </a:lnTo>
                  <a:lnTo>
                    <a:pt x="2106" y="1350"/>
                  </a:lnTo>
                  <a:lnTo>
                    <a:pt x="2106" y="1348"/>
                  </a:lnTo>
                  <a:lnTo>
                    <a:pt x="2106" y="1348"/>
                  </a:lnTo>
                  <a:lnTo>
                    <a:pt x="2106" y="1348"/>
                  </a:lnTo>
                  <a:lnTo>
                    <a:pt x="2106" y="1350"/>
                  </a:lnTo>
                  <a:lnTo>
                    <a:pt x="2106" y="1350"/>
                  </a:lnTo>
                  <a:lnTo>
                    <a:pt x="2106" y="1350"/>
                  </a:lnTo>
                  <a:lnTo>
                    <a:pt x="2106" y="1353"/>
                  </a:lnTo>
                  <a:lnTo>
                    <a:pt x="2109" y="1353"/>
                  </a:lnTo>
                  <a:lnTo>
                    <a:pt x="2109" y="1353"/>
                  </a:lnTo>
                  <a:lnTo>
                    <a:pt x="2106" y="1353"/>
                  </a:lnTo>
                  <a:lnTo>
                    <a:pt x="2106" y="1353"/>
                  </a:lnTo>
                  <a:lnTo>
                    <a:pt x="2106" y="1353"/>
                  </a:lnTo>
                  <a:lnTo>
                    <a:pt x="2109" y="1353"/>
                  </a:lnTo>
                  <a:lnTo>
                    <a:pt x="2109" y="1353"/>
                  </a:lnTo>
                  <a:lnTo>
                    <a:pt x="2109" y="1353"/>
                  </a:lnTo>
                  <a:lnTo>
                    <a:pt x="2109" y="1355"/>
                  </a:lnTo>
                  <a:lnTo>
                    <a:pt x="2111" y="1355"/>
                  </a:lnTo>
                  <a:lnTo>
                    <a:pt x="2111" y="1353"/>
                  </a:lnTo>
                  <a:lnTo>
                    <a:pt x="2111" y="1350"/>
                  </a:lnTo>
                  <a:lnTo>
                    <a:pt x="2111" y="1348"/>
                  </a:lnTo>
                  <a:lnTo>
                    <a:pt x="2109" y="1346"/>
                  </a:lnTo>
                  <a:lnTo>
                    <a:pt x="2109" y="1343"/>
                  </a:lnTo>
                  <a:lnTo>
                    <a:pt x="2109" y="1343"/>
                  </a:lnTo>
                  <a:lnTo>
                    <a:pt x="2109" y="1341"/>
                  </a:lnTo>
                  <a:lnTo>
                    <a:pt x="2109" y="1341"/>
                  </a:lnTo>
                  <a:lnTo>
                    <a:pt x="2109" y="1339"/>
                  </a:lnTo>
                  <a:lnTo>
                    <a:pt x="2109" y="1339"/>
                  </a:lnTo>
                  <a:lnTo>
                    <a:pt x="2109" y="1339"/>
                  </a:lnTo>
                  <a:lnTo>
                    <a:pt x="2111" y="1336"/>
                  </a:lnTo>
                  <a:lnTo>
                    <a:pt x="2109" y="1336"/>
                  </a:lnTo>
                  <a:lnTo>
                    <a:pt x="2109" y="1336"/>
                  </a:lnTo>
                  <a:lnTo>
                    <a:pt x="2109" y="1336"/>
                  </a:lnTo>
                  <a:lnTo>
                    <a:pt x="2109" y="1334"/>
                  </a:lnTo>
                  <a:lnTo>
                    <a:pt x="2111" y="1334"/>
                  </a:lnTo>
                  <a:lnTo>
                    <a:pt x="2111" y="1334"/>
                  </a:lnTo>
                  <a:lnTo>
                    <a:pt x="2111" y="1331"/>
                  </a:lnTo>
                  <a:lnTo>
                    <a:pt x="2111" y="1331"/>
                  </a:lnTo>
                  <a:lnTo>
                    <a:pt x="2111" y="1331"/>
                  </a:lnTo>
                  <a:lnTo>
                    <a:pt x="2111" y="1331"/>
                  </a:lnTo>
                  <a:lnTo>
                    <a:pt x="2111" y="1331"/>
                  </a:lnTo>
                  <a:lnTo>
                    <a:pt x="2111" y="1334"/>
                  </a:lnTo>
                  <a:lnTo>
                    <a:pt x="2111" y="1334"/>
                  </a:lnTo>
                  <a:lnTo>
                    <a:pt x="2111" y="1334"/>
                  </a:lnTo>
                  <a:lnTo>
                    <a:pt x="2111" y="1334"/>
                  </a:lnTo>
                  <a:lnTo>
                    <a:pt x="2111" y="1336"/>
                  </a:lnTo>
                  <a:lnTo>
                    <a:pt x="2111" y="1339"/>
                  </a:lnTo>
                  <a:lnTo>
                    <a:pt x="2111" y="1341"/>
                  </a:lnTo>
                  <a:lnTo>
                    <a:pt x="2111" y="1341"/>
                  </a:lnTo>
                  <a:lnTo>
                    <a:pt x="2111" y="1341"/>
                  </a:lnTo>
                  <a:lnTo>
                    <a:pt x="2111" y="1341"/>
                  </a:lnTo>
                  <a:lnTo>
                    <a:pt x="2111" y="1341"/>
                  </a:lnTo>
                  <a:lnTo>
                    <a:pt x="2111" y="1341"/>
                  </a:lnTo>
                  <a:lnTo>
                    <a:pt x="2111" y="1341"/>
                  </a:lnTo>
                  <a:lnTo>
                    <a:pt x="2111" y="1341"/>
                  </a:lnTo>
                  <a:lnTo>
                    <a:pt x="2111" y="1341"/>
                  </a:lnTo>
                  <a:lnTo>
                    <a:pt x="2111" y="1343"/>
                  </a:lnTo>
                  <a:lnTo>
                    <a:pt x="2111" y="1343"/>
                  </a:lnTo>
                  <a:lnTo>
                    <a:pt x="2111" y="1343"/>
                  </a:lnTo>
                  <a:lnTo>
                    <a:pt x="2111" y="1343"/>
                  </a:lnTo>
                  <a:lnTo>
                    <a:pt x="2111" y="1343"/>
                  </a:lnTo>
                  <a:lnTo>
                    <a:pt x="2111" y="1346"/>
                  </a:lnTo>
                  <a:lnTo>
                    <a:pt x="2111" y="1346"/>
                  </a:lnTo>
                  <a:lnTo>
                    <a:pt x="2113" y="1346"/>
                  </a:lnTo>
                  <a:lnTo>
                    <a:pt x="2113" y="1348"/>
                  </a:lnTo>
                  <a:lnTo>
                    <a:pt x="2113" y="1348"/>
                  </a:lnTo>
                  <a:lnTo>
                    <a:pt x="2113" y="1348"/>
                  </a:lnTo>
                  <a:lnTo>
                    <a:pt x="2113" y="1348"/>
                  </a:lnTo>
                  <a:lnTo>
                    <a:pt x="2116" y="1348"/>
                  </a:lnTo>
                  <a:lnTo>
                    <a:pt x="2116" y="1348"/>
                  </a:lnTo>
                  <a:lnTo>
                    <a:pt x="2116" y="1348"/>
                  </a:lnTo>
                  <a:lnTo>
                    <a:pt x="2116" y="1348"/>
                  </a:lnTo>
                  <a:lnTo>
                    <a:pt x="2116" y="1348"/>
                  </a:lnTo>
                  <a:lnTo>
                    <a:pt x="2116" y="1346"/>
                  </a:lnTo>
                  <a:lnTo>
                    <a:pt x="2116" y="1346"/>
                  </a:lnTo>
                  <a:lnTo>
                    <a:pt x="2116" y="1346"/>
                  </a:lnTo>
                  <a:lnTo>
                    <a:pt x="2116" y="1346"/>
                  </a:lnTo>
                  <a:lnTo>
                    <a:pt x="2118" y="1343"/>
                  </a:lnTo>
                  <a:lnTo>
                    <a:pt x="2120" y="1343"/>
                  </a:lnTo>
                  <a:lnTo>
                    <a:pt x="2120" y="1343"/>
                  </a:lnTo>
                  <a:lnTo>
                    <a:pt x="2120" y="1346"/>
                  </a:lnTo>
                  <a:lnTo>
                    <a:pt x="2118" y="1346"/>
                  </a:lnTo>
                  <a:lnTo>
                    <a:pt x="2118" y="1348"/>
                  </a:lnTo>
                  <a:lnTo>
                    <a:pt x="2118" y="1350"/>
                  </a:lnTo>
                  <a:lnTo>
                    <a:pt x="2116" y="1350"/>
                  </a:lnTo>
                  <a:lnTo>
                    <a:pt x="2118" y="1353"/>
                  </a:lnTo>
                  <a:lnTo>
                    <a:pt x="2118" y="1350"/>
                  </a:lnTo>
                  <a:lnTo>
                    <a:pt x="2118" y="1350"/>
                  </a:lnTo>
                  <a:lnTo>
                    <a:pt x="2118" y="1350"/>
                  </a:lnTo>
                  <a:lnTo>
                    <a:pt x="2118" y="1350"/>
                  </a:lnTo>
                  <a:lnTo>
                    <a:pt x="2118" y="1350"/>
                  </a:lnTo>
                  <a:lnTo>
                    <a:pt x="2118" y="1350"/>
                  </a:lnTo>
                  <a:lnTo>
                    <a:pt x="2120" y="1353"/>
                  </a:lnTo>
                  <a:lnTo>
                    <a:pt x="2120" y="1353"/>
                  </a:lnTo>
                  <a:lnTo>
                    <a:pt x="2123" y="1353"/>
                  </a:lnTo>
                  <a:lnTo>
                    <a:pt x="2123" y="1353"/>
                  </a:lnTo>
                  <a:lnTo>
                    <a:pt x="2123" y="1350"/>
                  </a:lnTo>
                  <a:lnTo>
                    <a:pt x="2123" y="1350"/>
                  </a:lnTo>
                  <a:lnTo>
                    <a:pt x="2123" y="1348"/>
                  </a:lnTo>
                  <a:lnTo>
                    <a:pt x="2123" y="1348"/>
                  </a:lnTo>
                  <a:lnTo>
                    <a:pt x="2123" y="1350"/>
                  </a:lnTo>
                  <a:lnTo>
                    <a:pt x="2125" y="1350"/>
                  </a:lnTo>
                  <a:lnTo>
                    <a:pt x="2125" y="1348"/>
                  </a:lnTo>
                  <a:lnTo>
                    <a:pt x="2125" y="1348"/>
                  </a:lnTo>
                  <a:lnTo>
                    <a:pt x="2125" y="1346"/>
                  </a:lnTo>
                  <a:lnTo>
                    <a:pt x="2125" y="1346"/>
                  </a:lnTo>
                  <a:lnTo>
                    <a:pt x="2125" y="1346"/>
                  </a:lnTo>
                  <a:lnTo>
                    <a:pt x="2125" y="1346"/>
                  </a:lnTo>
                  <a:lnTo>
                    <a:pt x="2125" y="1343"/>
                  </a:lnTo>
                  <a:lnTo>
                    <a:pt x="2125" y="1343"/>
                  </a:lnTo>
                  <a:lnTo>
                    <a:pt x="2128" y="1343"/>
                  </a:lnTo>
                  <a:lnTo>
                    <a:pt x="2128" y="1343"/>
                  </a:lnTo>
                  <a:lnTo>
                    <a:pt x="2128" y="1343"/>
                  </a:lnTo>
                  <a:lnTo>
                    <a:pt x="2128" y="1343"/>
                  </a:lnTo>
                  <a:lnTo>
                    <a:pt x="2128" y="1346"/>
                  </a:lnTo>
                  <a:lnTo>
                    <a:pt x="2128" y="1348"/>
                  </a:lnTo>
                  <a:lnTo>
                    <a:pt x="2128" y="1348"/>
                  </a:lnTo>
                  <a:lnTo>
                    <a:pt x="2128" y="1350"/>
                  </a:lnTo>
                  <a:lnTo>
                    <a:pt x="2128" y="1350"/>
                  </a:lnTo>
                  <a:lnTo>
                    <a:pt x="2130" y="1353"/>
                  </a:lnTo>
                  <a:lnTo>
                    <a:pt x="2130" y="1353"/>
                  </a:lnTo>
                  <a:lnTo>
                    <a:pt x="2130" y="1350"/>
                  </a:lnTo>
                  <a:lnTo>
                    <a:pt x="2132" y="1350"/>
                  </a:lnTo>
                  <a:lnTo>
                    <a:pt x="2132" y="1350"/>
                  </a:lnTo>
                  <a:lnTo>
                    <a:pt x="2132" y="1350"/>
                  </a:lnTo>
                  <a:lnTo>
                    <a:pt x="2135" y="1350"/>
                  </a:lnTo>
                  <a:lnTo>
                    <a:pt x="2132" y="1350"/>
                  </a:lnTo>
                  <a:lnTo>
                    <a:pt x="2132" y="1353"/>
                  </a:lnTo>
                  <a:lnTo>
                    <a:pt x="2132" y="1353"/>
                  </a:lnTo>
                  <a:lnTo>
                    <a:pt x="2132" y="1353"/>
                  </a:lnTo>
                  <a:lnTo>
                    <a:pt x="2132" y="1353"/>
                  </a:lnTo>
                  <a:lnTo>
                    <a:pt x="2130" y="1353"/>
                  </a:lnTo>
                  <a:lnTo>
                    <a:pt x="2130" y="1353"/>
                  </a:lnTo>
                  <a:lnTo>
                    <a:pt x="2130" y="1353"/>
                  </a:lnTo>
                  <a:lnTo>
                    <a:pt x="2130" y="1353"/>
                  </a:lnTo>
                  <a:lnTo>
                    <a:pt x="2130" y="1353"/>
                  </a:lnTo>
                  <a:lnTo>
                    <a:pt x="2130" y="1353"/>
                  </a:lnTo>
                  <a:lnTo>
                    <a:pt x="2130" y="1355"/>
                  </a:lnTo>
                  <a:lnTo>
                    <a:pt x="2130" y="1355"/>
                  </a:lnTo>
                  <a:lnTo>
                    <a:pt x="2130" y="1355"/>
                  </a:lnTo>
                  <a:lnTo>
                    <a:pt x="2132" y="1355"/>
                  </a:lnTo>
                  <a:lnTo>
                    <a:pt x="2132" y="1355"/>
                  </a:lnTo>
                  <a:lnTo>
                    <a:pt x="2132" y="1355"/>
                  </a:lnTo>
                  <a:lnTo>
                    <a:pt x="2132" y="1355"/>
                  </a:lnTo>
                  <a:lnTo>
                    <a:pt x="2135" y="1353"/>
                  </a:lnTo>
                  <a:lnTo>
                    <a:pt x="2135" y="1353"/>
                  </a:lnTo>
                  <a:lnTo>
                    <a:pt x="2135" y="1353"/>
                  </a:lnTo>
                  <a:lnTo>
                    <a:pt x="2135" y="1353"/>
                  </a:lnTo>
                  <a:lnTo>
                    <a:pt x="2135" y="1353"/>
                  </a:lnTo>
                  <a:lnTo>
                    <a:pt x="2137" y="1353"/>
                  </a:lnTo>
                  <a:lnTo>
                    <a:pt x="2137" y="1353"/>
                  </a:lnTo>
                  <a:lnTo>
                    <a:pt x="2137" y="1355"/>
                  </a:lnTo>
                  <a:lnTo>
                    <a:pt x="2137" y="1355"/>
                  </a:lnTo>
                  <a:lnTo>
                    <a:pt x="2135" y="1355"/>
                  </a:lnTo>
                  <a:lnTo>
                    <a:pt x="2137" y="1355"/>
                  </a:lnTo>
                  <a:lnTo>
                    <a:pt x="2137" y="1355"/>
                  </a:lnTo>
                  <a:lnTo>
                    <a:pt x="2137" y="1357"/>
                  </a:lnTo>
                  <a:lnTo>
                    <a:pt x="2137" y="1357"/>
                  </a:lnTo>
                  <a:lnTo>
                    <a:pt x="2139" y="1357"/>
                  </a:lnTo>
                  <a:lnTo>
                    <a:pt x="2139" y="1357"/>
                  </a:lnTo>
                  <a:lnTo>
                    <a:pt x="2139" y="1357"/>
                  </a:lnTo>
                  <a:lnTo>
                    <a:pt x="2139" y="1357"/>
                  </a:lnTo>
                  <a:lnTo>
                    <a:pt x="2139" y="1355"/>
                  </a:lnTo>
                  <a:lnTo>
                    <a:pt x="2139" y="1355"/>
                  </a:lnTo>
                  <a:lnTo>
                    <a:pt x="2139" y="1355"/>
                  </a:lnTo>
                  <a:lnTo>
                    <a:pt x="2139" y="1355"/>
                  </a:lnTo>
                  <a:lnTo>
                    <a:pt x="2139" y="1353"/>
                  </a:lnTo>
                  <a:lnTo>
                    <a:pt x="2139" y="1353"/>
                  </a:lnTo>
                  <a:lnTo>
                    <a:pt x="2139" y="1353"/>
                  </a:lnTo>
                  <a:lnTo>
                    <a:pt x="2139" y="1353"/>
                  </a:lnTo>
                  <a:lnTo>
                    <a:pt x="2139" y="1350"/>
                  </a:lnTo>
                  <a:lnTo>
                    <a:pt x="2139" y="1350"/>
                  </a:lnTo>
                  <a:lnTo>
                    <a:pt x="2139" y="1350"/>
                  </a:lnTo>
                  <a:lnTo>
                    <a:pt x="2139" y="1348"/>
                  </a:lnTo>
                  <a:lnTo>
                    <a:pt x="2139" y="1348"/>
                  </a:lnTo>
                  <a:lnTo>
                    <a:pt x="2139" y="1348"/>
                  </a:lnTo>
                  <a:lnTo>
                    <a:pt x="2139" y="1348"/>
                  </a:lnTo>
                  <a:lnTo>
                    <a:pt x="2142" y="1348"/>
                  </a:lnTo>
                  <a:lnTo>
                    <a:pt x="2139" y="1348"/>
                  </a:lnTo>
                  <a:lnTo>
                    <a:pt x="2139" y="1348"/>
                  </a:lnTo>
                  <a:lnTo>
                    <a:pt x="2139" y="1348"/>
                  </a:lnTo>
                  <a:lnTo>
                    <a:pt x="2139" y="1346"/>
                  </a:lnTo>
                  <a:lnTo>
                    <a:pt x="2139" y="1346"/>
                  </a:lnTo>
                  <a:lnTo>
                    <a:pt x="2142" y="1346"/>
                  </a:lnTo>
                  <a:lnTo>
                    <a:pt x="2139" y="1346"/>
                  </a:lnTo>
                  <a:lnTo>
                    <a:pt x="2139" y="1346"/>
                  </a:lnTo>
                  <a:lnTo>
                    <a:pt x="2139" y="1346"/>
                  </a:lnTo>
                  <a:lnTo>
                    <a:pt x="2139" y="1346"/>
                  </a:lnTo>
                  <a:lnTo>
                    <a:pt x="2139" y="1346"/>
                  </a:lnTo>
                  <a:lnTo>
                    <a:pt x="2139" y="1343"/>
                  </a:lnTo>
                  <a:lnTo>
                    <a:pt x="2139" y="1343"/>
                  </a:lnTo>
                  <a:lnTo>
                    <a:pt x="2139" y="1343"/>
                  </a:lnTo>
                  <a:lnTo>
                    <a:pt x="2139" y="1343"/>
                  </a:lnTo>
                  <a:lnTo>
                    <a:pt x="2139" y="1343"/>
                  </a:lnTo>
                  <a:lnTo>
                    <a:pt x="2139" y="1341"/>
                  </a:lnTo>
                  <a:lnTo>
                    <a:pt x="2139" y="1341"/>
                  </a:lnTo>
                  <a:lnTo>
                    <a:pt x="2137" y="1341"/>
                  </a:lnTo>
                  <a:lnTo>
                    <a:pt x="2135" y="1341"/>
                  </a:lnTo>
                  <a:lnTo>
                    <a:pt x="2137" y="1341"/>
                  </a:lnTo>
                  <a:lnTo>
                    <a:pt x="2137" y="1341"/>
                  </a:lnTo>
                  <a:lnTo>
                    <a:pt x="2137" y="1341"/>
                  </a:lnTo>
                  <a:lnTo>
                    <a:pt x="2137" y="1341"/>
                  </a:lnTo>
                  <a:lnTo>
                    <a:pt x="2135" y="1339"/>
                  </a:lnTo>
                  <a:lnTo>
                    <a:pt x="2135" y="1339"/>
                  </a:lnTo>
                  <a:lnTo>
                    <a:pt x="2137" y="1339"/>
                  </a:lnTo>
                  <a:lnTo>
                    <a:pt x="2137" y="1339"/>
                  </a:lnTo>
                  <a:lnTo>
                    <a:pt x="2137" y="1339"/>
                  </a:lnTo>
                  <a:lnTo>
                    <a:pt x="2137" y="1339"/>
                  </a:lnTo>
                  <a:lnTo>
                    <a:pt x="2139" y="1339"/>
                  </a:lnTo>
                  <a:lnTo>
                    <a:pt x="2139" y="1339"/>
                  </a:lnTo>
                  <a:lnTo>
                    <a:pt x="2139" y="1339"/>
                  </a:lnTo>
                  <a:lnTo>
                    <a:pt x="2139" y="1336"/>
                  </a:lnTo>
                  <a:lnTo>
                    <a:pt x="2139" y="1336"/>
                  </a:lnTo>
                  <a:lnTo>
                    <a:pt x="2137" y="1336"/>
                  </a:lnTo>
                  <a:lnTo>
                    <a:pt x="2135" y="1336"/>
                  </a:lnTo>
                  <a:lnTo>
                    <a:pt x="2135" y="1336"/>
                  </a:lnTo>
                  <a:lnTo>
                    <a:pt x="2135" y="1336"/>
                  </a:lnTo>
                  <a:lnTo>
                    <a:pt x="2137" y="1334"/>
                  </a:lnTo>
                  <a:lnTo>
                    <a:pt x="2137" y="1334"/>
                  </a:lnTo>
                  <a:lnTo>
                    <a:pt x="2137" y="1334"/>
                  </a:lnTo>
                  <a:lnTo>
                    <a:pt x="2137" y="1334"/>
                  </a:lnTo>
                  <a:lnTo>
                    <a:pt x="2137" y="1334"/>
                  </a:lnTo>
                  <a:lnTo>
                    <a:pt x="2137" y="1334"/>
                  </a:lnTo>
                  <a:lnTo>
                    <a:pt x="2137" y="1334"/>
                  </a:lnTo>
                  <a:lnTo>
                    <a:pt x="2135" y="1334"/>
                  </a:lnTo>
                  <a:lnTo>
                    <a:pt x="2135" y="1334"/>
                  </a:lnTo>
                  <a:lnTo>
                    <a:pt x="2135" y="1334"/>
                  </a:lnTo>
                  <a:lnTo>
                    <a:pt x="2135" y="1334"/>
                  </a:lnTo>
                  <a:lnTo>
                    <a:pt x="2135" y="1334"/>
                  </a:lnTo>
                  <a:lnTo>
                    <a:pt x="2135" y="1334"/>
                  </a:lnTo>
                  <a:lnTo>
                    <a:pt x="2135" y="1331"/>
                  </a:lnTo>
                  <a:lnTo>
                    <a:pt x="2137" y="1331"/>
                  </a:lnTo>
                  <a:lnTo>
                    <a:pt x="2137" y="1331"/>
                  </a:lnTo>
                  <a:lnTo>
                    <a:pt x="2137" y="1331"/>
                  </a:lnTo>
                  <a:lnTo>
                    <a:pt x="2135" y="1331"/>
                  </a:lnTo>
                  <a:lnTo>
                    <a:pt x="2135" y="1331"/>
                  </a:lnTo>
                  <a:lnTo>
                    <a:pt x="2135" y="1331"/>
                  </a:lnTo>
                  <a:lnTo>
                    <a:pt x="2135" y="1329"/>
                  </a:lnTo>
                  <a:lnTo>
                    <a:pt x="2132" y="1329"/>
                  </a:lnTo>
                  <a:lnTo>
                    <a:pt x="2132" y="1329"/>
                  </a:lnTo>
                  <a:lnTo>
                    <a:pt x="2132" y="1329"/>
                  </a:lnTo>
                  <a:lnTo>
                    <a:pt x="2132" y="1329"/>
                  </a:lnTo>
                  <a:lnTo>
                    <a:pt x="2132" y="1329"/>
                  </a:lnTo>
                  <a:lnTo>
                    <a:pt x="2132" y="1329"/>
                  </a:lnTo>
                  <a:lnTo>
                    <a:pt x="2132" y="1329"/>
                  </a:lnTo>
                  <a:lnTo>
                    <a:pt x="2132" y="1327"/>
                  </a:lnTo>
                  <a:lnTo>
                    <a:pt x="2130" y="1329"/>
                  </a:lnTo>
                  <a:lnTo>
                    <a:pt x="2130" y="1327"/>
                  </a:lnTo>
                  <a:lnTo>
                    <a:pt x="2132" y="1327"/>
                  </a:lnTo>
                  <a:lnTo>
                    <a:pt x="2132" y="1327"/>
                  </a:lnTo>
                  <a:lnTo>
                    <a:pt x="2132" y="1327"/>
                  </a:lnTo>
                  <a:lnTo>
                    <a:pt x="2125" y="1324"/>
                  </a:lnTo>
                  <a:lnTo>
                    <a:pt x="2125" y="1324"/>
                  </a:lnTo>
                  <a:lnTo>
                    <a:pt x="2128" y="1322"/>
                  </a:lnTo>
                  <a:lnTo>
                    <a:pt x="2132" y="1324"/>
                  </a:lnTo>
                  <a:lnTo>
                    <a:pt x="2132" y="1324"/>
                  </a:lnTo>
                  <a:lnTo>
                    <a:pt x="2132" y="1324"/>
                  </a:lnTo>
                  <a:lnTo>
                    <a:pt x="2132" y="1324"/>
                  </a:lnTo>
                  <a:lnTo>
                    <a:pt x="2132" y="1324"/>
                  </a:lnTo>
                  <a:lnTo>
                    <a:pt x="2135" y="1324"/>
                  </a:lnTo>
                  <a:lnTo>
                    <a:pt x="2135" y="1324"/>
                  </a:lnTo>
                  <a:lnTo>
                    <a:pt x="2135" y="1322"/>
                  </a:lnTo>
                  <a:lnTo>
                    <a:pt x="2130" y="1322"/>
                  </a:lnTo>
                  <a:lnTo>
                    <a:pt x="2130" y="1322"/>
                  </a:lnTo>
                  <a:lnTo>
                    <a:pt x="2130" y="1322"/>
                  </a:lnTo>
                  <a:lnTo>
                    <a:pt x="2128" y="1322"/>
                  </a:lnTo>
                  <a:lnTo>
                    <a:pt x="2128" y="1322"/>
                  </a:lnTo>
                  <a:lnTo>
                    <a:pt x="2128" y="1322"/>
                  </a:lnTo>
                  <a:lnTo>
                    <a:pt x="2128" y="1320"/>
                  </a:lnTo>
                  <a:lnTo>
                    <a:pt x="2125" y="1320"/>
                  </a:lnTo>
                  <a:lnTo>
                    <a:pt x="2125" y="1320"/>
                  </a:lnTo>
                  <a:lnTo>
                    <a:pt x="2125" y="1320"/>
                  </a:lnTo>
                  <a:lnTo>
                    <a:pt x="2125" y="1320"/>
                  </a:lnTo>
                  <a:lnTo>
                    <a:pt x="2125" y="1320"/>
                  </a:lnTo>
                  <a:lnTo>
                    <a:pt x="2125" y="1317"/>
                  </a:lnTo>
                  <a:lnTo>
                    <a:pt x="2125" y="1317"/>
                  </a:lnTo>
                  <a:lnTo>
                    <a:pt x="2125" y="1317"/>
                  </a:lnTo>
                  <a:lnTo>
                    <a:pt x="2125" y="1317"/>
                  </a:lnTo>
                  <a:lnTo>
                    <a:pt x="2125" y="1317"/>
                  </a:lnTo>
                  <a:lnTo>
                    <a:pt x="2123" y="1317"/>
                  </a:lnTo>
                  <a:lnTo>
                    <a:pt x="2123" y="1315"/>
                  </a:lnTo>
                  <a:lnTo>
                    <a:pt x="2125" y="1315"/>
                  </a:lnTo>
                  <a:lnTo>
                    <a:pt x="2125" y="1315"/>
                  </a:lnTo>
                  <a:lnTo>
                    <a:pt x="2125" y="1317"/>
                  </a:lnTo>
                  <a:lnTo>
                    <a:pt x="2128" y="1317"/>
                  </a:lnTo>
                  <a:lnTo>
                    <a:pt x="2128" y="1320"/>
                  </a:lnTo>
                  <a:lnTo>
                    <a:pt x="2128" y="1320"/>
                  </a:lnTo>
                  <a:lnTo>
                    <a:pt x="2130" y="1317"/>
                  </a:lnTo>
                  <a:lnTo>
                    <a:pt x="2132" y="1317"/>
                  </a:lnTo>
                  <a:lnTo>
                    <a:pt x="2130" y="1315"/>
                  </a:lnTo>
                  <a:lnTo>
                    <a:pt x="2130" y="1315"/>
                  </a:lnTo>
                  <a:lnTo>
                    <a:pt x="2130" y="1315"/>
                  </a:lnTo>
                  <a:lnTo>
                    <a:pt x="2130" y="1315"/>
                  </a:lnTo>
                  <a:lnTo>
                    <a:pt x="2130" y="1315"/>
                  </a:lnTo>
                  <a:lnTo>
                    <a:pt x="2130" y="1313"/>
                  </a:lnTo>
                  <a:lnTo>
                    <a:pt x="2130" y="1313"/>
                  </a:lnTo>
                  <a:lnTo>
                    <a:pt x="2130" y="1313"/>
                  </a:lnTo>
                  <a:lnTo>
                    <a:pt x="2130" y="1313"/>
                  </a:lnTo>
                  <a:lnTo>
                    <a:pt x="2128" y="1313"/>
                  </a:lnTo>
                  <a:lnTo>
                    <a:pt x="2125" y="1313"/>
                  </a:lnTo>
                  <a:lnTo>
                    <a:pt x="2125" y="1313"/>
                  </a:lnTo>
                  <a:lnTo>
                    <a:pt x="2123" y="1313"/>
                  </a:lnTo>
                  <a:lnTo>
                    <a:pt x="2123" y="1313"/>
                  </a:lnTo>
                  <a:lnTo>
                    <a:pt x="2120" y="1313"/>
                  </a:lnTo>
                  <a:lnTo>
                    <a:pt x="2120" y="1313"/>
                  </a:lnTo>
                  <a:lnTo>
                    <a:pt x="2120" y="1313"/>
                  </a:lnTo>
                  <a:lnTo>
                    <a:pt x="2118" y="1313"/>
                  </a:lnTo>
                  <a:lnTo>
                    <a:pt x="2120" y="1313"/>
                  </a:lnTo>
                  <a:lnTo>
                    <a:pt x="2123" y="1313"/>
                  </a:lnTo>
                  <a:lnTo>
                    <a:pt x="2123" y="1313"/>
                  </a:lnTo>
                  <a:lnTo>
                    <a:pt x="2123" y="1313"/>
                  </a:lnTo>
                  <a:lnTo>
                    <a:pt x="2123" y="1310"/>
                  </a:lnTo>
                  <a:lnTo>
                    <a:pt x="2125" y="1310"/>
                  </a:lnTo>
                  <a:lnTo>
                    <a:pt x="2128" y="1310"/>
                  </a:lnTo>
                  <a:lnTo>
                    <a:pt x="2128" y="1310"/>
                  </a:lnTo>
                  <a:lnTo>
                    <a:pt x="2128" y="1308"/>
                  </a:lnTo>
                  <a:lnTo>
                    <a:pt x="2128" y="1308"/>
                  </a:lnTo>
                  <a:lnTo>
                    <a:pt x="2128" y="1308"/>
                  </a:lnTo>
                  <a:lnTo>
                    <a:pt x="2128" y="1308"/>
                  </a:lnTo>
                  <a:lnTo>
                    <a:pt x="2128" y="1305"/>
                  </a:lnTo>
                  <a:lnTo>
                    <a:pt x="2128" y="1305"/>
                  </a:lnTo>
                  <a:lnTo>
                    <a:pt x="2125" y="1305"/>
                  </a:lnTo>
                  <a:lnTo>
                    <a:pt x="2120" y="1301"/>
                  </a:lnTo>
                  <a:lnTo>
                    <a:pt x="2120" y="1298"/>
                  </a:lnTo>
                  <a:lnTo>
                    <a:pt x="2120" y="1296"/>
                  </a:lnTo>
                  <a:lnTo>
                    <a:pt x="2120" y="1296"/>
                  </a:lnTo>
                  <a:lnTo>
                    <a:pt x="2118" y="1296"/>
                  </a:lnTo>
                  <a:lnTo>
                    <a:pt x="2120" y="1296"/>
                  </a:lnTo>
                  <a:lnTo>
                    <a:pt x="2118" y="1296"/>
                  </a:lnTo>
                  <a:lnTo>
                    <a:pt x="2118" y="1296"/>
                  </a:lnTo>
                  <a:lnTo>
                    <a:pt x="2118" y="1294"/>
                  </a:lnTo>
                  <a:lnTo>
                    <a:pt x="2118" y="1294"/>
                  </a:lnTo>
                  <a:lnTo>
                    <a:pt x="2118" y="1294"/>
                  </a:lnTo>
                  <a:lnTo>
                    <a:pt x="2120" y="1294"/>
                  </a:lnTo>
                  <a:lnTo>
                    <a:pt x="2120" y="1296"/>
                  </a:lnTo>
                  <a:lnTo>
                    <a:pt x="2123" y="1298"/>
                  </a:lnTo>
                  <a:lnTo>
                    <a:pt x="2123" y="1298"/>
                  </a:lnTo>
                  <a:lnTo>
                    <a:pt x="2125" y="1303"/>
                  </a:lnTo>
                  <a:lnTo>
                    <a:pt x="2128" y="1303"/>
                  </a:lnTo>
                  <a:lnTo>
                    <a:pt x="2128" y="1305"/>
                  </a:lnTo>
                  <a:lnTo>
                    <a:pt x="2128" y="1305"/>
                  </a:lnTo>
                  <a:lnTo>
                    <a:pt x="2130" y="1308"/>
                  </a:lnTo>
                  <a:lnTo>
                    <a:pt x="2132" y="1308"/>
                  </a:lnTo>
                  <a:lnTo>
                    <a:pt x="2132" y="1310"/>
                  </a:lnTo>
                  <a:lnTo>
                    <a:pt x="2132" y="1310"/>
                  </a:lnTo>
                  <a:lnTo>
                    <a:pt x="2135" y="1310"/>
                  </a:lnTo>
                  <a:lnTo>
                    <a:pt x="2135" y="1310"/>
                  </a:lnTo>
                  <a:lnTo>
                    <a:pt x="2135" y="1308"/>
                  </a:lnTo>
                  <a:lnTo>
                    <a:pt x="2137" y="1308"/>
                  </a:lnTo>
                  <a:lnTo>
                    <a:pt x="2137" y="1308"/>
                  </a:lnTo>
                  <a:lnTo>
                    <a:pt x="2137" y="1310"/>
                  </a:lnTo>
                  <a:lnTo>
                    <a:pt x="2139" y="1310"/>
                  </a:lnTo>
                  <a:lnTo>
                    <a:pt x="2139" y="1310"/>
                  </a:lnTo>
                  <a:lnTo>
                    <a:pt x="2139" y="1310"/>
                  </a:lnTo>
                  <a:lnTo>
                    <a:pt x="2139" y="1310"/>
                  </a:lnTo>
                  <a:lnTo>
                    <a:pt x="2142" y="1308"/>
                  </a:lnTo>
                  <a:lnTo>
                    <a:pt x="2139" y="1308"/>
                  </a:lnTo>
                  <a:lnTo>
                    <a:pt x="2139" y="1308"/>
                  </a:lnTo>
                  <a:lnTo>
                    <a:pt x="2139" y="1305"/>
                  </a:lnTo>
                  <a:lnTo>
                    <a:pt x="2139" y="1303"/>
                  </a:lnTo>
                  <a:lnTo>
                    <a:pt x="2139" y="1303"/>
                  </a:lnTo>
                  <a:lnTo>
                    <a:pt x="2137" y="1301"/>
                  </a:lnTo>
                  <a:lnTo>
                    <a:pt x="2137" y="1301"/>
                  </a:lnTo>
                  <a:lnTo>
                    <a:pt x="2137" y="1301"/>
                  </a:lnTo>
                  <a:lnTo>
                    <a:pt x="2137" y="1301"/>
                  </a:lnTo>
                  <a:lnTo>
                    <a:pt x="2137" y="1301"/>
                  </a:lnTo>
                  <a:lnTo>
                    <a:pt x="2139" y="1303"/>
                  </a:lnTo>
                  <a:lnTo>
                    <a:pt x="2139" y="1303"/>
                  </a:lnTo>
                  <a:lnTo>
                    <a:pt x="2142" y="1305"/>
                  </a:lnTo>
                  <a:lnTo>
                    <a:pt x="2142" y="1308"/>
                  </a:lnTo>
                  <a:lnTo>
                    <a:pt x="2142" y="1308"/>
                  </a:lnTo>
                  <a:lnTo>
                    <a:pt x="2142" y="1308"/>
                  </a:lnTo>
                  <a:lnTo>
                    <a:pt x="2142" y="1308"/>
                  </a:lnTo>
                  <a:lnTo>
                    <a:pt x="2142" y="1308"/>
                  </a:lnTo>
                  <a:lnTo>
                    <a:pt x="2142" y="1308"/>
                  </a:lnTo>
                  <a:lnTo>
                    <a:pt x="2142" y="1308"/>
                  </a:lnTo>
                  <a:lnTo>
                    <a:pt x="2144" y="1308"/>
                  </a:lnTo>
                  <a:lnTo>
                    <a:pt x="2144" y="1308"/>
                  </a:lnTo>
                  <a:lnTo>
                    <a:pt x="2144" y="1308"/>
                  </a:lnTo>
                  <a:lnTo>
                    <a:pt x="2144" y="1310"/>
                  </a:lnTo>
                  <a:lnTo>
                    <a:pt x="2146" y="1308"/>
                  </a:lnTo>
                  <a:lnTo>
                    <a:pt x="2146" y="1308"/>
                  </a:lnTo>
                  <a:lnTo>
                    <a:pt x="2146" y="1308"/>
                  </a:lnTo>
                  <a:lnTo>
                    <a:pt x="2144" y="1308"/>
                  </a:lnTo>
                  <a:lnTo>
                    <a:pt x="2146" y="1305"/>
                  </a:lnTo>
                  <a:lnTo>
                    <a:pt x="2146" y="1305"/>
                  </a:lnTo>
                  <a:lnTo>
                    <a:pt x="2146" y="1305"/>
                  </a:lnTo>
                  <a:lnTo>
                    <a:pt x="2146" y="1308"/>
                  </a:lnTo>
                  <a:lnTo>
                    <a:pt x="2146" y="1308"/>
                  </a:lnTo>
                  <a:lnTo>
                    <a:pt x="2149" y="1308"/>
                  </a:lnTo>
                  <a:lnTo>
                    <a:pt x="2149" y="1305"/>
                  </a:lnTo>
                  <a:lnTo>
                    <a:pt x="2149" y="1305"/>
                  </a:lnTo>
                  <a:lnTo>
                    <a:pt x="2149" y="1303"/>
                  </a:lnTo>
                  <a:lnTo>
                    <a:pt x="2146" y="1303"/>
                  </a:lnTo>
                  <a:lnTo>
                    <a:pt x="2146" y="1303"/>
                  </a:lnTo>
                  <a:lnTo>
                    <a:pt x="2146" y="1303"/>
                  </a:lnTo>
                  <a:lnTo>
                    <a:pt x="2144" y="1301"/>
                  </a:lnTo>
                  <a:lnTo>
                    <a:pt x="2144" y="1301"/>
                  </a:lnTo>
                  <a:lnTo>
                    <a:pt x="2142" y="1301"/>
                  </a:lnTo>
                  <a:lnTo>
                    <a:pt x="2139" y="1301"/>
                  </a:lnTo>
                  <a:lnTo>
                    <a:pt x="2139" y="1298"/>
                  </a:lnTo>
                  <a:lnTo>
                    <a:pt x="2139" y="1298"/>
                  </a:lnTo>
                  <a:lnTo>
                    <a:pt x="2144" y="1298"/>
                  </a:lnTo>
                  <a:lnTo>
                    <a:pt x="2144" y="1298"/>
                  </a:lnTo>
                  <a:lnTo>
                    <a:pt x="2146" y="1301"/>
                  </a:lnTo>
                  <a:lnTo>
                    <a:pt x="2146" y="1298"/>
                  </a:lnTo>
                  <a:lnTo>
                    <a:pt x="2146" y="1298"/>
                  </a:lnTo>
                  <a:lnTo>
                    <a:pt x="2146" y="1298"/>
                  </a:lnTo>
                  <a:lnTo>
                    <a:pt x="2146" y="1296"/>
                  </a:lnTo>
                  <a:lnTo>
                    <a:pt x="2146" y="1296"/>
                  </a:lnTo>
                  <a:lnTo>
                    <a:pt x="2144" y="1296"/>
                  </a:lnTo>
                  <a:lnTo>
                    <a:pt x="2142" y="1296"/>
                  </a:lnTo>
                  <a:lnTo>
                    <a:pt x="2142" y="1296"/>
                  </a:lnTo>
                  <a:lnTo>
                    <a:pt x="2142" y="1296"/>
                  </a:lnTo>
                  <a:lnTo>
                    <a:pt x="2142" y="1296"/>
                  </a:lnTo>
                  <a:lnTo>
                    <a:pt x="2139" y="1294"/>
                  </a:lnTo>
                  <a:lnTo>
                    <a:pt x="2137" y="1294"/>
                  </a:lnTo>
                  <a:lnTo>
                    <a:pt x="2137" y="1294"/>
                  </a:lnTo>
                  <a:lnTo>
                    <a:pt x="2137" y="1294"/>
                  </a:lnTo>
                  <a:lnTo>
                    <a:pt x="2137" y="1294"/>
                  </a:lnTo>
                  <a:lnTo>
                    <a:pt x="2137" y="1294"/>
                  </a:lnTo>
                  <a:lnTo>
                    <a:pt x="2137" y="1294"/>
                  </a:lnTo>
                  <a:lnTo>
                    <a:pt x="2137" y="1294"/>
                  </a:lnTo>
                  <a:lnTo>
                    <a:pt x="2137" y="1291"/>
                  </a:lnTo>
                  <a:lnTo>
                    <a:pt x="2137" y="1291"/>
                  </a:lnTo>
                  <a:lnTo>
                    <a:pt x="2137" y="1291"/>
                  </a:lnTo>
                  <a:lnTo>
                    <a:pt x="2137" y="1291"/>
                  </a:lnTo>
                  <a:lnTo>
                    <a:pt x="2135" y="1291"/>
                  </a:lnTo>
                  <a:lnTo>
                    <a:pt x="2137" y="1291"/>
                  </a:lnTo>
                  <a:lnTo>
                    <a:pt x="2137" y="1291"/>
                  </a:lnTo>
                  <a:lnTo>
                    <a:pt x="2137" y="1291"/>
                  </a:lnTo>
                  <a:lnTo>
                    <a:pt x="2137" y="1291"/>
                  </a:lnTo>
                  <a:lnTo>
                    <a:pt x="2137" y="1291"/>
                  </a:lnTo>
                  <a:lnTo>
                    <a:pt x="2139" y="1294"/>
                  </a:lnTo>
                  <a:lnTo>
                    <a:pt x="2139" y="1294"/>
                  </a:lnTo>
                  <a:lnTo>
                    <a:pt x="2139" y="1294"/>
                  </a:lnTo>
                  <a:lnTo>
                    <a:pt x="2139" y="1294"/>
                  </a:lnTo>
                  <a:lnTo>
                    <a:pt x="2139" y="1294"/>
                  </a:lnTo>
                  <a:lnTo>
                    <a:pt x="2139" y="1294"/>
                  </a:lnTo>
                  <a:lnTo>
                    <a:pt x="2142" y="1294"/>
                  </a:lnTo>
                  <a:lnTo>
                    <a:pt x="2142" y="1294"/>
                  </a:lnTo>
                  <a:lnTo>
                    <a:pt x="2144" y="1294"/>
                  </a:lnTo>
                  <a:lnTo>
                    <a:pt x="2144" y="1294"/>
                  </a:lnTo>
                  <a:lnTo>
                    <a:pt x="2144" y="1294"/>
                  </a:lnTo>
                  <a:lnTo>
                    <a:pt x="2146" y="1294"/>
                  </a:lnTo>
                  <a:lnTo>
                    <a:pt x="2146" y="1294"/>
                  </a:lnTo>
                  <a:lnTo>
                    <a:pt x="2146" y="1294"/>
                  </a:lnTo>
                  <a:lnTo>
                    <a:pt x="2146" y="1294"/>
                  </a:lnTo>
                  <a:lnTo>
                    <a:pt x="2146" y="1294"/>
                  </a:lnTo>
                  <a:lnTo>
                    <a:pt x="2146" y="1294"/>
                  </a:lnTo>
                  <a:lnTo>
                    <a:pt x="2149" y="1294"/>
                  </a:lnTo>
                  <a:lnTo>
                    <a:pt x="2149" y="1291"/>
                  </a:lnTo>
                  <a:lnTo>
                    <a:pt x="2151" y="1291"/>
                  </a:lnTo>
                  <a:lnTo>
                    <a:pt x="2151" y="1291"/>
                  </a:lnTo>
                  <a:lnTo>
                    <a:pt x="2151" y="1291"/>
                  </a:lnTo>
                  <a:lnTo>
                    <a:pt x="2151" y="1291"/>
                  </a:lnTo>
                  <a:lnTo>
                    <a:pt x="2151" y="1291"/>
                  </a:lnTo>
                  <a:lnTo>
                    <a:pt x="2149" y="1289"/>
                  </a:lnTo>
                  <a:lnTo>
                    <a:pt x="2149" y="1289"/>
                  </a:lnTo>
                  <a:lnTo>
                    <a:pt x="2149" y="1289"/>
                  </a:lnTo>
                  <a:lnTo>
                    <a:pt x="2149" y="1286"/>
                  </a:lnTo>
                  <a:lnTo>
                    <a:pt x="2149" y="1286"/>
                  </a:lnTo>
                  <a:lnTo>
                    <a:pt x="2149" y="1286"/>
                  </a:lnTo>
                  <a:lnTo>
                    <a:pt x="2149" y="1286"/>
                  </a:lnTo>
                  <a:lnTo>
                    <a:pt x="2149" y="1286"/>
                  </a:lnTo>
                  <a:lnTo>
                    <a:pt x="2149" y="1286"/>
                  </a:lnTo>
                  <a:lnTo>
                    <a:pt x="2146" y="1286"/>
                  </a:lnTo>
                  <a:lnTo>
                    <a:pt x="2146" y="1286"/>
                  </a:lnTo>
                  <a:lnTo>
                    <a:pt x="2146" y="1286"/>
                  </a:lnTo>
                  <a:lnTo>
                    <a:pt x="2146" y="1286"/>
                  </a:lnTo>
                  <a:lnTo>
                    <a:pt x="2146" y="1286"/>
                  </a:lnTo>
                  <a:lnTo>
                    <a:pt x="2146" y="1286"/>
                  </a:lnTo>
                  <a:lnTo>
                    <a:pt x="2146" y="1284"/>
                  </a:lnTo>
                  <a:lnTo>
                    <a:pt x="2146" y="1284"/>
                  </a:lnTo>
                  <a:lnTo>
                    <a:pt x="2146" y="1284"/>
                  </a:lnTo>
                  <a:lnTo>
                    <a:pt x="2144" y="1282"/>
                  </a:lnTo>
                  <a:lnTo>
                    <a:pt x="2144" y="1282"/>
                  </a:lnTo>
                  <a:lnTo>
                    <a:pt x="2144" y="1284"/>
                  </a:lnTo>
                  <a:lnTo>
                    <a:pt x="2144" y="1282"/>
                  </a:lnTo>
                  <a:lnTo>
                    <a:pt x="2142" y="1282"/>
                  </a:lnTo>
                  <a:lnTo>
                    <a:pt x="2142" y="1282"/>
                  </a:lnTo>
                  <a:lnTo>
                    <a:pt x="2135" y="1284"/>
                  </a:lnTo>
                  <a:lnTo>
                    <a:pt x="2135" y="1284"/>
                  </a:lnTo>
                  <a:lnTo>
                    <a:pt x="2132" y="1282"/>
                  </a:lnTo>
                  <a:lnTo>
                    <a:pt x="2132" y="1282"/>
                  </a:lnTo>
                  <a:lnTo>
                    <a:pt x="2132" y="1282"/>
                  </a:lnTo>
                  <a:lnTo>
                    <a:pt x="2130" y="1279"/>
                  </a:lnTo>
                  <a:lnTo>
                    <a:pt x="2130" y="1279"/>
                  </a:lnTo>
                  <a:lnTo>
                    <a:pt x="2130" y="1277"/>
                  </a:lnTo>
                  <a:lnTo>
                    <a:pt x="2130" y="1277"/>
                  </a:lnTo>
                  <a:lnTo>
                    <a:pt x="2130" y="1277"/>
                  </a:lnTo>
                  <a:lnTo>
                    <a:pt x="2128" y="1279"/>
                  </a:lnTo>
                  <a:lnTo>
                    <a:pt x="2128" y="1279"/>
                  </a:lnTo>
                  <a:lnTo>
                    <a:pt x="2125" y="1279"/>
                  </a:lnTo>
                  <a:lnTo>
                    <a:pt x="2128" y="1277"/>
                  </a:lnTo>
                  <a:lnTo>
                    <a:pt x="2130" y="1277"/>
                  </a:lnTo>
                  <a:lnTo>
                    <a:pt x="2130" y="1277"/>
                  </a:lnTo>
                  <a:lnTo>
                    <a:pt x="2132" y="1277"/>
                  </a:lnTo>
                  <a:lnTo>
                    <a:pt x="2132" y="1279"/>
                  </a:lnTo>
                  <a:lnTo>
                    <a:pt x="2132" y="1282"/>
                  </a:lnTo>
                  <a:lnTo>
                    <a:pt x="2135" y="1282"/>
                  </a:lnTo>
                  <a:lnTo>
                    <a:pt x="2135" y="1282"/>
                  </a:lnTo>
                  <a:lnTo>
                    <a:pt x="2135" y="1282"/>
                  </a:lnTo>
                  <a:lnTo>
                    <a:pt x="2135" y="1282"/>
                  </a:lnTo>
                  <a:lnTo>
                    <a:pt x="2137" y="1282"/>
                  </a:lnTo>
                  <a:lnTo>
                    <a:pt x="2137" y="1282"/>
                  </a:lnTo>
                  <a:lnTo>
                    <a:pt x="2137" y="1282"/>
                  </a:lnTo>
                  <a:lnTo>
                    <a:pt x="2137" y="1282"/>
                  </a:lnTo>
                  <a:lnTo>
                    <a:pt x="2137" y="1282"/>
                  </a:lnTo>
                  <a:lnTo>
                    <a:pt x="2139" y="1282"/>
                  </a:lnTo>
                  <a:lnTo>
                    <a:pt x="2139" y="1282"/>
                  </a:lnTo>
                  <a:lnTo>
                    <a:pt x="2142" y="1279"/>
                  </a:lnTo>
                  <a:lnTo>
                    <a:pt x="2142" y="1279"/>
                  </a:lnTo>
                  <a:lnTo>
                    <a:pt x="2144" y="1282"/>
                  </a:lnTo>
                  <a:lnTo>
                    <a:pt x="2144" y="1282"/>
                  </a:lnTo>
                  <a:lnTo>
                    <a:pt x="2144" y="1279"/>
                  </a:lnTo>
                  <a:lnTo>
                    <a:pt x="2144" y="1279"/>
                  </a:lnTo>
                  <a:lnTo>
                    <a:pt x="2146" y="1279"/>
                  </a:lnTo>
                  <a:lnTo>
                    <a:pt x="2146" y="1282"/>
                  </a:lnTo>
                  <a:lnTo>
                    <a:pt x="2146" y="1282"/>
                  </a:lnTo>
                  <a:lnTo>
                    <a:pt x="2146" y="1282"/>
                  </a:lnTo>
                  <a:lnTo>
                    <a:pt x="2146" y="1282"/>
                  </a:lnTo>
                  <a:lnTo>
                    <a:pt x="2149" y="1282"/>
                  </a:lnTo>
                  <a:lnTo>
                    <a:pt x="2149" y="1279"/>
                  </a:lnTo>
                  <a:lnTo>
                    <a:pt x="2151" y="1279"/>
                  </a:lnTo>
                  <a:lnTo>
                    <a:pt x="2151" y="1279"/>
                  </a:lnTo>
                  <a:lnTo>
                    <a:pt x="2151" y="1279"/>
                  </a:lnTo>
                  <a:lnTo>
                    <a:pt x="2154" y="1277"/>
                  </a:lnTo>
                  <a:lnTo>
                    <a:pt x="2154" y="1277"/>
                  </a:lnTo>
                  <a:lnTo>
                    <a:pt x="2156" y="1277"/>
                  </a:lnTo>
                  <a:lnTo>
                    <a:pt x="2156" y="1277"/>
                  </a:lnTo>
                  <a:lnTo>
                    <a:pt x="2156" y="1275"/>
                  </a:lnTo>
                  <a:lnTo>
                    <a:pt x="2154" y="1275"/>
                  </a:lnTo>
                  <a:lnTo>
                    <a:pt x="2154" y="1275"/>
                  </a:lnTo>
                  <a:lnTo>
                    <a:pt x="2151" y="1275"/>
                  </a:lnTo>
                  <a:lnTo>
                    <a:pt x="2151" y="1275"/>
                  </a:lnTo>
                  <a:lnTo>
                    <a:pt x="2151" y="1275"/>
                  </a:lnTo>
                  <a:lnTo>
                    <a:pt x="2151" y="1275"/>
                  </a:lnTo>
                  <a:lnTo>
                    <a:pt x="2154" y="1275"/>
                  </a:lnTo>
                  <a:lnTo>
                    <a:pt x="2154" y="1272"/>
                  </a:lnTo>
                  <a:lnTo>
                    <a:pt x="2154" y="1272"/>
                  </a:lnTo>
                  <a:lnTo>
                    <a:pt x="2151" y="1272"/>
                  </a:lnTo>
                  <a:lnTo>
                    <a:pt x="2151" y="1272"/>
                  </a:lnTo>
                  <a:lnTo>
                    <a:pt x="2151" y="1272"/>
                  </a:lnTo>
                  <a:lnTo>
                    <a:pt x="2151" y="1272"/>
                  </a:lnTo>
                  <a:lnTo>
                    <a:pt x="2151" y="1272"/>
                  </a:lnTo>
                  <a:lnTo>
                    <a:pt x="2151" y="1272"/>
                  </a:lnTo>
                  <a:lnTo>
                    <a:pt x="2151" y="1272"/>
                  </a:lnTo>
                  <a:lnTo>
                    <a:pt x="2151" y="1272"/>
                  </a:lnTo>
                  <a:lnTo>
                    <a:pt x="2149" y="1272"/>
                  </a:lnTo>
                  <a:lnTo>
                    <a:pt x="2149" y="1272"/>
                  </a:lnTo>
                  <a:lnTo>
                    <a:pt x="2149" y="1272"/>
                  </a:lnTo>
                  <a:lnTo>
                    <a:pt x="2149" y="1270"/>
                  </a:lnTo>
                  <a:lnTo>
                    <a:pt x="2149" y="1270"/>
                  </a:lnTo>
                  <a:lnTo>
                    <a:pt x="2149" y="1270"/>
                  </a:lnTo>
                  <a:lnTo>
                    <a:pt x="2144" y="1270"/>
                  </a:lnTo>
                  <a:lnTo>
                    <a:pt x="2142" y="1270"/>
                  </a:lnTo>
                  <a:lnTo>
                    <a:pt x="2142" y="1270"/>
                  </a:lnTo>
                  <a:lnTo>
                    <a:pt x="2142" y="1270"/>
                  </a:lnTo>
                  <a:lnTo>
                    <a:pt x="2139" y="1270"/>
                  </a:lnTo>
                  <a:lnTo>
                    <a:pt x="2139" y="1270"/>
                  </a:lnTo>
                  <a:lnTo>
                    <a:pt x="2139" y="1270"/>
                  </a:lnTo>
                  <a:lnTo>
                    <a:pt x="2137" y="1268"/>
                  </a:lnTo>
                  <a:lnTo>
                    <a:pt x="2137" y="1268"/>
                  </a:lnTo>
                  <a:lnTo>
                    <a:pt x="2135" y="1272"/>
                  </a:lnTo>
                  <a:lnTo>
                    <a:pt x="2135" y="1272"/>
                  </a:lnTo>
                  <a:lnTo>
                    <a:pt x="2132" y="1272"/>
                  </a:lnTo>
                  <a:lnTo>
                    <a:pt x="2132" y="1270"/>
                  </a:lnTo>
                  <a:lnTo>
                    <a:pt x="2130" y="1270"/>
                  </a:lnTo>
                  <a:lnTo>
                    <a:pt x="2130" y="1270"/>
                  </a:lnTo>
                  <a:lnTo>
                    <a:pt x="2130" y="1268"/>
                  </a:lnTo>
                  <a:lnTo>
                    <a:pt x="2130" y="1268"/>
                  </a:lnTo>
                  <a:lnTo>
                    <a:pt x="2128" y="1265"/>
                  </a:lnTo>
                  <a:lnTo>
                    <a:pt x="2128" y="1265"/>
                  </a:lnTo>
                  <a:lnTo>
                    <a:pt x="2125" y="1265"/>
                  </a:lnTo>
                  <a:lnTo>
                    <a:pt x="2125" y="1265"/>
                  </a:lnTo>
                  <a:lnTo>
                    <a:pt x="2128" y="1265"/>
                  </a:lnTo>
                  <a:lnTo>
                    <a:pt x="2128" y="1265"/>
                  </a:lnTo>
                  <a:lnTo>
                    <a:pt x="2130" y="1265"/>
                  </a:lnTo>
                  <a:lnTo>
                    <a:pt x="2130" y="1265"/>
                  </a:lnTo>
                  <a:lnTo>
                    <a:pt x="2130" y="1265"/>
                  </a:lnTo>
                  <a:lnTo>
                    <a:pt x="2130" y="1268"/>
                  </a:lnTo>
                  <a:lnTo>
                    <a:pt x="2130" y="1268"/>
                  </a:lnTo>
                  <a:lnTo>
                    <a:pt x="2130" y="1268"/>
                  </a:lnTo>
                  <a:lnTo>
                    <a:pt x="2130" y="1268"/>
                  </a:lnTo>
                  <a:lnTo>
                    <a:pt x="2130" y="1268"/>
                  </a:lnTo>
                  <a:lnTo>
                    <a:pt x="2130" y="1268"/>
                  </a:lnTo>
                  <a:lnTo>
                    <a:pt x="2130" y="1268"/>
                  </a:lnTo>
                  <a:lnTo>
                    <a:pt x="2130" y="1270"/>
                  </a:lnTo>
                  <a:lnTo>
                    <a:pt x="2132" y="1270"/>
                  </a:lnTo>
                  <a:lnTo>
                    <a:pt x="2132" y="1270"/>
                  </a:lnTo>
                  <a:lnTo>
                    <a:pt x="2132" y="1270"/>
                  </a:lnTo>
                  <a:lnTo>
                    <a:pt x="2135" y="1270"/>
                  </a:lnTo>
                  <a:lnTo>
                    <a:pt x="2135" y="1270"/>
                  </a:lnTo>
                  <a:lnTo>
                    <a:pt x="2135" y="1270"/>
                  </a:lnTo>
                  <a:lnTo>
                    <a:pt x="2137" y="1268"/>
                  </a:lnTo>
                  <a:lnTo>
                    <a:pt x="2137" y="1265"/>
                  </a:lnTo>
                  <a:lnTo>
                    <a:pt x="2139" y="1265"/>
                  </a:lnTo>
                  <a:lnTo>
                    <a:pt x="2139" y="1263"/>
                  </a:lnTo>
                  <a:lnTo>
                    <a:pt x="2142" y="1263"/>
                  </a:lnTo>
                  <a:lnTo>
                    <a:pt x="2139" y="1260"/>
                  </a:lnTo>
                  <a:lnTo>
                    <a:pt x="2137" y="1260"/>
                  </a:lnTo>
                  <a:lnTo>
                    <a:pt x="2135" y="1258"/>
                  </a:lnTo>
                  <a:lnTo>
                    <a:pt x="2135" y="1258"/>
                  </a:lnTo>
                  <a:lnTo>
                    <a:pt x="2135" y="1258"/>
                  </a:lnTo>
                  <a:lnTo>
                    <a:pt x="2132" y="1258"/>
                  </a:lnTo>
                  <a:lnTo>
                    <a:pt x="2132" y="1258"/>
                  </a:lnTo>
                  <a:lnTo>
                    <a:pt x="2132" y="1258"/>
                  </a:lnTo>
                  <a:lnTo>
                    <a:pt x="2132" y="1260"/>
                  </a:lnTo>
                  <a:lnTo>
                    <a:pt x="2130" y="1260"/>
                  </a:lnTo>
                  <a:lnTo>
                    <a:pt x="2130" y="1258"/>
                  </a:lnTo>
                  <a:lnTo>
                    <a:pt x="2128" y="1258"/>
                  </a:lnTo>
                  <a:lnTo>
                    <a:pt x="2130" y="1258"/>
                  </a:lnTo>
                  <a:lnTo>
                    <a:pt x="2130" y="1258"/>
                  </a:lnTo>
                  <a:lnTo>
                    <a:pt x="2130" y="1258"/>
                  </a:lnTo>
                  <a:lnTo>
                    <a:pt x="2130" y="1258"/>
                  </a:lnTo>
                  <a:lnTo>
                    <a:pt x="2132" y="1258"/>
                  </a:lnTo>
                  <a:lnTo>
                    <a:pt x="2130" y="1258"/>
                  </a:lnTo>
                  <a:lnTo>
                    <a:pt x="2130" y="1258"/>
                  </a:lnTo>
                  <a:lnTo>
                    <a:pt x="2130" y="1256"/>
                  </a:lnTo>
                  <a:lnTo>
                    <a:pt x="2130" y="1256"/>
                  </a:lnTo>
                  <a:lnTo>
                    <a:pt x="2135" y="1256"/>
                  </a:lnTo>
                  <a:lnTo>
                    <a:pt x="2135" y="1256"/>
                  </a:lnTo>
                  <a:lnTo>
                    <a:pt x="2137" y="1256"/>
                  </a:lnTo>
                  <a:lnTo>
                    <a:pt x="2137" y="1256"/>
                  </a:lnTo>
                  <a:lnTo>
                    <a:pt x="2139" y="1256"/>
                  </a:lnTo>
                  <a:lnTo>
                    <a:pt x="2139" y="1256"/>
                  </a:lnTo>
                  <a:lnTo>
                    <a:pt x="2142" y="1256"/>
                  </a:lnTo>
                  <a:lnTo>
                    <a:pt x="2142" y="1258"/>
                  </a:lnTo>
                  <a:lnTo>
                    <a:pt x="2142" y="1258"/>
                  </a:lnTo>
                  <a:lnTo>
                    <a:pt x="2142" y="1258"/>
                  </a:lnTo>
                  <a:lnTo>
                    <a:pt x="2142" y="1260"/>
                  </a:lnTo>
                  <a:lnTo>
                    <a:pt x="2144" y="1260"/>
                  </a:lnTo>
                  <a:lnTo>
                    <a:pt x="2144" y="1260"/>
                  </a:lnTo>
                  <a:lnTo>
                    <a:pt x="2146" y="1258"/>
                  </a:lnTo>
                  <a:lnTo>
                    <a:pt x="2146" y="1258"/>
                  </a:lnTo>
                  <a:lnTo>
                    <a:pt x="2146" y="1258"/>
                  </a:lnTo>
                  <a:lnTo>
                    <a:pt x="2146" y="1258"/>
                  </a:lnTo>
                  <a:lnTo>
                    <a:pt x="2149" y="1258"/>
                  </a:lnTo>
                  <a:lnTo>
                    <a:pt x="2149" y="1258"/>
                  </a:lnTo>
                  <a:lnTo>
                    <a:pt x="2149" y="1260"/>
                  </a:lnTo>
                  <a:lnTo>
                    <a:pt x="2151" y="1260"/>
                  </a:lnTo>
                  <a:lnTo>
                    <a:pt x="2151" y="1258"/>
                  </a:lnTo>
                  <a:lnTo>
                    <a:pt x="2151" y="1258"/>
                  </a:lnTo>
                  <a:lnTo>
                    <a:pt x="2154" y="1258"/>
                  </a:lnTo>
                  <a:lnTo>
                    <a:pt x="2154" y="1256"/>
                  </a:lnTo>
                  <a:lnTo>
                    <a:pt x="2154" y="1256"/>
                  </a:lnTo>
                  <a:lnTo>
                    <a:pt x="2154" y="1256"/>
                  </a:lnTo>
                  <a:lnTo>
                    <a:pt x="2156" y="1256"/>
                  </a:lnTo>
                  <a:lnTo>
                    <a:pt x="2156" y="1253"/>
                  </a:lnTo>
                  <a:lnTo>
                    <a:pt x="2156" y="1253"/>
                  </a:lnTo>
                  <a:lnTo>
                    <a:pt x="2156" y="1253"/>
                  </a:lnTo>
                  <a:lnTo>
                    <a:pt x="2156" y="1253"/>
                  </a:lnTo>
                  <a:lnTo>
                    <a:pt x="2156" y="1253"/>
                  </a:lnTo>
                  <a:lnTo>
                    <a:pt x="2158" y="1253"/>
                  </a:lnTo>
                  <a:lnTo>
                    <a:pt x="2158" y="1253"/>
                  </a:lnTo>
                  <a:lnTo>
                    <a:pt x="2158" y="1253"/>
                  </a:lnTo>
                  <a:lnTo>
                    <a:pt x="2161" y="1251"/>
                  </a:lnTo>
                  <a:lnTo>
                    <a:pt x="2161" y="1251"/>
                  </a:lnTo>
                  <a:lnTo>
                    <a:pt x="2161" y="1251"/>
                  </a:lnTo>
                  <a:lnTo>
                    <a:pt x="2158" y="1249"/>
                  </a:lnTo>
                  <a:lnTo>
                    <a:pt x="2158" y="1249"/>
                  </a:lnTo>
                  <a:lnTo>
                    <a:pt x="2158" y="1249"/>
                  </a:lnTo>
                  <a:lnTo>
                    <a:pt x="2156" y="1249"/>
                  </a:lnTo>
                  <a:lnTo>
                    <a:pt x="2156" y="1249"/>
                  </a:lnTo>
                  <a:lnTo>
                    <a:pt x="2149" y="1251"/>
                  </a:lnTo>
                  <a:lnTo>
                    <a:pt x="2149" y="1253"/>
                  </a:lnTo>
                  <a:lnTo>
                    <a:pt x="2146" y="1253"/>
                  </a:lnTo>
                  <a:lnTo>
                    <a:pt x="2146" y="1253"/>
                  </a:lnTo>
                  <a:lnTo>
                    <a:pt x="2146" y="1251"/>
                  </a:lnTo>
                  <a:lnTo>
                    <a:pt x="2149" y="1251"/>
                  </a:lnTo>
                  <a:lnTo>
                    <a:pt x="2149" y="1251"/>
                  </a:lnTo>
                  <a:lnTo>
                    <a:pt x="2149" y="1249"/>
                  </a:lnTo>
                  <a:lnTo>
                    <a:pt x="2149" y="1249"/>
                  </a:lnTo>
                  <a:lnTo>
                    <a:pt x="2149" y="1249"/>
                  </a:lnTo>
                  <a:lnTo>
                    <a:pt x="2149" y="1249"/>
                  </a:lnTo>
                  <a:lnTo>
                    <a:pt x="2151" y="1249"/>
                  </a:lnTo>
                  <a:lnTo>
                    <a:pt x="2151" y="1249"/>
                  </a:lnTo>
                  <a:lnTo>
                    <a:pt x="2151" y="1249"/>
                  </a:lnTo>
                  <a:lnTo>
                    <a:pt x="2151" y="1249"/>
                  </a:lnTo>
                  <a:lnTo>
                    <a:pt x="2151" y="1246"/>
                  </a:lnTo>
                  <a:lnTo>
                    <a:pt x="2151" y="1246"/>
                  </a:lnTo>
                  <a:lnTo>
                    <a:pt x="2154" y="1246"/>
                  </a:lnTo>
                  <a:lnTo>
                    <a:pt x="2154" y="1246"/>
                  </a:lnTo>
                  <a:lnTo>
                    <a:pt x="2154" y="1246"/>
                  </a:lnTo>
                  <a:lnTo>
                    <a:pt x="2156" y="1244"/>
                  </a:lnTo>
                  <a:lnTo>
                    <a:pt x="2154" y="1244"/>
                  </a:lnTo>
                  <a:lnTo>
                    <a:pt x="2154" y="1244"/>
                  </a:lnTo>
                  <a:lnTo>
                    <a:pt x="2154" y="1244"/>
                  </a:lnTo>
                  <a:lnTo>
                    <a:pt x="2154" y="1244"/>
                  </a:lnTo>
                  <a:lnTo>
                    <a:pt x="2151" y="1242"/>
                  </a:lnTo>
                  <a:lnTo>
                    <a:pt x="2146" y="1239"/>
                  </a:lnTo>
                  <a:lnTo>
                    <a:pt x="2146" y="1239"/>
                  </a:lnTo>
                  <a:lnTo>
                    <a:pt x="2146" y="1237"/>
                  </a:lnTo>
                  <a:lnTo>
                    <a:pt x="2142" y="1237"/>
                  </a:lnTo>
                  <a:lnTo>
                    <a:pt x="2142" y="1239"/>
                  </a:lnTo>
                  <a:lnTo>
                    <a:pt x="2139" y="1239"/>
                  </a:lnTo>
                  <a:lnTo>
                    <a:pt x="2139" y="1239"/>
                  </a:lnTo>
                  <a:lnTo>
                    <a:pt x="2139" y="1242"/>
                  </a:lnTo>
                  <a:lnTo>
                    <a:pt x="2139" y="1242"/>
                  </a:lnTo>
                  <a:lnTo>
                    <a:pt x="2137" y="1242"/>
                  </a:lnTo>
                  <a:lnTo>
                    <a:pt x="2137" y="1242"/>
                  </a:lnTo>
                  <a:lnTo>
                    <a:pt x="2139" y="1239"/>
                  </a:lnTo>
                  <a:lnTo>
                    <a:pt x="2139" y="1237"/>
                  </a:lnTo>
                  <a:lnTo>
                    <a:pt x="2139" y="1237"/>
                  </a:lnTo>
                  <a:lnTo>
                    <a:pt x="2139" y="1237"/>
                  </a:lnTo>
                  <a:lnTo>
                    <a:pt x="2139" y="1234"/>
                  </a:lnTo>
                  <a:lnTo>
                    <a:pt x="2142" y="1234"/>
                  </a:lnTo>
                  <a:lnTo>
                    <a:pt x="2142" y="1237"/>
                  </a:lnTo>
                  <a:lnTo>
                    <a:pt x="2144" y="1237"/>
                  </a:lnTo>
                  <a:lnTo>
                    <a:pt x="2146" y="1237"/>
                  </a:lnTo>
                  <a:lnTo>
                    <a:pt x="2146" y="1237"/>
                  </a:lnTo>
                  <a:lnTo>
                    <a:pt x="2151" y="1237"/>
                  </a:lnTo>
                  <a:lnTo>
                    <a:pt x="2151" y="1237"/>
                  </a:lnTo>
                  <a:lnTo>
                    <a:pt x="2151" y="1239"/>
                  </a:lnTo>
                  <a:lnTo>
                    <a:pt x="2151" y="1239"/>
                  </a:lnTo>
                  <a:lnTo>
                    <a:pt x="2151" y="1239"/>
                  </a:lnTo>
                  <a:lnTo>
                    <a:pt x="2154" y="1239"/>
                  </a:lnTo>
                  <a:lnTo>
                    <a:pt x="2154" y="1239"/>
                  </a:lnTo>
                  <a:lnTo>
                    <a:pt x="2156" y="1239"/>
                  </a:lnTo>
                  <a:lnTo>
                    <a:pt x="2156" y="1239"/>
                  </a:lnTo>
                  <a:lnTo>
                    <a:pt x="2156" y="1239"/>
                  </a:lnTo>
                  <a:lnTo>
                    <a:pt x="2156" y="1237"/>
                  </a:lnTo>
                  <a:lnTo>
                    <a:pt x="2156" y="1237"/>
                  </a:lnTo>
                  <a:lnTo>
                    <a:pt x="2156" y="1237"/>
                  </a:lnTo>
                  <a:lnTo>
                    <a:pt x="2158" y="1237"/>
                  </a:lnTo>
                  <a:lnTo>
                    <a:pt x="2158" y="1237"/>
                  </a:lnTo>
                  <a:lnTo>
                    <a:pt x="2158" y="1237"/>
                  </a:lnTo>
                  <a:lnTo>
                    <a:pt x="2158" y="1237"/>
                  </a:lnTo>
                  <a:lnTo>
                    <a:pt x="2158" y="1234"/>
                  </a:lnTo>
                  <a:lnTo>
                    <a:pt x="2158" y="1234"/>
                  </a:lnTo>
                  <a:lnTo>
                    <a:pt x="2161" y="1234"/>
                  </a:lnTo>
                  <a:lnTo>
                    <a:pt x="2158" y="1234"/>
                  </a:lnTo>
                  <a:lnTo>
                    <a:pt x="2158" y="1234"/>
                  </a:lnTo>
                  <a:lnTo>
                    <a:pt x="2158" y="1234"/>
                  </a:lnTo>
                  <a:lnTo>
                    <a:pt x="2158" y="1232"/>
                  </a:lnTo>
                  <a:lnTo>
                    <a:pt x="2158" y="1232"/>
                  </a:lnTo>
                  <a:lnTo>
                    <a:pt x="2158" y="1230"/>
                  </a:lnTo>
                  <a:lnTo>
                    <a:pt x="2156" y="1227"/>
                  </a:lnTo>
                  <a:lnTo>
                    <a:pt x="2154" y="1227"/>
                  </a:lnTo>
                  <a:lnTo>
                    <a:pt x="2154" y="1227"/>
                  </a:lnTo>
                  <a:lnTo>
                    <a:pt x="2151" y="1227"/>
                  </a:lnTo>
                  <a:lnTo>
                    <a:pt x="2151" y="1227"/>
                  </a:lnTo>
                  <a:lnTo>
                    <a:pt x="2151" y="1225"/>
                  </a:lnTo>
                  <a:lnTo>
                    <a:pt x="2149" y="1225"/>
                  </a:lnTo>
                  <a:lnTo>
                    <a:pt x="2146" y="1225"/>
                  </a:lnTo>
                  <a:lnTo>
                    <a:pt x="2144" y="1225"/>
                  </a:lnTo>
                  <a:lnTo>
                    <a:pt x="2144" y="1223"/>
                  </a:lnTo>
                  <a:lnTo>
                    <a:pt x="2146" y="1223"/>
                  </a:lnTo>
                  <a:lnTo>
                    <a:pt x="2146" y="1220"/>
                  </a:lnTo>
                  <a:lnTo>
                    <a:pt x="2142" y="1220"/>
                  </a:lnTo>
                  <a:lnTo>
                    <a:pt x="2142" y="1223"/>
                  </a:lnTo>
                  <a:lnTo>
                    <a:pt x="2142" y="1223"/>
                  </a:lnTo>
                  <a:lnTo>
                    <a:pt x="2139" y="1223"/>
                  </a:lnTo>
                  <a:lnTo>
                    <a:pt x="2137" y="1223"/>
                  </a:lnTo>
                  <a:lnTo>
                    <a:pt x="2137" y="1225"/>
                  </a:lnTo>
                  <a:lnTo>
                    <a:pt x="2137" y="1225"/>
                  </a:lnTo>
                  <a:lnTo>
                    <a:pt x="2135" y="1225"/>
                  </a:lnTo>
                  <a:lnTo>
                    <a:pt x="2135" y="1223"/>
                  </a:lnTo>
                  <a:lnTo>
                    <a:pt x="2137" y="1223"/>
                  </a:lnTo>
                  <a:lnTo>
                    <a:pt x="2139" y="1220"/>
                  </a:lnTo>
                  <a:lnTo>
                    <a:pt x="2142" y="1220"/>
                  </a:lnTo>
                  <a:lnTo>
                    <a:pt x="2142" y="1218"/>
                  </a:lnTo>
                  <a:lnTo>
                    <a:pt x="2142" y="1218"/>
                  </a:lnTo>
                  <a:lnTo>
                    <a:pt x="2139" y="1218"/>
                  </a:lnTo>
                  <a:lnTo>
                    <a:pt x="2139" y="1218"/>
                  </a:lnTo>
                  <a:lnTo>
                    <a:pt x="2139" y="1218"/>
                  </a:lnTo>
                  <a:lnTo>
                    <a:pt x="2139" y="1218"/>
                  </a:lnTo>
                  <a:lnTo>
                    <a:pt x="2139" y="1218"/>
                  </a:lnTo>
                  <a:lnTo>
                    <a:pt x="2137" y="1218"/>
                  </a:lnTo>
                  <a:lnTo>
                    <a:pt x="2137" y="1218"/>
                  </a:lnTo>
                  <a:lnTo>
                    <a:pt x="2137" y="1216"/>
                  </a:lnTo>
                  <a:lnTo>
                    <a:pt x="2137" y="1218"/>
                  </a:lnTo>
                  <a:lnTo>
                    <a:pt x="2135" y="1218"/>
                  </a:lnTo>
                  <a:lnTo>
                    <a:pt x="2135" y="1218"/>
                  </a:lnTo>
                  <a:lnTo>
                    <a:pt x="2135" y="1218"/>
                  </a:lnTo>
                  <a:lnTo>
                    <a:pt x="2135" y="1223"/>
                  </a:lnTo>
                  <a:lnTo>
                    <a:pt x="2135" y="1223"/>
                  </a:lnTo>
                  <a:lnTo>
                    <a:pt x="2135" y="1223"/>
                  </a:lnTo>
                  <a:lnTo>
                    <a:pt x="2132" y="1223"/>
                  </a:lnTo>
                  <a:lnTo>
                    <a:pt x="2132" y="1223"/>
                  </a:lnTo>
                  <a:lnTo>
                    <a:pt x="2132" y="1223"/>
                  </a:lnTo>
                  <a:lnTo>
                    <a:pt x="2132" y="1220"/>
                  </a:lnTo>
                  <a:lnTo>
                    <a:pt x="2132" y="1220"/>
                  </a:lnTo>
                  <a:lnTo>
                    <a:pt x="2132" y="1220"/>
                  </a:lnTo>
                  <a:lnTo>
                    <a:pt x="2132" y="1218"/>
                  </a:lnTo>
                  <a:lnTo>
                    <a:pt x="2132" y="1218"/>
                  </a:lnTo>
                  <a:lnTo>
                    <a:pt x="2132" y="1218"/>
                  </a:lnTo>
                  <a:lnTo>
                    <a:pt x="2132" y="1216"/>
                  </a:lnTo>
                  <a:lnTo>
                    <a:pt x="2132" y="1213"/>
                  </a:lnTo>
                  <a:lnTo>
                    <a:pt x="2130" y="1213"/>
                  </a:lnTo>
                  <a:lnTo>
                    <a:pt x="2130" y="1213"/>
                  </a:lnTo>
                  <a:lnTo>
                    <a:pt x="2128" y="1213"/>
                  </a:lnTo>
                  <a:lnTo>
                    <a:pt x="2128" y="1216"/>
                  </a:lnTo>
                  <a:lnTo>
                    <a:pt x="2128" y="1216"/>
                  </a:lnTo>
                  <a:lnTo>
                    <a:pt x="2128" y="1216"/>
                  </a:lnTo>
                  <a:lnTo>
                    <a:pt x="2128" y="1216"/>
                  </a:lnTo>
                  <a:lnTo>
                    <a:pt x="2128" y="1216"/>
                  </a:lnTo>
                  <a:lnTo>
                    <a:pt x="2125" y="1216"/>
                  </a:lnTo>
                  <a:lnTo>
                    <a:pt x="2125" y="1216"/>
                  </a:lnTo>
                  <a:lnTo>
                    <a:pt x="2125" y="1216"/>
                  </a:lnTo>
                  <a:lnTo>
                    <a:pt x="2125" y="1216"/>
                  </a:lnTo>
                  <a:lnTo>
                    <a:pt x="2125" y="1218"/>
                  </a:lnTo>
                  <a:lnTo>
                    <a:pt x="2125" y="1218"/>
                  </a:lnTo>
                  <a:lnTo>
                    <a:pt x="2128" y="1220"/>
                  </a:lnTo>
                  <a:lnTo>
                    <a:pt x="2128" y="1220"/>
                  </a:lnTo>
                  <a:lnTo>
                    <a:pt x="2128" y="1223"/>
                  </a:lnTo>
                  <a:lnTo>
                    <a:pt x="2128" y="1223"/>
                  </a:lnTo>
                  <a:lnTo>
                    <a:pt x="2125" y="1223"/>
                  </a:lnTo>
                  <a:lnTo>
                    <a:pt x="2125" y="1225"/>
                  </a:lnTo>
                  <a:lnTo>
                    <a:pt x="2125" y="1225"/>
                  </a:lnTo>
                  <a:lnTo>
                    <a:pt x="2125" y="1225"/>
                  </a:lnTo>
                  <a:lnTo>
                    <a:pt x="2125" y="1225"/>
                  </a:lnTo>
                  <a:lnTo>
                    <a:pt x="2125" y="1227"/>
                  </a:lnTo>
                  <a:lnTo>
                    <a:pt x="2125" y="1227"/>
                  </a:lnTo>
                  <a:lnTo>
                    <a:pt x="2125" y="1227"/>
                  </a:lnTo>
                  <a:lnTo>
                    <a:pt x="2125" y="1230"/>
                  </a:lnTo>
                  <a:lnTo>
                    <a:pt x="2128" y="1230"/>
                  </a:lnTo>
                  <a:lnTo>
                    <a:pt x="2128" y="1230"/>
                  </a:lnTo>
                  <a:lnTo>
                    <a:pt x="2128" y="1230"/>
                  </a:lnTo>
                  <a:lnTo>
                    <a:pt x="2130" y="1232"/>
                  </a:lnTo>
                  <a:lnTo>
                    <a:pt x="2130" y="1232"/>
                  </a:lnTo>
                  <a:lnTo>
                    <a:pt x="2130" y="1232"/>
                  </a:lnTo>
                  <a:lnTo>
                    <a:pt x="2132" y="1232"/>
                  </a:lnTo>
                  <a:lnTo>
                    <a:pt x="2132" y="1234"/>
                  </a:lnTo>
                  <a:lnTo>
                    <a:pt x="2132" y="1234"/>
                  </a:lnTo>
                  <a:lnTo>
                    <a:pt x="2132" y="1234"/>
                  </a:lnTo>
                  <a:lnTo>
                    <a:pt x="2132" y="1237"/>
                  </a:lnTo>
                  <a:lnTo>
                    <a:pt x="2130" y="1234"/>
                  </a:lnTo>
                  <a:lnTo>
                    <a:pt x="2128" y="1232"/>
                  </a:lnTo>
                  <a:lnTo>
                    <a:pt x="2128" y="1232"/>
                  </a:lnTo>
                  <a:lnTo>
                    <a:pt x="2128" y="1230"/>
                  </a:lnTo>
                  <a:lnTo>
                    <a:pt x="2125" y="1232"/>
                  </a:lnTo>
                  <a:lnTo>
                    <a:pt x="2125" y="1230"/>
                  </a:lnTo>
                  <a:lnTo>
                    <a:pt x="2125" y="1230"/>
                  </a:lnTo>
                  <a:lnTo>
                    <a:pt x="2123" y="1227"/>
                  </a:lnTo>
                  <a:lnTo>
                    <a:pt x="2123" y="1227"/>
                  </a:lnTo>
                  <a:lnTo>
                    <a:pt x="2123" y="1225"/>
                  </a:lnTo>
                  <a:lnTo>
                    <a:pt x="2120" y="1225"/>
                  </a:lnTo>
                  <a:lnTo>
                    <a:pt x="2120" y="1225"/>
                  </a:lnTo>
                  <a:lnTo>
                    <a:pt x="2120" y="1225"/>
                  </a:lnTo>
                  <a:lnTo>
                    <a:pt x="2118" y="1225"/>
                  </a:lnTo>
                  <a:lnTo>
                    <a:pt x="2118" y="1225"/>
                  </a:lnTo>
                  <a:lnTo>
                    <a:pt x="2118" y="1225"/>
                  </a:lnTo>
                  <a:lnTo>
                    <a:pt x="2116" y="1225"/>
                  </a:lnTo>
                  <a:lnTo>
                    <a:pt x="2116" y="1227"/>
                  </a:lnTo>
                  <a:lnTo>
                    <a:pt x="2116" y="1227"/>
                  </a:lnTo>
                  <a:lnTo>
                    <a:pt x="2116" y="1227"/>
                  </a:lnTo>
                  <a:lnTo>
                    <a:pt x="2116" y="1227"/>
                  </a:lnTo>
                  <a:lnTo>
                    <a:pt x="2116" y="1230"/>
                  </a:lnTo>
                  <a:lnTo>
                    <a:pt x="2118" y="1230"/>
                  </a:lnTo>
                  <a:lnTo>
                    <a:pt x="2118" y="1230"/>
                  </a:lnTo>
                  <a:lnTo>
                    <a:pt x="2118" y="1232"/>
                  </a:lnTo>
                  <a:lnTo>
                    <a:pt x="2118" y="1232"/>
                  </a:lnTo>
                  <a:lnTo>
                    <a:pt x="2118" y="1232"/>
                  </a:lnTo>
                  <a:lnTo>
                    <a:pt x="2118" y="1234"/>
                  </a:lnTo>
                  <a:lnTo>
                    <a:pt x="2118" y="1234"/>
                  </a:lnTo>
                  <a:lnTo>
                    <a:pt x="2120" y="1237"/>
                  </a:lnTo>
                  <a:lnTo>
                    <a:pt x="2120" y="1237"/>
                  </a:lnTo>
                  <a:lnTo>
                    <a:pt x="2118" y="1237"/>
                  </a:lnTo>
                  <a:lnTo>
                    <a:pt x="2118" y="1239"/>
                  </a:lnTo>
                  <a:lnTo>
                    <a:pt x="2120" y="1239"/>
                  </a:lnTo>
                  <a:lnTo>
                    <a:pt x="2120" y="1239"/>
                  </a:lnTo>
                  <a:lnTo>
                    <a:pt x="2118" y="1239"/>
                  </a:lnTo>
                  <a:lnTo>
                    <a:pt x="2118" y="1242"/>
                  </a:lnTo>
                  <a:lnTo>
                    <a:pt x="2120" y="1242"/>
                  </a:lnTo>
                  <a:lnTo>
                    <a:pt x="2120" y="1242"/>
                  </a:lnTo>
                  <a:lnTo>
                    <a:pt x="2120" y="1244"/>
                  </a:lnTo>
                  <a:lnTo>
                    <a:pt x="2120" y="1244"/>
                  </a:lnTo>
                  <a:lnTo>
                    <a:pt x="2118" y="1246"/>
                  </a:lnTo>
                  <a:lnTo>
                    <a:pt x="2118" y="1246"/>
                  </a:lnTo>
                  <a:lnTo>
                    <a:pt x="2118" y="1246"/>
                  </a:lnTo>
                  <a:lnTo>
                    <a:pt x="2118" y="1244"/>
                  </a:lnTo>
                  <a:lnTo>
                    <a:pt x="2118" y="1244"/>
                  </a:lnTo>
                  <a:lnTo>
                    <a:pt x="2118" y="1242"/>
                  </a:lnTo>
                  <a:lnTo>
                    <a:pt x="2118" y="1242"/>
                  </a:lnTo>
                  <a:lnTo>
                    <a:pt x="2118" y="1242"/>
                  </a:lnTo>
                  <a:lnTo>
                    <a:pt x="2118" y="1242"/>
                  </a:lnTo>
                  <a:lnTo>
                    <a:pt x="2118" y="1239"/>
                  </a:lnTo>
                  <a:lnTo>
                    <a:pt x="2118" y="1239"/>
                  </a:lnTo>
                  <a:lnTo>
                    <a:pt x="2118" y="1237"/>
                  </a:lnTo>
                  <a:lnTo>
                    <a:pt x="2118" y="1237"/>
                  </a:lnTo>
                  <a:lnTo>
                    <a:pt x="2118" y="1237"/>
                  </a:lnTo>
                  <a:lnTo>
                    <a:pt x="2118" y="1234"/>
                  </a:lnTo>
                  <a:lnTo>
                    <a:pt x="2116" y="1232"/>
                  </a:lnTo>
                  <a:lnTo>
                    <a:pt x="2116" y="1230"/>
                  </a:lnTo>
                  <a:lnTo>
                    <a:pt x="2116" y="1230"/>
                  </a:lnTo>
                  <a:lnTo>
                    <a:pt x="2113" y="1227"/>
                  </a:lnTo>
                  <a:lnTo>
                    <a:pt x="2113" y="1225"/>
                  </a:lnTo>
                  <a:lnTo>
                    <a:pt x="2113" y="1225"/>
                  </a:lnTo>
                  <a:lnTo>
                    <a:pt x="2111" y="1225"/>
                  </a:lnTo>
                  <a:lnTo>
                    <a:pt x="2111" y="1227"/>
                  </a:lnTo>
                  <a:lnTo>
                    <a:pt x="2111" y="1227"/>
                  </a:lnTo>
                  <a:lnTo>
                    <a:pt x="2111" y="1227"/>
                  </a:lnTo>
                  <a:lnTo>
                    <a:pt x="2111" y="1227"/>
                  </a:lnTo>
                  <a:lnTo>
                    <a:pt x="2111" y="1227"/>
                  </a:lnTo>
                  <a:lnTo>
                    <a:pt x="2106" y="1230"/>
                  </a:lnTo>
                  <a:lnTo>
                    <a:pt x="2106" y="1232"/>
                  </a:lnTo>
                  <a:lnTo>
                    <a:pt x="2106" y="1232"/>
                  </a:lnTo>
                  <a:lnTo>
                    <a:pt x="2104" y="1234"/>
                  </a:lnTo>
                  <a:lnTo>
                    <a:pt x="2104" y="1234"/>
                  </a:lnTo>
                  <a:lnTo>
                    <a:pt x="2104" y="1237"/>
                  </a:lnTo>
                  <a:lnTo>
                    <a:pt x="2104" y="1237"/>
                  </a:lnTo>
                  <a:lnTo>
                    <a:pt x="2104" y="1239"/>
                  </a:lnTo>
                  <a:lnTo>
                    <a:pt x="2104" y="1242"/>
                  </a:lnTo>
                  <a:lnTo>
                    <a:pt x="2106" y="1244"/>
                  </a:lnTo>
                  <a:lnTo>
                    <a:pt x="2106" y="1244"/>
                  </a:lnTo>
                  <a:lnTo>
                    <a:pt x="2106" y="1246"/>
                  </a:lnTo>
                  <a:lnTo>
                    <a:pt x="2106" y="1246"/>
                  </a:lnTo>
                  <a:lnTo>
                    <a:pt x="2104" y="1246"/>
                  </a:lnTo>
                  <a:lnTo>
                    <a:pt x="2104" y="1246"/>
                  </a:lnTo>
                  <a:lnTo>
                    <a:pt x="2104" y="1242"/>
                  </a:lnTo>
                  <a:lnTo>
                    <a:pt x="2104" y="1242"/>
                  </a:lnTo>
                  <a:lnTo>
                    <a:pt x="2101" y="1239"/>
                  </a:lnTo>
                  <a:lnTo>
                    <a:pt x="2101" y="1237"/>
                  </a:lnTo>
                  <a:lnTo>
                    <a:pt x="2101" y="1234"/>
                  </a:lnTo>
                  <a:lnTo>
                    <a:pt x="2099" y="1234"/>
                  </a:lnTo>
                  <a:lnTo>
                    <a:pt x="2099" y="1234"/>
                  </a:lnTo>
                  <a:lnTo>
                    <a:pt x="2099" y="1234"/>
                  </a:lnTo>
                  <a:lnTo>
                    <a:pt x="2099" y="1234"/>
                  </a:lnTo>
                  <a:lnTo>
                    <a:pt x="2099" y="1234"/>
                  </a:lnTo>
                  <a:lnTo>
                    <a:pt x="2099" y="1234"/>
                  </a:lnTo>
                  <a:lnTo>
                    <a:pt x="2099" y="1237"/>
                  </a:lnTo>
                  <a:lnTo>
                    <a:pt x="2099" y="1237"/>
                  </a:lnTo>
                  <a:lnTo>
                    <a:pt x="2099" y="1237"/>
                  </a:lnTo>
                  <a:lnTo>
                    <a:pt x="2101" y="1239"/>
                  </a:lnTo>
                  <a:lnTo>
                    <a:pt x="2101" y="1239"/>
                  </a:lnTo>
                  <a:lnTo>
                    <a:pt x="2101" y="1239"/>
                  </a:lnTo>
                  <a:lnTo>
                    <a:pt x="2101" y="1239"/>
                  </a:lnTo>
                  <a:lnTo>
                    <a:pt x="2101" y="1239"/>
                  </a:lnTo>
                  <a:lnTo>
                    <a:pt x="2099" y="1242"/>
                  </a:lnTo>
                  <a:lnTo>
                    <a:pt x="2099" y="1242"/>
                  </a:lnTo>
                  <a:lnTo>
                    <a:pt x="2092" y="1244"/>
                  </a:lnTo>
                  <a:lnTo>
                    <a:pt x="2092" y="1242"/>
                  </a:lnTo>
                  <a:lnTo>
                    <a:pt x="2094" y="1242"/>
                  </a:lnTo>
                  <a:lnTo>
                    <a:pt x="2094" y="1242"/>
                  </a:lnTo>
                  <a:lnTo>
                    <a:pt x="2097" y="1242"/>
                  </a:lnTo>
                  <a:lnTo>
                    <a:pt x="2099" y="1239"/>
                  </a:lnTo>
                  <a:lnTo>
                    <a:pt x="2099" y="1239"/>
                  </a:lnTo>
                  <a:lnTo>
                    <a:pt x="2099" y="1239"/>
                  </a:lnTo>
                  <a:lnTo>
                    <a:pt x="2099" y="1237"/>
                  </a:lnTo>
                  <a:lnTo>
                    <a:pt x="2099" y="1237"/>
                  </a:lnTo>
                  <a:lnTo>
                    <a:pt x="2097" y="1237"/>
                  </a:lnTo>
                  <a:lnTo>
                    <a:pt x="2097" y="1237"/>
                  </a:lnTo>
                  <a:lnTo>
                    <a:pt x="2097" y="1234"/>
                  </a:lnTo>
                  <a:lnTo>
                    <a:pt x="2099" y="1234"/>
                  </a:lnTo>
                  <a:lnTo>
                    <a:pt x="2099" y="1234"/>
                  </a:lnTo>
                  <a:lnTo>
                    <a:pt x="2101" y="1232"/>
                  </a:lnTo>
                  <a:lnTo>
                    <a:pt x="2104" y="1230"/>
                  </a:lnTo>
                  <a:lnTo>
                    <a:pt x="2104" y="1230"/>
                  </a:lnTo>
                  <a:lnTo>
                    <a:pt x="2104" y="1227"/>
                  </a:lnTo>
                  <a:lnTo>
                    <a:pt x="2104" y="1227"/>
                  </a:lnTo>
                  <a:lnTo>
                    <a:pt x="2104" y="1225"/>
                  </a:lnTo>
                  <a:lnTo>
                    <a:pt x="2101" y="1225"/>
                  </a:lnTo>
                  <a:lnTo>
                    <a:pt x="2101" y="1223"/>
                  </a:lnTo>
                  <a:lnTo>
                    <a:pt x="2101" y="1223"/>
                  </a:lnTo>
                  <a:lnTo>
                    <a:pt x="2099" y="1220"/>
                  </a:lnTo>
                  <a:lnTo>
                    <a:pt x="2099" y="1220"/>
                  </a:lnTo>
                  <a:lnTo>
                    <a:pt x="2099" y="1220"/>
                  </a:lnTo>
                  <a:lnTo>
                    <a:pt x="2099" y="1218"/>
                  </a:lnTo>
                  <a:lnTo>
                    <a:pt x="2104" y="1216"/>
                  </a:lnTo>
                  <a:lnTo>
                    <a:pt x="2104" y="1216"/>
                  </a:lnTo>
                  <a:lnTo>
                    <a:pt x="2104" y="1213"/>
                  </a:lnTo>
                  <a:lnTo>
                    <a:pt x="2104" y="1211"/>
                  </a:lnTo>
                  <a:lnTo>
                    <a:pt x="2104" y="1208"/>
                  </a:lnTo>
                  <a:lnTo>
                    <a:pt x="2104" y="1206"/>
                  </a:lnTo>
                  <a:lnTo>
                    <a:pt x="2101" y="1206"/>
                  </a:lnTo>
                  <a:lnTo>
                    <a:pt x="2101" y="1206"/>
                  </a:lnTo>
                  <a:lnTo>
                    <a:pt x="2099" y="1206"/>
                  </a:lnTo>
                  <a:lnTo>
                    <a:pt x="2097" y="1206"/>
                  </a:lnTo>
                  <a:lnTo>
                    <a:pt x="2097" y="1206"/>
                  </a:lnTo>
                  <a:lnTo>
                    <a:pt x="2097" y="1208"/>
                  </a:lnTo>
                  <a:lnTo>
                    <a:pt x="2099" y="1208"/>
                  </a:lnTo>
                  <a:lnTo>
                    <a:pt x="2099" y="1208"/>
                  </a:lnTo>
                  <a:lnTo>
                    <a:pt x="2099" y="1211"/>
                  </a:lnTo>
                  <a:lnTo>
                    <a:pt x="2097" y="1211"/>
                  </a:lnTo>
                  <a:lnTo>
                    <a:pt x="2097" y="1213"/>
                  </a:lnTo>
                  <a:lnTo>
                    <a:pt x="2097" y="1211"/>
                  </a:lnTo>
                  <a:lnTo>
                    <a:pt x="2097" y="1211"/>
                  </a:lnTo>
                  <a:lnTo>
                    <a:pt x="2097" y="1211"/>
                  </a:lnTo>
                  <a:lnTo>
                    <a:pt x="2097" y="1208"/>
                  </a:lnTo>
                  <a:lnTo>
                    <a:pt x="2097" y="1208"/>
                  </a:lnTo>
                  <a:lnTo>
                    <a:pt x="2097" y="1208"/>
                  </a:lnTo>
                  <a:lnTo>
                    <a:pt x="2097" y="1208"/>
                  </a:lnTo>
                  <a:lnTo>
                    <a:pt x="2097" y="1208"/>
                  </a:lnTo>
                  <a:lnTo>
                    <a:pt x="2094" y="1208"/>
                  </a:lnTo>
                  <a:lnTo>
                    <a:pt x="2094" y="1208"/>
                  </a:lnTo>
                  <a:lnTo>
                    <a:pt x="2094" y="1211"/>
                  </a:lnTo>
                  <a:lnTo>
                    <a:pt x="2094" y="1216"/>
                  </a:lnTo>
                  <a:lnTo>
                    <a:pt x="2094" y="1216"/>
                  </a:lnTo>
                  <a:lnTo>
                    <a:pt x="2094" y="1218"/>
                  </a:lnTo>
                  <a:lnTo>
                    <a:pt x="2097" y="1218"/>
                  </a:lnTo>
                  <a:lnTo>
                    <a:pt x="2097" y="1218"/>
                  </a:lnTo>
                  <a:lnTo>
                    <a:pt x="2097" y="1220"/>
                  </a:lnTo>
                  <a:lnTo>
                    <a:pt x="2094" y="1223"/>
                  </a:lnTo>
                  <a:lnTo>
                    <a:pt x="2094" y="1225"/>
                  </a:lnTo>
                  <a:lnTo>
                    <a:pt x="2092" y="1227"/>
                  </a:lnTo>
                  <a:lnTo>
                    <a:pt x="2090" y="1230"/>
                  </a:lnTo>
                  <a:lnTo>
                    <a:pt x="2090" y="1230"/>
                  </a:lnTo>
                  <a:lnTo>
                    <a:pt x="2090" y="1232"/>
                  </a:lnTo>
                  <a:lnTo>
                    <a:pt x="2090" y="1232"/>
                  </a:lnTo>
                  <a:lnTo>
                    <a:pt x="2092" y="1234"/>
                  </a:lnTo>
                  <a:lnTo>
                    <a:pt x="2090" y="1232"/>
                  </a:lnTo>
                  <a:lnTo>
                    <a:pt x="2090" y="1232"/>
                  </a:lnTo>
                  <a:lnTo>
                    <a:pt x="2090" y="1230"/>
                  </a:lnTo>
                  <a:lnTo>
                    <a:pt x="2090" y="1227"/>
                  </a:lnTo>
                  <a:lnTo>
                    <a:pt x="2092" y="1227"/>
                  </a:lnTo>
                  <a:lnTo>
                    <a:pt x="2094" y="1223"/>
                  </a:lnTo>
                  <a:lnTo>
                    <a:pt x="2094" y="1218"/>
                  </a:lnTo>
                  <a:lnTo>
                    <a:pt x="2094" y="1218"/>
                  </a:lnTo>
                  <a:lnTo>
                    <a:pt x="2094" y="1216"/>
                  </a:lnTo>
                  <a:lnTo>
                    <a:pt x="2094" y="1216"/>
                  </a:lnTo>
                  <a:lnTo>
                    <a:pt x="2094" y="1216"/>
                  </a:lnTo>
                  <a:lnTo>
                    <a:pt x="2092" y="1213"/>
                  </a:lnTo>
                  <a:lnTo>
                    <a:pt x="2090" y="1216"/>
                  </a:lnTo>
                  <a:lnTo>
                    <a:pt x="2087" y="1216"/>
                  </a:lnTo>
                  <a:lnTo>
                    <a:pt x="2087" y="1218"/>
                  </a:lnTo>
                  <a:lnTo>
                    <a:pt x="2085" y="1218"/>
                  </a:lnTo>
                  <a:lnTo>
                    <a:pt x="2085" y="1218"/>
                  </a:lnTo>
                  <a:lnTo>
                    <a:pt x="2085" y="1216"/>
                  </a:lnTo>
                  <a:lnTo>
                    <a:pt x="2085" y="1216"/>
                  </a:lnTo>
                  <a:lnTo>
                    <a:pt x="2083" y="1218"/>
                  </a:lnTo>
                  <a:lnTo>
                    <a:pt x="2083" y="1218"/>
                  </a:lnTo>
                  <a:lnTo>
                    <a:pt x="2083" y="1218"/>
                  </a:lnTo>
                  <a:lnTo>
                    <a:pt x="2083" y="1218"/>
                  </a:lnTo>
                  <a:lnTo>
                    <a:pt x="2083" y="1220"/>
                  </a:lnTo>
                  <a:lnTo>
                    <a:pt x="2083" y="1220"/>
                  </a:lnTo>
                  <a:lnTo>
                    <a:pt x="2083" y="1220"/>
                  </a:lnTo>
                  <a:lnTo>
                    <a:pt x="2083" y="1220"/>
                  </a:lnTo>
                  <a:lnTo>
                    <a:pt x="2078" y="1223"/>
                  </a:lnTo>
                  <a:lnTo>
                    <a:pt x="2075" y="1225"/>
                  </a:lnTo>
                  <a:lnTo>
                    <a:pt x="2075" y="1225"/>
                  </a:lnTo>
                  <a:lnTo>
                    <a:pt x="2073" y="1227"/>
                  </a:lnTo>
                  <a:lnTo>
                    <a:pt x="2071" y="1230"/>
                  </a:lnTo>
                  <a:lnTo>
                    <a:pt x="2068" y="1230"/>
                  </a:lnTo>
                  <a:lnTo>
                    <a:pt x="2068" y="1230"/>
                  </a:lnTo>
                  <a:lnTo>
                    <a:pt x="2068" y="1232"/>
                  </a:lnTo>
                  <a:lnTo>
                    <a:pt x="2068" y="1232"/>
                  </a:lnTo>
                  <a:lnTo>
                    <a:pt x="2068" y="1232"/>
                  </a:lnTo>
                  <a:lnTo>
                    <a:pt x="2068" y="1234"/>
                  </a:lnTo>
                  <a:lnTo>
                    <a:pt x="2068" y="1237"/>
                  </a:lnTo>
                  <a:lnTo>
                    <a:pt x="2068" y="1237"/>
                  </a:lnTo>
                  <a:lnTo>
                    <a:pt x="2068" y="1237"/>
                  </a:lnTo>
                  <a:lnTo>
                    <a:pt x="2068" y="1239"/>
                  </a:lnTo>
                  <a:lnTo>
                    <a:pt x="2068" y="1239"/>
                  </a:lnTo>
                  <a:lnTo>
                    <a:pt x="2068" y="1239"/>
                  </a:lnTo>
                  <a:lnTo>
                    <a:pt x="2068" y="1237"/>
                  </a:lnTo>
                  <a:lnTo>
                    <a:pt x="2066" y="1234"/>
                  </a:lnTo>
                  <a:lnTo>
                    <a:pt x="2066" y="1232"/>
                  </a:lnTo>
                  <a:lnTo>
                    <a:pt x="2066" y="1230"/>
                  </a:lnTo>
                  <a:lnTo>
                    <a:pt x="2075" y="1223"/>
                  </a:lnTo>
                  <a:lnTo>
                    <a:pt x="2075" y="1220"/>
                  </a:lnTo>
                  <a:lnTo>
                    <a:pt x="2075" y="1220"/>
                  </a:lnTo>
                  <a:lnTo>
                    <a:pt x="2078" y="1220"/>
                  </a:lnTo>
                  <a:lnTo>
                    <a:pt x="2080" y="1220"/>
                  </a:lnTo>
                  <a:lnTo>
                    <a:pt x="2080" y="1220"/>
                  </a:lnTo>
                  <a:lnTo>
                    <a:pt x="2080" y="1220"/>
                  </a:lnTo>
                  <a:lnTo>
                    <a:pt x="2080" y="1216"/>
                  </a:lnTo>
                  <a:lnTo>
                    <a:pt x="2080" y="1216"/>
                  </a:lnTo>
                  <a:lnTo>
                    <a:pt x="2078" y="1216"/>
                  </a:lnTo>
                  <a:lnTo>
                    <a:pt x="2073" y="1220"/>
                  </a:lnTo>
                  <a:lnTo>
                    <a:pt x="2066" y="1223"/>
                  </a:lnTo>
                  <a:lnTo>
                    <a:pt x="2064" y="1225"/>
                  </a:lnTo>
                  <a:lnTo>
                    <a:pt x="2064" y="1227"/>
                  </a:lnTo>
                  <a:lnTo>
                    <a:pt x="2061" y="1227"/>
                  </a:lnTo>
                  <a:lnTo>
                    <a:pt x="2061" y="1227"/>
                  </a:lnTo>
                  <a:lnTo>
                    <a:pt x="2061" y="1225"/>
                  </a:lnTo>
                  <a:lnTo>
                    <a:pt x="2066" y="1220"/>
                  </a:lnTo>
                  <a:lnTo>
                    <a:pt x="2071" y="1220"/>
                  </a:lnTo>
                  <a:lnTo>
                    <a:pt x="2071" y="1220"/>
                  </a:lnTo>
                  <a:lnTo>
                    <a:pt x="2073" y="1218"/>
                  </a:lnTo>
                  <a:lnTo>
                    <a:pt x="2073" y="1218"/>
                  </a:lnTo>
                  <a:lnTo>
                    <a:pt x="2073" y="1216"/>
                  </a:lnTo>
                  <a:lnTo>
                    <a:pt x="2071" y="1218"/>
                  </a:lnTo>
                  <a:lnTo>
                    <a:pt x="2059" y="1218"/>
                  </a:lnTo>
                  <a:lnTo>
                    <a:pt x="2059" y="1218"/>
                  </a:lnTo>
                  <a:lnTo>
                    <a:pt x="2068" y="1216"/>
                  </a:lnTo>
                  <a:lnTo>
                    <a:pt x="2078" y="1213"/>
                  </a:lnTo>
                  <a:lnTo>
                    <a:pt x="2080" y="1216"/>
                  </a:lnTo>
                  <a:lnTo>
                    <a:pt x="2080" y="1213"/>
                  </a:lnTo>
                  <a:lnTo>
                    <a:pt x="2080" y="1213"/>
                  </a:lnTo>
                  <a:lnTo>
                    <a:pt x="2080" y="1213"/>
                  </a:lnTo>
                  <a:lnTo>
                    <a:pt x="2078" y="1213"/>
                  </a:lnTo>
                  <a:lnTo>
                    <a:pt x="2078" y="1213"/>
                  </a:lnTo>
                  <a:lnTo>
                    <a:pt x="2078" y="1211"/>
                  </a:lnTo>
                  <a:lnTo>
                    <a:pt x="2078" y="1211"/>
                  </a:lnTo>
                  <a:lnTo>
                    <a:pt x="2078" y="1208"/>
                  </a:lnTo>
                  <a:lnTo>
                    <a:pt x="2078" y="1208"/>
                  </a:lnTo>
                  <a:lnTo>
                    <a:pt x="2078" y="1206"/>
                  </a:lnTo>
                  <a:lnTo>
                    <a:pt x="2075" y="1206"/>
                  </a:lnTo>
                  <a:lnTo>
                    <a:pt x="2073" y="1204"/>
                  </a:lnTo>
                  <a:lnTo>
                    <a:pt x="2073" y="1206"/>
                  </a:lnTo>
                  <a:lnTo>
                    <a:pt x="2071" y="1206"/>
                  </a:lnTo>
                  <a:lnTo>
                    <a:pt x="2068" y="1208"/>
                  </a:lnTo>
                  <a:lnTo>
                    <a:pt x="2066" y="1208"/>
                  </a:lnTo>
                  <a:lnTo>
                    <a:pt x="2064" y="1206"/>
                  </a:lnTo>
                  <a:lnTo>
                    <a:pt x="2068" y="1206"/>
                  </a:lnTo>
                  <a:lnTo>
                    <a:pt x="2068" y="1206"/>
                  </a:lnTo>
                  <a:lnTo>
                    <a:pt x="2071" y="1204"/>
                  </a:lnTo>
                  <a:lnTo>
                    <a:pt x="2071" y="1204"/>
                  </a:lnTo>
                  <a:lnTo>
                    <a:pt x="2071" y="1201"/>
                  </a:lnTo>
                  <a:lnTo>
                    <a:pt x="2071" y="1201"/>
                  </a:lnTo>
                  <a:lnTo>
                    <a:pt x="2073" y="1201"/>
                  </a:lnTo>
                  <a:lnTo>
                    <a:pt x="2073" y="1201"/>
                  </a:lnTo>
                  <a:lnTo>
                    <a:pt x="2073" y="1201"/>
                  </a:lnTo>
                  <a:lnTo>
                    <a:pt x="2073" y="1201"/>
                  </a:lnTo>
                  <a:lnTo>
                    <a:pt x="2073" y="1199"/>
                  </a:lnTo>
                  <a:lnTo>
                    <a:pt x="2071" y="1199"/>
                  </a:lnTo>
                  <a:lnTo>
                    <a:pt x="2071" y="1199"/>
                  </a:lnTo>
                  <a:lnTo>
                    <a:pt x="2071" y="1199"/>
                  </a:lnTo>
                  <a:lnTo>
                    <a:pt x="2071" y="1197"/>
                  </a:lnTo>
                  <a:lnTo>
                    <a:pt x="2071" y="1197"/>
                  </a:lnTo>
                  <a:lnTo>
                    <a:pt x="2071" y="1194"/>
                  </a:lnTo>
                  <a:lnTo>
                    <a:pt x="2068" y="1194"/>
                  </a:lnTo>
                  <a:lnTo>
                    <a:pt x="2066" y="1197"/>
                  </a:lnTo>
                  <a:lnTo>
                    <a:pt x="2066" y="1197"/>
                  </a:lnTo>
                  <a:lnTo>
                    <a:pt x="2064" y="1197"/>
                  </a:lnTo>
                  <a:lnTo>
                    <a:pt x="2066" y="1197"/>
                  </a:lnTo>
                  <a:lnTo>
                    <a:pt x="2066" y="1194"/>
                  </a:lnTo>
                  <a:lnTo>
                    <a:pt x="2066" y="1194"/>
                  </a:lnTo>
                  <a:lnTo>
                    <a:pt x="2066" y="1192"/>
                  </a:lnTo>
                  <a:lnTo>
                    <a:pt x="2064" y="1192"/>
                  </a:lnTo>
                  <a:lnTo>
                    <a:pt x="2064" y="1192"/>
                  </a:lnTo>
                  <a:lnTo>
                    <a:pt x="2061" y="1189"/>
                  </a:lnTo>
                  <a:lnTo>
                    <a:pt x="2061" y="1189"/>
                  </a:lnTo>
                  <a:lnTo>
                    <a:pt x="2061" y="1189"/>
                  </a:lnTo>
                  <a:lnTo>
                    <a:pt x="2061" y="1192"/>
                  </a:lnTo>
                  <a:lnTo>
                    <a:pt x="2061" y="1192"/>
                  </a:lnTo>
                  <a:lnTo>
                    <a:pt x="2061" y="1192"/>
                  </a:lnTo>
                  <a:lnTo>
                    <a:pt x="2059" y="1194"/>
                  </a:lnTo>
                  <a:lnTo>
                    <a:pt x="2057" y="1197"/>
                  </a:lnTo>
                  <a:lnTo>
                    <a:pt x="2054" y="1197"/>
                  </a:lnTo>
                  <a:lnTo>
                    <a:pt x="2057" y="1194"/>
                  </a:lnTo>
                  <a:lnTo>
                    <a:pt x="2057" y="1194"/>
                  </a:lnTo>
                  <a:lnTo>
                    <a:pt x="2059" y="1192"/>
                  </a:lnTo>
                  <a:lnTo>
                    <a:pt x="2061" y="1192"/>
                  </a:lnTo>
                  <a:lnTo>
                    <a:pt x="2061" y="1192"/>
                  </a:lnTo>
                  <a:lnTo>
                    <a:pt x="2061" y="1192"/>
                  </a:lnTo>
                  <a:lnTo>
                    <a:pt x="2059" y="1192"/>
                  </a:lnTo>
                  <a:lnTo>
                    <a:pt x="2059" y="1192"/>
                  </a:lnTo>
                  <a:lnTo>
                    <a:pt x="2059" y="1189"/>
                  </a:lnTo>
                  <a:lnTo>
                    <a:pt x="2059" y="1189"/>
                  </a:lnTo>
                  <a:lnTo>
                    <a:pt x="2059" y="1187"/>
                  </a:lnTo>
                  <a:lnTo>
                    <a:pt x="2059" y="1189"/>
                  </a:lnTo>
                  <a:lnTo>
                    <a:pt x="2057" y="1189"/>
                  </a:lnTo>
                  <a:lnTo>
                    <a:pt x="2057" y="1187"/>
                  </a:lnTo>
                  <a:lnTo>
                    <a:pt x="2057" y="1187"/>
                  </a:lnTo>
                  <a:lnTo>
                    <a:pt x="2052" y="1187"/>
                  </a:lnTo>
                  <a:lnTo>
                    <a:pt x="2052" y="1187"/>
                  </a:lnTo>
                  <a:lnTo>
                    <a:pt x="2052" y="1187"/>
                  </a:lnTo>
                  <a:lnTo>
                    <a:pt x="2052" y="1187"/>
                  </a:lnTo>
                  <a:lnTo>
                    <a:pt x="2052" y="1187"/>
                  </a:lnTo>
                  <a:lnTo>
                    <a:pt x="2052" y="1187"/>
                  </a:lnTo>
                  <a:lnTo>
                    <a:pt x="2049" y="1187"/>
                  </a:lnTo>
                  <a:lnTo>
                    <a:pt x="2049" y="1187"/>
                  </a:lnTo>
                  <a:lnTo>
                    <a:pt x="2049" y="1187"/>
                  </a:lnTo>
                  <a:lnTo>
                    <a:pt x="2049" y="1187"/>
                  </a:lnTo>
                  <a:lnTo>
                    <a:pt x="2049" y="1189"/>
                  </a:lnTo>
                  <a:lnTo>
                    <a:pt x="2049" y="1189"/>
                  </a:lnTo>
                  <a:lnTo>
                    <a:pt x="2049" y="1192"/>
                  </a:lnTo>
                  <a:lnTo>
                    <a:pt x="2052" y="1194"/>
                  </a:lnTo>
                  <a:lnTo>
                    <a:pt x="2052" y="1194"/>
                  </a:lnTo>
                  <a:lnTo>
                    <a:pt x="2052" y="1197"/>
                  </a:lnTo>
                  <a:lnTo>
                    <a:pt x="2049" y="1197"/>
                  </a:lnTo>
                  <a:lnTo>
                    <a:pt x="2049" y="1197"/>
                  </a:lnTo>
                  <a:lnTo>
                    <a:pt x="2049" y="1197"/>
                  </a:lnTo>
                  <a:lnTo>
                    <a:pt x="2049" y="1197"/>
                  </a:lnTo>
                  <a:lnTo>
                    <a:pt x="2049" y="1194"/>
                  </a:lnTo>
                  <a:lnTo>
                    <a:pt x="2049" y="1194"/>
                  </a:lnTo>
                  <a:lnTo>
                    <a:pt x="2049" y="1192"/>
                  </a:lnTo>
                  <a:lnTo>
                    <a:pt x="2049" y="1192"/>
                  </a:lnTo>
                  <a:lnTo>
                    <a:pt x="2049" y="1192"/>
                  </a:lnTo>
                  <a:lnTo>
                    <a:pt x="2049" y="1192"/>
                  </a:lnTo>
                  <a:lnTo>
                    <a:pt x="2047" y="1192"/>
                  </a:lnTo>
                  <a:lnTo>
                    <a:pt x="2047" y="1189"/>
                  </a:lnTo>
                  <a:lnTo>
                    <a:pt x="2047" y="1189"/>
                  </a:lnTo>
                  <a:lnTo>
                    <a:pt x="2047" y="1192"/>
                  </a:lnTo>
                  <a:lnTo>
                    <a:pt x="2047" y="1192"/>
                  </a:lnTo>
                  <a:lnTo>
                    <a:pt x="2045" y="1192"/>
                  </a:lnTo>
                  <a:lnTo>
                    <a:pt x="2045" y="1192"/>
                  </a:lnTo>
                  <a:lnTo>
                    <a:pt x="2045" y="1194"/>
                  </a:lnTo>
                  <a:lnTo>
                    <a:pt x="2045" y="1194"/>
                  </a:lnTo>
                  <a:lnTo>
                    <a:pt x="2045" y="1194"/>
                  </a:lnTo>
                  <a:lnTo>
                    <a:pt x="2045" y="1194"/>
                  </a:lnTo>
                  <a:lnTo>
                    <a:pt x="2045" y="1194"/>
                  </a:lnTo>
                  <a:lnTo>
                    <a:pt x="2045" y="1194"/>
                  </a:lnTo>
                  <a:lnTo>
                    <a:pt x="2045" y="1194"/>
                  </a:lnTo>
                  <a:lnTo>
                    <a:pt x="2045" y="1197"/>
                  </a:lnTo>
                  <a:lnTo>
                    <a:pt x="2045" y="1197"/>
                  </a:lnTo>
                  <a:lnTo>
                    <a:pt x="2045" y="1197"/>
                  </a:lnTo>
                  <a:lnTo>
                    <a:pt x="2045" y="1197"/>
                  </a:lnTo>
                  <a:lnTo>
                    <a:pt x="2042" y="1197"/>
                  </a:lnTo>
                  <a:lnTo>
                    <a:pt x="2042" y="1197"/>
                  </a:lnTo>
                  <a:lnTo>
                    <a:pt x="2042" y="1199"/>
                  </a:lnTo>
                  <a:lnTo>
                    <a:pt x="2042" y="1199"/>
                  </a:lnTo>
                  <a:lnTo>
                    <a:pt x="2042" y="1201"/>
                  </a:lnTo>
                  <a:lnTo>
                    <a:pt x="2042" y="1201"/>
                  </a:lnTo>
                  <a:lnTo>
                    <a:pt x="2042" y="1201"/>
                  </a:lnTo>
                  <a:lnTo>
                    <a:pt x="2042" y="1204"/>
                  </a:lnTo>
                  <a:lnTo>
                    <a:pt x="2042" y="1204"/>
                  </a:lnTo>
                  <a:lnTo>
                    <a:pt x="2042" y="1201"/>
                  </a:lnTo>
                  <a:lnTo>
                    <a:pt x="2042" y="1201"/>
                  </a:lnTo>
                  <a:lnTo>
                    <a:pt x="2042" y="1199"/>
                  </a:lnTo>
                  <a:lnTo>
                    <a:pt x="2042" y="1199"/>
                  </a:lnTo>
                  <a:lnTo>
                    <a:pt x="2042" y="1197"/>
                  </a:lnTo>
                  <a:lnTo>
                    <a:pt x="2042" y="1197"/>
                  </a:lnTo>
                  <a:lnTo>
                    <a:pt x="2042" y="1194"/>
                  </a:lnTo>
                  <a:lnTo>
                    <a:pt x="2045" y="1194"/>
                  </a:lnTo>
                  <a:lnTo>
                    <a:pt x="2042" y="1194"/>
                  </a:lnTo>
                  <a:lnTo>
                    <a:pt x="2045" y="1192"/>
                  </a:lnTo>
                  <a:lnTo>
                    <a:pt x="2045" y="1192"/>
                  </a:lnTo>
                  <a:lnTo>
                    <a:pt x="2045" y="1192"/>
                  </a:lnTo>
                  <a:lnTo>
                    <a:pt x="2042" y="1192"/>
                  </a:lnTo>
                  <a:lnTo>
                    <a:pt x="2042" y="1189"/>
                  </a:lnTo>
                  <a:lnTo>
                    <a:pt x="2042" y="1189"/>
                  </a:lnTo>
                  <a:lnTo>
                    <a:pt x="2042" y="1189"/>
                  </a:lnTo>
                  <a:lnTo>
                    <a:pt x="2042" y="1189"/>
                  </a:lnTo>
                  <a:lnTo>
                    <a:pt x="2042" y="1189"/>
                  </a:lnTo>
                  <a:lnTo>
                    <a:pt x="2040" y="1192"/>
                  </a:lnTo>
                  <a:lnTo>
                    <a:pt x="2040" y="1192"/>
                  </a:lnTo>
                  <a:lnTo>
                    <a:pt x="2040" y="1192"/>
                  </a:lnTo>
                  <a:lnTo>
                    <a:pt x="2040" y="1192"/>
                  </a:lnTo>
                  <a:lnTo>
                    <a:pt x="2040" y="1189"/>
                  </a:lnTo>
                  <a:lnTo>
                    <a:pt x="2040" y="1189"/>
                  </a:lnTo>
                  <a:lnTo>
                    <a:pt x="2040" y="1189"/>
                  </a:lnTo>
                  <a:lnTo>
                    <a:pt x="2040" y="1187"/>
                  </a:lnTo>
                  <a:lnTo>
                    <a:pt x="2040" y="1187"/>
                  </a:lnTo>
                  <a:lnTo>
                    <a:pt x="2040" y="1189"/>
                  </a:lnTo>
                  <a:lnTo>
                    <a:pt x="2040" y="1189"/>
                  </a:lnTo>
                  <a:lnTo>
                    <a:pt x="2042" y="1189"/>
                  </a:lnTo>
                  <a:lnTo>
                    <a:pt x="2042" y="1187"/>
                  </a:lnTo>
                  <a:lnTo>
                    <a:pt x="2042" y="1185"/>
                  </a:lnTo>
                  <a:lnTo>
                    <a:pt x="2042" y="1182"/>
                  </a:lnTo>
                  <a:lnTo>
                    <a:pt x="2040" y="1185"/>
                  </a:lnTo>
                  <a:lnTo>
                    <a:pt x="2040" y="1182"/>
                  </a:lnTo>
                  <a:lnTo>
                    <a:pt x="2040" y="1182"/>
                  </a:lnTo>
                  <a:lnTo>
                    <a:pt x="2045" y="1182"/>
                  </a:lnTo>
                  <a:lnTo>
                    <a:pt x="2047" y="1180"/>
                  </a:lnTo>
                  <a:lnTo>
                    <a:pt x="2047" y="1178"/>
                  </a:lnTo>
                  <a:lnTo>
                    <a:pt x="2045" y="1178"/>
                  </a:lnTo>
                  <a:lnTo>
                    <a:pt x="2045" y="1175"/>
                  </a:lnTo>
                  <a:lnTo>
                    <a:pt x="2042" y="1175"/>
                  </a:lnTo>
                  <a:lnTo>
                    <a:pt x="2040" y="1175"/>
                  </a:lnTo>
                  <a:lnTo>
                    <a:pt x="2038" y="1175"/>
                  </a:lnTo>
                  <a:lnTo>
                    <a:pt x="2038" y="1175"/>
                  </a:lnTo>
                  <a:lnTo>
                    <a:pt x="2038" y="1178"/>
                  </a:lnTo>
                  <a:lnTo>
                    <a:pt x="2038" y="1178"/>
                  </a:lnTo>
                  <a:lnTo>
                    <a:pt x="2038" y="1178"/>
                  </a:lnTo>
                  <a:lnTo>
                    <a:pt x="2038" y="1178"/>
                  </a:lnTo>
                  <a:lnTo>
                    <a:pt x="2038" y="1178"/>
                  </a:lnTo>
                  <a:lnTo>
                    <a:pt x="2035" y="1178"/>
                  </a:lnTo>
                  <a:lnTo>
                    <a:pt x="2035" y="1178"/>
                  </a:lnTo>
                  <a:lnTo>
                    <a:pt x="2035" y="1178"/>
                  </a:lnTo>
                  <a:lnTo>
                    <a:pt x="2035" y="1180"/>
                  </a:lnTo>
                  <a:lnTo>
                    <a:pt x="2038" y="1180"/>
                  </a:lnTo>
                  <a:lnTo>
                    <a:pt x="2035" y="1182"/>
                  </a:lnTo>
                  <a:lnTo>
                    <a:pt x="2035" y="1185"/>
                  </a:lnTo>
                  <a:lnTo>
                    <a:pt x="2033" y="1185"/>
                  </a:lnTo>
                  <a:lnTo>
                    <a:pt x="2033" y="1187"/>
                  </a:lnTo>
                  <a:lnTo>
                    <a:pt x="2031" y="1187"/>
                  </a:lnTo>
                  <a:lnTo>
                    <a:pt x="2033" y="1187"/>
                  </a:lnTo>
                  <a:lnTo>
                    <a:pt x="2031" y="1192"/>
                  </a:lnTo>
                  <a:lnTo>
                    <a:pt x="2033" y="1194"/>
                  </a:lnTo>
                  <a:lnTo>
                    <a:pt x="2033" y="1194"/>
                  </a:lnTo>
                  <a:lnTo>
                    <a:pt x="2031" y="1194"/>
                  </a:lnTo>
                  <a:lnTo>
                    <a:pt x="2031" y="1194"/>
                  </a:lnTo>
                  <a:lnTo>
                    <a:pt x="2031" y="1197"/>
                  </a:lnTo>
                  <a:lnTo>
                    <a:pt x="2031" y="1197"/>
                  </a:lnTo>
                  <a:lnTo>
                    <a:pt x="2033" y="1197"/>
                  </a:lnTo>
                  <a:lnTo>
                    <a:pt x="2038" y="1199"/>
                  </a:lnTo>
                  <a:lnTo>
                    <a:pt x="2038" y="1201"/>
                  </a:lnTo>
                  <a:lnTo>
                    <a:pt x="2038" y="1201"/>
                  </a:lnTo>
                  <a:lnTo>
                    <a:pt x="2040" y="1206"/>
                  </a:lnTo>
                  <a:lnTo>
                    <a:pt x="2040" y="1206"/>
                  </a:lnTo>
                  <a:lnTo>
                    <a:pt x="2040" y="1206"/>
                  </a:lnTo>
                  <a:lnTo>
                    <a:pt x="2040" y="1206"/>
                  </a:lnTo>
                  <a:lnTo>
                    <a:pt x="2038" y="1201"/>
                  </a:lnTo>
                  <a:lnTo>
                    <a:pt x="2035" y="1201"/>
                  </a:lnTo>
                  <a:lnTo>
                    <a:pt x="2035" y="1201"/>
                  </a:lnTo>
                  <a:lnTo>
                    <a:pt x="2035" y="1199"/>
                  </a:lnTo>
                  <a:lnTo>
                    <a:pt x="2033" y="1199"/>
                  </a:lnTo>
                  <a:lnTo>
                    <a:pt x="2031" y="1199"/>
                  </a:lnTo>
                  <a:lnTo>
                    <a:pt x="2031" y="1199"/>
                  </a:lnTo>
                  <a:lnTo>
                    <a:pt x="2031" y="1197"/>
                  </a:lnTo>
                  <a:lnTo>
                    <a:pt x="2031" y="1197"/>
                  </a:lnTo>
                  <a:lnTo>
                    <a:pt x="2028" y="1197"/>
                  </a:lnTo>
                  <a:lnTo>
                    <a:pt x="2031" y="1194"/>
                  </a:lnTo>
                  <a:lnTo>
                    <a:pt x="2031" y="1194"/>
                  </a:lnTo>
                  <a:lnTo>
                    <a:pt x="2031" y="1194"/>
                  </a:lnTo>
                  <a:lnTo>
                    <a:pt x="2031" y="1194"/>
                  </a:lnTo>
                  <a:lnTo>
                    <a:pt x="2031" y="1192"/>
                  </a:lnTo>
                  <a:lnTo>
                    <a:pt x="2031" y="1192"/>
                  </a:lnTo>
                  <a:lnTo>
                    <a:pt x="2031" y="1187"/>
                  </a:lnTo>
                  <a:lnTo>
                    <a:pt x="2031" y="1185"/>
                  </a:lnTo>
                  <a:lnTo>
                    <a:pt x="2028" y="1182"/>
                  </a:lnTo>
                  <a:lnTo>
                    <a:pt x="2028" y="1182"/>
                  </a:lnTo>
                  <a:lnTo>
                    <a:pt x="2028" y="1182"/>
                  </a:lnTo>
                  <a:lnTo>
                    <a:pt x="2028" y="1182"/>
                  </a:lnTo>
                  <a:lnTo>
                    <a:pt x="2028" y="1182"/>
                  </a:lnTo>
                  <a:lnTo>
                    <a:pt x="2028" y="1182"/>
                  </a:lnTo>
                  <a:lnTo>
                    <a:pt x="2023" y="1185"/>
                  </a:lnTo>
                  <a:lnTo>
                    <a:pt x="2023" y="1185"/>
                  </a:lnTo>
                  <a:lnTo>
                    <a:pt x="2023" y="1187"/>
                  </a:lnTo>
                  <a:lnTo>
                    <a:pt x="2023" y="1187"/>
                  </a:lnTo>
                  <a:lnTo>
                    <a:pt x="2021" y="1187"/>
                  </a:lnTo>
                  <a:lnTo>
                    <a:pt x="2021" y="1187"/>
                  </a:lnTo>
                  <a:lnTo>
                    <a:pt x="2021" y="1187"/>
                  </a:lnTo>
                  <a:lnTo>
                    <a:pt x="2021" y="1187"/>
                  </a:lnTo>
                  <a:lnTo>
                    <a:pt x="2021" y="1187"/>
                  </a:lnTo>
                  <a:lnTo>
                    <a:pt x="2021" y="1187"/>
                  </a:lnTo>
                  <a:lnTo>
                    <a:pt x="2023" y="1189"/>
                  </a:lnTo>
                  <a:lnTo>
                    <a:pt x="2023" y="1189"/>
                  </a:lnTo>
                  <a:lnTo>
                    <a:pt x="2023" y="1189"/>
                  </a:lnTo>
                  <a:lnTo>
                    <a:pt x="2023" y="1192"/>
                  </a:lnTo>
                  <a:lnTo>
                    <a:pt x="2023" y="1192"/>
                  </a:lnTo>
                  <a:lnTo>
                    <a:pt x="2023" y="1192"/>
                  </a:lnTo>
                  <a:lnTo>
                    <a:pt x="2023" y="1192"/>
                  </a:lnTo>
                  <a:lnTo>
                    <a:pt x="2023" y="1194"/>
                  </a:lnTo>
                  <a:lnTo>
                    <a:pt x="2023" y="1194"/>
                  </a:lnTo>
                  <a:lnTo>
                    <a:pt x="2021" y="1194"/>
                  </a:lnTo>
                  <a:lnTo>
                    <a:pt x="2021" y="1197"/>
                  </a:lnTo>
                  <a:lnTo>
                    <a:pt x="2021" y="1197"/>
                  </a:lnTo>
                  <a:lnTo>
                    <a:pt x="2021" y="1199"/>
                  </a:lnTo>
                  <a:lnTo>
                    <a:pt x="2021" y="1199"/>
                  </a:lnTo>
                  <a:lnTo>
                    <a:pt x="2021" y="1199"/>
                  </a:lnTo>
                  <a:lnTo>
                    <a:pt x="2023" y="1204"/>
                  </a:lnTo>
                  <a:lnTo>
                    <a:pt x="2023" y="1204"/>
                  </a:lnTo>
                  <a:lnTo>
                    <a:pt x="2023" y="1206"/>
                  </a:lnTo>
                  <a:lnTo>
                    <a:pt x="2023" y="1208"/>
                  </a:lnTo>
                  <a:lnTo>
                    <a:pt x="2023" y="1208"/>
                  </a:lnTo>
                  <a:lnTo>
                    <a:pt x="2023" y="1208"/>
                  </a:lnTo>
                  <a:lnTo>
                    <a:pt x="2023" y="1208"/>
                  </a:lnTo>
                  <a:lnTo>
                    <a:pt x="2023" y="1208"/>
                  </a:lnTo>
                  <a:lnTo>
                    <a:pt x="2023" y="1206"/>
                  </a:lnTo>
                  <a:lnTo>
                    <a:pt x="2021" y="1206"/>
                  </a:lnTo>
                  <a:lnTo>
                    <a:pt x="2021" y="1206"/>
                  </a:lnTo>
                  <a:lnTo>
                    <a:pt x="2021" y="1204"/>
                  </a:lnTo>
                  <a:lnTo>
                    <a:pt x="2021" y="1204"/>
                  </a:lnTo>
                  <a:lnTo>
                    <a:pt x="2021" y="1201"/>
                  </a:lnTo>
                  <a:lnTo>
                    <a:pt x="2021" y="1201"/>
                  </a:lnTo>
                  <a:lnTo>
                    <a:pt x="2021" y="1199"/>
                  </a:lnTo>
                  <a:lnTo>
                    <a:pt x="2019" y="1199"/>
                  </a:lnTo>
                  <a:lnTo>
                    <a:pt x="2019" y="1199"/>
                  </a:lnTo>
                  <a:lnTo>
                    <a:pt x="2019" y="1197"/>
                  </a:lnTo>
                  <a:lnTo>
                    <a:pt x="2019" y="1194"/>
                  </a:lnTo>
                  <a:lnTo>
                    <a:pt x="2019" y="1194"/>
                  </a:lnTo>
                  <a:lnTo>
                    <a:pt x="2019" y="1192"/>
                  </a:lnTo>
                  <a:lnTo>
                    <a:pt x="2019" y="1192"/>
                  </a:lnTo>
                  <a:lnTo>
                    <a:pt x="2016" y="1189"/>
                  </a:lnTo>
                  <a:lnTo>
                    <a:pt x="2016" y="1189"/>
                  </a:lnTo>
                  <a:lnTo>
                    <a:pt x="2016" y="1189"/>
                  </a:lnTo>
                  <a:lnTo>
                    <a:pt x="2016" y="1189"/>
                  </a:lnTo>
                  <a:lnTo>
                    <a:pt x="2016" y="1185"/>
                  </a:lnTo>
                  <a:lnTo>
                    <a:pt x="2016" y="1185"/>
                  </a:lnTo>
                  <a:lnTo>
                    <a:pt x="2016" y="1185"/>
                  </a:lnTo>
                  <a:lnTo>
                    <a:pt x="2016" y="1182"/>
                  </a:lnTo>
                  <a:lnTo>
                    <a:pt x="2019" y="1180"/>
                  </a:lnTo>
                  <a:lnTo>
                    <a:pt x="2019" y="1180"/>
                  </a:lnTo>
                  <a:lnTo>
                    <a:pt x="2016" y="1180"/>
                  </a:lnTo>
                  <a:lnTo>
                    <a:pt x="2016" y="1180"/>
                  </a:lnTo>
                  <a:lnTo>
                    <a:pt x="2016" y="1180"/>
                  </a:lnTo>
                  <a:lnTo>
                    <a:pt x="2016" y="1180"/>
                  </a:lnTo>
                  <a:lnTo>
                    <a:pt x="2016" y="1180"/>
                  </a:lnTo>
                  <a:lnTo>
                    <a:pt x="2016" y="1180"/>
                  </a:lnTo>
                  <a:lnTo>
                    <a:pt x="2016" y="1178"/>
                  </a:lnTo>
                  <a:lnTo>
                    <a:pt x="2016" y="1178"/>
                  </a:lnTo>
                  <a:lnTo>
                    <a:pt x="2016" y="1175"/>
                  </a:lnTo>
                  <a:lnTo>
                    <a:pt x="2014" y="1175"/>
                  </a:lnTo>
                  <a:lnTo>
                    <a:pt x="2014" y="1175"/>
                  </a:lnTo>
                  <a:lnTo>
                    <a:pt x="2014" y="1175"/>
                  </a:lnTo>
                  <a:lnTo>
                    <a:pt x="2014" y="1178"/>
                  </a:lnTo>
                  <a:lnTo>
                    <a:pt x="2014" y="1178"/>
                  </a:lnTo>
                  <a:lnTo>
                    <a:pt x="2014" y="1178"/>
                  </a:lnTo>
                  <a:lnTo>
                    <a:pt x="2014" y="1178"/>
                  </a:lnTo>
                  <a:lnTo>
                    <a:pt x="2014" y="1178"/>
                  </a:lnTo>
                  <a:lnTo>
                    <a:pt x="2016" y="1180"/>
                  </a:lnTo>
                  <a:lnTo>
                    <a:pt x="2016" y="1180"/>
                  </a:lnTo>
                  <a:lnTo>
                    <a:pt x="2016" y="1182"/>
                  </a:lnTo>
                  <a:lnTo>
                    <a:pt x="2016" y="1182"/>
                  </a:lnTo>
                  <a:lnTo>
                    <a:pt x="2016" y="1185"/>
                  </a:lnTo>
                  <a:lnTo>
                    <a:pt x="2014" y="1185"/>
                  </a:lnTo>
                  <a:lnTo>
                    <a:pt x="2014" y="1187"/>
                  </a:lnTo>
                  <a:lnTo>
                    <a:pt x="2014" y="1187"/>
                  </a:lnTo>
                  <a:lnTo>
                    <a:pt x="2014" y="1187"/>
                  </a:lnTo>
                  <a:lnTo>
                    <a:pt x="2012" y="1189"/>
                  </a:lnTo>
                  <a:lnTo>
                    <a:pt x="2012" y="1189"/>
                  </a:lnTo>
                  <a:lnTo>
                    <a:pt x="2012" y="1189"/>
                  </a:lnTo>
                  <a:lnTo>
                    <a:pt x="2012" y="1189"/>
                  </a:lnTo>
                  <a:lnTo>
                    <a:pt x="2009" y="1189"/>
                  </a:lnTo>
                  <a:lnTo>
                    <a:pt x="2009" y="1192"/>
                  </a:lnTo>
                  <a:lnTo>
                    <a:pt x="2009" y="1192"/>
                  </a:lnTo>
                  <a:lnTo>
                    <a:pt x="2009" y="1194"/>
                  </a:lnTo>
                  <a:lnTo>
                    <a:pt x="2009" y="1194"/>
                  </a:lnTo>
                  <a:lnTo>
                    <a:pt x="2009" y="1197"/>
                  </a:lnTo>
                  <a:lnTo>
                    <a:pt x="2009" y="1197"/>
                  </a:lnTo>
                  <a:lnTo>
                    <a:pt x="2009" y="1197"/>
                  </a:lnTo>
                  <a:lnTo>
                    <a:pt x="2009" y="1199"/>
                  </a:lnTo>
                  <a:lnTo>
                    <a:pt x="2009" y="1199"/>
                  </a:lnTo>
                  <a:lnTo>
                    <a:pt x="2009" y="1199"/>
                  </a:lnTo>
                  <a:lnTo>
                    <a:pt x="2009" y="1199"/>
                  </a:lnTo>
                  <a:lnTo>
                    <a:pt x="2012" y="1199"/>
                  </a:lnTo>
                  <a:lnTo>
                    <a:pt x="2012" y="1199"/>
                  </a:lnTo>
                  <a:lnTo>
                    <a:pt x="2012" y="1201"/>
                  </a:lnTo>
                  <a:lnTo>
                    <a:pt x="2012" y="1201"/>
                  </a:lnTo>
                  <a:lnTo>
                    <a:pt x="2012" y="1201"/>
                  </a:lnTo>
                  <a:lnTo>
                    <a:pt x="2012" y="1204"/>
                  </a:lnTo>
                  <a:lnTo>
                    <a:pt x="2012" y="1204"/>
                  </a:lnTo>
                  <a:lnTo>
                    <a:pt x="2012" y="1201"/>
                  </a:lnTo>
                  <a:lnTo>
                    <a:pt x="2009" y="1201"/>
                  </a:lnTo>
                  <a:lnTo>
                    <a:pt x="2009" y="1199"/>
                  </a:lnTo>
                  <a:lnTo>
                    <a:pt x="2007" y="1201"/>
                  </a:lnTo>
                  <a:lnTo>
                    <a:pt x="2007" y="1201"/>
                  </a:lnTo>
                  <a:lnTo>
                    <a:pt x="2004" y="1199"/>
                  </a:lnTo>
                  <a:lnTo>
                    <a:pt x="2004" y="1201"/>
                  </a:lnTo>
                  <a:lnTo>
                    <a:pt x="2002" y="1199"/>
                  </a:lnTo>
                  <a:lnTo>
                    <a:pt x="2002" y="1199"/>
                  </a:lnTo>
                  <a:lnTo>
                    <a:pt x="2000" y="1199"/>
                  </a:lnTo>
                  <a:lnTo>
                    <a:pt x="2002" y="1199"/>
                  </a:lnTo>
                  <a:lnTo>
                    <a:pt x="2002" y="1199"/>
                  </a:lnTo>
                  <a:lnTo>
                    <a:pt x="2007" y="1199"/>
                  </a:lnTo>
                  <a:lnTo>
                    <a:pt x="2009" y="1199"/>
                  </a:lnTo>
                  <a:lnTo>
                    <a:pt x="2009" y="1197"/>
                  </a:lnTo>
                  <a:lnTo>
                    <a:pt x="2009" y="1197"/>
                  </a:lnTo>
                  <a:lnTo>
                    <a:pt x="2009" y="1197"/>
                  </a:lnTo>
                  <a:lnTo>
                    <a:pt x="2009" y="1197"/>
                  </a:lnTo>
                  <a:lnTo>
                    <a:pt x="2009" y="1194"/>
                  </a:lnTo>
                  <a:lnTo>
                    <a:pt x="2009" y="1194"/>
                  </a:lnTo>
                  <a:lnTo>
                    <a:pt x="2009" y="1194"/>
                  </a:lnTo>
                  <a:lnTo>
                    <a:pt x="2009" y="1192"/>
                  </a:lnTo>
                  <a:lnTo>
                    <a:pt x="2009" y="1189"/>
                  </a:lnTo>
                  <a:lnTo>
                    <a:pt x="2009" y="1189"/>
                  </a:lnTo>
                  <a:lnTo>
                    <a:pt x="2012" y="1187"/>
                  </a:lnTo>
                  <a:lnTo>
                    <a:pt x="2012" y="1187"/>
                  </a:lnTo>
                  <a:lnTo>
                    <a:pt x="2012" y="1187"/>
                  </a:lnTo>
                  <a:lnTo>
                    <a:pt x="2009" y="1185"/>
                  </a:lnTo>
                  <a:lnTo>
                    <a:pt x="2009" y="1185"/>
                  </a:lnTo>
                  <a:lnTo>
                    <a:pt x="2009" y="1185"/>
                  </a:lnTo>
                  <a:lnTo>
                    <a:pt x="2009" y="1185"/>
                  </a:lnTo>
                  <a:lnTo>
                    <a:pt x="2009" y="1182"/>
                  </a:lnTo>
                  <a:lnTo>
                    <a:pt x="2009" y="1182"/>
                  </a:lnTo>
                  <a:lnTo>
                    <a:pt x="2009" y="1182"/>
                  </a:lnTo>
                  <a:lnTo>
                    <a:pt x="2007" y="1182"/>
                  </a:lnTo>
                  <a:lnTo>
                    <a:pt x="2007" y="1182"/>
                  </a:lnTo>
                  <a:lnTo>
                    <a:pt x="2004" y="1185"/>
                  </a:lnTo>
                  <a:lnTo>
                    <a:pt x="2002" y="1185"/>
                  </a:lnTo>
                  <a:lnTo>
                    <a:pt x="2002" y="1185"/>
                  </a:lnTo>
                  <a:lnTo>
                    <a:pt x="2004" y="1185"/>
                  </a:lnTo>
                  <a:lnTo>
                    <a:pt x="2007" y="1182"/>
                  </a:lnTo>
                  <a:lnTo>
                    <a:pt x="2007" y="1180"/>
                  </a:lnTo>
                  <a:lnTo>
                    <a:pt x="2004" y="1180"/>
                  </a:lnTo>
                  <a:lnTo>
                    <a:pt x="2000" y="1180"/>
                  </a:lnTo>
                  <a:lnTo>
                    <a:pt x="2000" y="1180"/>
                  </a:lnTo>
                  <a:lnTo>
                    <a:pt x="2000" y="1182"/>
                  </a:lnTo>
                  <a:lnTo>
                    <a:pt x="2000" y="1185"/>
                  </a:lnTo>
                  <a:lnTo>
                    <a:pt x="2000" y="1189"/>
                  </a:lnTo>
                  <a:lnTo>
                    <a:pt x="2000" y="1192"/>
                  </a:lnTo>
                  <a:lnTo>
                    <a:pt x="2000" y="1192"/>
                  </a:lnTo>
                  <a:lnTo>
                    <a:pt x="2000" y="1192"/>
                  </a:lnTo>
                  <a:lnTo>
                    <a:pt x="2000" y="1192"/>
                  </a:lnTo>
                  <a:lnTo>
                    <a:pt x="2000" y="1189"/>
                  </a:lnTo>
                  <a:lnTo>
                    <a:pt x="2000" y="1189"/>
                  </a:lnTo>
                  <a:lnTo>
                    <a:pt x="2000" y="1187"/>
                  </a:lnTo>
                  <a:lnTo>
                    <a:pt x="1997" y="1185"/>
                  </a:lnTo>
                  <a:lnTo>
                    <a:pt x="1997" y="1185"/>
                  </a:lnTo>
                  <a:lnTo>
                    <a:pt x="1997" y="1185"/>
                  </a:lnTo>
                  <a:lnTo>
                    <a:pt x="1997" y="1185"/>
                  </a:lnTo>
                  <a:lnTo>
                    <a:pt x="1997" y="1185"/>
                  </a:lnTo>
                  <a:lnTo>
                    <a:pt x="1997" y="1185"/>
                  </a:lnTo>
                  <a:lnTo>
                    <a:pt x="1997" y="1185"/>
                  </a:lnTo>
                  <a:lnTo>
                    <a:pt x="1997" y="1185"/>
                  </a:lnTo>
                  <a:lnTo>
                    <a:pt x="1997" y="1185"/>
                  </a:lnTo>
                  <a:lnTo>
                    <a:pt x="1997" y="1182"/>
                  </a:lnTo>
                  <a:lnTo>
                    <a:pt x="1997" y="1182"/>
                  </a:lnTo>
                  <a:lnTo>
                    <a:pt x="1995" y="1182"/>
                  </a:lnTo>
                  <a:lnTo>
                    <a:pt x="1995" y="1182"/>
                  </a:lnTo>
                  <a:lnTo>
                    <a:pt x="1995" y="1182"/>
                  </a:lnTo>
                  <a:lnTo>
                    <a:pt x="1995" y="1185"/>
                  </a:lnTo>
                  <a:lnTo>
                    <a:pt x="1995" y="1185"/>
                  </a:lnTo>
                  <a:lnTo>
                    <a:pt x="1995" y="1185"/>
                  </a:lnTo>
                  <a:lnTo>
                    <a:pt x="1995" y="1185"/>
                  </a:lnTo>
                  <a:lnTo>
                    <a:pt x="1993" y="1189"/>
                  </a:lnTo>
                  <a:lnTo>
                    <a:pt x="1993" y="1189"/>
                  </a:lnTo>
                  <a:lnTo>
                    <a:pt x="1993" y="1192"/>
                  </a:lnTo>
                  <a:lnTo>
                    <a:pt x="1993" y="1192"/>
                  </a:lnTo>
                  <a:lnTo>
                    <a:pt x="1993" y="1192"/>
                  </a:lnTo>
                  <a:lnTo>
                    <a:pt x="1993" y="1192"/>
                  </a:lnTo>
                  <a:lnTo>
                    <a:pt x="1993" y="1192"/>
                  </a:lnTo>
                  <a:lnTo>
                    <a:pt x="1993" y="1192"/>
                  </a:lnTo>
                  <a:lnTo>
                    <a:pt x="1993" y="1192"/>
                  </a:lnTo>
                  <a:lnTo>
                    <a:pt x="1993" y="1189"/>
                  </a:lnTo>
                  <a:lnTo>
                    <a:pt x="1993" y="1189"/>
                  </a:lnTo>
                  <a:lnTo>
                    <a:pt x="1993" y="1185"/>
                  </a:lnTo>
                  <a:lnTo>
                    <a:pt x="1993" y="1185"/>
                  </a:lnTo>
                  <a:lnTo>
                    <a:pt x="1993" y="1182"/>
                  </a:lnTo>
                  <a:lnTo>
                    <a:pt x="1993" y="1182"/>
                  </a:lnTo>
                  <a:lnTo>
                    <a:pt x="1993" y="1180"/>
                  </a:lnTo>
                  <a:lnTo>
                    <a:pt x="1993" y="1180"/>
                  </a:lnTo>
                  <a:lnTo>
                    <a:pt x="1993" y="1180"/>
                  </a:lnTo>
                  <a:lnTo>
                    <a:pt x="1993" y="1180"/>
                  </a:lnTo>
                  <a:lnTo>
                    <a:pt x="1993" y="1178"/>
                  </a:lnTo>
                  <a:lnTo>
                    <a:pt x="1993" y="1178"/>
                  </a:lnTo>
                  <a:lnTo>
                    <a:pt x="1993" y="1178"/>
                  </a:lnTo>
                  <a:lnTo>
                    <a:pt x="1993" y="1178"/>
                  </a:lnTo>
                  <a:lnTo>
                    <a:pt x="1993" y="1178"/>
                  </a:lnTo>
                  <a:lnTo>
                    <a:pt x="1993" y="1175"/>
                  </a:lnTo>
                  <a:lnTo>
                    <a:pt x="1990" y="1175"/>
                  </a:lnTo>
                  <a:lnTo>
                    <a:pt x="1988" y="1175"/>
                  </a:lnTo>
                  <a:lnTo>
                    <a:pt x="1988" y="1175"/>
                  </a:lnTo>
                  <a:lnTo>
                    <a:pt x="1988" y="1175"/>
                  </a:lnTo>
                  <a:lnTo>
                    <a:pt x="1988" y="1175"/>
                  </a:lnTo>
                  <a:lnTo>
                    <a:pt x="1986" y="1175"/>
                  </a:lnTo>
                  <a:lnTo>
                    <a:pt x="1986" y="1175"/>
                  </a:lnTo>
                  <a:lnTo>
                    <a:pt x="1986" y="1175"/>
                  </a:lnTo>
                  <a:lnTo>
                    <a:pt x="1986" y="1175"/>
                  </a:lnTo>
                  <a:lnTo>
                    <a:pt x="1983" y="1175"/>
                  </a:lnTo>
                  <a:lnTo>
                    <a:pt x="1983" y="1178"/>
                  </a:lnTo>
                  <a:lnTo>
                    <a:pt x="1981" y="1180"/>
                  </a:lnTo>
                  <a:lnTo>
                    <a:pt x="1981" y="1180"/>
                  </a:lnTo>
                  <a:lnTo>
                    <a:pt x="1981" y="1182"/>
                  </a:lnTo>
                  <a:lnTo>
                    <a:pt x="1981" y="1182"/>
                  </a:lnTo>
                  <a:lnTo>
                    <a:pt x="1981" y="1182"/>
                  </a:lnTo>
                  <a:lnTo>
                    <a:pt x="1981" y="1182"/>
                  </a:lnTo>
                  <a:lnTo>
                    <a:pt x="1981" y="1185"/>
                  </a:lnTo>
                  <a:lnTo>
                    <a:pt x="1981" y="1185"/>
                  </a:lnTo>
                  <a:lnTo>
                    <a:pt x="1981" y="1185"/>
                  </a:lnTo>
                  <a:lnTo>
                    <a:pt x="1981" y="1185"/>
                  </a:lnTo>
                  <a:lnTo>
                    <a:pt x="1981" y="1187"/>
                  </a:lnTo>
                  <a:lnTo>
                    <a:pt x="1981" y="1187"/>
                  </a:lnTo>
                  <a:lnTo>
                    <a:pt x="1981" y="1187"/>
                  </a:lnTo>
                  <a:lnTo>
                    <a:pt x="1981" y="1189"/>
                  </a:lnTo>
                  <a:lnTo>
                    <a:pt x="1981" y="1189"/>
                  </a:lnTo>
                  <a:lnTo>
                    <a:pt x="1976" y="1187"/>
                  </a:lnTo>
                  <a:lnTo>
                    <a:pt x="1974" y="1187"/>
                  </a:lnTo>
                  <a:lnTo>
                    <a:pt x="1976" y="1187"/>
                  </a:lnTo>
                  <a:lnTo>
                    <a:pt x="1976" y="1187"/>
                  </a:lnTo>
                  <a:lnTo>
                    <a:pt x="1978" y="1187"/>
                  </a:lnTo>
                  <a:lnTo>
                    <a:pt x="1978" y="1187"/>
                  </a:lnTo>
                  <a:lnTo>
                    <a:pt x="1981" y="1187"/>
                  </a:lnTo>
                  <a:lnTo>
                    <a:pt x="1981" y="1185"/>
                  </a:lnTo>
                  <a:lnTo>
                    <a:pt x="1981" y="1185"/>
                  </a:lnTo>
                  <a:lnTo>
                    <a:pt x="1978" y="1182"/>
                  </a:lnTo>
                  <a:lnTo>
                    <a:pt x="1978" y="1180"/>
                  </a:lnTo>
                  <a:lnTo>
                    <a:pt x="1981" y="1178"/>
                  </a:lnTo>
                  <a:lnTo>
                    <a:pt x="1981" y="1178"/>
                  </a:lnTo>
                  <a:lnTo>
                    <a:pt x="1981" y="1178"/>
                  </a:lnTo>
                  <a:lnTo>
                    <a:pt x="1981" y="1178"/>
                  </a:lnTo>
                  <a:lnTo>
                    <a:pt x="1981" y="1178"/>
                  </a:lnTo>
                  <a:lnTo>
                    <a:pt x="1981" y="1178"/>
                  </a:lnTo>
                  <a:lnTo>
                    <a:pt x="1981" y="1178"/>
                  </a:lnTo>
                  <a:lnTo>
                    <a:pt x="1981" y="1178"/>
                  </a:lnTo>
                  <a:lnTo>
                    <a:pt x="1981" y="1178"/>
                  </a:lnTo>
                  <a:lnTo>
                    <a:pt x="1986" y="1175"/>
                  </a:lnTo>
                  <a:lnTo>
                    <a:pt x="1986" y="1173"/>
                  </a:lnTo>
                  <a:lnTo>
                    <a:pt x="1986" y="1173"/>
                  </a:lnTo>
                  <a:lnTo>
                    <a:pt x="1981" y="1173"/>
                  </a:lnTo>
                  <a:lnTo>
                    <a:pt x="1981" y="1173"/>
                  </a:lnTo>
                  <a:lnTo>
                    <a:pt x="1978" y="1173"/>
                  </a:lnTo>
                  <a:lnTo>
                    <a:pt x="1978" y="1173"/>
                  </a:lnTo>
                  <a:lnTo>
                    <a:pt x="1978" y="1173"/>
                  </a:lnTo>
                  <a:lnTo>
                    <a:pt x="1978" y="1175"/>
                  </a:lnTo>
                  <a:lnTo>
                    <a:pt x="1978" y="1175"/>
                  </a:lnTo>
                  <a:lnTo>
                    <a:pt x="1978" y="1175"/>
                  </a:lnTo>
                  <a:lnTo>
                    <a:pt x="1978" y="1173"/>
                  </a:lnTo>
                  <a:lnTo>
                    <a:pt x="1976" y="1173"/>
                  </a:lnTo>
                  <a:lnTo>
                    <a:pt x="1976" y="1173"/>
                  </a:lnTo>
                  <a:lnTo>
                    <a:pt x="1976" y="1175"/>
                  </a:lnTo>
                  <a:lnTo>
                    <a:pt x="1974" y="1178"/>
                  </a:lnTo>
                  <a:lnTo>
                    <a:pt x="1974" y="1178"/>
                  </a:lnTo>
                  <a:lnTo>
                    <a:pt x="1974" y="1178"/>
                  </a:lnTo>
                  <a:lnTo>
                    <a:pt x="1974" y="1180"/>
                  </a:lnTo>
                  <a:lnTo>
                    <a:pt x="1974" y="1180"/>
                  </a:lnTo>
                  <a:lnTo>
                    <a:pt x="1974" y="1180"/>
                  </a:lnTo>
                  <a:lnTo>
                    <a:pt x="1974" y="1180"/>
                  </a:lnTo>
                  <a:lnTo>
                    <a:pt x="1974" y="1180"/>
                  </a:lnTo>
                  <a:lnTo>
                    <a:pt x="1974" y="1182"/>
                  </a:lnTo>
                  <a:lnTo>
                    <a:pt x="1974" y="1182"/>
                  </a:lnTo>
                  <a:lnTo>
                    <a:pt x="1971" y="1182"/>
                  </a:lnTo>
                  <a:lnTo>
                    <a:pt x="1971" y="1182"/>
                  </a:lnTo>
                  <a:lnTo>
                    <a:pt x="1971" y="1182"/>
                  </a:lnTo>
                  <a:lnTo>
                    <a:pt x="1971" y="1182"/>
                  </a:lnTo>
                  <a:lnTo>
                    <a:pt x="1971" y="1182"/>
                  </a:lnTo>
                  <a:lnTo>
                    <a:pt x="1971" y="1182"/>
                  </a:lnTo>
                  <a:lnTo>
                    <a:pt x="1971" y="1182"/>
                  </a:lnTo>
                  <a:lnTo>
                    <a:pt x="1974" y="1180"/>
                  </a:lnTo>
                  <a:lnTo>
                    <a:pt x="1974" y="1180"/>
                  </a:lnTo>
                  <a:lnTo>
                    <a:pt x="1974" y="1180"/>
                  </a:lnTo>
                  <a:lnTo>
                    <a:pt x="1971" y="1180"/>
                  </a:lnTo>
                  <a:lnTo>
                    <a:pt x="1971" y="1178"/>
                  </a:lnTo>
                  <a:lnTo>
                    <a:pt x="1971" y="1178"/>
                  </a:lnTo>
                  <a:lnTo>
                    <a:pt x="1971" y="1178"/>
                  </a:lnTo>
                  <a:lnTo>
                    <a:pt x="1974" y="1178"/>
                  </a:lnTo>
                  <a:lnTo>
                    <a:pt x="1974" y="1175"/>
                  </a:lnTo>
                  <a:lnTo>
                    <a:pt x="1974" y="1175"/>
                  </a:lnTo>
                  <a:lnTo>
                    <a:pt x="1974" y="1175"/>
                  </a:lnTo>
                  <a:lnTo>
                    <a:pt x="1971" y="1175"/>
                  </a:lnTo>
                  <a:lnTo>
                    <a:pt x="1971" y="1175"/>
                  </a:lnTo>
                  <a:lnTo>
                    <a:pt x="1971" y="1178"/>
                  </a:lnTo>
                  <a:lnTo>
                    <a:pt x="1969" y="1178"/>
                  </a:lnTo>
                  <a:lnTo>
                    <a:pt x="1969" y="1180"/>
                  </a:lnTo>
                  <a:lnTo>
                    <a:pt x="1967" y="1180"/>
                  </a:lnTo>
                  <a:lnTo>
                    <a:pt x="1967" y="1180"/>
                  </a:lnTo>
                  <a:lnTo>
                    <a:pt x="1967" y="1180"/>
                  </a:lnTo>
                  <a:lnTo>
                    <a:pt x="1967" y="1182"/>
                  </a:lnTo>
                  <a:lnTo>
                    <a:pt x="1967" y="1182"/>
                  </a:lnTo>
                  <a:lnTo>
                    <a:pt x="1967" y="1182"/>
                  </a:lnTo>
                  <a:lnTo>
                    <a:pt x="1967" y="1182"/>
                  </a:lnTo>
                  <a:lnTo>
                    <a:pt x="1967" y="1182"/>
                  </a:lnTo>
                  <a:lnTo>
                    <a:pt x="1967" y="1180"/>
                  </a:lnTo>
                  <a:lnTo>
                    <a:pt x="1967" y="1180"/>
                  </a:lnTo>
                  <a:lnTo>
                    <a:pt x="1967" y="1180"/>
                  </a:lnTo>
                  <a:lnTo>
                    <a:pt x="1967" y="1178"/>
                  </a:lnTo>
                  <a:lnTo>
                    <a:pt x="1974" y="1173"/>
                  </a:lnTo>
                  <a:lnTo>
                    <a:pt x="1974" y="1173"/>
                  </a:lnTo>
                  <a:lnTo>
                    <a:pt x="1974" y="1173"/>
                  </a:lnTo>
                  <a:lnTo>
                    <a:pt x="1974" y="1171"/>
                  </a:lnTo>
                  <a:lnTo>
                    <a:pt x="1974" y="1171"/>
                  </a:lnTo>
                  <a:lnTo>
                    <a:pt x="1974" y="1171"/>
                  </a:lnTo>
                  <a:lnTo>
                    <a:pt x="1974" y="1171"/>
                  </a:lnTo>
                  <a:lnTo>
                    <a:pt x="1976" y="1171"/>
                  </a:lnTo>
                  <a:lnTo>
                    <a:pt x="1976" y="1171"/>
                  </a:lnTo>
                  <a:lnTo>
                    <a:pt x="1981" y="1171"/>
                  </a:lnTo>
                  <a:lnTo>
                    <a:pt x="1983" y="1171"/>
                  </a:lnTo>
                  <a:lnTo>
                    <a:pt x="1983" y="1171"/>
                  </a:lnTo>
                  <a:lnTo>
                    <a:pt x="1986" y="1171"/>
                  </a:lnTo>
                  <a:lnTo>
                    <a:pt x="1986" y="1171"/>
                  </a:lnTo>
                  <a:lnTo>
                    <a:pt x="1986" y="1168"/>
                  </a:lnTo>
                  <a:lnTo>
                    <a:pt x="1986" y="1168"/>
                  </a:lnTo>
                  <a:lnTo>
                    <a:pt x="1986" y="1166"/>
                  </a:lnTo>
                  <a:lnTo>
                    <a:pt x="1986" y="1166"/>
                  </a:lnTo>
                  <a:lnTo>
                    <a:pt x="1988" y="1166"/>
                  </a:lnTo>
                  <a:lnTo>
                    <a:pt x="1988" y="1166"/>
                  </a:lnTo>
                  <a:lnTo>
                    <a:pt x="1988" y="1166"/>
                  </a:lnTo>
                  <a:lnTo>
                    <a:pt x="1988" y="1166"/>
                  </a:lnTo>
                  <a:lnTo>
                    <a:pt x="1988" y="1163"/>
                  </a:lnTo>
                  <a:lnTo>
                    <a:pt x="1990" y="1163"/>
                  </a:lnTo>
                  <a:lnTo>
                    <a:pt x="1990" y="1163"/>
                  </a:lnTo>
                  <a:lnTo>
                    <a:pt x="1993" y="1163"/>
                  </a:lnTo>
                  <a:lnTo>
                    <a:pt x="1990" y="1163"/>
                  </a:lnTo>
                  <a:lnTo>
                    <a:pt x="1988" y="1163"/>
                  </a:lnTo>
                  <a:lnTo>
                    <a:pt x="1986" y="1163"/>
                  </a:lnTo>
                  <a:lnTo>
                    <a:pt x="1986" y="1163"/>
                  </a:lnTo>
                  <a:lnTo>
                    <a:pt x="1983" y="1166"/>
                  </a:lnTo>
                  <a:lnTo>
                    <a:pt x="1983" y="1166"/>
                  </a:lnTo>
                  <a:lnTo>
                    <a:pt x="1983" y="1163"/>
                  </a:lnTo>
                  <a:lnTo>
                    <a:pt x="1981" y="1163"/>
                  </a:lnTo>
                  <a:lnTo>
                    <a:pt x="1978" y="1163"/>
                  </a:lnTo>
                  <a:lnTo>
                    <a:pt x="1981" y="1163"/>
                  </a:lnTo>
                  <a:lnTo>
                    <a:pt x="1981" y="1166"/>
                  </a:lnTo>
                  <a:lnTo>
                    <a:pt x="1981" y="1166"/>
                  </a:lnTo>
                  <a:lnTo>
                    <a:pt x="1981" y="1166"/>
                  </a:lnTo>
                  <a:lnTo>
                    <a:pt x="1981" y="1168"/>
                  </a:lnTo>
                  <a:lnTo>
                    <a:pt x="1981" y="1168"/>
                  </a:lnTo>
                  <a:lnTo>
                    <a:pt x="1981" y="1168"/>
                  </a:lnTo>
                  <a:lnTo>
                    <a:pt x="1976" y="1171"/>
                  </a:lnTo>
                  <a:lnTo>
                    <a:pt x="1976" y="1168"/>
                  </a:lnTo>
                  <a:lnTo>
                    <a:pt x="1976" y="1168"/>
                  </a:lnTo>
                  <a:lnTo>
                    <a:pt x="1978" y="1168"/>
                  </a:lnTo>
                  <a:lnTo>
                    <a:pt x="1978" y="1168"/>
                  </a:lnTo>
                  <a:lnTo>
                    <a:pt x="1978" y="1166"/>
                  </a:lnTo>
                  <a:lnTo>
                    <a:pt x="1978" y="1166"/>
                  </a:lnTo>
                  <a:lnTo>
                    <a:pt x="1978" y="1166"/>
                  </a:lnTo>
                  <a:lnTo>
                    <a:pt x="1978" y="1166"/>
                  </a:lnTo>
                  <a:lnTo>
                    <a:pt x="1976" y="1163"/>
                  </a:lnTo>
                  <a:lnTo>
                    <a:pt x="1976" y="1166"/>
                  </a:lnTo>
                  <a:lnTo>
                    <a:pt x="1976" y="1166"/>
                  </a:lnTo>
                  <a:lnTo>
                    <a:pt x="1976" y="1166"/>
                  </a:lnTo>
                  <a:lnTo>
                    <a:pt x="1976" y="1166"/>
                  </a:lnTo>
                  <a:lnTo>
                    <a:pt x="1976" y="1166"/>
                  </a:lnTo>
                  <a:lnTo>
                    <a:pt x="1976" y="1166"/>
                  </a:lnTo>
                  <a:lnTo>
                    <a:pt x="1976" y="1163"/>
                  </a:lnTo>
                  <a:lnTo>
                    <a:pt x="1974" y="1163"/>
                  </a:lnTo>
                  <a:lnTo>
                    <a:pt x="1974" y="1163"/>
                  </a:lnTo>
                  <a:lnTo>
                    <a:pt x="1974" y="1166"/>
                  </a:lnTo>
                  <a:lnTo>
                    <a:pt x="1974" y="1166"/>
                  </a:lnTo>
                  <a:lnTo>
                    <a:pt x="1974" y="1166"/>
                  </a:lnTo>
                  <a:lnTo>
                    <a:pt x="1974" y="1166"/>
                  </a:lnTo>
                  <a:lnTo>
                    <a:pt x="1974" y="1166"/>
                  </a:lnTo>
                  <a:lnTo>
                    <a:pt x="1971" y="1166"/>
                  </a:lnTo>
                  <a:lnTo>
                    <a:pt x="1971" y="1166"/>
                  </a:lnTo>
                  <a:lnTo>
                    <a:pt x="1971" y="1166"/>
                  </a:lnTo>
                  <a:lnTo>
                    <a:pt x="1969" y="1166"/>
                  </a:lnTo>
                  <a:lnTo>
                    <a:pt x="1969" y="1166"/>
                  </a:lnTo>
                  <a:lnTo>
                    <a:pt x="1969" y="1168"/>
                  </a:lnTo>
                  <a:lnTo>
                    <a:pt x="1969" y="1168"/>
                  </a:lnTo>
                  <a:lnTo>
                    <a:pt x="1971" y="1168"/>
                  </a:lnTo>
                  <a:lnTo>
                    <a:pt x="1971" y="1171"/>
                  </a:lnTo>
                  <a:lnTo>
                    <a:pt x="1971" y="1171"/>
                  </a:lnTo>
                  <a:lnTo>
                    <a:pt x="1971" y="1173"/>
                  </a:lnTo>
                  <a:lnTo>
                    <a:pt x="1969" y="1173"/>
                  </a:lnTo>
                  <a:lnTo>
                    <a:pt x="1969" y="1173"/>
                  </a:lnTo>
                  <a:lnTo>
                    <a:pt x="1969" y="1173"/>
                  </a:lnTo>
                  <a:lnTo>
                    <a:pt x="1969" y="1173"/>
                  </a:lnTo>
                  <a:lnTo>
                    <a:pt x="1969" y="1171"/>
                  </a:lnTo>
                  <a:lnTo>
                    <a:pt x="1969" y="1171"/>
                  </a:lnTo>
                  <a:lnTo>
                    <a:pt x="1969" y="1168"/>
                  </a:lnTo>
                  <a:lnTo>
                    <a:pt x="1967" y="1166"/>
                  </a:lnTo>
                  <a:lnTo>
                    <a:pt x="1969" y="1166"/>
                  </a:lnTo>
                  <a:lnTo>
                    <a:pt x="1969" y="1166"/>
                  </a:lnTo>
                  <a:lnTo>
                    <a:pt x="1969" y="1163"/>
                  </a:lnTo>
                  <a:lnTo>
                    <a:pt x="1969" y="1163"/>
                  </a:lnTo>
                  <a:lnTo>
                    <a:pt x="1969" y="1163"/>
                  </a:lnTo>
                  <a:lnTo>
                    <a:pt x="1969" y="1163"/>
                  </a:lnTo>
                  <a:lnTo>
                    <a:pt x="1969" y="1163"/>
                  </a:lnTo>
                  <a:lnTo>
                    <a:pt x="1967" y="1163"/>
                  </a:lnTo>
                  <a:lnTo>
                    <a:pt x="1967" y="1163"/>
                  </a:lnTo>
                  <a:lnTo>
                    <a:pt x="1967" y="1163"/>
                  </a:lnTo>
                  <a:lnTo>
                    <a:pt x="1967" y="1163"/>
                  </a:lnTo>
                  <a:lnTo>
                    <a:pt x="1967" y="1161"/>
                  </a:lnTo>
                  <a:lnTo>
                    <a:pt x="1964" y="1163"/>
                  </a:lnTo>
                  <a:lnTo>
                    <a:pt x="1964" y="1163"/>
                  </a:lnTo>
                  <a:lnTo>
                    <a:pt x="1962" y="1166"/>
                  </a:lnTo>
                  <a:lnTo>
                    <a:pt x="1962" y="1166"/>
                  </a:lnTo>
                  <a:lnTo>
                    <a:pt x="1962" y="1166"/>
                  </a:lnTo>
                  <a:lnTo>
                    <a:pt x="1962" y="1163"/>
                  </a:lnTo>
                  <a:lnTo>
                    <a:pt x="1962" y="1166"/>
                  </a:lnTo>
                  <a:lnTo>
                    <a:pt x="1962" y="1166"/>
                  </a:lnTo>
                  <a:lnTo>
                    <a:pt x="1962" y="1168"/>
                  </a:lnTo>
                  <a:lnTo>
                    <a:pt x="1962" y="1168"/>
                  </a:lnTo>
                  <a:lnTo>
                    <a:pt x="1962" y="1171"/>
                  </a:lnTo>
                  <a:lnTo>
                    <a:pt x="1962" y="1171"/>
                  </a:lnTo>
                  <a:lnTo>
                    <a:pt x="1962" y="1173"/>
                  </a:lnTo>
                  <a:lnTo>
                    <a:pt x="1962" y="1173"/>
                  </a:lnTo>
                  <a:lnTo>
                    <a:pt x="1962" y="1173"/>
                  </a:lnTo>
                  <a:lnTo>
                    <a:pt x="1962" y="1175"/>
                  </a:lnTo>
                  <a:lnTo>
                    <a:pt x="1962" y="1175"/>
                  </a:lnTo>
                  <a:lnTo>
                    <a:pt x="1962" y="1173"/>
                  </a:lnTo>
                  <a:lnTo>
                    <a:pt x="1962" y="1171"/>
                  </a:lnTo>
                  <a:lnTo>
                    <a:pt x="1962" y="1171"/>
                  </a:lnTo>
                  <a:lnTo>
                    <a:pt x="1962" y="1171"/>
                  </a:lnTo>
                  <a:lnTo>
                    <a:pt x="1960" y="1168"/>
                  </a:lnTo>
                  <a:lnTo>
                    <a:pt x="1960" y="1166"/>
                  </a:lnTo>
                  <a:lnTo>
                    <a:pt x="1960" y="1166"/>
                  </a:lnTo>
                  <a:lnTo>
                    <a:pt x="1960" y="1166"/>
                  </a:lnTo>
                  <a:lnTo>
                    <a:pt x="1960" y="1166"/>
                  </a:lnTo>
                  <a:lnTo>
                    <a:pt x="1960" y="1163"/>
                  </a:lnTo>
                  <a:lnTo>
                    <a:pt x="1960" y="1166"/>
                  </a:lnTo>
                  <a:lnTo>
                    <a:pt x="1960" y="1166"/>
                  </a:lnTo>
                  <a:lnTo>
                    <a:pt x="1957" y="1166"/>
                  </a:lnTo>
                  <a:lnTo>
                    <a:pt x="1957" y="1168"/>
                  </a:lnTo>
                  <a:lnTo>
                    <a:pt x="1957" y="1168"/>
                  </a:lnTo>
                  <a:lnTo>
                    <a:pt x="1957" y="1166"/>
                  </a:lnTo>
                  <a:lnTo>
                    <a:pt x="1957" y="1166"/>
                  </a:lnTo>
                  <a:lnTo>
                    <a:pt x="1957" y="1166"/>
                  </a:lnTo>
                  <a:lnTo>
                    <a:pt x="1955" y="1166"/>
                  </a:lnTo>
                  <a:lnTo>
                    <a:pt x="1955" y="1166"/>
                  </a:lnTo>
                  <a:lnTo>
                    <a:pt x="1955" y="1168"/>
                  </a:lnTo>
                  <a:lnTo>
                    <a:pt x="1955" y="1168"/>
                  </a:lnTo>
                  <a:lnTo>
                    <a:pt x="1955" y="1166"/>
                  </a:lnTo>
                  <a:lnTo>
                    <a:pt x="1955" y="1166"/>
                  </a:lnTo>
                  <a:lnTo>
                    <a:pt x="1955" y="1166"/>
                  </a:lnTo>
                  <a:lnTo>
                    <a:pt x="1955" y="1166"/>
                  </a:lnTo>
                  <a:lnTo>
                    <a:pt x="1955" y="1166"/>
                  </a:lnTo>
                  <a:lnTo>
                    <a:pt x="1952" y="1166"/>
                  </a:lnTo>
                  <a:lnTo>
                    <a:pt x="1952" y="1166"/>
                  </a:lnTo>
                  <a:lnTo>
                    <a:pt x="1952" y="1166"/>
                  </a:lnTo>
                  <a:lnTo>
                    <a:pt x="1948" y="1166"/>
                  </a:lnTo>
                  <a:lnTo>
                    <a:pt x="1948" y="1166"/>
                  </a:lnTo>
                  <a:lnTo>
                    <a:pt x="1948" y="1166"/>
                  </a:lnTo>
                  <a:lnTo>
                    <a:pt x="1948" y="1166"/>
                  </a:lnTo>
                  <a:lnTo>
                    <a:pt x="1948" y="1166"/>
                  </a:lnTo>
                  <a:lnTo>
                    <a:pt x="1948" y="1166"/>
                  </a:lnTo>
                  <a:lnTo>
                    <a:pt x="1948" y="1168"/>
                  </a:lnTo>
                  <a:lnTo>
                    <a:pt x="1948" y="1168"/>
                  </a:lnTo>
                  <a:lnTo>
                    <a:pt x="1945" y="1168"/>
                  </a:lnTo>
                  <a:lnTo>
                    <a:pt x="1938" y="1171"/>
                  </a:lnTo>
                  <a:lnTo>
                    <a:pt x="1941" y="1168"/>
                  </a:lnTo>
                  <a:lnTo>
                    <a:pt x="1943" y="1168"/>
                  </a:lnTo>
                  <a:lnTo>
                    <a:pt x="1945" y="1166"/>
                  </a:lnTo>
                  <a:lnTo>
                    <a:pt x="1945" y="1166"/>
                  </a:lnTo>
                  <a:lnTo>
                    <a:pt x="1945" y="1166"/>
                  </a:lnTo>
                  <a:lnTo>
                    <a:pt x="1945" y="1166"/>
                  </a:lnTo>
                  <a:lnTo>
                    <a:pt x="1945" y="1166"/>
                  </a:lnTo>
                  <a:lnTo>
                    <a:pt x="1945" y="1163"/>
                  </a:lnTo>
                  <a:lnTo>
                    <a:pt x="1945" y="1163"/>
                  </a:lnTo>
                  <a:lnTo>
                    <a:pt x="1941" y="1163"/>
                  </a:lnTo>
                  <a:lnTo>
                    <a:pt x="1941" y="1166"/>
                  </a:lnTo>
                  <a:lnTo>
                    <a:pt x="1941" y="1166"/>
                  </a:lnTo>
                  <a:lnTo>
                    <a:pt x="1938" y="1166"/>
                  </a:lnTo>
                  <a:lnTo>
                    <a:pt x="1938" y="1166"/>
                  </a:lnTo>
                  <a:lnTo>
                    <a:pt x="1938" y="1168"/>
                  </a:lnTo>
                  <a:lnTo>
                    <a:pt x="1938" y="1168"/>
                  </a:lnTo>
                  <a:lnTo>
                    <a:pt x="1938" y="1168"/>
                  </a:lnTo>
                  <a:lnTo>
                    <a:pt x="1936" y="1168"/>
                  </a:lnTo>
                  <a:lnTo>
                    <a:pt x="1936" y="1168"/>
                  </a:lnTo>
                  <a:lnTo>
                    <a:pt x="1936" y="1168"/>
                  </a:lnTo>
                  <a:lnTo>
                    <a:pt x="1936" y="1168"/>
                  </a:lnTo>
                  <a:lnTo>
                    <a:pt x="1936" y="1168"/>
                  </a:lnTo>
                  <a:lnTo>
                    <a:pt x="1938" y="1166"/>
                  </a:lnTo>
                  <a:lnTo>
                    <a:pt x="1938" y="1166"/>
                  </a:lnTo>
                  <a:lnTo>
                    <a:pt x="1938" y="1166"/>
                  </a:lnTo>
                  <a:lnTo>
                    <a:pt x="1938" y="1166"/>
                  </a:lnTo>
                  <a:lnTo>
                    <a:pt x="1938" y="1166"/>
                  </a:lnTo>
                  <a:lnTo>
                    <a:pt x="1938" y="1166"/>
                  </a:lnTo>
                  <a:lnTo>
                    <a:pt x="1938" y="1163"/>
                  </a:lnTo>
                  <a:lnTo>
                    <a:pt x="1938" y="1163"/>
                  </a:lnTo>
                  <a:lnTo>
                    <a:pt x="1938" y="1163"/>
                  </a:lnTo>
                  <a:lnTo>
                    <a:pt x="1941" y="1163"/>
                  </a:lnTo>
                  <a:lnTo>
                    <a:pt x="1948" y="1163"/>
                  </a:lnTo>
                  <a:lnTo>
                    <a:pt x="1948" y="1163"/>
                  </a:lnTo>
                  <a:lnTo>
                    <a:pt x="1950" y="1161"/>
                  </a:lnTo>
                  <a:lnTo>
                    <a:pt x="1950" y="1161"/>
                  </a:lnTo>
                  <a:lnTo>
                    <a:pt x="1950" y="1161"/>
                  </a:lnTo>
                  <a:lnTo>
                    <a:pt x="1952" y="1161"/>
                  </a:lnTo>
                  <a:lnTo>
                    <a:pt x="1952" y="1161"/>
                  </a:lnTo>
                  <a:lnTo>
                    <a:pt x="1955" y="1161"/>
                  </a:lnTo>
                  <a:lnTo>
                    <a:pt x="1952" y="1159"/>
                  </a:lnTo>
                  <a:lnTo>
                    <a:pt x="1952" y="1159"/>
                  </a:lnTo>
                  <a:lnTo>
                    <a:pt x="1950" y="1159"/>
                  </a:lnTo>
                  <a:lnTo>
                    <a:pt x="1952" y="1159"/>
                  </a:lnTo>
                  <a:lnTo>
                    <a:pt x="1952" y="1159"/>
                  </a:lnTo>
                  <a:lnTo>
                    <a:pt x="1952" y="1159"/>
                  </a:lnTo>
                  <a:lnTo>
                    <a:pt x="1955" y="1156"/>
                  </a:lnTo>
                  <a:lnTo>
                    <a:pt x="1955" y="1156"/>
                  </a:lnTo>
                  <a:lnTo>
                    <a:pt x="1952" y="1156"/>
                  </a:lnTo>
                  <a:lnTo>
                    <a:pt x="1952" y="1156"/>
                  </a:lnTo>
                  <a:lnTo>
                    <a:pt x="1952" y="1156"/>
                  </a:lnTo>
                  <a:lnTo>
                    <a:pt x="1952" y="1156"/>
                  </a:lnTo>
                  <a:lnTo>
                    <a:pt x="1952" y="1156"/>
                  </a:lnTo>
                  <a:lnTo>
                    <a:pt x="1950" y="1156"/>
                  </a:lnTo>
                  <a:lnTo>
                    <a:pt x="1945" y="1156"/>
                  </a:lnTo>
                  <a:lnTo>
                    <a:pt x="1943" y="1156"/>
                  </a:lnTo>
                  <a:lnTo>
                    <a:pt x="1943" y="1156"/>
                  </a:lnTo>
                  <a:lnTo>
                    <a:pt x="1941" y="1156"/>
                  </a:lnTo>
                  <a:lnTo>
                    <a:pt x="1938" y="1159"/>
                  </a:lnTo>
                  <a:lnTo>
                    <a:pt x="1936" y="1156"/>
                  </a:lnTo>
                  <a:lnTo>
                    <a:pt x="1933" y="1159"/>
                  </a:lnTo>
                  <a:lnTo>
                    <a:pt x="1931" y="1159"/>
                  </a:lnTo>
                  <a:lnTo>
                    <a:pt x="1931" y="1159"/>
                  </a:lnTo>
                  <a:lnTo>
                    <a:pt x="1931" y="1161"/>
                  </a:lnTo>
                  <a:lnTo>
                    <a:pt x="1931" y="1159"/>
                  </a:lnTo>
                  <a:lnTo>
                    <a:pt x="1931" y="1159"/>
                  </a:lnTo>
                  <a:lnTo>
                    <a:pt x="1931" y="1159"/>
                  </a:lnTo>
                  <a:lnTo>
                    <a:pt x="1931" y="1159"/>
                  </a:lnTo>
                  <a:lnTo>
                    <a:pt x="1931" y="1159"/>
                  </a:lnTo>
                  <a:lnTo>
                    <a:pt x="1931" y="1159"/>
                  </a:lnTo>
                  <a:lnTo>
                    <a:pt x="1931" y="1159"/>
                  </a:lnTo>
                  <a:lnTo>
                    <a:pt x="1931" y="1156"/>
                  </a:lnTo>
                  <a:lnTo>
                    <a:pt x="1931" y="1156"/>
                  </a:lnTo>
                  <a:lnTo>
                    <a:pt x="1931" y="1156"/>
                  </a:lnTo>
                  <a:lnTo>
                    <a:pt x="1929" y="1156"/>
                  </a:lnTo>
                  <a:lnTo>
                    <a:pt x="1919" y="1159"/>
                  </a:lnTo>
                  <a:lnTo>
                    <a:pt x="1919" y="1156"/>
                  </a:lnTo>
                  <a:lnTo>
                    <a:pt x="1924" y="1156"/>
                  </a:lnTo>
                  <a:lnTo>
                    <a:pt x="1924" y="1154"/>
                  </a:lnTo>
                  <a:lnTo>
                    <a:pt x="1922" y="1154"/>
                  </a:lnTo>
                  <a:lnTo>
                    <a:pt x="1919" y="1156"/>
                  </a:lnTo>
                  <a:lnTo>
                    <a:pt x="1919" y="1154"/>
                  </a:lnTo>
                  <a:lnTo>
                    <a:pt x="1922" y="1154"/>
                  </a:lnTo>
                  <a:lnTo>
                    <a:pt x="1924" y="1154"/>
                  </a:lnTo>
                  <a:lnTo>
                    <a:pt x="1926" y="1154"/>
                  </a:lnTo>
                  <a:lnTo>
                    <a:pt x="1926" y="1154"/>
                  </a:lnTo>
                  <a:lnTo>
                    <a:pt x="1929" y="1154"/>
                  </a:lnTo>
                  <a:lnTo>
                    <a:pt x="1929" y="1154"/>
                  </a:lnTo>
                  <a:lnTo>
                    <a:pt x="1931" y="1154"/>
                  </a:lnTo>
                  <a:lnTo>
                    <a:pt x="1931" y="1154"/>
                  </a:lnTo>
                  <a:lnTo>
                    <a:pt x="1933" y="1154"/>
                  </a:lnTo>
                  <a:lnTo>
                    <a:pt x="1933" y="1154"/>
                  </a:lnTo>
                  <a:lnTo>
                    <a:pt x="1936" y="1154"/>
                  </a:lnTo>
                  <a:lnTo>
                    <a:pt x="1936" y="1154"/>
                  </a:lnTo>
                  <a:lnTo>
                    <a:pt x="1936" y="1154"/>
                  </a:lnTo>
                  <a:lnTo>
                    <a:pt x="1938" y="1154"/>
                  </a:lnTo>
                  <a:lnTo>
                    <a:pt x="1938" y="1154"/>
                  </a:lnTo>
                  <a:lnTo>
                    <a:pt x="1938" y="1154"/>
                  </a:lnTo>
                  <a:lnTo>
                    <a:pt x="1938" y="1154"/>
                  </a:lnTo>
                  <a:lnTo>
                    <a:pt x="1938" y="1154"/>
                  </a:lnTo>
                  <a:lnTo>
                    <a:pt x="1938" y="1154"/>
                  </a:lnTo>
                  <a:lnTo>
                    <a:pt x="1941" y="1154"/>
                  </a:lnTo>
                  <a:lnTo>
                    <a:pt x="1941" y="1152"/>
                  </a:lnTo>
                  <a:lnTo>
                    <a:pt x="1941" y="1152"/>
                  </a:lnTo>
                  <a:lnTo>
                    <a:pt x="1938" y="1152"/>
                  </a:lnTo>
                  <a:lnTo>
                    <a:pt x="1938" y="1152"/>
                  </a:lnTo>
                  <a:lnTo>
                    <a:pt x="1938" y="1149"/>
                  </a:lnTo>
                  <a:lnTo>
                    <a:pt x="1938" y="1149"/>
                  </a:lnTo>
                  <a:lnTo>
                    <a:pt x="1941" y="1149"/>
                  </a:lnTo>
                  <a:lnTo>
                    <a:pt x="1943" y="1149"/>
                  </a:lnTo>
                  <a:lnTo>
                    <a:pt x="1945" y="1149"/>
                  </a:lnTo>
                  <a:lnTo>
                    <a:pt x="1948" y="1149"/>
                  </a:lnTo>
                  <a:lnTo>
                    <a:pt x="1957" y="1152"/>
                  </a:lnTo>
                  <a:lnTo>
                    <a:pt x="1957" y="1149"/>
                  </a:lnTo>
                  <a:lnTo>
                    <a:pt x="1960" y="1149"/>
                  </a:lnTo>
                  <a:lnTo>
                    <a:pt x="1957" y="1149"/>
                  </a:lnTo>
                  <a:lnTo>
                    <a:pt x="1957" y="1149"/>
                  </a:lnTo>
                  <a:lnTo>
                    <a:pt x="1955" y="1149"/>
                  </a:lnTo>
                  <a:lnTo>
                    <a:pt x="1957" y="1149"/>
                  </a:lnTo>
                  <a:lnTo>
                    <a:pt x="1955" y="1147"/>
                  </a:lnTo>
                  <a:lnTo>
                    <a:pt x="1955" y="1147"/>
                  </a:lnTo>
                  <a:lnTo>
                    <a:pt x="1955" y="1149"/>
                  </a:lnTo>
                  <a:lnTo>
                    <a:pt x="1950" y="1147"/>
                  </a:lnTo>
                  <a:lnTo>
                    <a:pt x="1948" y="1147"/>
                  </a:lnTo>
                  <a:lnTo>
                    <a:pt x="1945" y="1147"/>
                  </a:lnTo>
                  <a:lnTo>
                    <a:pt x="1945" y="1147"/>
                  </a:lnTo>
                  <a:lnTo>
                    <a:pt x="1945" y="1147"/>
                  </a:lnTo>
                  <a:lnTo>
                    <a:pt x="1945" y="1147"/>
                  </a:lnTo>
                  <a:lnTo>
                    <a:pt x="1941" y="1147"/>
                  </a:lnTo>
                  <a:lnTo>
                    <a:pt x="1938" y="1147"/>
                  </a:lnTo>
                  <a:lnTo>
                    <a:pt x="1948" y="1145"/>
                  </a:lnTo>
                  <a:lnTo>
                    <a:pt x="1948" y="1147"/>
                  </a:lnTo>
                  <a:lnTo>
                    <a:pt x="1952" y="1147"/>
                  </a:lnTo>
                  <a:lnTo>
                    <a:pt x="1952" y="1145"/>
                  </a:lnTo>
                  <a:lnTo>
                    <a:pt x="1950" y="1145"/>
                  </a:lnTo>
                  <a:lnTo>
                    <a:pt x="1950" y="1145"/>
                  </a:lnTo>
                  <a:lnTo>
                    <a:pt x="1950" y="1142"/>
                  </a:lnTo>
                  <a:lnTo>
                    <a:pt x="1950" y="1145"/>
                  </a:lnTo>
                  <a:lnTo>
                    <a:pt x="1948" y="1142"/>
                  </a:lnTo>
                  <a:lnTo>
                    <a:pt x="1950" y="1142"/>
                  </a:lnTo>
                  <a:lnTo>
                    <a:pt x="1950" y="1142"/>
                  </a:lnTo>
                  <a:lnTo>
                    <a:pt x="1950" y="1142"/>
                  </a:lnTo>
                  <a:lnTo>
                    <a:pt x="1950" y="1142"/>
                  </a:lnTo>
                  <a:lnTo>
                    <a:pt x="1950" y="1142"/>
                  </a:lnTo>
                  <a:lnTo>
                    <a:pt x="1950" y="1140"/>
                  </a:lnTo>
                  <a:lnTo>
                    <a:pt x="1945" y="1140"/>
                  </a:lnTo>
                  <a:lnTo>
                    <a:pt x="1945" y="1140"/>
                  </a:lnTo>
                  <a:lnTo>
                    <a:pt x="1943" y="1140"/>
                  </a:lnTo>
                  <a:lnTo>
                    <a:pt x="1943" y="1140"/>
                  </a:lnTo>
                  <a:lnTo>
                    <a:pt x="1943" y="1140"/>
                  </a:lnTo>
                  <a:lnTo>
                    <a:pt x="1938" y="1142"/>
                  </a:lnTo>
                  <a:lnTo>
                    <a:pt x="1936" y="1142"/>
                  </a:lnTo>
                  <a:lnTo>
                    <a:pt x="1936" y="1142"/>
                  </a:lnTo>
                  <a:lnTo>
                    <a:pt x="1936" y="1142"/>
                  </a:lnTo>
                  <a:lnTo>
                    <a:pt x="1936" y="1142"/>
                  </a:lnTo>
                  <a:lnTo>
                    <a:pt x="1936" y="1140"/>
                  </a:lnTo>
                  <a:lnTo>
                    <a:pt x="1938" y="1142"/>
                  </a:lnTo>
                  <a:lnTo>
                    <a:pt x="1938" y="1140"/>
                  </a:lnTo>
                  <a:lnTo>
                    <a:pt x="1938" y="1140"/>
                  </a:lnTo>
                  <a:lnTo>
                    <a:pt x="1938" y="1140"/>
                  </a:lnTo>
                  <a:lnTo>
                    <a:pt x="1938" y="1140"/>
                  </a:lnTo>
                  <a:lnTo>
                    <a:pt x="1938" y="1140"/>
                  </a:lnTo>
                  <a:lnTo>
                    <a:pt x="1938" y="1140"/>
                  </a:lnTo>
                  <a:lnTo>
                    <a:pt x="1941" y="1140"/>
                  </a:lnTo>
                  <a:lnTo>
                    <a:pt x="1943" y="1137"/>
                  </a:lnTo>
                  <a:lnTo>
                    <a:pt x="1948" y="1137"/>
                  </a:lnTo>
                  <a:lnTo>
                    <a:pt x="1950" y="1137"/>
                  </a:lnTo>
                  <a:lnTo>
                    <a:pt x="1950" y="1137"/>
                  </a:lnTo>
                  <a:lnTo>
                    <a:pt x="1950" y="1137"/>
                  </a:lnTo>
                  <a:lnTo>
                    <a:pt x="1950" y="1135"/>
                  </a:lnTo>
                  <a:lnTo>
                    <a:pt x="1955" y="1133"/>
                  </a:lnTo>
                  <a:lnTo>
                    <a:pt x="1955" y="1133"/>
                  </a:lnTo>
                  <a:lnTo>
                    <a:pt x="1955" y="1133"/>
                  </a:lnTo>
                  <a:lnTo>
                    <a:pt x="1943" y="1128"/>
                  </a:lnTo>
                  <a:lnTo>
                    <a:pt x="1943" y="1128"/>
                  </a:lnTo>
                  <a:lnTo>
                    <a:pt x="1943" y="1128"/>
                  </a:lnTo>
                  <a:lnTo>
                    <a:pt x="1941" y="1128"/>
                  </a:lnTo>
                  <a:lnTo>
                    <a:pt x="1936" y="1128"/>
                  </a:lnTo>
                  <a:lnTo>
                    <a:pt x="1936" y="1128"/>
                  </a:lnTo>
                  <a:lnTo>
                    <a:pt x="1931" y="1133"/>
                  </a:lnTo>
                  <a:lnTo>
                    <a:pt x="1931" y="1133"/>
                  </a:lnTo>
                  <a:lnTo>
                    <a:pt x="1929" y="1135"/>
                  </a:lnTo>
                  <a:lnTo>
                    <a:pt x="1926" y="1137"/>
                  </a:lnTo>
                  <a:lnTo>
                    <a:pt x="1926" y="1137"/>
                  </a:lnTo>
                  <a:lnTo>
                    <a:pt x="1926" y="1137"/>
                  </a:lnTo>
                  <a:lnTo>
                    <a:pt x="1926" y="1137"/>
                  </a:lnTo>
                  <a:lnTo>
                    <a:pt x="1926" y="1140"/>
                  </a:lnTo>
                  <a:lnTo>
                    <a:pt x="1926" y="1140"/>
                  </a:lnTo>
                  <a:lnTo>
                    <a:pt x="1926" y="1140"/>
                  </a:lnTo>
                  <a:lnTo>
                    <a:pt x="1926" y="1140"/>
                  </a:lnTo>
                  <a:lnTo>
                    <a:pt x="1926" y="1142"/>
                  </a:lnTo>
                  <a:lnTo>
                    <a:pt x="1926" y="1142"/>
                  </a:lnTo>
                  <a:lnTo>
                    <a:pt x="1926" y="1142"/>
                  </a:lnTo>
                  <a:lnTo>
                    <a:pt x="1926" y="1145"/>
                  </a:lnTo>
                  <a:lnTo>
                    <a:pt x="1926" y="1145"/>
                  </a:lnTo>
                  <a:lnTo>
                    <a:pt x="1926" y="1142"/>
                  </a:lnTo>
                  <a:lnTo>
                    <a:pt x="1926" y="1142"/>
                  </a:lnTo>
                  <a:lnTo>
                    <a:pt x="1926" y="1142"/>
                  </a:lnTo>
                  <a:lnTo>
                    <a:pt x="1926" y="1142"/>
                  </a:lnTo>
                  <a:lnTo>
                    <a:pt x="1926" y="1140"/>
                  </a:lnTo>
                  <a:lnTo>
                    <a:pt x="1926" y="1137"/>
                  </a:lnTo>
                  <a:lnTo>
                    <a:pt x="1926" y="1137"/>
                  </a:lnTo>
                  <a:lnTo>
                    <a:pt x="1926" y="1137"/>
                  </a:lnTo>
                  <a:lnTo>
                    <a:pt x="1926" y="1137"/>
                  </a:lnTo>
                  <a:lnTo>
                    <a:pt x="1926" y="1137"/>
                  </a:lnTo>
                  <a:lnTo>
                    <a:pt x="1924" y="1135"/>
                  </a:lnTo>
                  <a:lnTo>
                    <a:pt x="1922" y="1137"/>
                  </a:lnTo>
                  <a:lnTo>
                    <a:pt x="1922" y="1137"/>
                  </a:lnTo>
                  <a:lnTo>
                    <a:pt x="1922" y="1137"/>
                  </a:lnTo>
                  <a:lnTo>
                    <a:pt x="1922" y="1137"/>
                  </a:lnTo>
                  <a:lnTo>
                    <a:pt x="1922" y="1137"/>
                  </a:lnTo>
                  <a:lnTo>
                    <a:pt x="1922" y="1137"/>
                  </a:lnTo>
                  <a:lnTo>
                    <a:pt x="1922" y="1135"/>
                  </a:lnTo>
                  <a:lnTo>
                    <a:pt x="1924" y="1135"/>
                  </a:lnTo>
                  <a:lnTo>
                    <a:pt x="1926" y="1133"/>
                  </a:lnTo>
                  <a:lnTo>
                    <a:pt x="1929" y="1133"/>
                  </a:lnTo>
                  <a:lnTo>
                    <a:pt x="1929" y="1133"/>
                  </a:lnTo>
                  <a:lnTo>
                    <a:pt x="1929" y="1133"/>
                  </a:lnTo>
                  <a:lnTo>
                    <a:pt x="1931" y="1130"/>
                  </a:lnTo>
                  <a:lnTo>
                    <a:pt x="1933" y="1128"/>
                  </a:lnTo>
                  <a:lnTo>
                    <a:pt x="1933" y="1126"/>
                  </a:lnTo>
                  <a:lnTo>
                    <a:pt x="1933" y="1126"/>
                  </a:lnTo>
                  <a:lnTo>
                    <a:pt x="1929" y="1128"/>
                  </a:lnTo>
                  <a:lnTo>
                    <a:pt x="1926" y="1128"/>
                  </a:lnTo>
                  <a:lnTo>
                    <a:pt x="1924" y="1130"/>
                  </a:lnTo>
                  <a:lnTo>
                    <a:pt x="1922" y="1128"/>
                  </a:lnTo>
                  <a:lnTo>
                    <a:pt x="1922" y="1128"/>
                  </a:lnTo>
                  <a:lnTo>
                    <a:pt x="1926" y="1128"/>
                  </a:lnTo>
                  <a:lnTo>
                    <a:pt x="1929" y="1126"/>
                  </a:lnTo>
                  <a:lnTo>
                    <a:pt x="1929" y="1126"/>
                  </a:lnTo>
                  <a:lnTo>
                    <a:pt x="1941" y="1123"/>
                  </a:lnTo>
                  <a:lnTo>
                    <a:pt x="1941" y="1123"/>
                  </a:lnTo>
                  <a:lnTo>
                    <a:pt x="1941" y="1123"/>
                  </a:lnTo>
                  <a:lnTo>
                    <a:pt x="1941" y="1123"/>
                  </a:lnTo>
                  <a:lnTo>
                    <a:pt x="1943" y="1123"/>
                  </a:lnTo>
                  <a:lnTo>
                    <a:pt x="1943" y="1123"/>
                  </a:lnTo>
                  <a:lnTo>
                    <a:pt x="1943" y="1123"/>
                  </a:lnTo>
                  <a:lnTo>
                    <a:pt x="1943" y="1123"/>
                  </a:lnTo>
                  <a:lnTo>
                    <a:pt x="1943" y="1121"/>
                  </a:lnTo>
                  <a:lnTo>
                    <a:pt x="1941" y="1121"/>
                  </a:lnTo>
                  <a:lnTo>
                    <a:pt x="1941" y="1121"/>
                  </a:lnTo>
                  <a:lnTo>
                    <a:pt x="1941" y="1119"/>
                  </a:lnTo>
                  <a:lnTo>
                    <a:pt x="1938" y="1119"/>
                  </a:lnTo>
                  <a:lnTo>
                    <a:pt x="1933" y="1121"/>
                  </a:lnTo>
                  <a:lnTo>
                    <a:pt x="1926" y="1121"/>
                  </a:lnTo>
                  <a:lnTo>
                    <a:pt x="1924" y="1121"/>
                  </a:lnTo>
                  <a:lnTo>
                    <a:pt x="1919" y="1121"/>
                  </a:lnTo>
                  <a:lnTo>
                    <a:pt x="1919" y="1121"/>
                  </a:lnTo>
                  <a:lnTo>
                    <a:pt x="1917" y="1123"/>
                  </a:lnTo>
                  <a:lnTo>
                    <a:pt x="1915" y="1126"/>
                  </a:lnTo>
                  <a:lnTo>
                    <a:pt x="1915" y="1128"/>
                  </a:lnTo>
                  <a:lnTo>
                    <a:pt x="1915" y="1128"/>
                  </a:lnTo>
                  <a:lnTo>
                    <a:pt x="1915" y="1126"/>
                  </a:lnTo>
                  <a:lnTo>
                    <a:pt x="1919" y="1121"/>
                  </a:lnTo>
                  <a:lnTo>
                    <a:pt x="1926" y="1119"/>
                  </a:lnTo>
                  <a:lnTo>
                    <a:pt x="1936" y="1119"/>
                  </a:lnTo>
                  <a:lnTo>
                    <a:pt x="1938" y="1119"/>
                  </a:lnTo>
                  <a:lnTo>
                    <a:pt x="1938" y="1119"/>
                  </a:lnTo>
                  <a:lnTo>
                    <a:pt x="1941" y="1119"/>
                  </a:lnTo>
                  <a:lnTo>
                    <a:pt x="1943" y="1119"/>
                  </a:lnTo>
                  <a:lnTo>
                    <a:pt x="1943" y="1119"/>
                  </a:lnTo>
                  <a:lnTo>
                    <a:pt x="1945" y="1121"/>
                  </a:lnTo>
                  <a:lnTo>
                    <a:pt x="1948" y="1121"/>
                  </a:lnTo>
                  <a:lnTo>
                    <a:pt x="1952" y="1123"/>
                  </a:lnTo>
                  <a:lnTo>
                    <a:pt x="1957" y="1123"/>
                  </a:lnTo>
                  <a:lnTo>
                    <a:pt x="1957" y="1121"/>
                  </a:lnTo>
                  <a:lnTo>
                    <a:pt x="1960" y="1121"/>
                  </a:lnTo>
                  <a:lnTo>
                    <a:pt x="1960" y="1119"/>
                  </a:lnTo>
                  <a:lnTo>
                    <a:pt x="1962" y="1119"/>
                  </a:lnTo>
                  <a:lnTo>
                    <a:pt x="1964" y="1121"/>
                  </a:lnTo>
                  <a:lnTo>
                    <a:pt x="1964" y="1121"/>
                  </a:lnTo>
                  <a:lnTo>
                    <a:pt x="1964" y="1121"/>
                  </a:lnTo>
                  <a:lnTo>
                    <a:pt x="1964" y="1121"/>
                  </a:lnTo>
                  <a:lnTo>
                    <a:pt x="1964" y="1121"/>
                  </a:lnTo>
                  <a:lnTo>
                    <a:pt x="1964" y="1119"/>
                  </a:lnTo>
                  <a:lnTo>
                    <a:pt x="1964" y="1119"/>
                  </a:lnTo>
                  <a:lnTo>
                    <a:pt x="1969" y="1119"/>
                  </a:lnTo>
                  <a:lnTo>
                    <a:pt x="1974" y="1119"/>
                  </a:lnTo>
                  <a:lnTo>
                    <a:pt x="1976" y="1119"/>
                  </a:lnTo>
                  <a:lnTo>
                    <a:pt x="1976" y="1114"/>
                  </a:lnTo>
                  <a:lnTo>
                    <a:pt x="1976" y="1114"/>
                  </a:lnTo>
                  <a:lnTo>
                    <a:pt x="1976" y="1111"/>
                  </a:lnTo>
                  <a:lnTo>
                    <a:pt x="1976" y="1111"/>
                  </a:lnTo>
                  <a:lnTo>
                    <a:pt x="1974" y="1109"/>
                  </a:lnTo>
                  <a:lnTo>
                    <a:pt x="1974" y="1109"/>
                  </a:lnTo>
                  <a:lnTo>
                    <a:pt x="1974" y="1109"/>
                  </a:lnTo>
                  <a:lnTo>
                    <a:pt x="1974" y="1109"/>
                  </a:lnTo>
                  <a:lnTo>
                    <a:pt x="1971" y="1107"/>
                  </a:lnTo>
                  <a:lnTo>
                    <a:pt x="1971" y="1107"/>
                  </a:lnTo>
                  <a:lnTo>
                    <a:pt x="1971" y="1107"/>
                  </a:lnTo>
                  <a:lnTo>
                    <a:pt x="1957" y="1100"/>
                  </a:lnTo>
                  <a:lnTo>
                    <a:pt x="1950" y="1102"/>
                  </a:lnTo>
                  <a:lnTo>
                    <a:pt x="1950" y="1102"/>
                  </a:lnTo>
                  <a:lnTo>
                    <a:pt x="1945" y="1104"/>
                  </a:lnTo>
                  <a:lnTo>
                    <a:pt x="1943" y="1104"/>
                  </a:lnTo>
                  <a:lnTo>
                    <a:pt x="1943" y="1107"/>
                  </a:lnTo>
                  <a:lnTo>
                    <a:pt x="1941" y="1107"/>
                  </a:lnTo>
                  <a:lnTo>
                    <a:pt x="1929" y="1104"/>
                  </a:lnTo>
                  <a:lnTo>
                    <a:pt x="1926" y="1102"/>
                  </a:lnTo>
                  <a:lnTo>
                    <a:pt x="1924" y="1102"/>
                  </a:lnTo>
                  <a:lnTo>
                    <a:pt x="1919" y="1102"/>
                  </a:lnTo>
                  <a:lnTo>
                    <a:pt x="1915" y="1107"/>
                  </a:lnTo>
                  <a:lnTo>
                    <a:pt x="1915" y="1109"/>
                  </a:lnTo>
                  <a:lnTo>
                    <a:pt x="1915" y="1109"/>
                  </a:lnTo>
                  <a:lnTo>
                    <a:pt x="1912" y="1109"/>
                  </a:lnTo>
                  <a:lnTo>
                    <a:pt x="1912" y="1109"/>
                  </a:lnTo>
                  <a:lnTo>
                    <a:pt x="1912" y="1109"/>
                  </a:lnTo>
                  <a:lnTo>
                    <a:pt x="1912" y="1109"/>
                  </a:lnTo>
                  <a:lnTo>
                    <a:pt x="1912" y="1109"/>
                  </a:lnTo>
                  <a:lnTo>
                    <a:pt x="1910" y="1111"/>
                  </a:lnTo>
                  <a:lnTo>
                    <a:pt x="1910" y="1111"/>
                  </a:lnTo>
                  <a:lnTo>
                    <a:pt x="1900" y="1111"/>
                  </a:lnTo>
                  <a:lnTo>
                    <a:pt x="1898" y="1111"/>
                  </a:lnTo>
                  <a:lnTo>
                    <a:pt x="1896" y="1114"/>
                  </a:lnTo>
                  <a:lnTo>
                    <a:pt x="1896" y="1114"/>
                  </a:lnTo>
                  <a:lnTo>
                    <a:pt x="1896" y="1116"/>
                  </a:lnTo>
                  <a:lnTo>
                    <a:pt x="1893" y="1116"/>
                  </a:lnTo>
                  <a:lnTo>
                    <a:pt x="1893" y="1116"/>
                  </a:lnTo>
                  <a:lnTo>
                    <a:pt x="1891" y="1116"/>
                  </a:lnTo>
                  <a:lnTo>
                    <a:pt x="1891" y="1114"/>
                  </a:lnTo>
                  <a:lnTo>
                    <a:pt x="1891" y="1114"/>
                  </a:lnTo>
                  <a:lnTo>
                    <a:pt x="1893" y="1114"/>
                  </a:lnTo>
                  <a:lnTo>
                    <a:pt x="1896" y="1111"/>
                  </a:lnTo>
                  <a:lnTo>
                    <a:pt x="1898" y="1111"/>
                  </a:lnTo>
                  <a:lnTo>
                    <a:pt x="1910" y="1109"/>
                  </a:lnTo>
                  <a:lnTo>
                    <a:pt x="1910" y="1109"/>
                  </a:lnTo>
                  <a:lnTo>
                    <a:pt x="1912" y="1107"/>
                  </a:lnTo>
                  <a:lnTo>
                    <a:pt x="1912" y="1107"/>
                  </a:lnTo>
                  <a:lnTo>
                    <a:pt x="1915" y="1104"/>
                  </a:lnTo>
                  <a:lnTo>
                    <a:pt x="1915" y="1104"/>
                  </a:lnTo>
                  <a:lnTo>
                    <a:pt x="1915" y="1104"/>
                  </a:lnTo>
                  <a:lnTo>
                    <a:pt x="1917" y="1102"/>
                  </a:lnTo>
                  <a:lnTo>
                    <a:pt x="1919" y="1100"/>
                  </a:lnTo>
                  <a:lnTo>
                    <a:pt x="1919" y="1100"/>
                  </a:lnTo>
                  <a:lnTo>
                    <a:pt x="1919" y="1100"/>
                  </a:lnTo>
                  <a:lnTo>
                    <a:pt x="1919" y="1100"/>
                  </a:lnTo>
                  <a:lnTo>
                    <a:pt x="1919" y="1100"/>
                  </a:lnTo>
                  <a:lnTo>
                    <a:pt x="1922" y="1100"/>
                  </a:lnTo>
                  <a:lnTo>
                    <a:pt x="1924" y="1100"/>
                  </a:lnTo>
                  <a:lnTo>
                    <a:pt x="1929" y="1097"/>
                  </a:lnTo>
                  <a:lnTo>
                    <a:pt x="1929" y="1097"/>
                  </a:lnTo>
                  <a:lnTo>
                    <a:pt x="1929" y="1095"/>
                  </a:lnTo>
                  <a:lnTo>
                    <a:pt x="1931" y="1095"/>
                  </a:lnTo>
                  <a:lnTo>
                    <a:pt x="1931" y="1093"/>
                  </a:lnTo>
                  <a:lnTo>
                    <a:pt x="1929" y="1093"/>
                  </a:lnTo>
                  <a:lnTo>
                    <a:pt x="1931" y="1090"/>
                  </a:lnTo>
                  <a:lnTo>
                    <a:pt x="1931" y="1088"/>
                  </a:lnTo>
                  <a:lnTo>
                    <a:pt x="1931" y="1088"/>
                  </a:lnTo>
                  <a:lnTo>
                    <a:pt x="1931" y="1088"/>
                  </a:lnTo>
                  <a:lnTo>
                    <a:pt x="1931" y="1088"/>
                  </a:lnTo>
                  <a:lnTo>
                    <a:pt x="1933" y="1085"/>
                  </a:lnTo>
                  <a:lnTo>
                    <a:pt x="1933" y="1085"/>
                  </a:lnTo>
                  <a:lnTo>
                    <a:pt x="1938" y="1083"/>
                  </a:lnTo>
                  <a:lnTo>
                    <a:pt x="1941" y="1083"/>
                  </a:lnTo>
                  <a:lnTo>
                    <a:pt x="1941" y="1083"/>
                  </a:lnTo>
                  <a:lnTo>
                    <a:pt x="1943" y="1083"/>
                  </a:lnTo>
                  <a:lnTo>
                    <a:pt x="1945" y="1085"/>
                  </a:lnTo>
                  <a:lnTo>
                    <a:pt x="1950" y="1085"/>
                  </a:lnTo>
                  <a:lnTo>
                    <a:pt x="1955" y="1083"/>
                  </a:lnTo>
                  <a:lnTo>
                    <a:pt x="1955" y="1081"/>
                  </a:lnTo>
                  <a:lnTo>
                    <a:pt x="1955" y="1081"/>
                  </a:lnTo>
                  <a:lnTo>
                    <a:pt x="1952" y="1078"/>
                  </a:lnTo>
                  <a:lnTo>
                    <a:pt x="1952" y="1078"/>
                  </a:lnTo>
                  <a:lnTo>
                    <a:pt x="1952" y="1076"/>
                  </a:lnTo>
                  <a:lnTo>
                    <a:pt x="1950" y="1074"/>
                  </a:lnTo>
                  <a:lnTo>
                    <a:pt x="1950" y="1074"/>
                  </a:lnTo>
                  <a:lnTo>
                    <a:pt x="1948" y="1069"/>
                  </a:lnTo>
                  <a:lnTo>
                    <a:pt x="1948" y="1069"/>
                  </a:lnTo>
                  <a:lnTo>
                    <a:pt x="1948" y="1069"/>
                  </a:lnTo>
                  <a:lnTo>
                    <a:pt x="1945" y="1066"/>
                  </a:lnTo>
                  <a:lnTo>
                    <a:pt x="1943" y="1066"/>
                  </a:lnTo>
                  <a:lnTo>
                    <a:pt x="1943" y="1066"/>
                  </a:lnTo>
                  <a:lnTo>
                    <a:pt x="1943" y="1066"/>
                  </a:lnTo>
                  <a:lnTo>
                    <a:pt x="1943" y="1064"/>
                  </a:lnTo>
                  <a:lnTo>
                    <a:pt x="1943" y="1064"/>
                  </a:lnTo>
                  <a:lnTo>
                    <a:pt x="1943" y="1064"/>
                  </a:lnTo>
                  <a:lnTo>
                    <a:pt x="1943" y="1064"/>
                  </a:lnTo>
                  <a:lnTo>
                    <a:pt x="1943" y="1064"/>
                  </a:lnTo>
                  <a:lnTo>
                    <a:pt x="1943" y="1062"/>
                  </a:lnTo>
                  <a:lnTo>
                    <a:pt x="1941" y="1062"/>
                  </a:lnTo>
                  <a:lnTo>
                    <a:pt x="1941" y="1062"/>
                  </a:lnTo>
                  <a:lnTo>
                    <a:pt x="1941" y="1062"/>
                  </a:lnTo>
                  <a:lnTo>
                    <a:pt x="1941" y="1062"/>
                  </a:lnTo>
                  <a:lnTo>
                    <a:pt x="1941" y="1062"/>
                  </a:lnTo>
                  <a:lnTo>
                    <a:pt x="1941" y="1062"/>
                  </a:lnTo>
                  <a:lnTo>
                    <a:pt x="1941" y="1062"/>
                  </a:lnTo>
                  <a:lnTo>
                    <a:pt x="1938" y="1059"/>
                  </a:lnTo>
                  <a:lnTo>
                    <a:pt x="1938" y="1059"/>
                  </a:lnTo>
                  <a:lnTo>
                    <a:pt x="1936" y="1057"/>
                  </a:lnTo>
                  <a:lnTo>
                    <a:pt x="1936" y="1057"/>
                  </a:lnTo>
                  <a:lnTo>
                    <a:pt x="1931" y="1055"/>
                  </a:lnTo>
                  <a:lnTo>
                    <a:pt x="1929" y="1052"/>
                  </a:lnTo>
                  <a:lnTo>
                    <a:pt x="1929" y="1052"/>
                  </a:lnTo>
                  <a:lnTo>
                    <a:pt x="1926" y="1050"/>
                  </a:lnTo>
                  <a:lnTo>
                    <a:pt x="1924" y="1050"/>
                  </a:lnTo>
                  <a:lnTo>
                    <a:pt x="1922" y="1050"/>
                  </a:lnTo>
                  <a:lnTo>
                    <a:pt x="1922" y="1050"/>
                  </a:lnTo>
                  <a:lnTo>
                    <a:pt x="1922" y="1050"/>
                  </a:lnTo>
                  <a:lnTo>
                    <a:pt x="1922" y="1050"/>
                  </a:lnTo>
                  <a:lnTo>
                    <a:pt x="1922" y="1050"/>
                  </a:lnTo>
                  <a:lnTo>
                    <a:pt x="1922" y="1050"/>
                  </a:lnTo>
                  <a:lnTo>
                    <a:pt x="1919" y="1050"/>
                  </a:lnTo>
                  <a:lnTo>
                    <a:pt x="1919" y="1052"/>
                  </a:lnTo>
                  <a:lnTo>
                    <a:pt x="1919" y="1052"/>
                  </a:lnTo>
                  <a:lnTo>
                    <a:pt x="1919" y="1055"/>
                  </a:lnTo>
                  <a:lnTo>
                    <a:pt x="1917" y="1057"/>
                  </a:lnTo>
                  <a:lnTo>
                    <a:pt x="1917" y="1057"/>
                  </a:lnTo>
                  <a:lnTo>
                    <a:pt x="1917" y="1057"/>
                  </a:lnTo>
                  <a:lnTo>
                    <a:pt x="1917" y="1059"/>
                  </a:lnTo>
                  <a:lnTo>
                    <a:pt x="1919" y="1059"/>
                  </a:lnTo>
                  <a:lnTo>
                    <a:pt x="1919" y="1059"/>
                  </a:lnTo>
                  <a:lnTo>
                    <a:pt x="1917" y="1059"/>
                  </a:lnTo>
                  <a:lnTo>
                    <a:pt x="1917" y="1059"/>
                  </a:lnTo>
                  <a:lnTo>
                    <a:pt x="1917" y="1059"/>
                  </a:lnTo>
                  <a:lnTo>
                    <a:pt x="1917" y="1062"/>
                  </a:lnTo>
                  <a:lnTo>
                    <a:pt x="1919" y="1062"/>
                  </a:lnTo>
                  <a:lnTo>
                    <a:pt x="1919" y="1062"/>
                  </a:lnTo>
                  <a:lnTo>
                    <a:pt x="1919" y="1062"/>
                  </a:lnTo>
                  <a:lnTo>
                    <a:pt x="1919" y="1062"/>
                  </a:lnTo>
                  <a:lnTo>
                    <a:pt x="1919" y="1062"/>
                  </a:lnTo>
                  <a:lnTo>
                    <a:pt x="1919" y="1064"/>
                  </a:lnTo>
                  <a:lnTo>
                    <a:pt x="1922" y="1064"/>
                  </a:lnTo>
                  <a:lnTo>
                    <a:pt x="1922" y="1064"/>
                  </a:lnTo>
                  <a:lnTo>
                    <a:pt x="1922" y="1066"/>
                  </a:lnTo>
                  <a:lnTo>
                    <a:pt x="1919" y="1069"/>
                  </a:lnTo>
                  <a:lnTo>
                    <a:pt x="1919" y="1069"/>
                  </a:lnTo>
                  <a:lnTo>
                    <a:pt x="1919" y="1069"/>
                  </a:lnTo>
                  <a:lnTo>
                    <a:pt x="1917" y="1069"/>
                  </a:lnTo>
                  <a:lnTo>
                    <a:pt x="1917" y="1069"/>
                  </a:lnTo>
                  <a:lnTo>
                    <a:pt x="1917" y="1069"/>
                  </a:lnTo>
                  <a:lnTo>
                    <a:pt x="1917" y="1071"/>
                  </a:lnTo>
                  <a:lnTo>
                    <a:pt x="1917" y="1071"/>
                  </a:lnTo>
                  <a:lnTo>
                    <a:pt x="1917" y="1071"/>
                  </a:lnTo>
                  <a:lnTo>
                    <a:pt x="1917" y="1071"/>
                  </a:lnTo>
                  <a:lnTo>
                    <a:pt x="1917" y="1071"/>
                  </a:lnTo>
                  <a:lnTo>
                    <a:pt x="1915" y="1071"/>
                  </a:lnTo>
                  <a:lnTo>
                    <a:pt x="1915" y="1071"/>
                  </a:lnTo>
                  <a:lnTo>
                    <a:pt x="1915" y="1071"/>
                  </a:lnTo>
                  <a:lnTo>
                    <a:pt x="1917" y="1071"/>
                  </a:lnTo>
                  <a:lnTo>
                    <a:pt x="1917" y="1071"/>
                  </a:lnTo>
                  <a:lnTo>
                    <a:pt x="1917" y="1074"/>
                  </a:lnTo>
                  <a:lnTo>
                    <a:pt x="1915" y="1074"/>
                  </a:lnTo>
                  <a:lnTo>
                    <a:pt x="1915" y="1076"/>
                  </a:lnTo>
                  <a:lnTo>
                    <a:pt x="1915" y="1076"/>
                  </a:lnTo>
                  <a:lnTo>
                    <a:pt x="1915" y="1076"/>
                  </a:lnTo>
                  <a:lnTo>
                    <a:pt x="1915" y="1076"/>
                  </a:lnTo>
                  <a:lnTo>
                    <a:pt x="1915" y="1076"/>
                  </a:lnTo>
                  <a:lnTo>
                    <a:pt x="1915" y="1076"/>
                  </a:lnTo>
                  <a:lnTo>
                    <a:pt x="1915" y="1078"/>
                  </a:lnTo>
                  <a:lnTo>
                    <a:pt x="1915" y="1078"/>
                  </a:lnTo>
                  <a:lnTo>
                    <a:pt x="1915" y="1078"/>
                  </a:lnTo>
                  <a:lnTo>
                    <a:pt x="1915" y="1078"/>
                  </a:lnTo>
                  <a:lnTo>
                    <a:pt x="1915" y="1078"/>
                  </a:lnTo>
                  <a:lnTo>
                    <a:pt x="1915" y="1078"/>
                  </a:lnTo>
                  <a:lnTo>
                    <a:pt x="1915" y="1078"/>
                  </a:lnTo>
                  <a:lnTo>
                    <a:pt x="1915" y="1078"/>
                  </a:lnTo>
                  <a:lnTo>
                    <a:pt x="1915" y="1078"/>
                  </a:lnTo>
                  <a:lnTo>
                    <a:pt x="1915" y="1078"/>
                  </a:lnTo>
                  <a:lnTo>
                    <a:pt x="1915" y="1081"/>
                  </a:lnTo>
                  <a:lnTo>
                    <a:pt x="1915" y="1081"/>
                  </a:lnTo>
                  <a:lnTo>
                    <a:pt x="1912" y="1078"/>
                  </a:lnTo>
                  <a:lnTo>
                    <a:pt x="1910" y="1081"/>
                  </a:lnTo>
                  <a:lnTo>
                    <a:pt x="1907" y="1081"/>
                  </a:lnTo>
                  <a:lnTo>
                    <a:pt x="1907" y="1081"/>
                  </a:lnTo>
                  <a:lnTo>
                    <a:pt x="1905" y="1083"/>
                  </a:lnTo>
                  <a:lnTo>
                    <a:pt x="1905" y="1085"/>
                  </a:lnTo>
                  <a:lnTo>
                    <a:pt x="1903" y="1085"/>
                  </a:lnTo>
                  <a:lnTo>
                    <a:pt x="1903" y="1093"/>
                  </a:lnTo>
                  <a:lnTo>
                    <a:pt x="1900" y="1095"/>
                  </a:lnTo>
                  <a:lnTo>
                    <a:pt x="1900" y="1095"/>
                  </a:lnTo>
                  <a:lnTo>
                    <a:pt x="1898" y="1095"/>
                  </a:lnTo>
                  <a:lnTo>
                    <a:pt x="1898" y="1095"/>
                  </a:lnTo>
                  <a:lnTo>
                    <a:pt x="1896" y="1095"/>
                  </a:lnTo>
                  <a:lnTo>
                    <a:pt x="1893" y="1095"/>
                  </a:lnTo>
                  <a:lnTo>
                    <a:pt x="1893" y="1095"/>
                  </a:lnTo>
                  <a:lnTo>
                    <a:pt x="1893" y="1097"/>
                  </a:lnTo>
                  <a:lnTo>
                    <a:pt x="1891" y="1097"/>
                  </a:lnTo>
                  <a:lnTo>
                    <a:pt x="1893" y="1097"/>
                  </a:lnTo>
                  <a:lnTo>
                    <a:pt x="1893" y="1100"/>
                  </a:lnTo>
                  <a:lnTo>
                    <a:pt x="1893" y="1100"/>
                  </a:lnTo>
                  <a:lnTo>
                    <a:pt x="1893" y="1102"/>
                  </a:lnTo>
                  <a:lnTo>
                    <a:pt x="1893" y="1102"/>
                  </a:lnTo>
                  <a:lnTo>
                    <a:pt x="1891" y="1104"/>
                  </a:lnTo>
                  <a:lnTo>
                    <a:pt x="1891" y="1104"/>
                  </a:lnTo>
                  <a:lnTo>
                    <a:pt x="1891" y="1107"/>
                  </a:lnTo>
                  <a:lnTo>
                    <a:pt x="1891" y="1107"/>
                  </a:lnTo>
                  <a:lnTo>
                    <a:pt x="1891" y="1109"/>
                  </a:lnTo>
                  <a:lnTo>
                    <a:pt x="1891" y="1109"/>
                  </a:lnTo>
                  <a:lnTo>
                    <a:pt x="1891" y="1109"/>
                  </a:lnTo>
                  <a:lnTo>
                    <a:pt x="1891" y="1107"/>
                  </a:lnTo>
                  <a:lnTo>
                    <a:pt x="1891" y="1107"/>
                  </a:lnTo>
                  <a:lnTo>
                    <a:pt x="1889" y="1107"/>
                  </a:lnTo>
                  <a:lnTo>
                    <a:pt x="1889" y="1104"/>
                  </a:lnTo>
                  <a:lnTo>
                    <a:pt x="1891" y="1104"/>
                  </a:lnTo>
                  <a:lnTo>
                    <a:pt x="1891" y="1104"/>
                  </a:lnTo>
                  <a:lnTo>
                    <a:pt x="1891" y="1102"/>
                  </a:lnTo>
                  <a:lnTo>
                    <a:pt x="1891" y="1100"/>
                  </a:lnTo>
                  <a:lnTo>
                    <a:pt x="1891" y="1100"/>
                  </a:lnTo>
                  <a:lnTo>
                    <a:pt x="1891" y="1097"/>
                  </a:lnTo>
                  <a:lnTo>
                    <a:pt x="1891" y="1097"/>
                  </a:lnTo>
                  <a:lnTo>
                    <a:pt x="1891" y="1095"/>
                  </a:lnTo>
                  <a:lnTo>
                    <a:pt x="1891" y="1093"/>
                  </a:lnTo>
                  <a:lnTo>
                    <a:pt x="1893" y="1093"/>
                  </a:lnTo>
                  <a:lnTo>
                    <a:pt x="1893" y="1093"/>
                  </a:lnTo>
                  <a:lnTo>
                    <a:pt x="1898" y="1093"/>
                  </a:lnTo>
                  <a:lnTo>
                    <a:pt x="1900" y="1093"/>
                  </a:lnTo>
                  <a:lnTo>
                    <a:pt x="1900" y="1090"/>
                  </a:lnTo>
                  <a:lnTo>
                    <a:pt x="1900" y="1090"/>
                  </a:lnTo>
                  <a:lnTo>
                    <a:pt x="1900" y="1085"/>
                  </a:lnTo>
                  <a:lnTo>
                    <a:pt x="1903" y="1085"/>
                  </a:lnTo>
                  <a:lnTo>
                    <a:pt x="1903" y="1085"/>
                  </a:lnTo>
                  <a:lnTo>
                    <a:pt x="1903" y="1083"/>
                  </a:lnTo>
                  <a:lnTo>
                    <a:pt x="1903" y="1083"/>
                  </a:lnTo>
                  <a:lnTo>
                    <a:pt x="1903" y="1081"/>
                  </a:lnTo>
                  <a:lnTo>
                    <a:pt x="1905" y="1081"/>
                  </a:lnTo>
                  <a:lnTo>
                    <a:pt x="1905" y="1078"/>
                  </a:lnTo>
                  <a:lnTo>
                    <a:pt x="1910" y="1076"/>
                  </a:lnTo>
                  <a:lnTo>
                    <a:pt x="1910" y="1074"/>
                  </a:lnTo>
                  <a:lnTo>
                    <a:pt x="1910" y="1071"/>
                  </a:lnTo>
                  <a:lnTo>
                    <a:pt x="1910" y="1069"/>
                  </a:lnTo>
                  <a:lnTo>
                    <a:pt x="1910" y="1069"/>
                  </a:lnTo>
                  <a:lnTo>
                    <a:pt x="1912" y="1064"/>
                  </a:lnTo>
                  <a:lnTo>
                    <a:pt x="1912" y="1064"/>
                  </a:lnTo>
                  <a:lnTo>
                    <a:pt x="1910" y="1064"/>
                  </a:lnTo>
                  <a:lnTo>
                    <a:pt x="1910" y="1064"/>
                  </a:lnTo>
                  <a:lnTo>
                    <a:pt x="1910" y="1062"/>
                  </a:lnTo>
                  <a:lnTo>
                    <a:pt x="1910" y="1062"/>
                  </a:lnTo>
                  <a:lnTo>
                    <a:pt x="1910" y="1062"/>
                  </a:lnTo>
                  <a:lnTo>
                    <a:pt x="1910" y="1062"/>
                  </a:lnTo>
                  <a:lnTo>
                    <a:pt x="1903" y="1064"/>
                  </a:lnTo>
                  <a:lnTo>
                    <a:pt x="1903" y="1064"/>
                  </a:lnTo>
                  <a:lnTo>
                    <a:pt x="1900" y="1064"/>
                  </a:lnTo>
                  <a:lnTo>
                    <a:pt x="1900" y="1064"/>
                  </a:lnTo>
                  <a:lnTo>
                    <a:pt x="1900" y="1064"/>
                  </a:lnTo>
                  <a:lnTo>
                    <a:pt x="1903" y="1064"/>
                  </a:lnTo>
                  <a:lnTo>
                    <a:pt x="1903" y="1066"/>
                  </a:lnTo>
                  <a:lnTo>
                    <a:pt x="1900" y="1066"/>
                  </a:lnTo>
                  <a:lnTo>
                    <a:pt x="1898" y="1066"/>
                  </a:lnTo>
                  <a:lnTo>
                    <a:pt x="1898" y="1066"/>
                  </a:lnTo>
                  <a:lnTo>
                    <a:pt x="1889" y="1071"/>
                  </a:lnTo>
                  <a:lnTo>
                    <a:pt x="1889" y="1074"/>
                  </a:lnTo>
                  <a:lnTo>
                    <a:pt x="1886" y="1076"/>
                  </a:lnTo>
                  <a:lnTo>
                    <a:pt x="1886" y="1076"/>
                  </a:lnTo>
                  <a:lnTo>
                    <a:pt x="1886" y="1078"/>
                  </a:lnTo>
                  <a:lnTo>
                    <a:pt x="1886" y="1078"/>
                  </a:lnTo>
                  <a:lnTo>
                    <a:pt x="1886" y="1081"/>
                  </a:lnTo>
                  <a:lnTo>
                    <a:pt x="1889" y="1081"/>
                  </a:lnTo>
                  <a:lnTo>
                    <a:pt x="1889" y="1081"/>
                  </a:lnTo>
                  <a:lnTo>
                    <a:pt x="1889" y="1081"/>
                  </a:lnTo>
                  <a:lnTo>
                    <a:pt x="1889" y="1081"/>
                  </a:lnTo>
                  <a:lnTo>
                    <a:pt x="1889" y="1081"/>
                  </a:lnTo>
                  <a:lnTo>
                    <a:pt x="1889" y="1083"/>
                  </a:lnTo>
                  <a:lnTo>
                    <a:pt x="1889" y="1083"/>
                  </a:lnTo>
                  <a:lnTo>
                    <a:pt x="1889" y="1085"/>
                  </a:lnTo>
                  <a:lnTo>
                    <a:pt x="1889" y="1085"/>
                  </a:lnTo>
                  <a:lnTo>
                    <a:pt x="1889" y="1085"/>
                  </a:lnTo>
                  <a:lnTo>
                    <a:pt x="1886" y="1085"/>
                  </a:lnTo>
                  <a:lnTo>
                    <a:pt x="1886" y="1085"/>
                  </a:lnTo>
                  <a:lnTo>
                    <a:pt x="1886" y="1085"/>
                  </a:lnTo>
                  <a:lnTo>
                    <a:pt x="1884" y="1085"/>
                  </a:lnTo>
                  <a:lnTo>
                    <a:pt x="1881" y="1088"/>
                  </a:lnTo>
                  <a:lnTo>
                    <a:pt x="1879" y="1095"/>
                  </a:lnTo>
                  <a:lnTo>
                    <a:pt x="1877" y="1097"/>
                  </a:lnTo>
                  <a:lnTo>
                    <a:pt x="1874" y="1097"/>
                  </a:lnTo>
                  <a:lnTo>
                    <a:pt x="1877" y="1095"/>
                  </a:lnTo>
                  <a:lnTo>
                    <a:pt x="1877" y="1095"/>
                  </a:lnTo>
                  <a:lnTo>
                    <a:pt x="1877" y="1095"/>
                  </a:lnTo>
                  <a:lnTo>
                    <a:pt x="1877" y="1095"/>
                  </a:lnTo>
                  <a:lnTo>
                    <a:pt x="1877" y="1095"/>
                  </a:lnTo>
                  <a:lnTo>
                    <a:pt x="1877" y="1093"/>
                  </a:lnTo>
                  <a:lnTo>
                    <a:pt x="1879" y="1093"/>
                  </a:lnTo>
                  <a:lnTo>
                    <a:pt x="1879" y="1093"/>
                  </a:lnTo>
                  <a:lnTo>
                    <a:pt x="1879" y="1093"/>
                  </a:lnTo>
                  <a:lnTo>
                    <a:pt x="1879" y="1090"/>
                  </a:lnTo>
                  <a:lnTo>
                    <a:pt x="1879" y="1090"/>
                  </a:lnTo>
                  <a:lnTo>
                    <a:pt x="1879" y="1090"/>
                  </a:lnTo>
                  <a:lnTo>
                    <a:pt x="1879" y="1090"/>
                  </a:lnTo>
                  <a:lnTo>
                    <a:pt x="1879" y="1090"/>
                  </a:lnTo>
                  <a:lnTo>
                    <a:pt x="1879" y="1088"/>
                  </a:lnTo>
                  <a:lnTo>
                    <a:pt x="1879" y="1088"/>
                  </a:lnTo>
                  <a:lnTo>
                    <a:pt x="1879" y="1088"/>
                  </a:lnTo>
                  <a:lnTo>
                    <a:pt x="1879" y="1088"/>
                  </a:lnTo>
                  <a:lnTo>
                    <a:pt x="1881" y="1088"/>
                  </a:lnTo>
                  <a:lnTo>
                    <a:pt x="1881" y="1085"/>
                  </a:lnTo>
                  <a:lnTo>
                    <a:pt x="1884" y="1085"/>
                  </a:lnTo>
                  <a:lnTo>
                    <a:pt x="1884" y="1083"/>
                  </a:lnTo>
                  <a:lnTo>
                    <a:pt x="1889" y="1083"/>
                  </a:lnTo>
                  <a:lnTo>
                    <a:pt x="1889" y="1083"/>
                  </a:lnTo>
                  <a:lnTo>
                    <a:pt x="1886" y="1081"/>
                  </a:lnTo>
                  <a:lnTo>
                    <a:pt x="1886" y="1081"/>
                  </a:lnTo>
                  <a:lnTo>
                    <a:pt x="1886" y="1081"/>
                  </a:lnTo>
                  <a:lnTo>
                    <a:pt x="1884" y="1078"/>
                  </a:lnTo>
                  <a:lnTo>
                    <a:pt x="1881" y="1081"/>
                  </a:lnTo>
                  <a:lnTo>
                    <a:pt x="1881" y="1081"/>
                  </a:lnTo>
                  <a:lnTo>
                    <a:pt x="1881" y="1083"/>
                  </a:lnTo>
                  <a:lnTo>
                    <a:pt x="1879" y="1083"/>
                  </a:lnTo>
                  <a:lnTo>
                    <a:pt x="1879" y="1083"/>
                  </a:lnTo>
                  <a:lnTo>
                    <a:pt x="1879" y="1083"/>
                  </a:lnTo>
                  <a:lnTo>
                    <a:pt x="1879" y="1081"/>
                  </a:lnTo>
                  <a:lnTo>
                    <a:pt x="1879" y="1081"/>
                  </a:lnTo>
                  <a:lnTo>
                    <a:pt x="1879" y="1081"/>
                  </a:lnTo>
                  <a:lnTo>
                    <a:pt x="1884" y="1078"/>
                  </a:lnTo>
                  <a:lnTo>
                    <a:pt x="1884" y="1076"/>
                  </a:lnTo>
                  <a:lnTo>
                    <a:pt x="1884" y="1076"/>
                  </a:lnTo>
                  <a:lnTo>
                    <a:pt x="1884" y="1074"/>
                  </a:lnTo>
                  <a:lnTo>
                    <a:pt x="1884" y="1074"/>
                  </a:lnTo>
                  <a:lnTo>
                    <a:pt x="1884" y="1074"/>
                  </a:lnTo>
                  <a:lnTo>
                    <a:pt x="1884" y="1074"/>
                  </a:lnTo>
                  <a:lnTo>
                    <a:pt x="1884" y="1071"/>
                  </a:lnTo>
                  <a:lnTo>
                    <a:pt x="1884" y="1071"/>
                  </a:lnTo>
                  <a:lnTo>
                    <a:pt x="1886" y="1069"/>
                  </a:lnTo>
                  <a:lnTo>
                    <a:pt x="1889" y="1066"/>
                  </a:lnTo>
                  <a:lnTo>
                    <a:pt x="1891" y="1066"/>
                  </a:lnTo>
                  <a:lnTo>
                    <a:pt x="1891" y="1066"/>
                  </a:lnTo>
                  <a:lnTo>
                    <a:pt x="1891" y="1064"/>
                  </a:lnTo>
                  <a:lnTo>
                    <a:pt x="1891" y="1064"/>
                  </a:lnTo>
                  <a:lnTo>
                    <a:pt x="1893" y="1062"/>
                  </a:lnTo>
                  <a:lnTo>
                    <a:pt x="1893" y="1062"/>
                  </a:lnTo>
                  <a:lnTo>
                    <a:pt x="1896" y="1062"/>
                  </a:lnTo>
                  <a:lnTo>
                    <a:pt x="1896" y="1059"/>
                  </a:lnTo>
                  <a:lnTo>
                    <a:pt x="1896" y="1059"/>
                  </a:lnTo>
                  <a:lnTo>
                    <a:pt x="1898" y="1059"/>
                  </a:lnTo>
                  <a:lnTo>
                    <a:pt x="1898" y="1059"/>
                  </a:lnTo>
                  <a:lnTo>
                    <a:pt x="1900" y="1057"/>
                  </a:lnTo>
                  <a:lnTo>
                    <a:pt x="1903" y="1057"/>
                  </a:lnTo>
                  <a:lnTo>
                    <a:pt x="1905" y="1055"/>
                  </a:lnTo>
                  <a:lnTo>
                    <a:pt x="1907" y="1055"/>
                  </a:lnTo>
                  <a:lnTo>
                    <a:pt x="1907" y="1052"/>
                  </a:lnTo>
                  <a:lnTo>
                    <a:pt x="1907" y="1052"/>
                  </a:lnTo>
                  <a:lnTo>
                    <a:pt x="1907" y="1050"/>
                  </a:lnTo>
                  <a:lnTo>
                    <a:pt x="1907" y="1050"/>
                  </a:lnTo>
                  <a:lnTo>
                    <a:pt x="1905" y="1048"/>
                  </a:lnTo>
                  <a:lnTo>
                    <a:pt x="1905" y="1048"/>
                  </a:lnTo>
                  <a:lnTo>
                    <a:pt x="1905" y="1045"/>
                  </a:lnTo>
                  <a:lnTo>
                    <a:pt x="1905" y="1045"/>
                  </a:lnTo>
                  <a:lnTo>
                    <a:pt x="1905" y="1043"/>
                  </a:lnTo>
                  <a:lnTo>
                    <a:pt x="1907" y="1043"/>
                  </a:lnTo>
                  <a:lnTo>
                    <a:pt x="1907" y="1043"/>
                  </a:lnTo>
                  <a:lnTo>
                    <a:pt x="1907" y="1043"/>
                  </a:lnTo>
                  <a:lnTo>
                    <a:pt x="1907" y="1045"/>
                  </a:lnTo>
                  <a:lnTo>
                    <a:pt x="1907" y="1045"/>
                  </a:lnTo>
                  <a:lnTo>
                    <a:pt x="1907" y="1045"/>
                  </a:lnTo>
                  <a:lnTo>
                    <a:pt x="1907" y="1048"/>
                  </a:lnTo>
                  <a:lnTo>
                    <a:pt x="1907" y="1048"/>
                  </a:lnTo>
                  <a:lnTo>
                    <a:pt x="1910" y="1050"/>
                  </a:lnTo>
                  <a:lnTo>
                    <a:pt x="1910" y="1050"/>
                  </a:lnTo>
                  <a:lnTo>
                    <a:pt x="1912" y="1048"/>
                  </a:lnTo>
                  <a:lnTo>
                    <a:pt x="1912" y="1048"/>
                  </a:lnTo>
                  <a:lnTo>
                    <a:pt x="1912" y="1045"/>
                  </a:lnTo>
                  <a:lnTo>
                    <a:pt x="1910" y="1045"/>
                  </a:lnTo>
                  <a:lnTo>
                    <a:pt x="1912" y="1045"/>
                  </a:lnTo>
                  <a:lnTo>
                    <a:pt x="1912" y="1045"/>
                  </a:lnTo>
                  <a:lnTo>
                    <a:pt x="1912" y="1043"/>
                  </a:lnTo>
                  <a:lnTo>
                    <a:pt x="1912" y="1043"/>
                  </a:lnTo>
                  <a:lnTo>
                    <a:pt x="1912" y="1043"/>
                  </a:lnTo>
                  <a:lnTo>
                    <a:pt x="1912" y="1040"/>
                  </a:lnTo>
                  <a:lnTo>
                    <a:pt x="1912" y="1038"/>
                  </a:lnTo>
                  <a:lnTo>
                    <a:pt x="1912" y="1038"/>
                  </a:lnTo>
                  <a:lnTo>
                    <a:pt x="1912" y="1038"/>
                  </a:lnTo>
                  <a:lnTo>
                    <a:pt x="1912" y="1038"/>
                  </a:lnTo>
                  <a:lnTo>
                    <a:pt x="1912" y="1036"/>
                  </a:lnTo>
                  <a:lnTo>
                    <a:pt x="1912" y="1036"/>
                  </a:lnTo>
                  <a:lnTo>
                    <a:pt x="1912" y="1036"/>
                  </a:lnTo>
                  <a:lnTo>
                    <a:pt x="1910" y="1033"/>
                  </a:lnTo>
                  <a:lnTo>
                    <a:pt x="1910" y="1033"/>
                  </a:lnTo>
                  <a:lnTo>
                    <a:pt x="1900" y="1031"/>
                  </a:lnTo>
                  <a:lnTo>
                    <a:pt x="1891" y="1029"/>
                  </a:lnTo>
                  <a:lnTo>
                    <a:pt x="1889" y="1029"/>
                  </a:lnTo>
                  <a:lnTo>
                    <a:pt x="1886" y="1026"/>
                  </a:lnTo>
                  <a:lnTo>
                    <a:pt x="1884" y="1026"/>
                  </a:lnTo>
                  <a:lnTo>
                    <a:pt x="1881" y="1029"/>
                  </a:lnTo>
                  <a:lnTo>
                    <a:pt x="1881" y="1026"/>
                  </a:lnTo>
                  <a:lnTo>
                    <a:pt x="1881" y="1026"/>
                  </a:lnTo>
                  <a:lnTo>
                    <a:pt x="1881" y="1026"/>
                  </a:lnTo>
                  <a:lnTo>
                    <a:pt x="1879" y="1029"/>
                  </a:lnTo>
                  <a:lnTo>
                    <a:pt x="1877" y="1029"/>
                  </a:lnTo>
                  <a:lnTo>
                    <a:pt x="1877" y="1031"/>
                  </a:lnTo>
                  <a:lnTo>
                    <a:pt x="1877" y="1033"/>
                  </a:lnTo>
                  <a:lnTo>
                    <a:pt x="1877" y="1033"/>
                  </a:lnTo>
                  <a:lnTo>
                    <a:pt x="1879" y="1036"/>
                  </a:lnTo>
                  <a:lnTo>
                    <a:pt x="1877" y="1036"/>
                  </a:lnTo>
                  <a:lnTo>
                    <a:pt x="1877" y="1036"/>
                  </a:lnTo>
                  <a:lnTo>
                    <a:pt x="1874" y="1033"/>
                  </a:lnTo>
                  <a:lnTo>
                    <a:pt x="1874" y="1033"/>
                  </a:lnTo>
                  <a:lnTo>
                    <a:pt x="1874" y="1036"/>
                  </a:lnTo>
                  <a:lnTo>
                    <a:pt x="1874" y="1036"/>
                  </a:lnTo>
                  <a:lnTo>
                    <a:pt x="1877" y="1036"/>
                  </a:lnTo>
                  <a:lnTo>
                    <a:pt x="1874" y="1036"/>
                  </a:lnTo>
                  <a:lnTo>
                    <a:pt x="1874" y="1036"/>
                  </a:lnTo>
                  <a:lnTo>
                    <a:pt x="1872" y="1038"/>
                  </a:lnTo>
                  <a:lnTo>
                    <a:pt x="1872" y="1038"/>
                  </a:lnTo>
                  <a:lnTo>
                    <a:pt x="1872" y="1040"/>
                  </a:lnTo>
                  <a:lnTo>
                    <a:pt x="1872" y="1043"/>
                  </a:lnTo>
                  <a:lnTo>
                    <a:pt x="1872" y="1043"/>
                  </a:lnTo>
                  <a:lnTo>
                    <a:pt x="1872" y="1043"/>
                  </a:lnTo>
                  <a:lnTo>
                    <a:pt x="1870" y="1040"/>
                  </a:lnTo>
                  <a:lnTo>
                    <a:pt x="1870" y="1040"/>
                  </a:lnTo>
                  <a:lnTo>
                    <a:pt x="1870" y="1043"/>
                  </a:lnTo>
                  <a:lnTo>
                    <a:pt x="1870" y="1043"/>
                  </a:lnTo>
                  <a:lnTo>
                    <a:pt x="1867" y="1043"/>
                  </a:lnTo>
                  <a:lnTo>
                    <a:pt x="1865" y="1045"/>
                  </a:lnTo>
                  <a:lnTo>
                    <a:pt x="1862" y="1045"/>
                  </a:lnTo>
                  <a:lnTo>
                    <a:pt x="1862" y="1045"/>
                  </a:lnTo>
                  <a:lnTo>
                    <a:pt x="1862" y="1045"/>
                  </a:lnTo>
                  <a:lnTo>
                    <a:pt x="1865" y="1048"/>
                  </a:lnTo>
                  <a:lnTo>
                    <a:pt x="1865" y="1048"/>
                  </a:lnTo>
                  <a:lnTo>
                    <a:pt x="1865" y="1050"/>
                  </a:lnTo>
                  <a:lnTo>
                    <a:pt x="1867" y="1052"/>
                  </a:lnTo>
                  <a:lnTo>
                    <a:pt x="1865" y="1052"/>
                  </a:lnTo>
                  <a:lnTo>
                    <a:pt x="1865" y="1055"/>
                  </a:lnTo>
                  <a:lnTo>
                    <a:pt x="1865" y="1055"/>
                  </a:lnTo>
                  <a:lnTo>
                    <a:pt x="1862" y="1055"/>
                  </a:lnTo>
                  <a:lnTo>
                    <a:pt x="1862" y="1055"/>
                  </a:lnTo>
                  <a:lnTo>
                    <a:pt x="1865" y="1052"/>
                  </a:lnTo>
                  <a:lnTo>
                    <a:pt x="1865" y="1050"/>
                  </a:lnTo>
                  <a:lnTo>
                    <a:pt x="1865" y="1050"/>
                  </a:lnTo>
                  <a:lnTo>
                    <a:pt x="1862" y="1048"/>
                  </a:lnTo>
                  <a:lnTo>
                    <a:pt x="1862" y="1048"/>
                  </a:lnTo>
                  <a:lnTo>
                    <a:pt x="1862" y="1048"/>
                  </a:lnTo>
                  <a:lnTo>
                    <a:pt x="1862" y="1045"/>
                  </a:lnTo>
                  <a:lnTo>
                    <a:pt x="1860" y="1045"/>
                  </a:lnTo>
                  <a:lnTo>
                    <a:pt x="1862" y="1043"/>
                  </a:lnTo>
                  <a:lnTo>
                    <a:pt x="1862" y="1043"/>
                  </a:lnTo>
                  <a:lnTo>
                    <a:pt x="1865" y="1043"/>
                  </a:lnTo>
                  <a:lnTo>
                    <a:pt x="1867" y="1040"/>
                  </a:lnTo>
                  <a:lnTo>
                    <a:pt x="1870" y="1033"/>
                  </a:lnTo>
                  <a:lnTo>
                    <a:pt x="1872" y="1031"/>
                  </a:lnTo>
                  <a:lnTo>
                    <a:pt x="1872" y="1029"/>
                  </a:lnTo>
                  <a:lnTo>
                    <a:pt x="1872" y="1026"/>
                  </a:lnTo>
                  <a:lnTo>
                    <a:pt x="1872" y="1026"/>
                  </a:lnTo>
                  <a:lnTo>
                    <a:pt x="1872" y="1024"/>
                  </a:lnTo>
                  <a:lnTo>
                    <a:pt x="1872" y="1024"/>
                  </a:lnTo>
                  <a:lnTo>
                    <a:pt x="1872" y="1024"/>
                  </a:lnTo>
                  <a:lnTo>
                    <a:pt x="1872" y="1024"/>
                  </a:lnTo>
                  <a:lnTo>
                    <a:pt x="1872" y="1024"/>
                  </a:lnTo>
                  <a:lnTo>
                    <a:pt x="1870" y="1024"/>
                  </a:lnTo>
                  <a:lnTo>
                    <a:pt x="1870" y="1024"/>
                  </a:lnTo>
                  <a:lnTo>
                    <a:pt x="1862" y="1031"/>
                  </a:lnTo>
                  <a:lnTo>
                    <a:pt x="1860" y="1033"/>
                  </a:lnTo>
                  <a:lnTo>
                    <a:pt x="1860" y="1036"/>
                  </a:lnTo>
                  <a:lnTo>
                    <a:pt x="1858" y="1036"/>
                  </a:lnTo>
                  <a:lnTo>
                    <a:pt x="1858" y="1036"/>
                  </a:lnTo>
                  <a:lnTo>
                    <a:pt x="1858" y="1038"/>
                  </a:lnTo>
                  <a:lnTo>
                    <a:pt x="1855" y="1038"/>
                  </a:lnTo>
                  <a:lnTo>
                    <a:pt x="1855" y="1038"/>
                  </a:lnTo>
                  <a:lnTo>
                    <a:pt x="1855" y="1038"/>
                  </a:lnTo>
                  <a:lnTo>
                    <a:pt x="1855" y="1040"/>
                  </a:lnTo>
                  <a:lnTo>
                    <a:pt x="1855" y="1040"/>
                  </a:lnTo>
                  <a:lnTo>
                    <a:pt x="1853" y="1045"/>
                  </a:lnTo>
                  <a:lnTo>
                    <a:pt x="1848" y="1048"/>
                  </a:lnTo>
                  <a:lnTo>
                    <a:pt x="1848" y="1048"/>
                  </a:lnTo>
                  <a:lnTo>
                    <a:pt x="1848" y="1050"/>
                  </a:lnTo>
                  <a:lnTo>
                    <a:pt x="1848" y="1050"/>
                  </a:lnTo>
                  <a:lnTo>
                    <a:pt x="1848" y="1052"/>
                  </a:lnTo>
                  <a:lnTo>
                    <a:pt x="1848" y="1052"/>
                  </a:lnTo>
                  <a:lnTo>
                    <a:pt x="1851" y="1055"/>
                  </a:lnTo>
                  <a:lnTo>
                    <a:pt x="1851" y="1055"/>
                  </a:lnTo>
                  <a:lnTo>
                    <a:pt x="1851" y="1055"/>
                  </a:lnTo>
                  <a:lnTo>
                    <a:pt x="1851" y="1055"/>
                  </a:lnTo>
                  <a:lnTo>
                    <a:pt x="1851" y="1055"/>
                  </a:lnTo>
                  <a:lnTo>
                    <a:pt x="1851" y="1057"/>
                  </a:lnTo>
                  <a:lnTo>
                    <a:pt x="1851" y="1057"/>
                  </a:lnTo>
                  <a:lnTo>
                    <a:pt x="1851" y="1062"/>
                  </a:lnTo>
                  <a:lnTo>
                    <a:pt x="1851" y="1062"/>
                  </a:lnTo>
                  <a:lnTo>
                    <a:pt x="1851" y="1064"/>
                  </a:lnTo>
                  <a:lnTo>
                    <a:pt x="1851" y="1064"/>
                  </a:lnTo>
                  <a:lnTo>
                    <a:pt x="1851" y="1064"/>
                  </a:lnTo>
                  <a:lnTo>
                    <a:pt x="1851" y="1064"/>
                  </a:lnTo>
                  <a:lnTo>
                    <a:pt x="1851" y="1066"/>
                  </a:lnTo>
                  <a:lnTo>
                    <a:pt x="1851" y="1066"/>
                  </a:lnTo>
                  <a:lnTo>
                    <a:pt x="1851" y="1069"/>
                  </a:lnTo>
                  <a:lnTo>
                    <a:pt x="1851" y="1069"/>
                  </a:lnTo>
                  <a:lnTo>
                    <a:pt x="1851" y="1069"/>
                  </a:lnTo>
                  <a:lnTo>
                    <a:pt x="1851" y="1071"/>
                  </a:lnTo>
                  <a:lnTo>
                    <a:pt x="1851" y="1071"/>
                  </a:lnTo>
                  <a:lnTo>
                    <a:pt x="1851" y="1071"/>
                  </a:lnTo>
                  <a:lnTo>
                    <a:pt x="1851" y="1074"/>
                  </a:lnTo>
                  <a:lnTo>
                    <a:pt x="1851" y="1074"/>
                  </a:lnTo>
                  <a:lnTo>
                    <a:pt x="1851" y="1074"/>
                  </a:lnTo>
                  <a:lnTo>
                    <a:pt x="1851" y="1076"/>
                  </a:lnTo>
                  <a:lnTo>
                    <a:pt x="1851" y="1076"/>
                  </a:lnTo>
                  <a:lnTo>
                    <a:pt x="1851" y="1078"/>
                  </a:lnTo>
                  <a:lnTo>
                    <a:pt x="1851" y="1078"/>
                  </a:lnTo>
                  <a:lnTo>
                    <a:pt x="1851" y="1081"/>
                  </a:lnTo>
                  <a:lnTo>
                    <a:pt x="1851" y="1083"/>
                  </a:lnTo>
                  <a:lnTo>
                    <a:pt x="1851" y="1083"/>
                  </a:lnTo>
                  <a:lnTo>
                    <a:pt x="1851" y="1083"/>
                  </a:lnTo>
                  <a:lnTo>
                    <a:pt x="1848" y="1088"/>
                  </a:lnTo>
                  <a:lnTo>
                    <a:pt x="1848" y="1088"/>
                  </a:lnTo>
                  <a:lnTo>
                    <a:pt x="1848" y="1090"/>
                  </a:lnTo>
                  <a:lnTo>
                    <a:pt x="1848" y="1093"/>
                  </a:lnTo>
                  <a:lnTo>
                    <a:pt x="1848" y="1093"/>
                  </a:lnTo>
                  <a:lnTo>
                    <a:pt x="1848" y="1090"/>
                  </a:lnTo>
                  <a:lnTo>
                    <a:pt x="1848" y="1088"/>
                  </a:lnTo>
                  <a:lnTo>
                    <a:pt x="1848" y="1088"/>
                  </a:lnTo>
                  <a:lnTo>
                    <a:pt x="1848" y="1085"/>
                  </a:lnTo>
                  <a:lnTo>
                    <a:pt x="1848" y="1083"/>
                  </a:lnTo>
                  <a:lnTo>
                    <a:pt x="1848" y="1083"/>
                  </a:lnTo>
                  <a:lnTo>
                    <a:pt x="1848" y="1083"/>
                  </a:lnTo>
                  <a:lnTo>
                    <a:pt x="1848" y="1083"/>
                  </a:lnTo>
                  <a:lnTo>
                    <a:pt x="1848" y="1083"/>
                  </a:lnTo>
                  <a:lnTo>
                    <a:pt x="1848" y="1083"/>
                  </a:lnTo>
                  <a:lnTo>
                    <a:pt x="1848" y="1081"/>
                  </a:lnTo>
                  <a:lnTo>
                    <a:pt x="1848" y="1081"/>
                  </a:lnTo>
                  <a:lnTo>
                    <a:pt x="1848" y="1081"/>
                  </a:lnTo>
                  <a:lnTo>
                    <a:pt x="1848" y="1081"/>
                  </a:lnTo>
                  <a:lnTo>
                    <a:pt x="1848" y="1078"/>
                  </a:lnTo>
                  <a:lnTo>
                    <a:pt x="1848" y="1078"/>
                  </a:lnTo>
                  <a:lnTo>
                    <a:pt x="1848" y="1076"/>
                  </a:lnTo>
                  <a:lnTo>
                    <a:pt x="1848" y="1074"/>
                  </a:lnTo>
                  <a:lnTo>
                    <a:pt x="1848" y="1071"/>
                  </a:lnTo>
                  <a:lnTo>
                    <a:pt x="1848" y="1071"/>
                  </a:lnTo>
                  <a:lnTo>
                    <a:pt x="1848" y="1071"/>
                  </a:lnTo>
                  <a:lnTo>
                    <a:pt x="1848" y="1069"/>
                  </a:lnTo>
                  <a:lnTo>
                    <a:pt x="1848" y="1069"/>
                  </a:lnTo>
                  <a:lnTo>
                    <a:pt x="1848" y="1069"/>
                  </a:lnTo>
                  <a:lnTo>
                    <a:pt x="1848" y="1066"/>
                  </a:lnTo>
                  <a:lnTo>
                    <a:pt x="1848" y="1064"/>
                  </a:lnTo>
                  <a:lnTo>
                    <a:pt x="1848" y="1057"/>
                  </a:lnTo>
                  <a:lnTo>
                    <a:pt x="1846" y="1055"/>
                  </a:lnTo>
                  <a:lnTo>
                    <a:pt x="1846" y="1055"/>
                  </a:lnTo>
                  <a:lnTo>
                    <a:pt x="1846" y="1055"/>
                  </a:lnTo>
                  <a:lnTo>
                    <a:pt x="1846" y="1055"/>
                  </a:lnTo>
                  <a:lnTo>
                    <a:pt x="1846" y="1055"/>
                  </a:lnTo>
                  <a:lnTo>
                    <a:pt x="1844" y="1055"/>
                  </a:lnTo>
                  <a:lnTo>
                    <a:pt x="1844" y="1055"/>
                  </a:lnTo>
                  <a:lnTo>
                    <a:pt x="1841" y="1055"/>
                  </a:lnTo>
                  <a:lnTo>
                    <a:pt x="1841" y="1055"/>
                  </a:lnTo>
                  <a:lnTo>
                    <a:pt x="1841" y="1055"/>
                  </a:lnTo>
                  <a:lnTo>
                    <a:pt x="1841" y="1052"/>
                  </a:lnTo>
                  <a:lnTo>
                    <a:pt x="1839" y="1052"/>
                  </a:lnTo>
                  <a:lnTo>
                    <a:pt x="1839" y="1052"/>
                  </a:lnTo>
                  <a:lnTo>
                    <a:pt x="1839" y="1055"/>
                  </a:lnTo>
                  <a:lnTo>
                    <a:pt x="1839" y="1057"/>
                  </a:lnTo>
                  <a:lnTo>
                    <a:pt x="1839" y="1059"/>
                  </a:lnTo>
                  <a:lnTo>
                    <a:pt x="1836" y="1062"/>
                  </a:lnTo>
                  <a:lnTo>
                    <a:pt x="1836" y="1062"/>
                  </a:lnTo>
                  <a:lnTo>
                    <a:pt x="1836" y="1062"/>
                  </a:lnTo>
                  <a:lnTo>
                    <a:pt x="1839" y="1064"/>
                  </a:lnTo>
                  <a:lnTo>
                    <a:pt x="1839" y="1066"/>
                  </a:lnTo>
                  <a:lnTo>
                    <a:pt x="1839" y="1069"/>
                  </a:lnTo>
                  <a:lnTo>
                    <a:pt x="1839" y="1069"/>
                  </a:lnTo>
                  <a:lnTo>
                    <a:pt x="1836" y="1074"/>
                  </a:lnTo>
                  <a:lnTo>
                    <a:pt x="1836" y="1074"/>
                  </a:lnTo>
                  <a:lnTo>
                    <a:pt x="1836" y="1076"/>
                  </a:lnTo>
                  <a:lnTo>
                    <a:pt x="1836" y="1076"/>
                  </a:lnTo>
                  <a:lnTo>
                    <a:pt x="1836" y="1074"/>
                  </a:lnTo>
                  <a:lnTo>
                    <a:pt x="1836" y="1074"/>
                  </a:lnTo>
                  <a:lnTo>
                    <a:pt x="1836" y="1071"/>
                  </a:lnTo>
                  <a:lnTo>
                    <a:pt x="1836" y="1066"/>
                  </a:lnTo>
                  <a:lnTo>
                    <a:pt x="1836" y="1066"/>
                  </a:lnTo>
                  <a:lnTo>
                    <a:pt x="1836" y="1066"/>
                  </a:lnTo>
                  <a:lnTo>
                    <a:pt x="1834" y="1066"/>
                  </a:lnTo>
                  <a:lnTo>
                    <a:pt x="1832" y="1069"/>
                  </a:lnTo>
                  <a:lnTo>
                    <a:pt x="1832" y="1066"/>
                  </a:lnTo>
                  <a:lnTo>
                    <a:pt x="1832" y="1066"/>
                  </a:lnTo>
                  <a:lnTo>
                    <a:pt x="1832" y="1066"/>
                  </a:lnTo>
                  <a:lnTo>
                    <a:pt x="1834" y="1064"/>
                  </a:lnTo>
                  <a:lnTo>
                    <a:pt x="1836" y="1064"/>
                  </a:lnTo>
                  <a:lnTo>
                    <a:pt x="1836" y="1064"/>
                  </a:lnTo>
                  <a:lnTo>
                    <a:pt x="1834" y="1062"/>
                  </a:lnTo>
                  <a:lnTo>
                    <a:pt x="1834" y="1062"/>
                  </a:lnTo>
                  <a:lnTo>
                    <a:pt x="1834" y="1062"/>
                  </a:lnTo>
                  <a:lnTo>
                    <a:pt x="1836" y="1057"/>
                  </a:lnTo>
                  <a:lnTo>
                    <a:pt x="1836" y="1057"/>
                  </a:lnTo>
                  <a:lnTo>
                    <a:pt x="1836" y="1057"/>
                  </a:lnTo>
                  <a:lnTo>
                    <a:pt x="1836" y="1055"/>
                  </a:lnTo>
                  <a:lnTo>
                    <a:pt x="1836" y="1055"/>
                  </a:lnTo>
                  <a:lnTo>
                    <a:pt x="1836" y="1052"/>
                  </a:lnTo>
                  <a:lnTo>
                    <a:pt x="1836" y="1052"/>
                  </a:lnTo>
                  <a:lnTo>
                    <a:pt x="1836" y="1052"/>
                  </a:lnTo>
                  <a:lnTo>
                    <a:pt x="1836" y="1052"/>
                  </a:lnTo>
                  <a:lnTo>
                    <a:pt x="1836" y="1052"/>
                  </a:lnTo>
                  <a:lnTo>
                    <a:pt x="1844" y="1052"/>
                  </a:lnTo>
                  <a:lnTo>
                    <a:pt x="1846" y="1052"/>
                  </a:lnTo>
                  <a:lnTo>
                    <a:pt x="1846" y="1050"/>
                  </a:lnTo>
                  <a:lnTo>
                    <a:pt x="1846" y="1050"/>
                  </a:lnTo>
                  <a:lnTo>
                    <a:pt x="1846" y="1048"/>
                  </a:lnTo>
                  <a:lnTo>
                    <a:pt x="1846" y="1048"/>
                  </a:lnTo>
                  <a:lnTo>
                    <a:pt x="1846" y="1045"/>
                  </a:lnTo>
                  <a:lnTo>
                    <a:pt x="1846" y="1045"/>
                  </a:lnTo>
                  <a:lnTo>
                    <a:pt x="1851" y="1040"/>
                  </a:lnTo>
                  <a:lnTo>
                    <a:pt x="1853" y="1038"/>
                  </a:lnTo>
                  <a:lnTo>
                    <a:pt x="1851" y="1033"/>
                  </a:lnTo>
                  <a:lnTo>
                    <a:pt x="1851" y="1033"/>
                  </a:lnTo>
                  <a:lnTo>
                    <a:pt x="1851" y="1031"/>
                  </a:lnTo>
                  <a:lnTo>
                    <a:pt x="1851" y="1031"/>
                  </a:lnTo>
                  <a:lnTo>
                    <a:pt x="1855" y="1026"/>
                  </a:lnTo>
                  <a:lnTo>
                    <a:pt x="1855" y="1026"/>
                  </a:lnTo>
                  <a:lnTo>
                    <a:pt x="1855" y="1024"/>
                  </a:lnTo>
                  <a:lnTo>
                    <a:pt x="1853" y="1022"/>
                  </a:lnTo>
                  <a:lnTo>
                    <a:pt x="1853" y="1019"/>
                  </a:lnTo>
                  <a:lnTo>
                    <a:pt x="1851" y="1019"/>
                  </a:lnTo>
                  <a:lnTo>
                    <a:pt x="1851" y="1017"/>
                  </a:lnTo>
                  <a:lnTo>
                    <a:pt x="1851" y="1017"/>
                  </a:lnTo>
                  <a:lnTo>
                    <a:pt x="1848" y="1014"/>
                  </a:lnTo>
                  <a:lnTo>
                    <a:pt x="1848" y="1014"/>
                  </a:lnTo>
                  <a:lnTo>
                    <a:pt x="1846" y="1014"/>
                  </a:lnTo>
                  <a:lnTo>
                    <a:pt x="1846" y="1012"/>
                  </a:lnTo>
                  <a:lnTo>
                    <a:pt x="1844" y="1014"/>
                  </a:lnTo>
                  <a:lnTo>
                    <a:pt x="1841" y="1017"/>
                  </a:lnTo>
                  <a:lnTo>
                    <a:pt x="1839" y="1022"/>
                  </a:lnTo>
                  <a:lnTo>
                    <a:pt x="1839" y="1022"/>
                  </a:lnTo>
                  <a:lnTo>
                    <a:pt x="1836" y="1024"/>
                  </a:lnTo>
                  <a:lnTo>
                    <a:pt x="1836" y="1024"/>
                  </a:lnTo>
                  <a:lnTo>
                    <a:pt x="1839" y="1026"/>
                  </a:lnTo>
                  <a:lnTo>
                    <a:pt x="1839" y="1026"/>
                  </a:lnTo>
                  <a:lnTo>
                    <a:pt x="1839" y="1026"/>
                  </a:lnTo>
                  <a:lnTo>
                    <a:pt x="1839" y="1026"/>
                  </a:lnTo>
                  <a:lnTo>
                    <a:pt x="1836" y="1029"/>
                  </a:lnTo>
                  <a:lnTo>
                    <a:pt x="1836" y="1029"/>
                  </a:lnTo>
                  <a:lnTo>
                    <a:pt x="1836" y="1031"/>
                  </a:lnTo>
                  <a:lnTo>
                    <a:pt x="1839" y="1031"/>
                  </a:lnTo>
                  <a:lnTo>
                    <a:pt x="1839" y="1031"/>
                  </a:lnTo>
                  <a:lnTo>
                    <a:pt x="1841" y="1033"/>
                  </a:lnTo>
                  <a:lnTo>
                    <a:pt x="1841" y="1033"/>
                  </a:lnTo>
                  <a:lnTo>
                    <a:pt x="1841" y="1033"/>
                  </a:lnTo>
                  <a:lnTo>
                    <a:pt x="1841" y="1033"/>
                  </a:lnTo>
                  <a:lnTo>
                    <a:pt x="1839" y="1031"/>
                  </a:lnTo>
                  <a:lnTo>
                    <a:pt x="1836" y="1031"/>
                  </a:lnTo>
                  <a:lnTo>
                    <a:pt x="1832" y="1033"/>
                  </a:lnTo>
                  <a:lnTo>
                    <a:pt x="1829" y="1038"/>
                  </a:lnTo>
                  <a:lnTo>
                    <a:pt x="1827" y="1038"/>
                  </a:lnTo>
                  <a:lnTo>
                    <a:pt x="1825" y="1043"/>
                  </a:lnTo>
                  <a:lnTo>
                    <a:pt x="1820" y="1045"/>
                  </a:lnTo>
                  <a:lnTo>
                    <a:pt x="1820" y="1048"/>
                  </a:lnTo>
                  <a:lnTo>
                    <a:pt x="1820" y="1050"/>
                  </a:lnTo>
                  <a:lnTo>
                    <a:pt x="1818" y="1050"/>
                  </a:lnTo>
                  <a:lnTo>
                    <a:pt x="1818" y="1052"/>
                  </a:lnTo>
                  <a:lnTo>
                    <a:pt x="1818" y="1052"/>
                  </a:lnTo>
                  <a:lnTo>
                    <a:pt x="1818" y="1055"/>
                  </a:lnTo>
                  <a:lnTo>
                    <a:pt x="1815" y="1055"/>
                  </a:lnTo>
                  <a:lnTo>
                    <a:pt x="1815" y="1055"/>
                  </a:lnTo>
                  <a:lnTo>
                    <a:pt x="1815" y="1057"/>
                  </a:lnTo>
                  <a:lnTo>
                    <a:pt x="1815" y="1057"/>
                  </a:lnTo>
                  <a:lnTo>
                    <a:pt x="1815" y="1057"/>
                  </a:lnTo>
                  <a:lnTo>
                    <a:pt x="1813" y="1057"/>
                  </a:lnTo>
                  <a:lnTo>
                    <a:pt x="1813" y="1057"/>
                  </a:lnTo>
                  <a:lnTo>
                    <a:pt x="1813" y="1057"/>
                  </a:lnTo>
                  <a:lnTo>
                    <a:pt x="1813" y="1057"/>
                  </a:lnTo>
                  <a:lnTo>
                    <a:pt x="1813" y="1057"/>
                  </a:lnTo>
                  <a:lnTo>
                    <a:pt x="1813" y="1057"/>
                  </a:lnTo>
                  <a:lnTo>
                    <a:pt x="1813" y="1057"/>
                  </a:lnTo>
                  <a:lnTo>
                    <a:pt x="1813" y="1055"/>
                  </a:lnTo>
                  <a:lnTo>
                    <a:pt x="1815" y="1055"/>
                  </a:lnTo>
                  <a:lnTo>
                    <a:pt x="1818" y="1052"/>
                  </a:lnTo>
                  <a:lnTo>
                    <a:pt x="1818" y="1052"/>
                  </a:lnTo>
                  <a:lnTo>
                    <a:pt x="1818" y="1048"/>
                  </a:lnTo>
                  <a:lnTo>
                    <a:pt x="1818" y="1048"/>
                  </a:lnTo>
                  <a:lnTo>
                    <a:pt x="1818" y="1048"/>
                  </a:lnTo>
                  <a:lnTo>
                    <a:pt x="1818" y="1048"/>
                  </a:lnTo>
                  <a:lnTo>
                    <a:pt x="1818" y="1045"/>
                  </a:lnTo>
                  <a:lnTo>
                    <a:pt x="1818" y="1045"/>
                  </a:lnTo>
                  <a:lnTo>
                    <a:pt x="1820" y="1043"/>
                  </a:lnTo>
                  <a:lnTo>
                    <a:pt x="1820" y="1040"/>
                  </a:lnTo>
                  <a:lnTo>
                    <a:pt x="1820" y="1040"/>
                  </a:lnTo>
                  <a:lnTo>
                    <a:pt x="1820" y="1040"/>
                  </a:lnTo>
                  <a:lnTo>
                    <a:pt x="1820" y="1040"/>
                  </a:lnTo>
                  <a:lnTo>
                    <a:pt x="1820" y="1040"/>
                  </a:lnTo>
                  <a:lnTo>
                    <a:pt x="1820" y="1040"/>
                  </a:lnTo>
                  <a:lnTo>
                    <a:pt x="1818" y="1040"/>
                  </a:lnTo>
                  <a:lnTo>
                    <a:pt x="1818" y="1038"/>
                  </a:lnTo>
                  <a:lnTo>
                    <a:pt x="1815" y="1038"/>
                  </a:lnTo>
                  <a:lnTo>
                    <a:pt x="1815" y="1038"/>
                  </a:lnTo>
                  <a:lnTo>
                    <a:pt x="1813" y="1043"/>
                  </a:lnTo>
                  <a:lnTo>
                    <a:pt x="1806" y="1045"/>
                  </a:lnTo>
                  <a:lnTo>
                    <a:pt x="1806" y="1045"/>
                  </a:lnTo>
                  <a:lnTo>
                    <a:pt x="1815" y="1038"/>
                  </a:lnTo>
                  <a:lnTo>
                    <a:pt x="1815" y="1038"/>
                  </a:lnTo>
                  <a:lnTo>
                    <a:pt x="1815" y="1038"/>
                  </a:lnTo>
                  <a:lnTo>
                    <a:pt x="1815" y="1036"/>
                  </a:lnTo>
                  <a:lnTo>
                    <a:pt x="1813" y="1036"/>
                  </a:lnTo>
                  <a:lnTo>
                    <a:pt x="1815" y="1033"/>
                  </a:lnTo>
                  <a:lnTo>
                    <a:pt x="1815" y="1033"/>
                  </a:lnTo>
                  <a:lnTo>
                    <a:pt x="1818" y="1031"/>
                  </a:lnTo>
                  <a:lnTo>
                    <a:pt x="1818" y="1031"/>
                  </a:lnTo>
                  <a:lnTo>
                    <a:pt x="1818" y="1029"/>
                  </a:lnTo>
                  <a:lnTo>
                    <a:pt x="1818" y="1029"/>
                  </a:lnTo>
                  <a:lnTo>
                    <a:pt x="1818" y="1029"/>
                  </a:lnTo>
                  <a:lnTo>
                    <a:pt x="1818" y="1026"/>
                  </a:lnTo>
                  <a:lnTo>
                    <a:pt x="1818" y="1026"/>
                  </a:lnTo>
                  <a:lnTo>
                    <a:pt x="1818" y="1026"/>
                  </a:lnTo>
                  <a:lnTo>
                    <a:pt x="1815" y="1026"/>
                  </a:lnTo>
                  <a:lnTo>
                    <a:pt x="1815" y="1024"/>
                  </a:lnTo>
                  <a:lnTo>
                    <a:pt x="1818" y="1024"/>
                  </a:lnTo>
                  <a:lnTo>
                    <a:pt x="1818" y="1024"/>
                  </a:lnTo>
                  <a:lnTo>
                    <a:pt x="1818" y="1022"/>
                  </a:lnTo>
                  <a:lnTo>
                    <a:pt x="1818" y="1022"/>
                  </a:lnTo>
                  <a:lnTo>
                    <a:pt x="1820" y="1019"/>
                  </a:lnTo>
                  <a:lnTo>
                    <a:pt x="1820" y="1019"/>
                  </a:lnTo>
                  <a:lnTo>
                    <a:pt x="1825" y="1019"/>
                  </a:lnTo>
                  <a:lnTo>
                    <a:pt x="1827" y="1022"/>
                  </a:lnTo>
                  <a:lnTo>
                    <a:pt x="1829" y="1022"/>
                  </a:lnTo>
                  <a:lnTo>
                    <a:pt x="1832" y="1019"/>
                  </a:lnTo>
                  <a:lnTo>
                    <a:pt x="1832" y="1019"/>
                  </a:lnTo>
                  <a:lnTo>
                    <a:pt x="1832" y="1014"/>
                  </a:lnTo>
                  <a:lnTo>
                    <a:pt x="1832" y="1012"/>
                  </a:lnTo>
                  <a:lnTo>
                    <a:pt x="1832" y="1012"/>
                  </a:lnTo>
                  <a:lnTo>
                    <a:pt x="1832" y="1012"/>
                  </a:lnTo>
                  <a:lnTo>
                    <a:pt x="1834" y="1010"/>
                  </a:lnTo>
                  <a:lnTo>
                    <a:pt x="1834" y="1007"/>
                  </a:lnTo>
                  <a:lnTo>
                    <a:pt x="1834" y="1005"/>
                  </a:lnTo>
                  <a:lnTo>
                    <a:pt x="1834" y="1003"/>
                  </a:lnTo>
                  <a:lnTo>
                    <a:pt x="1829" y="998"/>
                  </a:lnTo>
                  <a:lnTo>
                    <a:pt x="1827" y="996"/>
                  </a:lnTo>
                  <a:lnTo>
                    <a:pt x="1825" y="996"/>
                  </a:lnTo>
                  <a:lnTo>
                    <a:pt x="1825" y="993"/>
                  </a:lnTo>
                  <a:lnTo>
                    <a:pt x="1825" y="993"/>
                  </a:lnTo>
                  <a:lnTo>
                    <a:pt x="1822" y="991"/>
                  </a:lnTo>
                  <a:lnTo>
                    <a:pt x="1822" y="991"/>
                  </a:lnTo>
                  <a:lnTo>
                    <a:pt x="1820" y="991"/>
                  </a:lnTo>
                  <a:lnTo>
                    <a:pt x="1820" y="991"/>
                  </a:lnTo>
                  <a:lnTo>
                    <a:pt x="1815" y="991"/>
                  </a:lnTo>
                  <a:lnTo>
                    <a:pt x="1810" y="988"/>
                  </a:lnTo>
                  <a:lnTo>
                    <a:pt x="1806" y="986"/>
                  </a:lnTo>
                  <a:lnTo>
                    <a:pt x="1799" y="986"/>
                  </a:lnTo>
                  <a:lnTo>
                    <a:pt x="1796" y="986"/>
                  </a:lnTo>
                  <a:lnTo>
                    <a:pt x="1796" y="986"/>
                  </a:lnTo>
                  <a:lnTo>
                    <a:pt x="1796" y="986"/>
                  </a:lnTo>
                  <a:lnTo>
                    <a:pt x="1796" y="986"/>
                  </a:lnTo>
                  <a:lnTo>
                    <a:pt x="1796" y="988"/>
                  </a:lnTo>
                  <a:lnTo>
                    <a:pt x="1796" y="988"/>
                  </a:lnTo>
                  <a:lnTo>
                    <a:pt x="1796" y="988"/>
                  </a:lnTo>
                  <a:lnTo>
                    <a:pt x="1796" y="991"/>
                  </a:lnTo>
                  <a:lnTo>
                    <a:pt x="1796" y="991"/>
                  </a:lnTo>
                  <a:lnTo>
                    <a:pt x="1796" y="993"/>
                  </a:lnTo>
                  <a:lnTo>
                    <a:pt x="1794" y="996"/>
                  </a:lnTo>
                  <a:lnTo>
                    <a:pt x="1791" y="998"/>
                  </a:lnTo>
                  <a:lnTo>
                    <a:pt x="1791" y="998"/>
                  </a:lnTo>
                  <a:lnTo>
                    <a:pt x="1791" y="998"/>
                  </a:lnTo>
                  <a:lnTo>
                    <a:pt x="1794" y="998"/>
                  </a:lnTo>
                  <a:lnTo>
                    <a:pt x="1794" y="1000"/>
                  </a:lnTo>
                  <a:lnTo>
                    <a:pt x="1794" y="1000"/>
                  </a:lnTo>
                  <a:lnTo>
                    <a:pt x="1794" y="1000"/>
                  </a:lnTo>
                  <a:lnTo>
                    <a:pt x="1794" y="1000"/>
                  </a:lnTo>
                  <a:lnTo>
                    <a:pt x="1796" y="1003"/>
                  </a:lnTo>
                  <a:lnTo>
                    <a:pt x="1794" y="1003"/>
                  </a:lnTo>
                  <a:lnTo>
                    <a:pt x="1791" y="1005"/>
                  </a:lnTo>
                  <a:lnTo>
                    <a:pt x="1791" y="1005"/>
                  </a:lnTo>
                  <a:lnTo>
                    <a:pt x="1791" y="1007"/>
                  </a:lnTo>
                  <a:lnTo>
                    <a:pt x="1791" y="1007"/>
                  </a:lnTo>
                  <a:lnTo>
                    <a:pt x="1791" y="1010"/>
                  </a:lnTo>
                  <a:lnTo>
                    <a:pt x="1791" y="1010"/>
                  </a:lnTo>
                  <a:lnTo>
                    <a:pt x="1794" y="1012"/>
                  </a:lnTo>
                  <a:lnTo>
                    <a:pt x="1794" y="1012"/>
                  </a:lnTo>
                  <a:lnTo>
                    <a:pt x="1794" y="1014"/>
                  </a:lnTo>
                  <a:lnTo>
                    <a:pt x="1794" y="1014"/>
                  </a:lnTo>
                  <a:lnTo>
                    <a:pt x="1794" y="1017"/>
                  </a:lnTo>
                  <a:lnTo>
                    <a:pt x="1794" y="1017"/>
                  </a:lnTo>
                  <a:lnTo>
                    <a:pt x="1794" y="1017"/>
                  </a:lnTo>
                  <a:lnTo>
                    <a:pt x="1791" y="1019"/>
                  </a:lnTo>
                  <a:lnTo>
                    <a:pt x="1791" y="1019"/>
                  </a:lnTo>
                  <a:lnTo>
                    <a:pt x="1789" y="1019"/>
                  </a:lnTo>
                  <a:lnTo>
                    <a:pt x="1789" y="1022"/>
                  </a:lnTo>
                  <a:lnTo>
                    <a:pt x="1789" y="1022"/>
                  </a:lnTo>
                  <a:lnTo>
                    <a:pt x="1791" y="1022"/>
                  </a:lnTo>
                  <a:lnTo>
                    <a:pt x="1791" y="1024"/>
                  </a:lnTo>
                  <a:lnTo>
                    <a:pt x="1791" y="1024"/>
                  </a:lnTo>
                  <a:lnTo>
                    <a:pt x="1791" y="1026"/>
                  </a:lnTo>
                  <a:lnTo>
                    <a:pt x="1789" y="1026"/>
                  </a:lnTo>
                  <a:lnTo>
                    <a:pt x="1789" y="1029"/>
                  </a:lnTo>
                  <a:lnTo>
                    <a:pt x="1789" y="1029"/>
                  </a:lnTo>
                  <a:lnTo>
                    <a:pt x="1789" y="1031"/>
                  </a:lnTo>
                  <a:lnTo>
                    <a:pt x="1789" y="1031"/>
                  </a:lnTo>
                  <a:lnTo>
                    <a:pt x="1787" y="1033"/>
                  </a:lnTo>
                  <a:lnTo>
                    <a:pt x="1787" y="1033"/>
                  </a:lnTo>
                  <a:lnTo>
                    <a:pt x="1789" y="1036"/>
                  </a:lnTo>
                  <a:lnTo>
                    <a:pt x="1789" y="1038"/>
                  </a:lnTo>
                  <a:lnTo>
                    <a:pt x="1789" y="1036"/>
                  </a:lnTo>
                  <a:lnTo>
                    <a:pt x="1787" y="1033"/>
                  </a:lnTo>
                  <a:lnTo>
                    <a:pt x="1787" y="1033"/>
                  </a:lnTo>
                  <a:lnTo>
                    <a:pt x="1787" y="1033"/>
                  </a:lnTo>
                  <a:lnTo>
                    <a:pt x="1789" y="1031"/>
                  </a:lnTo>
                  <a:lnTo>
                    <a:pt x="1789" y="1029"/>
                  </a:lnTo>
                  <a:lnTo>
                    <a:pt x="1789" y="1026"/>
                  </a:lnTo>
                  <a:lnTo>
                    <a:pt x="1789" y="1024"/>
                  </a:lnTo>
                  <a:lnTo>
                    <a:pt x="1789" y="1024"/>
                  </a:lnTo>
                  <a:lnTo>
                    <a:pt x="1789" y="1022"/>
                  </a:lnTo>
                  <a:lnTo>
                    <a:pt x="1787" y="1022"/>
                  </a:lnTo>
                  <a:lnTo>
                    <a:pt x="1787" y="1019"/>
                  </a:lnTo>
                  <a:lnTo>
                    <a:pt x="1789" y="1017"/>
                  </a:lnTo>
                  <a:lnTo>
                    <a:pt x="1791" y="1014"/>
                  </a:lnTo>
                  <a:lnTo>
                    <a:pt x="1791" y="1014"/>
                  </a:lnTo>
                  <a:lnTo>
                    <a:pt x="1791" y="1014"/>
                  </a:lnTo>
                  <a:lnTo>
                    <a:pt x="1789" y="1014"/>
                  </a:lnTo>
                  <a:lnTo>
                    <a:pt x="1789" y="1014"/>
                  </a:lnTo>
                  <a:lnTo>
                    <a:pt x="1789" y="1014"/>
                  </a:lnTo>
                  <a:lnTo>
                    <a:pt x="1789" y="1014"/>
                  </a:lnTo>
                  <a:lnTo>
                    <a:pt x="1789" y="1014"/>
                  </a:lnTo>
                  <a:lnTo>
                    <a:pt x="1787" y="1012"/>
                  </a:lnTo>
                  <a:lnTo>
                    <a:pt x="1784" y="1012"/>
                  </a:lnTo>
                  <a:lnTo>
                    <a:pt x="1782" y="1012"/>
                  </a:lnTo>
                  <a:lnTo>
                    <a:pt x="1782" y="1012"/>
                  </a:lnTo>
                  <a:lnTo>
                    <a:pt x="1782" y="1014"/>
                  </a:lnTo>
                  <a:lnTo>
                    <a:pt x="1782" y="1014"/>
                  </a:lnTo>
                  <a:lnTo>
                    <a:pt x="1782" y="1014"/>
                  </a:lnTo>
                  <a:lnTo>
                    <a:pt x="1782" y="1014"/>
                  </a:lnTo>
                  <a:lnTo>
                    <a:pt x="1782" y="1017"/>
                  </a:lnTo>
                  <a:lnTo>
                    <a:pt x="1780" y="1017"/>
                  </a:lnTo>
                  <a:lnTo>
                    <a:pt x="1780" y="1017"/>
                  </a:lnTo>
                  <a:lnTo>
                    <a:pt x="1780" y="1017"/>
                  </a:lnTo>
                  <a:lnTo>
                    <a:pt x="1780" y="1019"/>
                  </a:lnTo>
                  <a:lnTo>
                    <a:pt x="1780" y="1022"/>
                  </a:lnTo>
                  <a:lnTo>
                    <a:pt x="1780" y="1022"/>
                  </a:lnTo>
                  <a:lnTo>
                    <a:pt x="1780" y="1022"/>
                  </a:lnTo>
                  <a:lnTo>
                    <a:pt x="1780" y="1022"/>
                  </a:lnTo>
                  <a:lnTo>
                    <a:pt x="1780" y="1024"/>
                  </a:lnTo>
                  <a:lnTo>
                    <a:pt x="1780" y="1024"/>
                  </a:lnTo>
                  <a:lnTo>
                    <a:pt x="1780" y="1024"/>
                  </a:lnTo>
                  <a:lnTo>
                    <a:pt x="1780" y="1026"/>
                  </a:lnTo>
                  <a:lnTo>
                    <a:pt x="1780" y="1029"/>
                  </a:lnTo>
                  <a:lnTo>
                    <a:pt x="1780" y="1031"/>
                  </a:lnTo>
                  <a:lnTo>
                    <a:pt x="1780" y="1031"/>
                  </a:lnTo>
                  <a:lnTo>
                    <a:pt x="1780" y="1033"/>
                  </a:lnTo>
                  <a:lnTo>
                    <a:pt x="1780" y="1033"/>
                  </a:lnTo>
                  <a:lnTo>
                    <a:pt x="1777" y="1033"/>
                  </a:lnTo>
                  <a:lnTo>
                    <a:pt x="1777" y="1033"/>
                  </a:lnTo>
                  <a:lnTo>
                    <a:pt x="1777" y="1036"/>
                  </a:lnTo>
                  <a:lnTo>
                    <a:pt x="1777" y="1036"/>
                  </a:lnTo>
                  <a:lnTo>
                    <a:pt x="1777" y="1036"/>
                  </a:lnTo>
                  <a:lnTo>
                    <a:pt x="1777" y="1033"/>
                  </a:lnTo>
                  <a:lnTo>
                    <a:pt x="1780" y="1031"/>
                  </a:lnTo>
                  <a:lnTo>
                    <a:pt x="1780" y="1029"/>
                  </a:lnTo>
                  <a:lnTo>
                    <a:pt x="1780" y="1029"/>
                  </a:lnTo>
                  <a:lnTo>
                    <a:pt x="1780" y="1026"/>
                  </a:lnTo>
                  <a:lnTo>
                    <a:pt x="1777" y="1026"/>
                  </a:lnTo>
                  <a:lnTo>
                    <a:pt x="1777" y="1024"/>
                  </a:lnTo>
                  <a:lnTo>
                    <a:pt x="1780" y="1024"/>
                  </a:lnTo>
                  <a:lnTo>
                    <a:pt x="1780" y="1024"/>
                  </a:lnTo>
                  <a:lnTo>
                    <a:pt x="1777" y="1022"/>
                  </a:lnTo>
                  <a:lnTo>
                    <a:pt x="1777" y="1022"/>
                  </a:lnTo>
                  <a:lnTo>
                    <a:pt x="1777" y="1022"/>
                  </a:lnTo>
                  <a:lnTo>
                    <a:pt x="1777" y="1022"/>
                  </a:lnTo>
                  <a:lnTo>
                    <a:pt x="1777" y="1022"/>
                  </a:lnTo>
                  <a:lnTo>
                    <a:pt x="1777" y="1019"/>
                  </a:lnTo>
                  <a:lnTo>
                    <a:pt x="1777" y="1017"/>
                  </a:lnTo>
                  <a:lnTo>
                    <a:pt x="1780" y="1014"/>
                  </a:lnTo>
                  <a:lnTo>
                    <a:pt x="1780" y="1014"/>
                  </a:lnTo>
                  <a:lnTo>
                    <a:pt x="1780" y="1012"/>
                  </a:lnTo>
                  <a:lnTo>
                    <a:pt x="1780" y="1012"/>
                  </a:lnTo>
                  <a:lnTo>
                    <a:pt x="1780" y="1012"/>
                  </a:lnTo>
                  <a:lnTo>
                    <a:pt x="1780" y="1012"/>
                  </a:lnTo>
                  <a:lnTo>
                    <a:pt x="1780" y="1012"/>
                  </a:lnTo>
                  <a:lnTo>
                    <a:pt x="1780" y="1010"/>
                  </a:lnTo>
                  <a:lnTo>
                    <a:pt x="1780" y="1010"/>
                  </a:lnTo>
                  <a:lnTo>
                    <a:pt x="1780" y="1010"/>
                  </a:lnTo>
                  <a:lnTo>
                    <a:pt x="1782" y="1010"/>
                  </a:lnTo>
                  <a:lnTo>
                    <a:pt x="1782" y="1010"/>
                  </a:lnTo>
                  <a:lnTo>
                    <a:pt x="1782" y="1010"/>
                  </a:lnTo>
                  <a:lnTo>
                    <a:pt x="1782" y="1007"/>
                  </a:lnTo>
                  <a:lnTo>
                    <a:pt x="1782" y="1007"/>
                  </a:lnTo>
                  <a:lnTo>
                    <a:pt x="1780" y="1007"/>
                  </a:lnTo>
                  <a:lnTo>
                    <a:pt x="1780" y="1005"/>
                  </a:lnTo>
                  <a:lnTo>
                    <a:pt x="1780" y="1005"/>
                  </a:lnTo>
                  <a:lnTo>
                    <a:pt x="1780" y="1005"/>
                  </a:lnTo>
                  <a:lnTo>
                    <a:pt x="1780" y="1007"/>
                  </a:lnTo>
                  <a:lnTo>
                    <a:pt x="1780" y="1007"/>
                  </a:lnTo>
                  <a:lnTo>
                    <a:pt x="1780" y="1007"/>
                  </a:lnTo>
                  <a:lnTo>
                    <a:pt x="1780" y="1010"/>
                  </a:lnTo>
                  <a:lnTo>
                    <a:pt x="1780" y="1010"/>
                  </a:lnTo>
                  <a:lnTo>
                    <a:pt x="1780" y="1010"/>
                  </a:lnTo>
                  <a:lnTo>
                    <a:pt x="1777" y="1012"/>
                  </a:lnTo>
                  <a:lnTo>
                    <a:pt x="1777" y="1012"/>
                  </a:lnTo>
                  <a:lnTo>
                    <a:pt x="1777" y="1010"/>
                  </a:lnTo>
                  <a:lnTo>
                    <a:pt x="1777" y="1010"/>
                  </a:lnTo>
                  <a:lnTo>
                    <a:pt x="1777" y="1010"/>
                  </a:lnTo>
                  <a:lnTo>
                    <a:pt x="1775" y="1007"/>
                  </a:lnTo>
                  <a:lnTo>
                    <a:pt x="1775" y="1007"/>
                  </a:lnTo>
                  <a:lnTo>
                    <a:pt x="1775" y="1005"/>
                  </a:lnTo>
                  <a:lnTo>
                    <a:pt x="1775" y="1003"/>
                  </a:lnTo>
                  <a:lnTo>
                    <a:pt x="1775" y="1000"/>
                  </a:lnTo>
                  <a:lnTo>
                    <a:pt x="1775" y="1000"/>
                  </a:lnTo>
                  <a:lnTo>
                    <a:pt x="1775" y="1000"/>
                  </a:lnTo>
                  <a:lnTo>
                    <a:pt x="1775" y="998"/>
                  </a:lnTo>
                  <a:lnTo>
                    <a:pt x="1773" y="996"/>
                  </a:lnTo>
                  <a:lnTo>
                    <a:pt x="1773" y="996"/>
                  </a:lnTo>
                  <a:lnTo>
                    <a:pt x="1773" y="996"/>
                  </a:lnTo>
                  <a:lnTo>
                    <a:pt x="1770" y="998"/>
                  </a:lnTo>
                  <a:lnTo>
                    <a:pt x="1770" y="998"/>
                  </a:lnTo>
                  <a:lnTo>
                    <a:pt x="1770" y="1000"/>
                  </a:lnTo>
                  <a:lnTo>
                    <a:pt x="1770" y="1000"/>
                  </a:lnTo>
                  <a:lnTo>
                    <a:pt x="1768" y="1000"/>
                  </a:lnTo>
                  <a:lnTo>
                    <a:pt x="1768" y="1003"/>
                  </a:lnTo>
                  <a:lnTo>
                    <a:pt x="1770" y="1003"/>
                  </a:lnTo>
                  <a:lnTo>
                    <a:pt x="1770" y="1003"/>
                  </a:lnTo>
                  <a:lnTo>
                    <a:pt x="1768" y="1005"/>
                  </a:lnTo>
                  <a:lnTo>
                    <a:pt x="1770" y="1005"/>
                  </a:lnTo>
                  <a:lnTo>
                    <a:pt x="1770" y="1005"/>
                  </a:lnTo>
                  <a:lnTo>
                    <a:pt x="1770" y="1007"/>
                  </a:lnTo>
                  <a:lnTo>
                    <a:pt x="1770" y="1007"/>
                  </a:lnTo>
                  <a:lnTo>
                    <a:pt x="1770" y="1007"/>
                  </a:lnTo>
                  <a:lnTo>
                    <a:pt x="1770" y="1007"/>
                  </a:lnTo>
                  <a:lnTo>
                    <a:pt x="1768" y="1010"/>
                  </a:lnTo>
                  <a:lnTo>
                    <a:pt x="1768" y="1010"/>
                  </a:lnTo>
                  <a:lnTo>
                    <a:pt x="1768" y="1014"/>
                  </a:lnTo>
                  <a:lnTo>
                    <a:pt x="1768" y="1014"/>
                  </a:lnTo>
                  <a:lnTo>
                    <a:pt x="1770" y="1014"/>
                  </a:lnTo>
                  <a:lnTo>
                    <a:pt x="1770" y="1017"/>
                  </a:lnTo>
                  <a:lnTo>
                    <a:pt x="1770" y="1017"/>
                  </a:lnTo>
                  <a:lnTo>
                    <a:pt x="1768" y="1024"/>
                  </a:lnTo>
                  <a:lnTo>
                    <a:pt x="1765" y="1026"/>
                  </a:lnTo>
                  <a:lnTo>
                    <a:pt x="1765" y="1026"/>
                  </a:lnTo>
                  <a:lnTo>
                    <a:pt x="1765" y="1026"/>
                  </a:lnTo>
                  <a:lnTo>
                    <a:pt x="1768" y="1024"/>
                  </a:lnTo>
                  <a:lnTo>
                    <a:pt x="1768" y="1022"/>
                  </a:lnTo>
                  <a:lnTo>
                    <a:pt x="1768" y="1022"/>
                  </a:lnTo>
                  <a:lnTo>
                    <a:pt x="1768" y="1019"/>
                  </a:lnTo>
                  <a:lnTo>
                    <a:pt x="1768" y="1019"/>
                  </a:lnTo>
                  <a:lnTo>
                    <a:pt x="1768" y="1019"/>
                  </a:lnTo>
                  <a:lnTo>
                    <a:pt x="1768" y="1019"/>
                  </a:lnTo>
                  <a:lnTo>
                    <a:pt x="1765" y="1019"/>
                  </a:lnTo>
                  <a:lnTo>
                    <a:pt x="1765" y="1019"/>
                  </a:lnTo>
                  <a:lnTo>
                    <a:pt x="1768" y="1017"/>
                  </a:lnTo>
                  <a:lnTo>
                    <a:pt x="1768" y="1017"/>
                  </a:lnTo>
                  <a:lnTo>
                    <a:pt x="1768" y="1014"/>
                  </a:lnTo>
                  <a:lnTo>
                    <a:pt x="1768" y="1014"/>
                  </a:lnTo>
                  <a:lnTo>
                    <a:pt x="1768" y="1012"/>
                  </a:lnTo>
                  <a:lnTo>
                    <a:pt x="1768" y="1012"/>
                  </a:lnTo>
                  <a:lnTo>
                    <a:pt x="1765" y="1012"/>
                  </a:lnTo>
                  <a:lnTo>
                    <a:pt x="1768" y="1010"/>
                  </a:lnTo>
                  <a:lnTo>
                    <a:pt x="1768" y="1010"/>
                  </a:lnTo>
                  <a:lnTo>
                    <a:pt x="1768" y="1010"/>
                  </a:lnTo>
                  <a:lnTo>
                    <a:pt x="1763" y="1010"/>
                  </a:lnTo>
                  <a:lnTo>
                    <a:pt x="1763" y="1012"/>
                  </a:lnTo>
                  <a:lnTo>
                    <a:pt x="1761" y="1012"/>
                  </a:lnTo>
                  <a:lnTo>
                    <a:pt x="1761" y="1012"/>
                  </a:lnTo>
                  <a:lnTo>
                    <a:pt x="1761" y="1010"/>
                  </a:lnTo>
                  <a:lnTo>
                    <a:pt x="1763" y="1010"/>
                  </a:lnTo>
                  <a:lnTo>
                    <a:pt x="1763" y="1010"/>
                  </a:lnTo>
                  <a:lnTo>
                    <a:pt x="1763" y="1010"/>
                  </a:lnTo>
                  <a:lnTo>
                    <a:pt x="1765" y="1007"/>
                  </a:lnTo>
                  <a:lnTo>
                    <a:pt x="1765" y="1007"/>
                  </a:lnTo>
                  <a:lnTo>
                    <a:pt x="1768" y="1007"/>
                  </a:lnTo>
                  <a:lnTo>
                    <a:pt x="1768" y="1007"/>
                  </a:lnTo>
                  <a:lnTo>
                    <a:pt x="1768" y="1005"/>
                  </a:lnTo>
                  <a:lnTo>
                    <a:pt x="1768" y="1005"/>
                  </a:lnTo>
                  <a:lnTo>
                    <a:pt x="1768" y="1005"/>
                  </a:lnTo>
                  <a:lnTo>
                    <a:pt x="1765" y="1005"/>
                  </a:lnTo>
                  <a:lnTo>
                    <a:pt x="1765" y="1005"/>
                  </a:lnTo>
                  <a:lnTo>
                    <a:pt x="1765" y="1005"/>
                  </a:lnTo>
                  <a:lnTo>
                    <a:pt x="1765" y="1003"/>
                  </a:lnTo>
                  <a:lnTo>
                    <a:pt x="1765" y="1003"/>
                  </a:lnTo>
                  <a:lnTo>
                    <a:pt x="1765" y="1000"/>
                  </a:lnTo>
                  <a:lnTo>
                    <a:pt x="1765" y="1000"/>
                  </a:lnTo>
                  <a:lnTo>
                    <a:pt x="1768" y="1000"/>
                  </a:lnTo>
                  <a:lnTo>
                    <a:pt x="1768" y="998"/>
                  </a:lnTo>
                  <a:lnTo>
                    <a:pt x="1768" y="998"/>
                  </a:lnTo>
                  <a:lnTo>
                    <a:pt x="1768" y="996"/>
                  </a:lnTo>
                  <a:lnTo>
                    <a:pt x="1768" y="996"/>
                  </a:lnTo>
                  <a:lnTo>
                    <a:pt x="1768" y="996"/>
                  </a:lnTo>
                  <a:lnTo>
                    <a:pt x="1768" y="996"/>
                  </a:lnTo>
                  <a:lnTo>
                    <a:pt x="1768" y="993"/>
                  </a:lnTo>
                  <a:lnTo>
                    <a:pt x="1768" y="993"/>
                  </a:lnTo>
                  <a:lnTo>
                    <a:pt x="1768" y="993"/>
                  </a:lnTo>
                  <a:lnTo>
                    <a:pt x="1768" y="993"/>
                  </a:lnTo>
                  <a:lnTo>
                    <a:pt x="1768" y="993"/>
                  </a:lnTo>
                  <a:lnTo>
                    <a:pt x="1768" y="991"/>
                  </a:lnTo>
                  <a:lnTo>
                    <a:pt x="1770" y="988"/>
                  </a:lnTo>
                  <a:lnTo>
                    <a:pt x="1770" y="986"/>
                  </a:lnTo>
                  <a:lnTo>
                    <a:pt x="1770" y="986"/>
                  </a:lnTo>
                  <a:lnTo>
                    <a:pt x="1770" y="984"/>
                  </a:lnTo>
                  <a:lnTo>
                    <a:pt x="1770" y="984"/>
                  </a:lnTo>
                  <a:lnTo>
                    <a:pt x="1770" y="984"/>
                  </a:lnTo>
                  <a:lnTo>
                    <a:pt x="1770" y="986"/>
                  </a:lnTo>
                  <a:lnTo>
                    <a:pt x="1770" y="988"/>
                  </a:lnTo>
                  <a:lnTo>
                    <a:pt x="1770" y="986"/>
                  </a:lnTo>
                  <a:lnTo>
                    <a:pt x="1770" y="986"/>
                  </a:lnTo>
                  <a:lnTo>
                    <a:pt x="1770" y="984"/>
                  </a:lnTo>
                  <a:lnTo>
                    <a:pt x="1768" y="984"/>
                  </a:lnTo>
                  <a:lnTo>
                    <a:pt x="1768" y="984"/>
                  </a:lnTo>
                  <a:lnTo>
                    <a:pt x="1763" y="984"/>
                  </a:lnTo>
                  <a:lnTo>
                    <a:pt x="1763" y="986"/>
                  </a:lnTo>
                  <a:lnTo>
                    <a:pt x="1761" y="991"/>
                  </a:lnTo>
                  <a:lnTo>
                    <a:pt x="1761" y="993"/>
                  </a:lnTo>
                  <a:lnTo>
                    <a:pt x="1761" y="996"/>
                  </a:lnTo>
                  <a:lnTo>
                    <a:pt x="1761" y="996"/>
                  </a:lnTo>
                  <a:lnTo>
                    <a:pt x="1761" y="996"/>
                  </a:lnTo>
                  <a:lnTo>
                    <a:pt x="1761" y="998"/>
                  </a:lnTo>
                  <a:lnTo>
                    <a:pt x="1761" y="1000"/>
                  </a:lnTo>
                  <a:lnTo>
                    <a:pt x="1763" y="1003"/>
                  </a:lnTo>
                  <a:lnTo>
                    <a:pt x="1763" y="1003"/>
                  </a:lnTo>
                  <a:lnTo>
                    <a:pt x="1761" y="1003"/>
                  </a:lnTo>
                  <a:lnTo>
                    <a:pt x="1761" y="1000"/>
                  </a:lnTo>
                  <a:lnTo>
                    <a:pt x="1761" y="1000"/>
                  </a:lnTo>
                  <a:lnTo>
                    <a:pt x="1758" y="998"/>
                  </a:lnTo>
                  <a:lnTo>
                    <a:pt x="1758" y="998"/>
                  </a:lnTo>
                  <a:lnTo>
                    <a:pt x="1758" y="996"/>
                  </a:lnTo>
                  <a:lnTo>
                    <a:pt x="1761" y="996"/>
                  </a:lnTo>
                  <a:lnTo>
                    <a:pt x="1761" y="993"/>
                  </a:lnTo>
                  <a:lnTo>
                    <a:pt x="1761" y="993"/>
                  </a:lnTo>
                  <a:lnTo>
                    <a:pt x="1761" y="991"/>
                  </a:lnTo>
                  <a:lnTo>
                    <a:pt x="1761" y="991"/>
                  </a:lnTo>
                  <a:lnTo>
                    <a:pt x="1761" y="988"/>
                  </a:lnTo>
                  <a:lnTo>
                    <a:pt x="1761" y="988"/>
                  </a:lnTo>
                  <a:lnTo>
                    <a:pt x="1761" y="988"/>
                  </a:lnTo>
                  <a:lnTo>
                    <a:pt x="1761" y="988"/>
                  </a:lnTo>
                  <a:lnTo>
                    <a:pt x="1761" y="988"/>
                  </a:lnTo>
                  <a:lnTo>
                    <a:pt x="1761" y="988"/>
                  </a:lnTo>
                  <a:lnTo>
                    <a:pt x="1758" y="988"/>
                  </a:lnTo>
                  <a:lnTo>
                    <a:pt x="1756" y="988"/>
                  </a:lnTo>
                  <a:lnTo>
                    <a:pt x="1756" y="991"/>
                  </a:lnTo>
                  <a:lnTo>
                    <a:pt x="1756" y="991"/>
                  </a:lnTo>
                  <a:lnTo>
                    <a:pt x="1754" y="996"/>
                  </a:lnTo>
                  <a:lnTo>
                    <a:pt x="1754" y="996"/>
                  </a:lnTo>
                  <a:lnTo>
                    <a:pt x="1751" y="996"/>
                  </a:lnTo>
                  <a:lnTo>
                    <a:pt x="1751" y="996"/>
                  </a:lnTo>
                  <a:lnTo>
                    <a:pt x="1751" y="998"/>
                  </a:lnTo>
                  <a:lnTo>
                    <a:pt x="1751" y="1003"/>
                  </a:lnTo>
                  <a:lnTo>
                    <a:pt x="1751" y="1003"/>
                  </a:lnTo>
                  <a:lnTo>
                    <a:pt x="1751" y="1005"/>
                  </a:lnTo>
                  <a:lnTo>
                    <a:pt x="1751" y="1005"/>
                  </a:lnTo>
                  <a:lnTo>
                    <a:pt x="1749" y="1005"/>
                  </a:lnTo>
                  <a:lnTo>
                    <a:pt x="1749" y="1007"/>
                  </a:lnTo>
                  <a:lnTo>
                    <a:pt x="1751" y="1010"/>
                  </a:lnTo>
                  <a:lnTo>
                    <a:pt x="1751" y="1012"/>
                  </a:lnTo>
                  <a:lnTo>
                    <a:pt x="1754" y="1012"/>
                  </a:lnTo>
                  <a:lnTo>
                    <a:pt x="1754" y="1014"/>
                  </a:lnTo>
                  <a:lnTo>
                    <a:pt x="1754" y="1014"/>
                  </a:lnTo>
                  <a:lnTo>
                    <a:pt x="1754" y="1017"/>
                  </a:lnTo>
                  <a:lnTo>
                    <a:pt x="1754" y="1019"/>
                  </a:lnTo>
                  <a:lnTo>
                    <a:pt x="1754" y="1022"/>
                  </a:lnTo>
                  <a:lnTo>
                    <a:pt x="1751" y="1024"/>
                  </a:lnTo>
                  <a:lnTo>
                    <a:pt x="1751" y="1026"/>
                  </a:lnTo>
                  <a:lnTo>
                    <a:pt x="1751" y="1026"/>
                  </a:lnTo>
                  <a:lnTo>
                    <a:pt x="1749" y="1031"/>
                  </a:lnTo>
                  <a:lnTo>
                    <a:pt x="1747" y="1033"/>
                  </a:lnTo>
                  <a:lnTo>
                    <a:pt x="1747" y="1031"/>
                  </a:lnTo>
                  <a:lnTo>
                    <a:pt x="1747" y="1031"/>
                  </a:lnTo>
                  <a:lnTo>
                    <a:pt x="1749" y="1029"/>
                  </a:lnTo>
                  <a:lnTo>
                    <a:pt x="1749" y="1029"/>
                  </a:lnTo>
                  <a:lnTo>
                    <a:pt x="1749" y="1029"/>
                  </a:lnTo>
                  <a:lnTo>
                    <a:pt x="1749" y="1029"/>
                  </a:lnTo>
                  <a:lnTo>
                    <a:pt x="1749" y="1029"/>
                  </a:lnTo>
                  <a:lnTo>
                    <a:pt x="1749" y="1026"/>
                  </a:lnTo>
                  <a:lnTo>
                    <a:pt x="1749" y="1026"/>
                  </a:lnTo>
                  <a:lnTo>
                    <a:pt x="1749" y="1026"/>
                  </a:lnTo>
                  <a:lnTo>
                    <a:pt x="1749" y="1026"/>
                  </a:lnTo>
                  <a:lnTo>
                    <a:pt x="1749" y="1024"/>
                  </a:lnTo>
                  <a:lnTo>
                    <a:pt x="1751" y="1024"/>
                  </a:lnTo>
                  <a:lnTo>
                    <a:pt x="1751" y="1022"/>
                  </a:lnTo>
                  <a:lnTo>
                    <a:pt x="1751" y="1022"/>
                  </a:lnTo>
                  <a:lnTo>
                    <a:pt x="1751" y="1019"/>
                  </a:lnTo>
                  <a:lnTo>
                    <a:pt x="1751" y="1019"/>
                  </a:lnTo>
                  <a:lnTo>
                    <a:pt x="1751" y="1019"/>
                  </a:lnTo>
                  <a:lnTo>
                    <a:pt x="1751" y="1019"/>
                  </a:lnTo>
                  <a:lnTo>
                    <a:pt x="1751" y="1017"/>
                  </a:lnTo>
                  <a:lnTo>
                    <a:pt x="1751" y="1017"/>
                  </a:lnTo>
                  <a:lnTo>
                    <a:pt x="1751" y="1017"/>
                  </a:lnTo>
                  <a:lnTo>
                    <a:pt x="1754" y="1017"/>
                  </a:lnTo>
                  <a:lnTo>
                    <a:pt x="1754" y="1017"/>
                  </a:lnTo>
                  <a:lnTo>
                    <a:pt x="1754" y="1014"/>
                  </a:lnTo>
                  <a:lnTo>
                    <a:pt x="1751" y="1014"/>
                  </a:lnTo>
                  <a:lnTo>
                    <a:pt x="1751" y="1014"/>
                  </a:lnTo>
                  <a:lnTo>
                    <a:pt x="1751" y="1012"/>
                  </a:lnTo>
                  <a:lnTo>
                    <a:pt x="1749" y="1012"/>
                  </a:lnTo>
                  <a:lnTo>
                    <a:pt x="1747" y="1012"/>
                  </a:lnTo>
                  <a:lnTo>
                    <a:pt x="1747" y="1012"/>
                  </a:lnTo>
                  <a:lnTo>
                    <a:pt x="1749" y="1010"/>
                  </a:lnTo>
                  <a:lnTo>
                    <a:pt x="1749" y="1010"/>
                  </a:lnTo>
                  <a:lnTo>
                    <a:pt x="1749" y="1007"/>
                  </a:lnTo>
                  <a:lnTo>
                    <a:pt x="1747" y="1007"/>
                  </a:lnTo>
                  <a:lnTo>
                    <a:pt x="1744" y="1007"/>
                  </a:lnTo>
                  <a:lnTo>
                    <a:pt x="1742" y="1010"/>
                  </a:lnTo>
                  <a:lnTo>
                    <a:pt x="1742" y="1010"/>
                  </a:lnTo>
                  <a:lnTo>
                    <a:pt x="1742" y="1012"/>
                  </a:lnTo>
                  <a:lnTo>
                    <a:pt x="1742" y="1012"/>
                  </a:lnTo>
                  <a:lnTo>
                    <a:pt x="1742" y="1012"/>
                  </a:lnTo>
                  <a:lnTo>
                    <a:pt x="1742" y="1012"/>
                  </a:lnTo>
                  <a:lnTo>
                    <a:pt x="1742" y="1010"/>
                  </a:lnTo>
                  <a:lnTo>
                    <a:pt x="1742" y="1007"/>
                  </a:lnTo>
                  <a:lnTo>
                    <a:pt x="1744" y="1007"/>
                  </a:lnTo>
                  <a:lnTo>
                    <a:pt x="1747" y="1005"/>
                  </a:lnTo>
                  <a:lnTo>
                    <a:pt x="1749" y="1005"/>
                  </a:lnTo>
                  <a:lnTo>
                    <a:pt x="1749" y="1005"/>
                  </a:lnTo>
                  <a:lnTo>
                    <a:pt x="1749" y="1003"/>
                  </a:lnTo>
                  <a:lnTo>
                    <a:pt x="1749" y="1003"/>
                  </a:lnTo>
                  <a:lnTo>
                    <a:pt x="1749" y="1003"/>
                  </a:lnTo>
                  <a:lnTo>
                    <a:pt x="1749" y="1003"/>
                  </a:lnTo>
                  <a:lnTo>
                    <a:pt x="1749" y="1000"/>
                  </a:lnTo>
                  <a:lnTo>
                    <a:pt x="1749" y="1000"/>
                  </a:lnTo>
                  <a:lnTo>
                    <a:pt x="1749" y="1000"/>
                  </a:lnTo>
                  <a:lnTo>
                    <a:pt x="1749" y="998"/>
                  </a:lnTo>
                  <a:lnTo>
                    <a:pt x="1749" y="996"/>
                  </a:lnTo>
                  <a:lnTo>
                    <a:pt x="1749" y="996"/>
                  </a:lnTo>
                  <a:lnTo>
                    <a:pt x="1749" y="996"/>
                  </a:lnTo>
                  <a:lnTo>
                    <a:pt x="1749" y="996"/>
                  </a:lnTo>
                  <a:lnTo>
                    <a:pt x="1749" y="993"/>
                  </a:lnTo>
                  <a:lnTo>
                    <a:pt x="1749" y="993"/>
                  </a:lnTo>
                  <a:lnTo>
                    <a:pt x="1747" y="993"/>
                  </a:lnTo>
                  <a:lnTo>
                    <a:pt x="1747" y="996"/>
                  </a:lnTo>
                  <a:lnTo>
                    <a:pt x="1744" y="998"/>
                  </a:lnTo>
                  <a:lnTo>
                    <a:pt x="1744" y="998"/>
                  </a:lnTo>
                  <a:lnTo>
                    <a:pt x="1744" y="1000"/>
                  </a:lnTo>
                  <a:lnTo>
                    <a:pt x="1744" y="1000"/>
                  </a:lnTo>
                  <a:lnTo>
                    <a:pt x="1744" y="1000"/>
                  </a:lnTo>
                  <a:lnTo>
                    <a:pt x="1744" y="1000"/>
                  </a:lnTo>
                  <a:lnTo>
                    <a:pt x="1742" y="1003"/>
                  </a:lnTo>
                  <a:lnTo>
                    <a:pt x="1739" y="1007"/>
                  </a:lnTo>
                  <a:lnTo>
                    <a:pt x="1737" y="1007"/>
                  </a:lnTo>
                  <a:lnTo>
                    <a:pt x="1735" y="1010"/>
                  </a:lnTo>
                  <a:lnTo>
                    <a:pt x="1735" y="1010"/>
                  </a:lnTo>
                  <a:lnTo>
                    <a:pt x="1737" y="1007"/>
                  </a:lnTo>
                  <a:lnTo>
                    <a:pt x="1739" y="1003"/>
                  </a:lnTo>
                  <a:lnTo>
                    <a:pt x="1742" y="998"/>
                  </a:lnTo>
                  <a:lnTo>
                    <a:pt x="1744" y="998"/>
                  </a:lnTo>
                  <a:lnTo>
                    <a:pt x="1742" y="998"/>
                  </a:lnTo>
                  <a:lnTo>
                    <a:pt x="1742" y="996"/>
                  </a:lnTo>
                  <a:lnTo>
                    <a:pt x="1742" y="996"/>
                  </a:lnTo>
                  <a:lnTo>
                    <a:pt x="1739" y="996"/>
                  </a:lnTo>
                  <a:lnTo>
                    <a:pt x="1732" y="1000"/>
                  </a:lnTo>
                  <a:lnTo>
                    <a:pt x="1732" y="998"/>
                  </a:lnTo>
                  <a:lnTo>
                    <a:pt x="1732" y="998"/>
                  </a:lnTo>
                  <a:lnTo>
                    <a:pt x="1739" y="996"/>
                  </a:lnTo>
                  <a:lnTo>
                    <a:pt x="1742" y="996"/>
                  </a:lnTo>
                  <a:lnTo>
                    <a:pt x="1744" y="996"/>
                  </a:lnTo>
                  <a:lnTo>
                    <a:pt x="1744" y="993"/>
                  </a:lnTo>
                  <a:lnTo>
                    <a:pt x="1744" y="993"/>
                  </a:lnTo>
                  <a:lnTo>
                    <a:pt x="1747" y="993"/>
                  </a:lnTo>
                  <a:lnTo>
                    <a:pt x="1747" y="991"/>
                  </a:lnTo>
                  <a:lnTo>
                    <a:pt x="1747" y="991"/>
                  </a:lnTo>
                  <a:lnTo>
                    <a:pt x="1747" y="988"/>
                  </a:lnTo>
                  <a:lnTo>
                    <a:pt x="1747" y="988"/>
                  </a:lnTo>
                  <a:lnTo>
                    <a:pt x="1749" y="988"/>
                  </a:lnTo>
                  <a:lnTo>
                    <a:pt x="1749" y="986"/>
                  </a:lnTo>
                  <a:lnTo>
                    <a:pt x="1749" y="986"/>
                  </a:lnTo>
                  <a:lnTo>
                    <a:pt x="1749" y="986"/>
                  </a:lnTo>
                  <a:lnTo>
                    <a:pt x="1749" y="986"/>
                  </a:lnTo>
                  <a:lnTo>
                    <a:pt x="1749" y="984"/>
                  </a:lnTo>
                  <a:lnTo>
                    <a:pt x="1749" y="984"/>
                  </a:lnTo>
                  <a:lnTo>
                    <a:pt x="1749" y="984"/>
                  </a:lnTo>
                  <a:lnTo>
                    <a:pt x="1749" y="984"/>
                  </a:lnTo>
                  <a:lnTo>
                    <a:pt x="1749" y="984"/>
                  </a:lnTo>
                  <a:lnTo>
                    <a:pt x="1749" y="984"/>
                  </a:lnTo>
                  <a:lnTo>
                    <a:pt x="1749" y="984"/>
                  </a:lnTo>
                  <a:lnTo>
                    <a:pt x="1749" y="984"/>
                  </a:lnTo>
                  <a:lnTo>
                    <a:pt x="1751" y="986"/>
                  </a:lnTo>
                  <a:lnTo>
                    <a:pt x="1751" y="986"/>
                  </a:lnTo>
                  <a:lnTo>
                    <a:pt x="1751" y="986"/>
                  </a:lnTo>
                  <a:lnTo>
                    <a:pt x="1754" y="984"/>
                  </a:lnTo>
                  <a:lnTo>
                    <a:pt x="1756" y="984"/>
                  </a:lnTo>
                  <a:lnTo>
                    <a:pt x="1756" y="984"/>
                  </a:lnTo>
                  <a:lnTo>
                    <a:pt x="1756" y="981"/>
                  </a:lnTo>
                  <a:lnTo>
                    <a:pt x="1756" y="981"/>
                  </a:lnTo>
                  <a:lnTo>
                    <a:pt x="1756" y="979"/>
                  </a:lnTo>
                  <a:lnTo>
                    <a:pt x="1756" y="979"/>
                  </a:lnTo>
                  <a:lnTo>
                    <a:pt x="1756" y="979"/>
                  </a:lnTo>
                  <a:lnTo>
                    <a:pt x="1756" y="979"/>
                  </a:lnTo>
                  <a:lnTo>
                    <a:pt x="1756" y="977"/>
                  </a:lnTo>
                  <a:lnTo>
                    <a:pt x="1756" y="977"/>
                  </a:lnTo>
                  <a:lnTo>
                    <a:pt x="1756" y="977"/>
                  </a:lnTo>
                  <a:lnTo>
                    <a:pt x="1756" y="974"/>
                  </a:lnTo>
                  <a:lnTo>
                    <a:pt x="1756" y="974"/>
                  </a:lnTo>
                  <a:lnTo>
                    <a:pt x="1756" y="972"/>
                  </a:lnTo>
                  <a:lnTo>
                    <a:pt x="1756" y="970"/>
                  </a:lnTo>
                  <a:lnTo>
                    <a:pt x="1754" y="967"/>
                  </a:lnTo>
                  <a:lnTo>
                    <a:pt x="1751" y="967"/>
                  </a:lnTo>
                  <a:lnTo>
                    <a:pt x="1751" y="967"/>
                  </a:lnTo>
                  <a:lnTo>
                    <a:pt x="1751" y="965"/>
                  </a:lnTo>
                  <a:lnTo>
                    <a:pt x="1751" y="965"/>
                  </a:lnTo>
                  <a:lnTo>
                    <a:pt x="1751" y="965"/>
                  </a:lnTo>
                  <a:lnTo>
                    <a:pt x="1751" y="965"/>
                  </a:lnTo>
                  <a:lnTo>
                    <a:pt x="1749" y="965"/>
                  </a:lnTo>
                  <a:lnTo>
                    <a:pt x="1744" y="965"/>
                  </a:lnTo>
                  <a:lnTo>
                    <a:pt x="1737" y="967"/>
                  </a:lnTo>
                  <a:lnTo>
                    <a:pt x="1735" y="965"/>
                  </a:lnTo>
                  <a:lnTo>
                    <a:pt x="1735" y="965"/>
                  </a:lnTo>
                  <a:lnTo>
                    <a:pt x="1732" y="965"/>
                  </a:lnTo>
                  <a:lnTo>
                    <a:pt x="1732" y="967"/>
                  </a:lnTo>
                  <a:lnTo>
                    <a:pt x="1732" y="967"/>
                  </a:lnTo>
                  <a:lnTo>
                    <a:pt x="1732" y="970"/>
                  </a:lnTo>
                  <a:lnTo>
                    <a:pt x="1732" y="970"/>
                  </a:lnTo>
                  <a:lnTo>
                    <a:pt x="1732" y="970"/>
                  </a:lnTo>
                  <a:lnTo>
                    <a:pt x="1732" y="972"/>
                  </a:lnTo>
                  <a:lnTo>
                    <a:pt x="1732" y="972"/>
                  </a:lnTo>
                  <a:lnTo>
                    <a:pt x="1732" y="974"/>
                  </a:lnTo>
                  <a:lnTo>
                    <a:pt x="1730" y="974"/>
                  </a:lnTo>
                  <a:lnTo>
                    <a:pt x="1730" y="977"/>
                  </a:lnTo>
                  <a:lnTo>
                    <a:pt x="1730" y="977"/>
                  </a:lnTo>
                  <a:lnTo>
                    <a:pt x="1725" y="977"/>
                  </a:lnTo>
                  <a:lnTo>
                    <a:pt x="1725" y="977"/>
                  </a:lnTo>
                  <a:lnTo>
                    <a:pt x="1725" y="979"/>
                  </a:lnTo>
                  <a:lnTo>
                    <a:pt x="1725" y="979"/>
                  </a:lnTo>
                  <a:lnTo>
                    <a:pt x="1725" y="981"/>
                  </a:lnTo>
                  <a:lnTo>
                    <a:pt x="1725" y="981"/>
                  </a:lnTo>
                  <a:lnTo>
                    <a:pt x="1725" y="984"/>
                  </a:lnTo>
                  <a:lnTo>
                    <a:pt x="1725" y="984"/>
                  </a:lnTo>
                  <a:lnTo>
                    <a:pt x="1725" y="986"/>
                  </a:lnTo>
                  <a:lnTo>
                    <a:pt x="1725" y="986"/>
                  </a:lnTo>
                  <a:lnTo>
                    <a:pt x="1725" y="988"/>
                  </a:lnTo>
                  <a:lnTo>
                    <a:pt x="1725" y="988"/>
                  </a:lnTo>
                  <a:lnTo>
                    <a:pt x="1725" y="991"/>
                  </a:lnTo>
                  <a:lnTo>
                    <a:pt x="1725" y="991"/>
                  </a:lnTo>
                  <a:lnTo>
                    <a:pt x="1723" y="993"/>
                  </a:lnTo>
                  <a:lnTo>
                    <a:pt x="1723" y="998"/>
                  </a:lnTo>
                  <a:lnTo>
                    <a:pt x="1723" y="998"/>
                  </a:lnTo>
                  <a:lnTo>
                    <a:pt x="1723" y="998"/>
                  </a:lnTo>
                  <a:lnTo>
                    <a:pt x="1723" y="1000"/>
                  </a:lnTo>
                  <a:lnTo>
                    <a:pt x="1721" y="1000"/>
                  </a:lnTo>
                  <a:lnTo>
                    <a:pt x="1718" y="1000"/>
                  </a:lnTo>
                  <a:lnTo>
                    <a:pt x="1718" y="1000"/>
                  </a:lnTo>
                  <a:lnTo>
                    <a:pt x="1716" y="1003"/>
                  </a:lnTo>
                  <a:lnTo>
                    <a:pt x="1716" y="1000"/>
                  </a:lnTo>
                  <a:lnTo>
                    <a:pt x="1718" y="1000"/>
                  </a:lnTo>
                  <a:lnTo>
                    <a:pt x="1721" y="998"/>
                  </a:lnTo>
                  <a:lnTo>
                    <a:pt x="1723" y="996"/>
                  </a:lnTo>
                  <a:lnTo>
                    <a:pt x="1723" y="993"/>
                  </a:lnTo>
                  <a:lnTo>
                    <a:pt x="1723" y="993"/>
                  </a:lnTo>
                  <a:lnTo>
                    <a:pt x="1723" y="991"/>
                  </a:lnTo>
                  <a:lnTo>
                    <a:pt x="1723" y="988"/>
                  </a:lnTo>
                  <a:lnTo>
                    <a:pt x="1723" y="988"/>
                  </a:lnTo>
                  <a:lnTo>
                    <a:pt x="1723" y="988"/>
                  </a:lnTo>
                  <a:lnTo>
                    <a:pt x="1723" y="986"/>
                  </a:lnTo>
                  <a:lnTo>
                    <a:pt x="1723" y="986"/>
                  </a:lnTo>
                  <a:lnTo>
                    <a:pt x="1723" y="986"/>
                  </a:lnTo>
                  <a:lnTo>
                    <a:pt x="1723" y="984"/>
                  </a:lnTo>
                  <a:lnTo>
                    <a:pt x="1723" y="984"/>
                  </a:lnTo>
                  <a:lnTo>
                    <a:pt x="1723" y="984"/>
                  </a:lnTo>
                  <a:lnTo>
                    <a:pt x="1723" y="981"/>
                  </a:lnTo>
                  <a:lnTo>
                    <a:pt x="1723" y="979"/>
                  </a:lnTo>
                  <a:lnTo>
                    <a:pt x="1723" y="979"/>
                  </a:lnTo>
                  <a:lnTo>
                    <a:pt x="1723" y="977"/>
                  </a:lnTo>
                  <a:lnTo>
                    <a:pt x="1725" y="977"/>
                  </a:lnTo>
                  <a:lnTo>
                    <a:pt x="1730" y="974"/>
                  </a:lnTo>
                  <a:lnTo>
                    <a:pt x="1730" y="972"/>
                  </a:lnTo>
                  <a:lnTo>
                    <a:pt x="1730" y="972"/>
                  </a:lnTo>
                  <a:lnTo>
                    <a:pt x="1730" y="970"/>
                  </a:lnTo>
                  <a:lnTo>
                    <a:pt x="1723" y="967"/>
                  </a:lnTo>
                  <a:lnTo>
                    <a:pt x="1721" y="970"/>
                  </a:lnTo>
                  <a:lnTo>
                    <a:pt x="1713" y="974"/>
                  </a:lnTo>
                  <a:lnTo>
                    <a:pt x="1713" y="977"/>
                  </a:lnTo>
                  <a:lnTo>
                    <a:pt x="1713" y="977"/>
                  </a:lnTo>
                  <a:lnTo>
                    <a:pt x="1713" y="979"/>
                  </a:lnTo>
                  <a:lnTo>
                    <a:pt x="1713" y="981"/>
                  </a:lnTo>
                  <a:lnTo>
                    <a:pt x="1711" y="981"/>
                  </a:lnTo>
                  <a:lnTo>
                    <a:pt x="1711" y="984"/>
                  </a:lnTo>
                  <a:lnTo>
                    <a:pt x="1709" y="986"/>
                  </a:lnTo>
                  <a:lnTo>
                    <a:pt x="1709" y="986"/>
                  </a:lnTo>
                  <a:lnTo>
                    <a:pt x="1709" y="991"/>
                  </a:lnTo>
                  <a:lnTo>
                    <a:pt x="1709" y="991"/>
                  </a:lnTo>
                  <a:lnTo>
                    <a:pt x="1709" y="991"/>
                  </a:lnTo>
                  <a:lnTo>
                    <a:pt x="1706" y="991"/>
                  </a:lnTo>
                  <a:lnTo>
                    <a:pt x="1706" y="991"/>
                  </a:lnTo>
                  <a:lnTo>
                    <a:pt x="1709" y="988"/>
                  </a:lnTo>
                  <a:lnTo>
                    <a:pt x="1709" y="986"/>
                  </a:lnTo>
                  <a:lnTo>
                    <a:pt x="1709" y="984"/>
                  </a:lnTo>
                  <a:lnTo>
                    <a:pt x="1711" y="981"/>
                  </a:lnTo>
                  <a:lnTo>
                    <a:pt x="1711" y="981"/>
                  </a:lnTo>
                  <a:lnTo>
                    <a:pt x="1711" y="979"/>
                  </a:lnTo>
                  <a:lnTo>
                    <a:pt x="1711" y="977"/>
                  </a:lnTo>
                  <a:lnTo>
                    <a:pt x="1711" y="977"/>
                  </a:lnTo>
                  <a:lnTo>
                    <a:pt x="1711" y="974"/>
                  </a:lnTo>
                  <a:lnTo>
                    <a:pt x="1713" y="974"/>
                  </a:lnTo>
                  <a:lnTo>
                    <a:pt x="1721" y="967"/>
                  </a:lnTo>
                  <a:lnTo>
                    <a:pt x="1723" y="967"/>
                  </a:lnTo>
                  <a:lnTo>
                    <a:pt x="1728" y="967"/>
                  </a:lnTo>
                  <a:lnTo>
                    <a:pt x="1728" y="967"/>
                  </a:lnTo>
                  <a:lnTo>
                    <a:pt x="1732" y="962"/>
                  </a:lnTo>
                  <a:lnTo>
                    <a:pt x="1732" y="960"/>
                  </a:lnTo>
                  <a:lnTo>
                    <a:pt x="1732" y="960"/>
                  </a:lnTo>
                  <a:lnTo>
                    <a:pt x="1732" y="960"/>
                  </a:lnTo>
                  <a:lnTo>
                    <a:pt x="1732" y="960"/>
                  </a:lnTo>
                  <a:lnTo>
                    <a:pt x="1732" y="960"/>
                  </a:lnTo>
                  <a:lnTo>
                    <a:pt x="1732" y="960"/>
                  </a:lnTo>
                  <a:lnTo>
                    <a:pt x="1732" y="958"/>
                  </a:lnTo>
                  <a:lnTo>
                    <a:pt x="1732" y="955"/>
                  </a:lnTo>
                  <a:lnTo>
                    <a:pt x="1732" y="955"/>
                  </a:lnTo>
                  <a:lnTo>
                    <a:pt x="1730" y="951"/>
                  </a:lnTo>
                  <a:lnTo>
                    <a:pt x="1730" y="951"/>
                  </a:lnTo>
                  <a:lnTo>
                    <a:pt x="1730" y="948"/>
                  </a:lnTo>
                  <a:close/>
                  <a:moveTo>
                    <a:pt x="2149" y="1771"/>
                  </a:moveTo>
                  <a:lnTo>
                    <a:pt x="2151" y="1774"/>
                  </a:lnTo>
                  <a:lnTo>
                    <a:pt x="2151" y="1774"/>
                  </a:lnTo>
                  <a:lnTo>
                    <a:pt x="2154" y="1771"/>
                  </a:lnTo>
                  <a:lnTo>
                    <a:pt x="2154" y="1769"/>
                  </a:lnTo>
                  <a:lnTo>
                    <a:pt x="2151" y="1764"/>
                  </a:lnTo>
                  <a:lnTo>
                    <a:pt x="2149" y="1764"/>
                  </a:lnTo>
                  <a:lnTo>
                    <a:pt x="2149" y="1767"/>
                  </a:lnTo>
                  <a:lnTo>
                    <a:pt x="2149" y="1769"/>
                  </a:lnTo>
                  <a:lnTo>
                    <a:pt x="2149" y="1771"/>
                  </a:lnTo>
                  <a:close/>
                  <a:moveTo>
                    <a:pt x="2165" y="1549"/>
                  </a:moveTo>
                  <a:lnTo>
                    <a:pt x="2165" y="1549"/>
                  </a:lnTo>
                  <a:lnTo>
                    <a:pt x="2163" y="1549"/>
                  </a:lnTo>
                  <a:lnTo>
                    <a:pt x="2163" y="1549"/>
                  </a:lnTo>
                  <a:lnTo>
                    <a:pt x="2163" y="1549"/>
                  </a:lnTo>
                  <a:lnTo>
                    <a:pt x="2163" y="1549"/>
                  </a:lnTo>
                  <a:lnTo>
                    <a:pt x="2163" y="1549"/>
                  </a:lnTo>
                  <a:lnTo>
                    <a:pt x="2163" y="1549"/>
                  </a:lnTo>
                  <a:lnTo>
                    <a:pt x="2161" y="1547"/>
                  </a:lnTo>
                  <a:lnTo>
                    <a:pt x="2161" y="1547"/>
                  </a:lnTo>
                  <a:lnTo>
                    <a:pt x="2161" y="1547"/>
                  </a:lnTo>
                  <a:lnTo>
                    <a:pt x="2161" y="1547"/>
                  </a:lnTo>
                  <a:lnTo>
                    <a:pt x="2161" y="1549"/>
                  </a:lnTo>
                  <a:lnTo>
                    <a:pt x="2161" y="1547"/>
                  </a:lnTo>
                  <a:lnTo>
                    <a:pt x="2158" y="1544"/>
                  </a:lnTo>
                  <a:lnTo>
                    <a:pt x="2156" y="1544"/>
                  </a:lnTo>
                  <a:lnTo>
                    <a:pt x="2156" y="1544"/>
                  </a:lnTo>
                  <a:lnTo>
                    <a:pt x="2154" y="1544"/>
                  </a:lnTo>
                  <a:lnTo>
                    <a:pt x="2154" y="1544"/>
                  </a:lnTo>
                  <a:lnTo>
                    <a:pt x="2154" y="1547"/>
                  </a:lnTo>
                  <a:lnTo>
                    <a:pt x="2154" y="1547"/>
                  </a:lnTo>
                  <a:lnTo>
                    <a:pt x="2154" y="1547"/>
                  </a:lnTo>
                  <a:lnTo>
                    <a:pt x="2154" y="1547"/>
                  </a:lnTo>
                  <a:lnTo>
                    <a:pt x="2154" y="1547"/>
                  </a:lnTo>
                  <a:lnTo>
                    <a:pt x="2154" y="1549"/>
                  </a:lnTo>
                  <a:lnTo>
                    <a:pt x="2154" y="1549"/>
                  </a:lnTo>
                  <a:lnTo>
                    <a:pt x="2154" y="1549"/>
                  </a:lnTo>
                  <a:lnTo>
                    <a:pt x="2156" y="1551"/>
                  </a:lnTo>
                  <a:lnTo>
                    <a:pt x="2156" y="1551"/>
                  </a:lnTo>
                  <a:lnTo>
                    <a:pt x="2156" y="1551"/>
                  </a:lnTo>
                  <a:lnTo>
                    <a:pt x="2156" y="1551"/>
                  </a:lnTo>
                  <a:lnTo>
                    <a:pt x="2158" y="1551"/>
                  </a:lnTo>
                  <a:lnTo>
                    <a:pt x="2158" y="1554"/>
                  </a:lnTo>
                  <a:lnTo>
                    <a:pt x="2158" y="1554"/>
                  </a:lnTo>
                  <a:lnTo>
                    <a:pt x="2158" y="1554"/>
                  </a:lnTo>
                  <a:lnTo>
                    <a:pt x="2163" y="1554"/>
                  </a:lnTo>
                  <a:lnTo>
                    <a:pt x="2165" y="1556"/>
                  </a:lnTo>
                  <a:lnTo>
                    <a:pt x="2165" y="1556"/>
                  </a:lnTo>
                  <a:lnTo>
                    <a:pt x="2165" y="1554"/>
                  </a:lnTo>
                  <a:lnTo>
                    <a:pt x="2168" y="1554"/>
                  </a:lnTo>
                  <a:lnTo>
                    <a:pt x="2168" y="1554"/>
                  </a:lnTo>
                  <a:lnTo>
                    <a:pt x="2168" y="1551"/>
                  </a:lnTo>
                  <a:lnTo>
                    <a:pt x="2168" y="1551"/>
                  </a:lnTo>
                  <a:lnTo>
                    <a:pt x="2168" y="1551"/>
                  </a:lnTo>
                  <a:lnTo>
                    <a:pt x="2168" y="1551"/>
                  </a:lnTo>
                  <a:lnTo>
                    <a:pt x="2165" y="1549"/>
                  </a:lnTo>
                  <a:lnTo>
                    <a:pt x="2165" y="1549"/>
                  </a:lnTo>
                  <a:close/>
                  <a:moveTo>
                    <a:pt x="2092" y="1213"/>
                  </a:moveTo>
                  <a:lnTo>
                    <a:pt x="2092" y="1211"/>
                  </a:lnTo>
                  <a:lnTo>
                    <a:pt x="2094" y="1211"/>
                  </a:lnTo>
                  <a:lnTo>
                    <a:pt x="2092" y="1208"/>
                  </a:lnTo>
                  <a:lnTo>
                    <a:pt x="2090" y="1208"/>
                  </a:lnTo>
                  <a:lnTo>
                    <a:pt x="2090" y="1208"/>
                  </a:lnTo>
                  <a:lnTo>
                    <a:pt x="2090" y="1208"/>
                  </a:lnTo>
                  <a:lnTo>
                    <a:pt x="2090" y="1208"/>
                  </a:lnTo>
                  <a:lnTo>
                    <a:pt x="2090" y="1211"/>
                  </a:lnTo>
                  <a:lnTo>
                    <a:pt x="2090" y="1211"/>
                  </a:lnTo>
                  <a:lnTo>
                    <a:pt x="2087" y="1211"/>
                  </a:lnTo>
                  <a:lnTo>
                    <a:pt x="2087" y="1208"/>
                  </a:lnTo>
                  <a:lnTo>
                    <a:pt x="2087" y="1208"/>
                  </a:lnTo>
                  <a:lnTo>
                    <a:pt x="2085" y="1208"/>
                  </a:lnTo>
                  <a:lnTo>
                    <a:pt x="2085" y="1208"/>
                  </a:lnTo>
                  <a:lnTo>
                    <a:pt x="2085" y="1208"/>
                  </a:lnTo>
                  <a:lnTo>
                    <a:pt x="2085" y="1211"/>
                  </a:lnTo>
                  <a:lnTo>
                    <a:pt x="2083" y="1213"/>
                  </a:lnTo>
                  <a:lnTo>
                    <a:pt x="2083" y="1213"/>
                  </a:lnTo>
                  <a:lnTo>
                    <a:pt x="2083" y="1213"/>
                  </a:lnTo>
                  <a:lnTo>
                    <a:pt x="2085" y="1213"/>
                  </a:lnTo>
                  <a:lnTo>
                    <a:pt x="2092" y="1213"/>
                  </a:lnTo>
                  <a:close/>
                  <a:moveTo>
                    <a:pt x="2154" y="1440"/>
                  </a:moveTo>
                  <a:lnTo>
                    <a:pt x="2151" y="1438"/>
                  </a:lnTo>
                  <a:lnTo>
                    <a:pt x="2149" y="1440"/>
                  </a:lnTo>
                  <a:lnTo>
                    <a:pt x="2151" y="1443"/>
                  </a:lnTo>
                  <a:lnTo>
                    <a:pt x="2154" y="1445"/>
                  </a:lnTo>
                  <a:lnTo>
                    <a:pt x="2154" y="1443"/>
                  </a:lnTo>
                  <a:lnTo>
                    <a:pt x="2154" y="1440"/>
                  </a:lnTo>
                  <a:close/>
                  <a:moveTo>
                    <a:pt x="2154" y="1296"/>
                  </a:moveTo>
                  <a:lnTo>
                    <a:pt x="2154" y="1296"/>
                  </a:lnTo>
                  <a:lnTo>
                    <a:pt x="2154" y="1296"/>
                  </a:lnTo>
                  <a:lnTo>
                    <a:pt x="2154" y="1296"/>
                  </a:lnTo>
                  <a:lnTo>
                    <a:pt x="2151" y="1296"/>
                  </a:lnTo>
                  <a:lnTo>
                    <a:pt x="2151" y="1296"/>
                  </a:lnTo>
                  <a:lnTo>
                    <a:pt x="2151" y="1298"/>
                  </a:lnTo>
                  <a:lnTo>
                    <a:pt x="2151" y="1298"/>
                  </a:lnTo>
                  <a:lnTo>
                    <a:pt x="2151" y="1298"/>
                  </a:lnTo>
                  <a:lnTo>
                    <a:pt x="2151" y="1296"/>
                  </a:lnTo>
                  <a:lnTo>
                    <a:pt x="2151" y="1296"/>
                  </a:lnTo>
                  <a:lnTo>
                    <a:pt x="2151" y="1296"/>
                  </a:lnTo>
                  <a:lnTo>
                    <a:pt x="2151" y="1296"/>
                  </a:lnTo>
                  <a:lnTo>
                    <a:pt x="2151" y="1296"/>
                  </a:lnTo>
                  <a:lnTo>
                    <a:pt x="2151" y="1296"/>
                  </a:lnTo>
                  <a:lnTo>
                    <a:pt x="2149" y="1296"/>
                  </a:lnTo>
                  <a:lnTo>
                    <a:pt x="2149" y="1296"/>
                  </a:lnTo>
                  <a:lnTo>
                    <a:pt x="2149" y="1298"/>
                  </a:lnTo>
                  <a:lnTo>
                    <a:pt x="2149" y="1298"/>
                  </a:lnTo>
                  <a:lnTo>
                    <a:pt x="2149" y="1298"/>
                  </a:lnTo>
                  <a:lnTo>
                    <a:pt x="2151" y="1301"/>
                  </a:lnTo>
                  <a:lnTo>
                    <a:pt x="2151" y="1301"/>
                  </a:lnTo>
                  <a:lnTo>
                    <a:pt x="2151" y="1301"/>
                  </a:lnTo>
                  <a:lnTo>
                    <a:pt x="2151" y="1301"/>
                  </a:lnTo>
                  <a:lnTo>
                    <a:pt x="2151" y="1301"/>
                  </a:lnTo>
                  <a:lnTo>
                    <a:pt x="2151" y="1301"/>
                  </a:lnTo>
                  <a:lnTo>
                    <a:pt x="2151" y="1303"/>
                  </a:lnTo>
                  <a:lnTo>
                    <a:pt x="2151" y="1301"/>
                  </a:lnTo>
                  <a:lnTo>
                    <a:pt x="2154" y="1301"/>
                  </a:lnTo>
                  <a:lnTo>
                    <a:pt x="2154" y="1301"/>
                  </a:lnTo>
                  <a:lnTo>
                    <a:pt x="2154" y="1301"/>
                  </a:lnTo>
                  <a:lnTo>
                    <a:pt x="2154" y="1303"/>
                  </a:lnTo>
                  <a:lnTo>
                    <a:pt x="2154" y="1303"/>
                  </a:lnTo>
                  <a:lnTo>
                    <a:pt x="2154" y="1303"/>
                  </a:lnTo>
                  <a:lnTo>
                    <a:pt x="2154" y="1301"/>
                  </a:lnTo>
                  <a:lnTo>
                    <a:pt x="2154" y="1301"/>
                  </a:lnTo>
                  <a:lnTo>
                    <a:pt x="2154" y="1301"/>
                  </a:lnTo>
                  <a:lnTo>
                    <a:pt x="2154" y="1301"/>
                  </a:lnTo>
                  <a:lnTo>
                    <a:pt x="2154" y="1301"/>
                  </a:lnTo>
                  <a:lnTo>
                    <a:pt x="2154" y="1303"/>
                  </a:lnTo>
                  <a:lnTo>
                    <a:pt x="2154" y="1303"/>
                  </a:lnTo>
                  <a:lnTo>
                    <a:pt x="2156" y="1303"/>
                  </a:lnTo>
                  <a:lnTo>
                    <a:pt x="2156" y="1303"/>
                  </a:lnTo>
                  <a:lnTo>
                    <a:pt x="2156" y="1303"/>
                  </a:lnTo>
                  <a:lnTo>
                    <a:pt x="2156" y="1301"/>
                  </a:lnTo>
                  <a:lnTo>
                    <a:pt x="2156" y="1301"/>
                  </a:lnTo>
                  <a:lnTo>
                    <a:pt x="2156" y="1301"/>
                  </a:lnTo>
                  <a:lnTo>
                    <a:pt x="2156" y="1303"/>
                  </a:lnTo>
                  <a:lnTo>
                    <a:pt x="2158" y="1303"/>
                  </a:lnTo>
                  <a:lnTo>
                    <a:pt x="2158" y="1303"/>
                  </a:lnTo>
                  <a:lnTo>
                    <a:pt x="2158" y="1303"/>
                  </a:lnTo>
                  <a:lnTo>
                    <a:pt x="2158" y="1303"/>
                  </a:lnTo>
                  <a:lnTo>
                    <a:pt x="2158" y="1303"/>
                  </a:lnTo>
                  <a:lnTo>
                    <a:pt x="2158" y="1303"/>
                  </a:lnTo>
                  <a:lnTo>
                    <a:pt x="2158" y="1301"/>
                  </a:lnTo>
                  <a:lnTo>
                    <a:pt x="2158" y="1301"/>
                  </a:lnTo>
                  <a:lnTo>
                    <a:pt x="2158" y="1301"/>
                  </a:lnTo>
                  <a:lnTo>
                    <a:pt x="2158" y="1301"/>
                  </a:lnTo>
                  <a:lnTo>
                    <a:pt x="2158" y="1301"/>
                  </a:lnTo>
                  <a:lnTo>
                    <a:pt x="2158" y="1301"/>
                  </a:lnTo>
                  <a:lnTo>
                    <a:pt x="2158" y="1298"/>
                  </a:lnTo>
                  <a:lnTo>
                    <a:pt x="2158" y="1298"/>
                  </a:lnTo>
                  <a:lnTo>
                    <a:pt x="2158" y="1298"/>
                  </a:lnTo>
                  <a:lnTo>
                    <a:pt x="2158" y="1298"/>
                  </a:lnTo>
                  <a:lnTo>
                    <a:pt x="2158" y="1298"/>
                  </a:lnTo>
                  <a:lnTo>
                    <a:pt x="2156" y="1298"/>
                  </a:lnTo>
                  <a:lnTo>
                    <a:pt x="2156" y="1298"/>
                  </a:lnTo>
                  <a:lnTo>
                    <a:pt x="2156" y="1298"/>
                  </a:lnTo>
                  <a:lnTo>
                    <a:pt x="2158" y="1296"/>
                  </a:lnTo>
                  <a:lnTo>
                    <a:pt x="2156" y="1296"/>
                  </a:lnTo>
                  <a:lnTo>
                    <a:pt x="2156" y="1298"/>
                  </a:lnTo>
                  <a:lnTo>
                    <a:pt x="2154" y="1298"/>
                  </a:lnTo>
                  <a:lnTo>
                    <a:pt x="2154" y="1296"/>
                  </a:lnTo>
                  <a:lnTo>
                    <a:pt x="2154" y="1296"/>
                  </a:lnTo>
                  <a:lnTo>
                    <a:pt x="2154" y="1296"/>
                  </a:lnTo>
                  <a:lnTo>
                    <a:pt x="2154" y="1296"/>
                  </a:lnTo>
                  <a:lnTo>
                    <a:pt x="2154" y="1296"/>
                  </a:lnTo>
                  <a:close/>
                  <a:moveTo>
                    <a:pt x="2161" y="1504"/>
                  </a:moveTo>
                  <a:lnTo>
                    <a:pt x="2158" y="1506"/>
                  </a:lnTo>
                  <a:lnTo>
                    <a:pt x="2158" y="1506"/>
                  </a:lnTo>
                  <a:lnTo>
                    <a:pt x="2156" y="1506"/>
                  </a:lnTo>
                  <a:lnTo>
                    <a:pt x="2156" y="1506"/>
                  </a:lnTo>
                  <a:lnTo>
                    <a:pt x="2156" y="1506"/>
                  </a:lnTo>
                  <a:lnTo>
                    <a:pt x="2156" y="1506"/>
                  </a:lnTo>
                  <a:lnTo>
                    <a:pt x="2154" y="1504"/>
                  </a:lnTo>
                  <a:lnTo>
                    <a:pt x="2154" y="1506"/>
                  </a:lnTo>
                  <a:lnTo>
                    <a:pt x="2151" y="1506"/>
                  </a:lnTo>
                  <a:lnTo>
                    <a:pt x="2151" y="1509"/>
                  </a:lnTo>
                  <a:lnTo>
                    <a:pt x="2154" y="1509"/>
                  </a:lnTo>
                  <a:lnTo>
                    <a:pt x="2154" y="1509"/>
                  </a:lnTo>
                  <a:lnTo>
                    <a:pt x="2156" y="1509"/>
                  </a:lnTo>
                  <a:lnTo>
                    <a:pt x="2151" y="1511"/>
                  </a:lnTo>
                  <a:lnTo>
                    <a:pt x="2151" y="1511"/>
                  </a:lnTo>
                  <a:lnTo>
                    <a:pt x="2151" y="1514"/>
                  </a:lnTo>
                  <a:lnTo>
                    <a:pt x="2151" y="1514"/>
                  </a:lnTo>
                  <a:lnTo>
                    <a:pt x="2151" y="1514"/>
                  </a:lnTo>
                  <a:lnTo>
                    <a:pt x="2151" y="1514"/>
                  </a:lnTo>
                  <a:lnTo>
                    <a:pt x="2154" y="1516"/>
                  </a:lnTo>
                  <a:lnTo>
                    <a:pt x="2156" y="1516"/>
                  </a:lnTo>
                  <a:lnTo>
                    <a:pt x="2158" y="1516"/>
                  </a:lnTo>
                  <a:lnTo>
                    <a:pt x="2161" y="1516"/>
                  </a:lnTo>
                  <a:lnTo>
                    <a:pt x="2161" y="1516"/>
                  </a:lnTo>
                  <a:lnTo>
                    <a:pt x="2163" y="1516"/>
                  </a:lnTo>
                  <a:lnTo>
                    <a:pt x="2163" y="1516"/>
                  </a:lnTo>
                  <a:lnTo>
                    <a:pt x="2163" y="1516"/>
                  </a:lnTo>
                  <a:lnTo>
                    <a:pt x="2163" y="1514"/>
                  </a:lnTo>
                  <a:lnTo>
                    <a:pt x="2163" y="1514"/>
                  </a:lnTo>
                  <a:lnTo>
                    <a:pt x="2163" y="1514"/>
                  </a:lnTo>
                  <a:lnTo>
                    <a:pt x="2163" y="1514"/>
                  </a:lnTo>
                  <a:lnTo>
                    <a:pt x="2165" y="1511"/>
                  </a:lnTo>
                  <a:lnTo>
                    <a:pt x="2163" y="1511"/>
                  </a:lnTo>
                  <a:lnTo>
                    <a:pt x="2163" y="1511"/>
                  </a:lnTo>
                  <a:lnTo>
                    <a:pt x="2163" y="1509"/>
                  </a:lnTo>
                  <a:lnTo>
                    <a:pt x="2163" y="1509"/>
                  </a:lnTo>
                  <a:lnTo>
                    <a:pt x="2165" y="1509"/>
                  </a:lnTo>
                  <a:lnTo>
                    <a:pt x="2165" y="1509"/>
                  </a:lnTo>
                  <a:lnTo>
                    <a:pt x="2165" y="1509"/>
                  </a:lnTo>
                  <a:lnTo>
                    <a:pt x="2165" y="1509"/>
                  </a:lnTo>
                  <a:lnTo>
                    <a:pt x="2165" y="1509"/>
                  </a:lnTo>
                  <a:lnTo>
                    <a:pt x="2165" y="1509"/>
                  </a:lnTo>
                  <a:lnTo>
                    <a:pt x="2163" y="1509"/>
                  </a:lnTo>
                  <a:lnTo>
                    <a:pt x="2163" y="1509"/>
                  </a:lnTo>
                  <a:lnTo>
                    <a:pt x="2163" y="1506"/>
                  </a:lnTo>
                  <a:lnTo>
                    <a:pt x="2165" y="1506"/>
                  </a:lnTo>
                  <a:lnTo>
                    <a:pt x="2165" y="1504"/>
                  </a:lnTo>
                  <a:lnTo>
                    <a:pt x="2165" y="1504"/>
                  </a:lnTo>
                  <a:lnTo>
                    <a:pt x="2165" y="1504"/>
                  </a:lnTo>
                  <a:lnTo>
                    <a:pt x="2165" y="1504"/>
                  </a:lnTo>
                  <a:lnTo>
                    <a:pt x="2165" y="1504"/>
                  </a:lnTo>
                  <a:lnTo>
                    <a:pt x="2165" y="1504"/>
                  </a:lnTo>
                  <a:lnTo>
                    <a:pt x="2163" y="1504"/>
                  </a:lnTo>
                  <a:lnTo>
                    <a:pt x="2163" y="1504"/>
                  </a:lnTo>
                  <a:lnTo>
                    <a:pt x="2161" y="1504"/>
                  </a:lnTo>
                  <a:lnTo>
                    <a:pt x="2161" y="1504"/>
                  </a:lnTo>
                  <a:lnTo>
                    <a:pt x="2161" y="1504"/>
                  </a:lnTo>
                  <a:close/>
                  <a:moveTo>
                    <a:pt x="2111" y="1220"/>
                  </a:moveTo>
                  <a:lnTo>
                    <a:pt x="2113" y="1223"/>
                  </a:lnTo>
                  <a:lnTo>
                    <a:pt x="2113" y="1223"/>
                  </a:lnTo>
                  <a:lnTo>
                    <a:pt x="2116" y="1223"/>
                  </a:lnTo>
                  <a:lnTo>
                    <a:pt x="2116" y="1220"/>
                  </a:lnTo>
                  <a:lnTo>
                    <a:pt x="2113" y="1220"/>
                  </a:lnTo>
                  <a:lnTo>
                    <a:pt x="2113" y="1220"/>
                  </a:lnTo>
                  <a:lnTo>
                    <a:pt x="2116" y="1220"/>
                  </a:lnTo>
                  <a:lnTo>
                    <a:pt x="2116" y="1220"/>
                  </a:lnTo>
                  <a:lnTo>
                    <a:pt x="2116" y="1218"/>
                  </a:lnTo>
                  <a:lnTo>
                    <a:pt x="2116" y="1218"/>
                  </a:lnTo>
                  <a:lnTo>
                    <a:pt x="2116" y="1216"/>
                  </a:lnTo>
                  <a:lnTo>
                    <a:pt x="2120" y="1211"/>
                  </a:lnTo>
                  <a:lnTo>
                    <a:pt x="2120" y="1208"/>
                  </a:lnTo>
                  <a:lnTo>
                    <a:pt x="2118" y="1208"/>
                  </a:lnTo>
                  <a:lnTo>
                    <a:pt x="2118" y="1208"/>
                  </a:lnTo>
                  <a:lnTo>
                    <a:pt x="2116" y="1208"/>
                  </a:lnTo>
                  <a:lnTo>
                    <a:pt x="2116" y="1208"/>
                  </a:lnTo>
                  <a:lnTo>
                    <a:pt x="2116" y="1211"/>
                  </a:lnTo>
                  <a:lnTo>
                    <a:pt x="2116" y="1211"/>
                  </a:lnTo>
                  <a:lnTo>
                    <a:pt x="2113" y="1211"/>
                  </a:lnTo>
                  <a:lnTo>
                    <a:pt x="2113" y="1211"/>
                  </a:lnTo>
                  <a:lnTo>
                    <a:pt x="2113" y="1211"/>
                  </a:lnTo>
                  <a:lnTo>
                    <a:pt x="2113" y="1211"/>
                  </a:lnTo>
                  <a:lnTo>
                    <a:pt x="2116" y="1213"/>
                  </a:lnTo>
                  <a:lnTo>
                    <a:pt x="2116" y="1213"/>
                  </a:lnTo>
                  <a:lnTo>
                    <a:pt x="2116" y="1213"/>
                  </a:lnTo>
                  <a:lnTo>
                    <a:pt x="2113" y="1213"/>
                  </a:lnTo>
                  <a:lnTo>
                    <a:pt x="2113" y="1213"/>
                  </a:lnTo>
                  <a:lnTo>
                    <a:pt x="2113" y="1216"/>
                  </a:lnTo>
                  <a:lnTo>
                    <a:pt x="2113" y="1216"/>
                  </a:lnTo>
                  <a:lnTo>
                    <a:pt x="2113" y="1216"/>
                  </a:lnTo>
                  <a:lnTo>
                    <a:pt x="2111" y="1216"/>
                  </a:lnTo>
                  <a:lnTo>
                    <a:pt x="2111" y="1218"/>
                  </a:lnTo>
                  <a:lnTo>
                    <a:pt x="2111" y="1218"/>
                  </a:lnTo>
                  <a:lnTo>
                    <a:pt x="2113" y="1220"/>
                  </a:lnTo>
                  <a:lnTo>
                    <a:pt x="2113" y="1220"/>
                  </a:lnTo>
                  <a:lnTo>
                    <a:pt x="2111" y="1220"/>
                  </a:lnTo>
                  <a:lnTo>
                    <a:pt x="2111" y="1220"/>
                  </a:lnTo>
                  <a:close/>
                  <a:moveTo>
                    <a:pt x="2355" y="1819"/>
                  </a:moveTo>
                  <a:lnTo>
                    <a:pt x="2355" y="1819"/>
                  </a:lnTo>
                  <a:lnTo>
                    <a:pt x="2357" y="1819"/>
                  </a:lnTo>
                  <a:lnTo>
                    <a:pt x="2357" y="1819"/>
                  </a:lnTo>
                  <a:lnTo>
                    <a:pt x="2357" y="1819"/>
                  </a:lnTo>
                  <a:lnTo>
                    <a:pt x="2357" y="1819"/>
                  </a:lnTo>
                  <a:lnTo>
                    <a:pt x="2359" y="1819"/>
                  </a:lnTo>
                  <a:lnTo>
                    <a:pt x="2359" y="1819"/>
                  </a:lnTo>
                  <a:lnTo>
                    <a:pt x="2364" y="1821"/>
                  </a:lnTo>
                  <a:lnTo>
                    <a:pt x="2367" y="1819"/>
                  </a:lnTo>
                  <a:lnTo>
                    <a:pt x="2367" y="1819"/>
                  </a:lnTo>
                  <a:lnTo>
                    <a:pt x="2367" y="1819"/>
                  </a:lnTo>
                  <a:lnTo>
                    <a:pt x="2369" y="1819"/>
                  </a:lnTo>
                  <a:lnTo>
                    <a:pt x="2369" y="1819"/>
                  </a:lnTo>
                  <a:lnTo>
                    <a:pt x="2369" y="1819"/>
                  </a:lnTo>
                  <a:lnTo>
                    <a:pt x="2367" y="1819"/>
                  </a:lnTo>
                  <a:lnTo>
                    <a:pt x="2367" y="1819"/>
                  </a:lnTo>
                  <a:lnTo>
                    <a:pt x="2367" y="1816"/>
                  </a:lnTo>
                  <a:lnTo>
                    <a:pt x="2369" y="1816"/>
                  </a:lnTo>
                  <a:lnTo>
                    <a:pt x="2369" y="1816"/>
                  </a:lnTo>
                  <a:lnTo>
                    <a:pt x="2367" y="1816"/>
                  </a:lnTo>
                  <a:lnTo>
                    <a:pt x="2367" y="1814"/>
                  </a:lnTo>
                  <a:lnTo>
                    <a:pt x="2367" y="1814"/>
                  </a:lnTo>
                  <a:lnTo>
                    <a:pt x="2367" y="1814"/>
                  </a:lnTo>
                  <a:lnTo>
                    <a:pt x="2364" y="1814"/>
                  </a:lnTo>
                  <a:lnTo>
                    <a:pt x="2364" y="1816"/>
                  </a:lnTo>
                  <a:lnTo>
                    <a:pt x="2364" y="1816"/>
                  </a:lnTo>
                  <a:lnTo>
                    <a:pt x="2364" y="1816"/>
                  </a:lnTo>
                  <a:lnTo>
                    <a:pt x="2364" y="1816"/>
                  </a:lnTo>
                  <a:lnTo>
                    <a:pt x="2362" y="1816"/>
                  </a:lnTo>
                  <a:lnTo>
                    <a:pt x="2355" y="1819"/>
                  </a:lnTo>
                  <a:close/>
                  <a:moveTo>
                    <a:pt x="2606" y="1923"/>
                  </a:moveTo>
                  <a:lnTo>
                    <a:pt x="2606" y="1923"/>
                  </a:lnTo>
                  <a:lnTo>
                    <a:pt x="2606" y="1925"/>
                  </a:lnTo>
                  <a:lnTo>
                    <a:pt x="2603" y="1925"/>
                  </a:lnTo>
                  <a:lnTo>
                    <a:pt x="2603" y="1925"/>
                  </a:lnTo>
                  <a:lnTo>
                    <a:pt x="2606" y="1925"/>
                  </a:lnTo>
                  <a:lnTo>
                    <a:pt x="2606" y="1928"/>
                  </a:lnTo>
                  <a:lnTo>
                    <a:pt x="2606" y="1928"/>
                  </a:lnTo>
                  <a:lnTo>
                    <a:pt x="2608" y="1928"/>
                  </a:lnTo>
                  <a:lnTo>
                    <a:pt x="2608" y="1928"/>
                  </a:lnTo>
                  <a:lnTo>
                    <a:pt x="2606" y="1925"/>
                  </a:lnTo>
                  <a:lnTo>
                    <a:pt x="2608" y="1925"/>
                  </a:lnTo>
                  <a:lnTo>
                    <a:pt x="2606" y="1925"/>
                  </a:lnTo>
                  <a:lnTo>
                    <a:pt x="2606" y="1925"/>
                  </a:lnTo>
                  <a:lnTo>
                    <a:pt x="2606" y="1925"/>
                  </a:lnTo>
                  <a:lnTo>
                    <a:pt x="2606" y="1923"/>
                  </a:lnTo>
                  <a:lnTo>
                    <a:pt x="2606" y="1923"/>
                  </a:lnTo>
                  <a:close/>
                  <a:moveTo>
                    <a:pt x="2658" y="2034"/>
                  </a:moveTo>
                  <a:lnTo>
                    <a:pt x="2658" y="2034"/>
                  </a:lnTo>
                  <a:lnTo>
                    <a:pt x="2658" y="2034"/>
                  </a:lnTo>
                  <a:lnTo>
                    <a:pt x="2658" y="2034"/>
                  </a:lnTo>
                  <a:lnTo>
                    <a:pt x="2658" y="2036"/>
                  </a:lnTo>
                  <a:lnTo>
                    <a:pt x="2660" y="2036"/>
                  </a:lnTo>
                  <a:lnTo>
                    <a:pt x="2660" y="2036"/>
                  </a:lnTo>
                  <a:lnTo>
                    <a:pt x="2660" y="2036"/>
                  </a:lnTo>
                  <a:lnTo>
                    <a:pt x="2660" y="2036"/>
                  </a:lnTo>
                  <a:lnTo>
                    <a:pt x="2660" y="2036"/>
                  </a:lnTo>
                  <a:lnTo>
                    <a:pt x="2662" y="2036"/>
                  </a:lnTo>
                  <a:lnTo>
                    <a:pt x="2662" y="2036"/>
                  </a:lnTo>
                  <a:lnTo>
                    <a:pt x="2662" y="2034"/>
                  </a:lnTo>
                  <a:lnTo>
                    <a:pt x="2662" y="2034"/>
                  </a:lnTo>
                  <a:lnTo>
                    <a:pt x="2662" y="2034"/>
                  </a:lnTo>
                  <a:lnTo>
                    <a:pt x="2665" y="2032"/>
                  </a:lnTo>
                  <a:lnTo>
                    <a:pt x="2662" y="2032"/>
                  </a:lnTo>
                  <a:lnTo>
                    <a:pt x="2662" y="2032"/>
                  </a:lnTo>
                  <a:lnTo>
                    <a:pt x="2662" y="2032"/>
                  </a:lnTo>
                  <a:lnTo>
                    <a:pt x="2662" y="2032"/>
                  </a:lnTo>
                  <a:lnTo>
                    <a:pt x="2662" y="2032"/>
                  </a:lnTo>
                  <a:lnTo>
                    <a:pt x="2662" y="2032"/>
                  </a:lnTo>
                  <a:lnTo>
                    <a:pt x="2662" y="2032"/>
                  </a:lnTo>
                  <a:lnTo>
                    <a:pt x="2662" y="2032"/>
                  </a:lnTo>
                  <a:lnTo>
                    <a:pt x="2662" y="2032"/>
                  </a:lnTo>
                  <a:lnTo>
                    <a:pt x="2662" y="2029"/>
                  </a:lnTo>
                  <a:lnTo>
                    <a:pt x="2662" y="2032"/>
                  </a:lnTo>
                  <a:lnTo>
                    <a:pt x="2662" y="2032"/>
                  </a:lnTo>
                  <a:lnTo>
                    <a:pt x="2660" y="2032"/>
                  </a:lnTo>
                  <a:lnTo>
                    <a:pt x="2660" y="2034"/>
                  </a:lnTo>
                  <a:lnTo>
                    <a:pt x="2660" y="2034"/>
                  </a:lnTo>
                  <a:lnTo>
                    <a:pt x="2660" y="2034"/>
                  </a:lnTo>
                  <a:lnTo>
                    <a:pt x="2658" y="2032"/>
                  </a:lnTo>
                  <a:lnTo>
                    <a:pt x="2658" y="2032"/>
                  </a:lnTo>
                  <a:lnTo>
                    <a:pt x="2658" y="2034"/>
                  </a:lnTo>
                  <a:lnTo>
                    <a:pt x="2658" y="2034"/>
                  </a:lnTo>
                  <a:close/>
                  <a:moveTo>
                    <a:pt x="2662" y="2065"/>
                  </a:moveTo>
                  <a:lnTo>
                    <a:pt x="2662" y="2065"/>
                  </a:lnTo>
                  <a:lnTo>
                    <a:pt x="2662" y="2065"/>
                  </a:lnTo>
                  <a:lnTo>
                    <a:pt x="2662" y="2067"/>
                  </a:lnTo>
                  <a:lnTo>
                    <a:pt x="2662" y="2067"/>
                  </a:lnTo>
                  <a:lnTo>
                    <a:pt x="2665" y="2065"/>
                  </a:lnTo>
                  <a:lnTo>
                    <a:pt x="2665" y="2065"/>
                  </a:lnTo>
                  <a:lnTo>
                    <a:pt x="2665" y="2065"/>
                  </a:lnTo>
                  <a:lnTo>
                    <a:pt x="2665" y="2065"/>
                  </a:lnTo>
                  <a:lnTo>
                    <a:pt x="2662" y="2065"/>
                  </a:lnTo>
                  <a:lnTo>
                    <a:pt x="2662" y="2065"/>
                  </a:lnTo>
                  <a:close/>
                  <a:moveTo>
                    <a:pt x="2655" y="2027"/>
                  </a:moveTo>
                  <a:lnTo>
                    <a:pt x="2655" y="2027"/>
                  </a:lnTo>
                  <a:lnTo>
                    <a:pt x="2655" y="2027"/>
                  </a:lnTo>
                  <a:lnTo>
                    <a:pt x="2658" y="2027"/>
                  </a:lnTo>
                  <a:lnTo>
                    <a:pt x="2658" y="2027"/>
                  </a:lnTo>
                  <a:lnTo>
                    <a:pt x="2658" y="2027"/>
                  </a:lnTo>
                  <a:lnTo>
                    <a:pt x="2658" y="2027"/>
                  </a:lnTo>
                  <a:lnTo>
                    <a:pt x="2658" y="2027"/>
                  </a:lnTo>
                  <a:lnTo>
                    <a:pt x="2658" y="2027"/>
                  </a:lnTo>
                  <a:lnTo>
                    <a:pt x="2658" y="2025"/>
                  </a:lnTo>
                  <a:lnTo>
                    <a:pt x="2658" y="2025"/>
                  </a:lnTo>
                  <a:lnTo>
                    <a:pt x="2658" y="2025"/>
                  </a:lnTo>
                  <a:lnTo>
                    <a:pt x="2658" y="2025"/>
                  </a:lnTo>
                  <a:lnTo>
                    <a:pt x="2658" y="2022"/>
                  </a:lnTo>
                  <a:lnTo>
                    <a:pt x="2658" y="2022"/>
                  </a:lnTo>
                  <a:lnTo>
                    <a:pt x="2655" y="2022"/>
                  </a:lnTo>
                  <a:lnTo>
                    <a:pt x="2655" y="2025"/>
                  </a:lnTo>
                  <a:lnTo>
                    <a:pt x="2655" y="2025"/>
                  </a:lnTo>
                  <a:lnTo>
                    <a:pt x="2653" y="2025"/>
                  </a:lnTo>
                  <a:lnTo>
                    <a:pt x="2655" y="2025"/>
                  </a:lnTo>
                  <a:lnTo>
                    <a:pt x="2655" y="2027"/>
                  </a:lnTo>
                  <a:close/>
                  <a:moveTo>
                    <a:pt x="2641" y="1975"/>
                  </a:moveTo>
                  <a:lnTo>
                    <a:pt x="2643" y="1975"/>
                  </a:lnTo>
                  <a:lnTo>
                    <a:pt x="2643" y="1975"/>
                  </a:lnTo>
                  <a:lnTo>
                    <a:pt x="2643" y="1970"/>
                  </a:lnTo>
                  <a:lnTo>
                    <a:pt x="2643" y="1970"/>
                  </a:lnTo>
                  <a:lnTo>
                    <a:pt x="2643" y="1968"/>
                  </a:lnTo>
                  <a:lnTo>
                    <a:pt x="2643" y="1968"/>
                  </a:lnTo>
                  <a:lnTo>
                    <a:pt x="2643" y="1970"/>
                  </a:lnTo>
                  <a:lnTo>
                    <a:pt x="2641" y="1970"/>
                  </a:lnTo>
                  <a:lnTo>
                    <a:pt x="2641" y="1970"/>
                  </a:lnTo>
                  <a:lnTo>
                    <a:pt x="2641" y="1970"/>
                  </a:lnTo>
                  <a:lnTo>
                    <a:pt x="2641" y="1972"/>
                  </a:lnTo>
                  <a:lnTo>
                    <a:pt x="2641" y="1975"/>
                  </a:lnTo>
                  <a:lnTo>
                    <a:pt x="2641" y="1975"/>
                  </a:lnTo>
                  <a:lnTo>
                    <a:pt x="2641" y="1975"/>
                  </a:lnTo>
                  <a:close/>
                  <a:moveTo>
                    <a:pt x="2608" y="1937"/>
                  </a:moveTo>
                  <a:lnTo>
                    <a:pt x="2608" y="1937"/>
                  </a:lnTo>
                  <a:lnTo>
                    <a:pt x="2608" y="1939"/>
                  </a:lnTo>
                  <a:lnTo>
                    <a:pt x="2608" y="1939"/>
                  </a:lnTo>
                  <a:lnTo>
                    <a:pt x="2610" y="1939"/>
                  </a:lnTo>
                  <a:lnTo>
                    <a:pt x="2610" y="1939"/>
                  </a:lnTo>
                  <a:lnTo>
                    <a:pt x="2610" y="1939"/>
                  </a:lnTo>
                  <a:lnTo>
                    <a:pt x="2610" y="1937"/>
                  </a:lnTo>
                  <a:lnTo>
                    <a:pt x="2610" y="1937"/>
                  </a:lnTo>
                  <a:lnTo>
                    <a:pt x="2610" y="1937"/>
                  </a:lnTo>
                  <a:lnTo>
                    <a:pt x="2610" y="1937"/>
                  </a:lnTo>
                  <a:lnTo>
                    <a:pt x="2608" y="1937"/>
                  </a:lnTo>
                  <a:lnTo>
                    <a:pt x="2608" y="1937"/>
                  </a:lnTo>
                  <a:close/>
                  <a:moveTo>
                    <a:pt x="2665" y="2065"/>
                  </a:moveTo>
                  <a:lnTo>
                    <a:pt x="2667" y="2065"/>
                  </a:lnTo>
                  <a:lnTo>
                    <a:pt x="2667" y="2065"/>
                  </a:lnTo>
                  <a:lnTo>
                    <a:pt x="2667" y="2065"/>
                  </a:lnTo>
                  <a:lnTo>
                    <a:pt x="2669" y="2065"/>
                  </a:lnTo>
                  <a:lnTo>
                    <a:pt x="2667" y="2062"/>
                  </a:lnTo>
                  <a:lnTo>
                    <a:pt x="2667" y="2062"/>
                  </a:lnTo>
                  <a:lnTo>
                    <a:pt x="2667" y="2062"/>
                  </a:lnTo>
                  <a:lnTo>
                    <a:pt x="2665" y="2062"/>
                  </a:lnTo>
                  <a:lnTo>
                    <a:pt x="2665" y="2062"/>
                  </a:lnTo>
                  <a:lnTo>
                    <a:pt x="2665" y="2062"/>
                  </a:lnTo>
                  <a:lnTo>
                    <a:pt x="2665" y="2065"/>
                  </a:lnTo>
                  <a:lnTo>
                    <a:pt x="2665" y="2065"/>
                  </a:lnTo>
                  <a:close/>
                  <a:moveTo>
                    <a:pt x="2681" y="2095"/>
                  </a:moveTo>
                  <a:lnTo>
                    <a:pt x="2681" y="2095"/>
                  </a:lnTo>
                  <a:lnTo>
                    <a:pt x="2681" y="2095"/>
                  </a:lnTo>
                  <a:lnTo>
                    <a:pt x="2681" y="2098"/>
                  </a:lnTo>
                  <a:lnTo>
                    <a:pt x="2681" y="2098"/>
                  </a:lnTo>
                  <a:lnTo>
                    <a:pt x="2681" y="2098"/>
                  </a:lnTo>
                  <a:lnTo>
                    <a:pt x="2681" y="2098"/>
                  </a:lnTo>
                  <a:lnTo>
                    <a:pt x="2684" y="2098"/>
                  </a:lnTo>
                  <a:lnTo>
                    <a:pt x="2684" y="2095"/>
                  </a:lnTo>
                  <a:lnTo>
                    <a:pt x="2684" y="2095"/>
                  </a:lnTo>
                  <a:lnTo>
                    <a:pt x="2681" y="2095"/>
                  </a:lnTo>
                  <a:close/>
                  <a:moveTo>
                    <a:pt x="2724" y="2067"/>
                  </a:moveTo>
                  <a:lnTo>
                    <a:pt x="2724" y="2067"/>
                  </a:lnTo>
                  <a:lnTo>
                    <a:pt x="2724" y="2067"/>
                  </a:lnTo>
                  <a:lnTo>
                    <a:pt x="2724" y="2067"/>
                  </a:lnTo>
                  <a:lnTo>
                    <a:pt x="2724" y="2069"/>
                  </a:lnTo>
                  <a:lnTo>
                    <a:pt x="2724" y="2069"/>
                  </a:lnTo>
                  <a:lnTo>
                    <a:pt x="2724" y="2069"/>
                  </a:lnTo>
                  <a:lnTo>
                    <a:pt x="2724" y="2069"/>
                  </a:lnTo>
                  <a:lnTo>
                    <a:pt x="2724" y="2069"/>
                  </a:lnTo>
                  <a:lnTo>
                    <a:pt x="2726" y="2069"/>
                  </a:lnTo>
                  <a:lnTo>
                    <a:pt x="2724" y="2069"/>
                  </a:lnTo>
                  <a:lnTo>
                    <a:pt x="2724" y="2069"/>
                  </a:lnTo>
                  <a:lnTo>
                    <a:pt x="2724" y="2069"/>
                  </a:lnTo>
                  <a:lnTo>
                    <a:pt x="2724" y="2072"/>
                  </a:lnTo>
                  <a:lnTo>
                    <a:pt x="2726" y="2072"/>
                  </a:lnTo>
                  <a:lnTo>
                    <a:pt x="2726" y="2074"/>
                  </a:lnTo>
                  <a:lnTo>
                    <a:pt x="2726" y="2074"/>
                  </a:lnTo>
                  <a:lnTo>
                    <a:pt x="2726" y="2074"/>
                  </a:lnTo>
                  <a:lnTo>
                    <a:pt x="2726" y="2074"/>
                  </a:lnTo>
                  <a:lnTo>
                    <a:pt x="2729" y="2074"/>
                  </a:lnTo>
                  <a:lnTo>
                    <a:pt x="2729" y="2074"/>
                  </a:lnTo>
                  <a:lnTo>
                    <a:pt x="2729" y="2072"/>
                  </a:lnTo>
                  <a:lnTo>
                    <a:pt x="2729" y="2072"/>
                  </a:lnTo>
                  <a:lnTo>
                    <a:pt x="2729" y="2072"/>
                  </a:lnTo>
                  <a:lnTo>
                    <a:pt x="2731" y="2072"/>
                  </a:lnTo>
                  <a:lnTo>
                    <a:pt x="2731" y="2069"/>
                  </a:lnTo>
                  <a:lnTo>
                    <a:pt x="2731" y="2069"/>
                  </a:lnTo>
                  <a:lnTo>
                    <a:pt x="2731" y="2069"/>
                  </a:lnTo>
                  <a:lnTo>
                    <a:pt x="2731" y="2069"/>
                  </a:lnTo>
                  <a:lnTo>
                    <a:pt x="2733" y="2069"/>
                  </a:lnTo>
                  <a:lnTo>
                    <a:pt x="2733" y="2067"/>
                  </a:lnTo>
                  <a:lnTo>
                    <a:pt x="2733" y="2067"/>
                  </a:lnTo>
                  <a:lnTo>
                    <a:pt x="2733" y="2067"/>
                  </a:lnTo>
                  <a:lnTo>
                    <a:pt x="2733" y="2067"/>
                  </a:lnTo>
                  <a:lnTo>
                    <a:pt x="2733" y="2067"/>
                  </a:lnTo>
                  <a:lnTo>
                    <a:pt x="2733" y="2067"/>
                  </a:lnTo>
                  <a:lnTo>
                    <a:pt x="2733" y="2067"/>
                  </a:lnTo>
                  <a:lnTo>
                    <a:pt x="2733" y="2067"/>
                  </a:lnTo>
                  <a:lnTo>
                    <a:pt x="2733" y="2067"/>
                  </a:lnTo>
                  <a:lnTo>
                    <a:pt x="2731" y="2065"/>
                  </a:lnTo>
                  <a:lnTo>
                    <a:pt x="2731" y="2065"/>
                  </a:lnTo>
                  <a:lnTo>
                    <a:pt x="2731" y="2065"/>
                  </a:lnTo>
                  <a:lnTo>
                    <a:pt x="2731" y="2065"/>
                  </a:lnTo>
                  <a:lnTo>
                    <a:pt x="2731" y="2065"/>
                  </a:lnTo>
                  <a:lnTo>
                    <a:pt x="2731" y="2065"/>
                  </a:lnTo>
                  <a:lnTo>
                    <a:pt x="2731" y="2065"/>
                  </a:lnTo>
                  <a:lnTo>
                    <a:pt x="2731" y="2065"/>
                  </a:lnTo>
                  <a:lnTo>
                    <a:pt x="2731" y="2065"/>
                  </a:lnTo>
                  <a:lnTo>
                    <a:pt x="2731" y="2065"/>
                  </a:lnTo>
                  <a:lnTo>
                    <a:pt x="2729" y="2065"/>
                  </a:lnTo>
                  <a:lnTo>
                    <a:pt x="2729" y="2062"/>
                  </a:lnTo>
                  <a:lnTo>
                    <a:pt x="2729" y="2062"/>
                  </a:lnTo>
                  <a:lnTo>
                    <a:pt x="2726" y="2065"/>
                  </a:lnTo>
                  <a:lnTo>
                    <a:pt x="2729" y="2065"/>
                  </a:lnTo>
                  <a:lnTo>
                    <a:pt x="2729" y="2065"/>
                  </a:lnTo>
                  <a:lnTo>
                    <a:pt x="2729" y="2065"/>
                  </a:lnTo>
                  <a:lnTo>
                    <a:pt x="2726" y="2065"/>
                  </a:lnTo>
                  <a:lnTo>
                    <a:pt x="2726" y="2065"/>
                  </a:lnTo>
                  <a:lnTo>
                    <a:pt x="2726" y="2067"/>
                  </a:lnTo>
                  <a:lnTo>
                    <a:pt x="2726" y="2067"/>
                  </a:lnTo>
                  <a:lnTo>
                    <a:pt x="2726" y="2067"/>
                  </a:lnTo>
                  <a:lnTo>
                    <a:pt x="2726" y="2067"/>
                  </a:lnTo>
                  <a:lnTo>
                    <a:pt x="2726" y="2069"/>
                  </a:lnTo>
                  <a:lnTo>
                    <a:pt x="2726" y="2067"/>
                  </a:lnTo>
                  <a:lnTo>
                    <a:pt x="2726" y="2067"/>
                  </a:lnTo>
                  <a:lnTo>
                    <a:pt x="2726" y="2067"/>
                  </a:lnTo>
                  <a:lnTo>
                    <a:pt x="2724" y="2067"/>
                  </a:lnTo>
                  <a:lnTo>
                    <a:pt x="2724" y="2067"/>
                  </a:lnTo>
                  <a:lnTo>
                    <a:pt x="2724" y="2067"/>
                  </a:lnTo>
                  <a:lnTo>
                    <a:pt x="2724" y="2067"/>
                  </a:lnTo>
                  <a:lnTo>
                    <a:pt x="2724" y="2067"/>
                  </a:lnTo>
                  <a:close/>
                  <a:moveTo>
                    <a:pt x="2811" y="2152"/>
                  </a:moveTo>
                  <a:lnTo>
                    <a:pt x="2811" y="2152"/>
                  </a:lnTo>
                  <a:lnTo>
                    <a:pt x="2811" y="2150"/>
                  </a:lnTo>
                  <a:lnTo>
                    <a:pt x="2814" y="2150"/>
                  </a:lnTo>
                  <a:lnTo>
                    <a:pt x="2811" y="2148"/>
                  </a:lnTo>
                  <a:lnTo>
                    <a:pt x="2811" y="2150"/>
                  </a:lnTo>
                  <a:lnTo>
                    <a:pt x="2809" y="2152"/>
                  </a:lnTo>
                  <a:lnTo>
                    <a:pt x="2809" y="2152"/>
                  </a:lnTo>
                  <a:lnTo>
                    <a:pt x="2811" y="2152"/>
                  </a:lnTo>
                  <a:close/>
                  <a:moveTo>
                    <a:pt x="2707" y="2084"/>
                  </a:moveTo>
                  <a:lnTo>
                    <a:pt x="2707" y="2084"/>
                  </a:lnTo>
                  <a:lnTo>
                    <a:pt x="2707" y="2084"/>
                  </a:lnTo>
                  <a:lnTo>
                    <a:pt x="2707" y="2084"/>
                  </a:lnTo>
                  <a:lnTo>
                    <a:pt x="2710" y="2084"/>
                  </a:lnTo>
                  <a:lnTo>
                    <a:pt x="2710" y="2084"/>
                  </a:lnTo>
                  <a:lnTo>
                    <a:pt x="2710" y="2084"/>
                  </a:lnTo>
                  <a:lnTo>
                    <a:pt x="2710" y="2084"/>
                  </a:lnTo>
                  <a:lnTo>
                    <a:pt x="2710" y="2084"/>
                  </a:lnTo>
                  <a:lnTo>
                    <a:pt x="2712" y="2084"/>
                  </a:lnTo>
                  <a:lnTo>
                    <a:pt x="2712" y="2086"/>
                  </a:lnTo>
                  <a:lnTo>
                    <a:pt x="2712" y="2086"/>
                  </a:lnTo>
                  <a:lnTo>
                    <a:pt x="2710" y="2086"/>
                  </a:lnTo>
                  <a:lnTo>
                    <a:pt x="2710" y="2086"/>
                  </a:lnTo>
                  <a:lnTo>
                    <a:pt x="2710" y="2086"/>
                  </a:lnTo>
                  <a:lnTo>
                    <a:pt x="2710" y="2086"/>
                  </a:lnTo>
                  <a:lnTo>
                    <a:pt x="2710" y="2086"/>
                  </a:lnTo>
                  <a:lnTo>
                    <a:pt x="2712" y="2086"/>
                  </a:lnTo>
                  <a:lnTo>
                    <a:pt x="2712" y="2086"/>
                  </a:lnTo>
                  <a:lnTo>
                    <a:pt x="2714" y="2086"/>
                  </a:lnTo>
                  <a:lnTo>
                    <a:pt x="2714" y="2086"/>
                  </a:lnTo>
                  <a:lnTo>
                    <a:pt x="2714" y="2084"/>
                  </a:lnTo>
                  <a:lnTo>
                    <a:pt x="2714" y="2084"/>
                  </a:lnTo>
                  <a:lnTo>
                    <a:pt x="2712" y="2084"/>
                  </a:lnTo>
                  <a:lnTo>
                    <a:pt x="2714" y="2084"/>
                  </a:lnTo>
                  <a:lnTo>
                    <a:pt x="2714" y="2084"/>
                  </a:lnTo>
                  <a:lnTo>
                    <a:pt x="2714" y="2081"/>
                  </a:lnTo>
                  <a:lnTo>
                    <a:pt x="2717" y="2079"/>
                  </a:lnTo>
                  <a:lnTo>
                    <a:pt x="2717" y="2079"/>
                  </a:lnTo>
                  <a:lnTo>
                    <a:pt x="2719" y="2079"/>
                  </a:lnTo>
                  <a:lnTo>
                    <a:pt x="2717" y="2077"/>
                  </a:lnTo>
                  <a:lnTo>
                    <a:pt x="2717" y="2077"/>
                  </a:lnTo>
                  <a:lnTo>
                    <a:pt x="2717" y="2077"/>
                  </a:lnTo>
                  <a:lnTo>
                    <a:pt x="2717" y="2077"/>
                  </a:lnTo>
                  <a:lnTo>
                    <a:pt x="2717" y="2074"/>
                  </a:lnTo>
                  <a:lnTo>
                    <a:pt x="2717" y="2074"/>
                  </a:lnTo>
                  <a:lnTo>
                    <a:pt x="2717" y="2074"/>
                  </a:lnTo>
                  <a:lnTo>
                    <a:pt x="2717" y="2074"/>
                  </a:lnTo>
                  <a:lnTo>
                    <a:pt x="2717" y="2074"/>
                  </a:lnTo>
                  <a:lnTo>
                    <a:pt x="2717" y="2077"/>
                  </a:lnTo>
                  <a:lnTo>
                    <a:pt x="2714" y="2077"/>
                  </a:lnTo>
                  <a:lnTo>
                    <a:pt x="2714" y="2077"/>
                  </a:lnTo>
                  <a:lnTo>
                    <a:pt x="2714" y="2077"/>
                  </a:lnTo>
                  <a:lnTo>
                    <a:pt x="2714" y="2077"/>
                  </a:lnTo>
                  <a:lnTo>
                    <a:pt x="2714" y="2077"/>
                  </a:lnTo>
                  <a:lnTo>
                    <a:pt x="2714" y="2077"/>
                  </a:lnTo>
                  <a:lnTo>
                    <a:pt x="2714" y="2079"/>
                  </a:lnTo>
                  <a:lnTo>
                    <a:pt x="2714" y="2079"/>
                  </a:lnTo>
                  <a:lnTo>
                    <a:pt x="2714" y="2079"/>
                  </a:lnTo>
                  <a:lnTo>
                    <a:pt x="2714" y="2081"/>
                  </a:lnTo>
                  <a:lnTo>
                    <a:pt x="2712" y="2081"/>
                  </a:lnTo>
                  <a:lnTo>
                    <a:pt x="2712" y="2081"/>
                  </a:lnTo>
                  <a:lnTo>
                    <a:pt x="2712" y="2084"/>
                  </a:lnTo>
                  <a:lnTo>
                    <a:pt x="2710" y="2081"/>
                  </a:lnTo>
                  <a:lnTo>
                    <a:pt x="2710" y="2081"/>
                  </a:lnTo>
                  <a:lnTo>
                    <a:pt x="2710" y="2081"/>
                  </a:lnTo>
                  <a:lnTo>
                    <a:pt x="2710" y="2081"/>
                  </a:lnTo>
                  <a:lnTo>
                    <a:pt x="2710" y="2081"/>
                  </a:lnTo>
                  <a:lnTo>
                    <a:pt x="2707" y="2081"/>
                  </a:lnTo>
                  <a:lnTo>
                    <a:pt x="2707" y="2081"/>
                  </a:lnTo>
                  <a:lnTo>
                    <a:pt x="2707" y="2081"/>
                  </a:lnTo>
                  <a:lnTo>
                    <a:pt x="2707" y="2084"/>
                  </a:lnTo>
                  <a:lnTo>
                    <a:pt x="2707" y="2084"/>
                  </a:lnTo>
                  <a:lnTo>
                    <a:pt x="2707" y="2084"/>
                  </a:lnTo>
                  <a:close/>
                  <a:moveTo>
                    <a:pt x="2717" y="2086"/>
                  </a:moveTo>
                  <a:lnTo>
                    <a:pt x="2717" y="2086"/>
                  </a:lnTo>
                  <a:lnTo>
                    <a:pt x="2717" y="2084"/>
                  </a:lnTo>
                  <a:lnTo>
                    <a:pt x="2717" y="2084"/>
                  </a:lnTo>
                  <a:lnTo>
                    <a:pt x="2717" y="2084"/>
                  </a:lnTo>
                  <a:lnTo>
                    <a:pt x="2714" y="2086"/>
                  </a:lnTo>
                  <a:lnTo>
                    <a:pt x="2714" y="2086"/>
                  </a:lnTo>
                  <a:lnTo>
                    <a:pt x="2714" y="2086"/>
                  </a:lnTo>
                  <a:lnTo>
                    <a:pt x="2714" y="2088"/>
                  </a:lnTo>
                  <a:lnTo>
                    <a:pt x="2714" y="2088"/>
                  </a:lnTo>
                  <a:lnTo>
                    <a:pt x="2717" y="2088"/>
                  </a:lnTo>
                  <a:lnTo>
                    <a:pt x="2717" y="2088"/>
                  </a:lnTo>
                  <a:lnTo>
                    <a:pt x="2717" y="2088"/>
                  </a:lnTo>
                  <a:lnTo>
                    <a:pt x="2717" y="2088"/>
                  </a:lnTo>
                  <a:lnTo>
                    <a:pt x="2717" y="2088"/>
                  </a:lnTo>
                  <a:lnTo>
                    <a:pt x="2717" y="2086"/>
                  </a:lnTo>
                  <a:lnTo>
                    <a:pt x="2717" y="2086"/>
                  </a:lnTo>
                  <a:lnTo>
                    <a:pt x="2717" y="2086"/>
                  </a:lnTo>
                  <a:lnTo>
                    <a:pt x="2717" y="2086"/>
                  </a:lnTo>
                  <a:lnTo>
                    <a:pt x="2717" y="2086"/>
                  </a:lnTo>
                  <a:close/>
                  <a:moveTo>
                    <a:pt x="2681" y="2091"/>
                  </a:moveTo>
                  <a:lnTo>
                    <a:pt x="2681" y="2093"/>
                  </a:lnTo>
                  <a:lnTo>
                    <a:pt x="2681" y="2093"/>
                  </a:lnTo>
                  <a:lnTo>
                    <a:pt x="2681" y="2093"/>
                  </a:lnTo>
                  <a:lnTo>
                    <a:pt x="2681" y="2095"/>
                  </a:lnTo>
                  <a:lnTo>
                    <a:pt x="2681" y="2095"/>
                  </a:lnTo>
                  <a:lnTo>
                    <a:pt x="2681" y="2095"/>
                  </a:lnTo>
                  <a:lnTo>
                    <a:pt x="2681" y="2093"/>
                  </a:lnTo>
                  <a:lnTo>
                    <a:pt x="2684" y="2093"/>
                  </a:lnTo>
                  <a:lnTo>
                    <a:pt x="2684" y="2093"/>
                  </a:lnTo>
                  <a:lnTo>
                    <a:pt x="2684" y="2091"/>
                  </a:lnTo>
                  <a:lnTo>
                    <a:pt x="2686" y="2091"/>
                  </a:lnTo>
                  <a:lnTo>
                    <a:pt x="2684" y="2091"/>
                  </a:lnTo>
                  <a:lnTo>
                    <a:pt x="2684" y="2091"/>
                  </a:lnTo>
                  <a:lnTo>
                    <a:pt x="2684" y="2091"/>
                  </a:lnTo>
                  <a:lnTo>
                    <a:pt x="2684" y="2091"/>
                  </a:lnTo>
                  <a:lnTo>
                    <a:pt x="2684" y="2091"/>
                  </a:lnTo>
                  <a:lnTo>
                    <a:pt x="2684" y="2091"/>
                  </a:lnTo>
                  <a:lnTo>
                    <a:pt x="2684" y="2091"/>
                  </a:lnTo>
                  <a:lnTo>
                    <a:pt x="2684" y="2093"/>
                  </a:lnTo>
                  <a:lnTo>
                    <a:pt x="2684" y="2091"/>
                  </a:lnTo>
                  <a:lnTo>
                    <a:pt x="2681" y="2091"/>
                  </a:lnTo>
                  <a:lnTo>
                    <a:pt x="2681" y="2091"/>
                  </a:lnTo>
                  <a:lnTo>
                    <a:pt x="2681" y="2091"/>
                  </a:lnTo>
                  <a:lnTo>
                    <a:pt x="2681" y="2091"/>
                  </a:lnTo>
                  <a:lnTo>
                    <a:pt x="2681" y="2091"/>
                  </a:lnTo>
                  <a:lnTo>
                    <a:pt x="2681" y="2091"/>
                  </a:lnTo>
                  <a:lnTo>
                    <a:pt x="2681" y="2091"/>
                  </a:lnTo>
                  <a:close/>
                  <a:moveTo>
                    <a:pt x="2381" y="1831"/>
                  </a:moveTo>
                  <a:lnTo>
                    <a:pt x="2381" y="1831"/>
                  </a:lnTo>
                  <a:lnTo>
                    <a:pt x="2381" y="1831"/>
                  </a:lnTo>
                  <a:lnTo>
                    <a:pt x="2388" y="1831"/>
                  </a:lnTo>
                  <a:lnTo>
                    <a:pt x="2388" y="1831"/>
                  </a:lnTo>
                  <a:lnTo>
                    <a:pt x="2388" y="1831"/>
                  </a:lnTo>
                  <a:lnTo>
                    <a:pt x="2388" y="1831"/>
                  </a:lnTo>
                  <a:lnTo>
                    <a:pt x="2388" y="1831"/>
                  </a:lnTo>
                  <a:lnTo>
                    <a:pt x="2385" y="1831"/>
                  </a:lnTo>
                  <a:lnTo>
                    <a:pt x="2385" y="1828"/>
                  </a:lnTo>
                  <a:lnTo>
                    <a:pt x="2385" y="1828"/>
                  </a:lnTo>
                  <a:lnTo>
                    <a:pt x="2388" y="1828"/>
                  </a:lnTo>
                  <a:lnTo>
                    <a:pt x="2388" y="1828"/>
                  </a:lnTo>
                  <a:lnTo>
                    <a:pt x="2388" y="1828"/>
                  </a:lnTo>
                  <a:lnTo>
                    <a:pt x="2388" y="1826"/>
                  </a:lnTo>
                  <a:lnTo>
                    <a:pt x="2388" y="1826"/>
                  </a:lnTo>
                  <a:lnTo>
                    <a:pt x="2388" y="1826"/>
                  </a:lnTo>
                  <a:lnTo>
                    <a:pt x="2388" y="1826"/>
                  </a:lnTo>
                  <a:lnTo>
                    <a:pt x="2385" y="1826"/>
                  </a:lnTo>
                  <a:lnTo>
                    <a:pt x="2383" y="1826"/>
                  </a:lnTo>
                  <a:lnTo>
                    <a:pt x="2383" y="1826"/>
                  </a:lnTo>
                  <a:lnTo>
                    <a:pt x="2383" y="1826"/>
                  </a:lnTo>
                  <a:lnTo>
                    <a:pt x="2383" y="1823"/>
                  </a:lnTo>
                  <a:lnTo>
                    <a:pt x="2383" y="1823"/>
                  </a:lnTo>
                  <a:lnTo>
                    <a:pt x="2383" y="1823"/>
                  </a:lnTo>
                  <a:lnTo>
                    <a:pt x="2381" y="1823"/>
                  </a:lnTo>
                  <a:lnTo>
                    <a:pt x="2381" y="1823"/>
                  </a:lnTo>
                  <a:lnTo>
                    <a:pt x="2381" y="1823"/>
                  </a:lnTo>
                  <a:lnTo>
                    <a:pt x="2381" y="1823"/>
                  </a:lnTo>
                  <a:lnTo>
                    <a:pt x="2381" y="1823"/>
                  </a:lnTo>
                  <a:lnTo>
                    <a:pt x="2381" y="1823"/>
                  </a:lnTo>
                  <a:lnTo>
                    <a:pt x="2381" y="1823"/>
                  </a:lnTo>
                  <a:lnTo>
                    <a:pt x="2381" y="1826"/>
                  </a:lnTo>
                  <a:lnTo>
                    <a:pt x="2381" y="1826"/>
                  </a:lnTo>
                  <a:lnTo>
                    <a:pt x="2381" y="1826"/>
                  </a:lnTo>
                  <a:lnTo>
                    <a:pt x="2381" y="1826"/>
                  </a:lnTo>
                  <a:lnTo>
                    <a:pt x="2381" y="1828"/>
                  </a:lnTo>
                  <a:lnTo>
                    <a:pt x="2381" y="1828"/>
                  </a:lnTo>
                  <a:lnTo>
                    <a:pt x="2381" y="1828"/>
                  </a:lnTo>
                  <a:lnTo>
                    <a:pt x="2381" y="1828"/>
                  </a:lnTo>
                  <a:lnTo>
                    <a:pt x="2381" y="1828"/>
                  </a:lnTo>
                  <a:lnTo>
                    <a:pt x="2381" y="1828"/>
                  </a:lnTo>
                  <a:lnTo>
                    <a:pt x="2381" y="1828"/>
                  </a:lnTo>
                  <a:lnTo>
                    <a:pt x="2381" y="1828"/>
                  </a:lnTo>
                  <a:lnTo>
                    <a:pt x="2381" y="1828"/>
                  </a:lnTo>
                  <a:lnTo>
                    <a:pt x="2378" y="1828"/>
                  </a:lnTo>
                  <a:lnTo>
                    <a:pt x="2378" y="1828"/>
                  </a:lnTo>
                  <a:lnTo>
                    <a:pt x="2378" y="1828"/>
                  </a:lnTo>
                  <a:lnTo>
                    <a:pt x="2378" y="1828"/>
                  </a:lnTo>
                  <a:lnTo>
                    <a:pt x="2378" y="1828"/>
                  </a:lnTo>
                  <a:lnTo>
                    <a:pt x="2378" y="1831"/>
                  </a:lnTo>
                  <a:lnTo>
                    <a:pt x="2381" y="1831"/>
                  </a:lnTo>
                  <a:close/>
                  <a:moveTo>
                    <a:pt x="1952" y="1097"/>
                  </a:moveTo>
                  <a:lnTo>
                    <a:pt x="1955" y="1095"/>
                  </a:lnTo>
                  <a:lnTo>
                    <a:pt x="1952" y="1095"/>
                  </a:lnTo>
                  <a:lnTo>
                    <a:pt x="1952" y="1095"/>
                  </a:lnTo>
                  <a:lnTo>
                    <a:pt x="1952" y="1093"/>
                  </a:lnTo>
                  <a:lnTo>
                    <a:pt x="1950" y="1093"/>
                  </a:lnTo>
                  <a:lnTo>
                    <a:pt x="1950" y="1095"/>
                  </a:lnTo>
                  <a:lnTo>
                    <a:pt x="1950" y="1093"/>
                  </a:lnTo>
                  <a:lnTo>
                    <a:pt x="1950" y="1095"/>
                  </a:lnTo>
                  <a:lnTo>
                    <a:pt x="1950" y="1095"/>
                  </a:lnTo>
                  <a:lnTo>
                    <a:pt x="1948" y="1093"/>
                  </a:lnTo>
                  <a:lnTo>
                    <a:pt x="1948" y="1093"/>
                  </a:lnTo>
                  <a:lnTo>
                    <a:pt x="1948" y="1093"/>
                  </a:lnTo>
                  <a:lnTo>
                    <a:pt x="1948" y="1093"/>
                  </a:lnTo>
                  <a:lnTo>
                    <a:pt x="1948" y="1095"/>
                  </a:lnTo>
                  <a:lnTo>
                    <a:pt x="1948" y="1095"/>
                  </a:lnTo>
                  <a:lnTo>
                    <a:pt x="1948" y="1095"/>
                  </a:lnTo>
                  <a:lnTo>
                    <a:pt x="1948" y="1095"/>
                  </a:lnTo>
                  <a:lnTo>
                    <a:pt x="1948" y="1097"/>
                  </a:lnTo>
                  <a:lnTo>
                    <a:pt x="1948" y="1097"/>
                  </a:lnTo>
                  <a:lnTo>
                    <a:pt x="1945" y="1097"/>
                  </a:lnTo>
                  <a:lnTo>
                    <a:pt x="1945" y="1100"/>
                  </a:lnTo>
                  <a:lnTo>
                    <a:pt x="1945" y="1100"/>
                  </a:lnTo>
                  <a:lnTo>
                    <a:pt x="1945" y="1100"/>
                  </a:lnTo>
                  <a:lnTo>
                    <a:pt x="1945" y="1100"/>
                  </a:lnTo>
                  <a:lnTo>
                    <a:pt x="1945" y="1100"/>
                  </a:lnTo>
                  <a:lnTo>
                    <a:pt x="1945" y="1100"/>
                  </a:lnTo>
                  <a:lnTo>
                    <a:pt x="1945" y="1100"/>
                  </a:lnTo>
                  <a:lnTo>
                    <a:pt x="1945" y="1100"/>
                  </a:lnTo>
                  <a:lnTo>
                    <a:pt x="1945" y="1100"/>
                  </a:lnTo>
                  <a:lnTo>
                    <a:pt x="1945" y="1100"/>
                  </a:lnTo>
                  <a:lnTo>
                    <a:pt x="1945" y="1100"/>
                  </a:lnTo>
                  <a:lnTo>
                    <a:pt x="1948" y="1102"/>
                  </a:lnTo>
                  <a:lnTo>
                    <a:pt x="1948" y="1100"/>
                  </a:lnTo>
                  <a:lnTo>
                    <a:pt x="1950" y="1100"/>
                  </a:lnTo>
                  <a:lnTo>
                    <a:pt x="1950" y="1100"/>
                  </a:lnTo>
                  <a:lnTo>
                    <a:pt x="1950" y="1100"/>
                  </a:lnTo>
                  <a:lnTo>
                    <a:pt x="1950" y="1100"/>
                  </a:lnTo>
                  <a:lnTo>
                    <a:pt x="1950" y="1100"/>
                  </a:lnTo>
                  <a:lnTo>
                    <a:pt x="1950" y="1100"/>
                  </a:lnTo>
                  <a:lnTo>
                    <a:pt x="1950" y="1100"/>
                  </a:lnTo>
                  <a:lnTo>
                    <a:pt x="1950" y="1097"/>
                  </a:lnTo>
                  <a:lnTo>
                    <a:pt x="1952" y="1097"/>
                  </a:lnTo>
                  <a:close/>
                  <a:moveTo>
                    <a:pt x="2393" y="1835"/>
                  </a:moveTo>
                  <a:lnTo>
                    <a:pt x="2393" y="1835"/>
                  </a:lnTo>
                  <a:lnTo>
                    <a:pt x="2393" y="1835"/>
                  </a:lnTo>
                  <a:lnTo>
                    <a:pt x="2395" y="1835"/>
                  </a:lnTo>
                  <a:lnTo>
                    <a:pt x="2395" y="1835"/>
                  </a:lnTo>
                  <a:lnTo>
                    <a:pt x="2393" y="1835"/>
                  </a:lnTo>
                  <a:lnTo>
                    <a:pt x="2393" y="1835"/>
                  </a:lnTo>
                  <a:lnTo>
                    <a:pt x="2393" y="1838"/>
                  </a:lnTo>
                  <a:lnTo>
                    <a:pt x="2393" y="1838"/>
                  </a:lnTo>
                  <a:lnTo>
                    <a:pt x="2395" y="1838"/>
                  </a:lnTo>
                  <a:lnTo>
                    <a:pt x="2397" y="1835"/>
                  </a:lnTo>
                  <a:lnTo>
                    <a:pt x="2397" y="1833"/>
                  </a:lnTo>
                  <a:lnTo>
                    <a:pt x="2397" y="1831"/>
                  </a:lnTo>
                  <a:lnTo>
                    <a:pt x="2397" y="1833"/>
                  </a:lnTo>
                  <a:lnTo>
                    <a:pt x="2397" y="1833"/>
                  </a:lnTo>
                  <a:lnTo>
                    <a:pt x="2397" y="1833"/>
                  </a:lnTo>
                  <a:lnTo>
                    <a:pt x="2395" y="1833"/>
                  </a:lnTo>
                  <a:lnTo>
                    <a:pt x="2395" y="1833"/>
                  </a:lnTo>
                  <a:lnTo>
                    <a:pt x="2395" y="1831"/>
                  </a:lnTo>
                  <a:lnTo>
                    <a:pt x="2395" y="1833"/>
                  </a:lnTo>
                  <a:lnTo>
                    <a:pt x="2393" y="1833"/>
                  </a:lnTo>
                  <a:lnTo>
                    <a:pt x="2393" y="1831"/>
                  </a:lnTo>
                  <a:lnTo>
                    <a:pt x="2393" y="1833"/>
                  </a:lnTo>
                  <a:lnTo>
                    <a:pt x="2393" y="1833"/>
                  </a:lnTo>
                  <a:lnTo>
                    <a:pt x="2393" y="1833"/>
                  </a:lnTo>
                  <a:lnTo>
                    <a:pt x="2393" y="1835"/>
                  </a:lnTo>
                  <a:close/>
                  <a:moveTo>
                    <a:pt x="2494" y="1861"/>
                  </a:moveTo>
                  <a:lnTo>
                    <a:pt x="2494" y="1861"/>
                  </a:lnTo>
                  <a:lnTo>
                    <a:pt x="2494" y="1861"/>
                  </a:lnTo>
                  <a:lnTo>
                    <a:pt x="2494" y="1861"/>
                  </a:lnTo>
                  <a:lnTo>
                    <a:pt x="2497" y="1861"/>
                  </a:lnTo>
                  <a:lnTo>
                    <a:pt x="2497" y="1864"/>
                  </a:lnTo>
                  <a:lnTo>
                    <a:pt x="2497" y="1864"/>
                  </a:lnTo>
                  <a:lnTo>
                    <a:pt x="2497" y="1864"/>
                  </a:lnTo>
                  <a:lnTo>
                    <a:pt x="2497" y="1864"/>
                  </a:lnTo>
                  <a:lnTo>
                    <a:pt x="2501" y="1864"/>
                  </a:lnTo>
                  <a:lnTo>
                    <a:pt x="2501" y="1861"/>
                  </a:lnTo>
                  <a:lnTo>
                    <a:pt x="2501" y="1861"/>
                  </a:lnTo>
                  <a:lnTo>
                    <a:pt x="2501" y="1859"/>
                  </a:lnTo>
                  <a:lnTo>
                    <a:pt x="2504" y="1859"/>
                  </a:lnTo>
                  <a:lnTo>
                    <a:pt x="2504" y="1859"/>
                  </a:lnTo>
                  <a:lnTo>
                    <a:pt x="2506" y="1859"/>
                  </a:lnTo>
                  <a:lnTo>
                    <a:pt x="2506" y="1857"/>
                  </a:lnTo>
                  <a:lnTo>
                    <a:pt x="2504" y="1857"/>
                  </a:lnTo>
                  <a:lnTo>
                    <a:pt x="2504" y="1857"/>
                  </a:lnTo>
                  <a:lnTo>
                    <a:pt x="2504" y="1857"/>
                  </a:lnTo>
                  <a:lnTo>
                    <a:pt x="2504" y="1857"/>
                  </a:lnTo>
                  <a:lnTo>
                    <a:pt x="2504" y="1859"/>
                  </a:lnTo>
                  <a:lnTo>
                    <a:pt x="2504" y="1859"/>
                  </a:lnTo>
                  <a:lnTo>
                    <a:pt x="2504" y="1859"/>
                  </a:lnTo>
                  <a:lnTo>
                    <a:pt x="2501" y="1857"/>
                  </a:lnTo>
                  <a:lnTo>
                    <a:pt x="2501" y="1857"/>
                  </a:lnTo>
                  <a:lnTo>
                    <a:pt x="2501" y="1859"/>
                  </a:lnTo>
                  <a:lnTo>
                    <a:pt x="2501" y="1859"/>
                  </a:lnTo>
                  <a:lnTo>
                    <a:pt x="2501" y="1859"/>
                  </a:lnTo>
                  <a:lnTo>
                    <a:pt x="2501" y="1859"/>
                  </a:lnTo>
                  <a:lnTo>
                    <a:pt x="2501" y="1859"/>
                  </a:lnTo>
                  <a:lnTo>
                    <a:pt x="2501" y="1859"/>
                  </a:lnTo>
                  <a:lnTo>
                    <a:pt x="2501" y="1859"/>
                  </a:lnTo>
                  <a:lnTo>
                    <a:pt x="2501" y="1857"/>
                  </a:lnTo>
                  <a:lnTo>
                    <a:pt x="2499" y="1857"/>
                  </a:lnTo>
                  <a:lnTo>
                    <a:pt x="2499" y="1854"/>
                  </a:lnTo>
                  <a:lnTo>
                    <a:pt x="2501" y="1854"/>
                  </a:lnTo>
                  <a:lnTo>
                    <a:pt x="2501" y="1854"/>
                  </a:lnTo>
                  <a:lnTo>
                    <a:pt x="2501" y="1854"/>
                  </a:lnTo>
                  <a:lnTo>
                    <a:pt x="2499" y="1852"/>
                  </a:lnTo>
                  <a:lnTo>
                    <a:pt x="2499" y="1852"/>
                  </a:lnTo>
                  <a:lnTo>
                    <a:pt x="2499" y="1852"/>
                  </a:lnTo>
                  <a:lnTo>
                    <a:pt x="2499" y="1854"/>
                  </a:lnTo>
                  <a:lnTo>
                    <a:pt x="2499" y="1854"/>
                  </a:lnTo>
                  <a:lnTo>
                    <a:pt x="2499" y="1854"/>
                  </a:lnTo>
                  <a:lnTo>
                    <a:pt x="2497" y="1854"/>
                  </a:lnTo>
                  <a:lnTo>
                    <a:pt x="2497" y="1857"/>
                  </a:lnTo>
                  <a:lnTo>
                    <a:pt x="2497" y="1857"/>
                  </a:lnTo>
                  <a:lnTo>
                    <a:pt x="2497" y="1857"/>
                  </a:lnTo>
                  <a:lnTo>
                    <a:pt x="2497" y="1857"/>
                  </a:lnTo>
                  <a:lnTo>
                    <a:pt x="2497" y="1857"/>
                  </a:lnTo>
                  <a:lnTo>
                    <a:pt x="2494" y="1857"/>
                  </a:lnTo>
                  <a:lnTo>
                    <a:pt x="2494" y="1857"/>
                  </a:lnTo>
                  <a:lnTo>
                    <a:pt x="2494" y="1859"/>
                  </a:lnTo>
                  <a:lnTo>
                    <a:pt x="2494" y="1859"/>
                  </a:lnTo>
                  <a:lnTo>
                    <a:pt x="2494" y="1859"/>
                  </a:lnTo>
                  <a:lnTo>
                    <a:pt x="2494" y="1859"/>
                  </a:lnTo>
                  <a:lnTo>
                    <a:pt x="2492" y="1859"/>
                  </a:lnTo>
                  <a:lnTo>
                    <a:pt x="2492" y="1859"/>
                  </a:lnTo>
                  <a:lnTo>
                    <a:pt x="2494" y="1859"/>
                  </a:lnTo>
                  <a:lnTo>
                    <a:pt x="2494" y="1861"/>
                  </a:lnTo>
                  <a:close/>
                  <a:moveTo>
                    <a:pt x="2525" y="1866"/>
                  </a:moveTo>
                  <a:lnTo>
                    <a:pt x="2527" y="1868"/>
                  </a:lnTo>
                  <a:lnTo>
                    <a:pt x="2527" y="1868"/>
                  </a:lnTo>
                  <a:lnTo>
                    <a:pt x="2527" y="1866"/>
                  </a:lnTo>
                  <a:lnTo>
                    <a:pt x="2530" y="1866"/>
                  </a:lnTo>
                  <a:lnTo>
                    <a:pt x="2530" y="1866"/>
                  </a:lnTo>
                  <a:lnTo>
                    <a:pt x="2530" y="1864"/>
                  </a:lnTo>
                  <a:lnTo>
                    <a:pt x="2527" y="1864"/>
                  </a:lnTo>
                  <a:lnTo>
                    <a:pt x="2527" y="1864"/>
                  </a:lnTo>
                  <a:lnTo>
                    <a:pt x="2527" y="1864"/>
                  </a:lnTo>
                  <a:lnTo>
                    <a:pt x="2527" y="1861"/>
                  </a:lnTo>
                  <a:lnTo>
                    <a:pt x="2527" y="1864"/>
                  </a:lnTo>
                  <a:lnTo>
                    <a:pt x="2525" y="1864"/>
                  </a:lnTo>
                  <a:lnTo>
                    <a:pt x="2525" y="1866"/>
                  </a:lnTo>
                  <a:lnTo>
                    <a:pt x="2525" y="1866"/>
                  </a:lnTo>
                  <a:close/>
                  <a:moveTo>
                    <a:pt x="2362" y="1807"/>
                  </a:moveTo>
                  <a:lnTo>
                    <a:pt x="2359" y="1807"/>
                  </a:lnTo>
                  <a:lnTo>
                    <a:pt x="2359" y="1807"/>
                  </a:lnTo>
                  <a:lnTo>
                    <a:pt x="2359" y="1807"/>
                  </a:lnTo>
                  <a:lnTo>
                    <a:pt x="2359" y="1809"/>
                  </a:lnTo>
                  <a:lnTo>
                    <a:pt x="2359" y="1809"/>
                  </a:lnTo>
                  <a:lnTo>
                    <a:pt x="2359" y="1809"/>
                  </a:lnTo>
                  <a:lnTo>
                    <a:pt x="2359" y="1809"/>
                  </a:lnTo>
                  <a:lnTo>
                    <a:pt x="2359" y="1809"/>
                  </a:lnTo>
                  <a:lnTo>
                    <a:pt x="2359" y="1809"/>
                  </a:lnTo>
                  <a:lnTo>
                    <a:pt x="2359" y="1809"/>
                  </a:lnTo>
                  <a:lnTo>
                    <a:pt x="2359" y="1809"/>
                  </a:lnTo>
                  <a:lnTo>
                    <a:pt x="2359" y="1812"/>
                  </a:lnTo>
                  <a:lnTo>
                    <a:pt x="2364" y="1809"/>
                  </a:lnTo>
                  <a:lnTo>
                    <a:pt x="2364" y="1809"/>
                  </a:lnTo>
                  <a:lnTo>
                    <a:pt x="2364" y="1809"/>
                  </a:lnTo>
                  <a:lnTo>
                    <a:pt x="2364" y="1812"/>
                  </a:lnTo>
                  <a:lnTo>
                    <a:pt x="2359" y="1812"/>
                  </a:lnTo>
                  <a:lnTo>
                    <a:pt x="2359" y="1812"/>
                  </a:lnTo>
                  <a:lnTo>
                    <a:pt x="2359" y="1812"/>
                  </a:lnTo>
                  <a:lnTo>
                    <a:pt x="2359" y="1812"/>
                  </a:lnTo>
                  <a:lnTo>
                    <a:pt x="2359" y="1812"/>
                  </a:lnTo>
                  <a:lnTo>
                    <a:pt x="2359" y="1814"/>
                  </a:lnTo>
                  <a:lnTo>
                    <a:pt x="2359" y="1814"/>
                  </a:lnTo>
                  <a:lnTo>
                    <a:pt x="2359" y="1814"/>
                  </a:lnTo>
                  <a:lnTo>
                    <a:pt x="2362" y="1812"/>
                  </a:lnTo>
                  <a:lnTo>
                    <a:pt x="2362" y="1812"/>
                  </a:lnTo>
                  <a:lnTo>
                    <a:pt x="2364" y="1812"/>
                  </a:lnTo>
                  <a:lnTo>
                    <a:pt x="2362" y="1812"/>
                  </a:lnTo>
                  <a:lnTo>
                    <a:pt x="2364" y="1814"/>
                  </a:lnTo>
                  <a:lnTo>
                    <a:pt x="2364" y="1814"/>
                  </a:lnTo>
                  <a:lnTo>
                    <a:pt x="2364" y="1814"/>
                  </a:lnTo>
                  <a:lnTo>
                    <a:pt x="2364" y="1812"/>
                  </a:lnTo>
                  <a:lnTo>
                    <a:pt x="2364" y="1812"/>
                  </a:lnTo>
                  <a:lnTo>
                    <a:pt x="2364" y="1812"/>
                  </a:lnTo>
                  <a:lnTo>
                    <a:pt x="2364" y="1812"/>
                  </a:lnTo>
                  <a:lnTo>
                    <a:pt x="2364" y="1812"/>
                  </a:lnTo>
                  <a:lnTo>
                    <a:pt x="2367" y="1812"/>
                  </a:lnTo>
                  <a:lnTo>
                    <a:pt x="2374" y="1809"/>
                  </a:lnTo>
                  <a:lnTo>
                    <a:pt x="2374" y="1809"/>
                  </a:lnTo>
                  <a:lnTo>
                    <a:pt x="2374" y="1809"/>
                  </a:lnTo>
                  <a:lnTo>
                    <a:pt x="2371" y="1809"/>
                  </a:lnTo>
                  <a:lnTo>
                    <a:pt x="2371" y="1809"/>
                  </a:lnTo>
                  <a:lnTo>
                    <a:pt x="2371" y="1809"/>
                  </a:lnTo>
                  <a:lnTo>
                    <a:pt x="2371" y="1809"/>
                  </a:lnTo>
                  <a:lnTo>
                    <a:pt x="2374" y="1809"/>
                  </a:lnTo>
                  <a:lnTo>
                    <a:pt x="2374" y="1807"/>
                  </a:lnTo>
                  <a:lnTo>
                    <a:pt x="2371" y="1807"/>
                  </a:lnTo>
                  <a:lnTo>
                    <a:pt x="2371" y="1807"/>
                  </a:lnTo>
                  <a:lnTo>
                    <a:pt x="2369" y="1809"/>
                  </a:lnTo>
                  <a:lnTo>
                    <a:pt x="2369" y="1809"/>
                  </a:lnTo>
                  <a:lnTo>
                    <a:pt x="2369" y="1809"/>
                  </a:lnTo>
                  <a:lnTo>
                    <a:pt x="2369" y="1809"/>
                  </a:lnTo>
                  <a:lnTo>
                    <a:pt x="2367" y="1809"/>
                  </a:lnTo>
                  <a:lnTo>
                    <a:pt x="2367" y="1809"/>
                  </a:lnTo>
                  <a:lnTo>
                    <a:pt x="2367" y="1809"/>
                  </a:lnTo>
                  <a:lnTo>
                    <a:pt x="2367" y="1809"/>
                  </a:lnTo>
                  <a:lnTo>
                    <a:pt x="2369" y="1809"/>
                  </a:lnTo>
                  <a:lnTo>
                    <a:pt x="2367" y="1807"/>
                  </a:lnTo>
                  <a:lnTo>
                    <a:pt x="2367" y="1807"/>
                  </a:lnTo>
                  <a:lnTo>
                    <a:pt x="2367" y="1807"/>
                  </a:lnTo>
                  <a:lnTo>
                    <a:pt x="2364" y="1807"/>
                  </a:lnTo>
                  <a:lnTo>
                    <a:pt x="2364" y="1807"/>
                  </a:lnTo>
                  <a:lnTo>
                    <a:pt x="2362" y="1807"/>
                  </a:lnTo>
                  <a:close/>
                  <a:moveTo>
                    <a:pt x="2369" y="1800"/>
                  </a:moveTo>
                  <a:lnTo>
                    <a:pt x="2369" y="1802"/>
                  </a:lnTo>
                  <a:lnTo>
                    <a:pt x="2369" y="1802"/>
                  </a:lnTo>
                  <a:lnTo>
                    <a:pt x="2369" y="1802"/>
                  </a:lnTo>
                  <a:lnTo>
                    <a:pt x="2369" y="1802"/>
                  </a:lnTo>
                  <a:lnTo>
                    <a:pt x="2369" y="1802"/>
                  </a:lnTo>
                  <a:lnTo>
                    <a:pt x="2369" y="1802"/>
                  </a:lnTo>
                  <a:lnTo>
                    <a:pt x="2371" y="1802"/>
                  </a:lnTo>
                  <a:lnTo>
                    <a:pt x="2371" y="1800"/>
                  </a:lnTo>
                  <a:lnTo>
                    <a:pt x="2371" y="1800"/>
                  </a:lnTo>
                  <a:lnTo>
                    <a:pt x="2371" y="1800"/>
                  </a:lnTo>
                  <a:lnTo>
                    <a:pt x="2374" y="1800"/>
                  </a:lnTo>
                  <a:lnTo>
                    <a:pt x="2374" y="1800"/>
                  </a:lnTo>
                  <a:lnTo>
                    <a:pt x="2374" y="1797"/>
                  </a:lnTo>
                  <a:lnTo>
                    <a:pt x="2374" y="1797"/>
                  </a:lnTo>
                  <a:lnTo>
                    <a:pt x="2371" y="1800"/>
                  </a:lnTo>
                  <a:lnTo>
                    <a:pt x="2371" y="1797"/>
                  </a:lnTo>
                  <a:lnTo>
                    <a:pt x="2371" y="1797"/>
                  </a:lnTo>
                  <a:lnTo>
                    <a:pt x="2371" y="1797"/>
                  </a:lnTo>
                  <a:lnTo>
                    <a:pt x="2371" y="1797"/>
                  </a:lnTo>
                  <a:lnTo>
                    <a:pt x="2371" y="1797"/>
                  </a:lnTo>
                  <a:lnTo>
                    <a:pt x="2371" y="1795"/>
                  </a:lnTo>
                  <a:lnTo>
                    <a:pt x="2371" y="1795"/>
                  </a:lnTo>
                  <a:lnTo>
                    <a:pt x="2371" y="1795"/>
                  </a:lnTo>
                  <a:lnTo>
                    <a:pt x="2369" y="1795"/>
                  </a:lnTo>
                  <a:lnTo>
                    <a:pt x="2369" y="1795"/>
                  </a:lnTo>
                  <a:lnTo>
                    <a:pt x="2369" y="1795"/>
                  </a:lnTo>
                  <a:lnTo>
                    <a:pt x="2369" y="1797"/>
                  </a:lnTo>
                  <a:lnTo>
                    <a:pt x="2369" y="1797"/>
                  </a:lnTo>
                  <a:lnTo>
                    <a:pt x="2369" y="1797"/>
                  </a:lnTo>
                  <a:lnTo>
                    <a:pt x="2369" y="1797"/>
                  </a:lnTo>
                  <a:lnTo>
                    <a:pt x="2371" y="1797"/>
                  </a:lnTo>
                  <a:lnTo>
                    <a:pt x="2371" y="1797"/>
                  </a:lnTo>
                  <a:lnTo>
                    <a:pt x="2369" y="1797"/>
                  </a:lnTo>
                  <a:lnTo>
                    <a:pt x="2369" y="1797"/>
                  </a:lnTo>
                  <a:lnTo>
                    <a:pt x="2369" y="1800"/>
                  </a:lnTo>
                  <a:lnTo>
                    <a:pt x="2369" y="1800"/>
                  </a:lnTo>
                  <a:lnTo>
                    <a:pt x="2369" y="1800"/>
                  </a:lnTo>
                  <a:lnTo>
                    <a:pt x="2369" y="1800"/>
                  </a:lnTo>
                  <a:lnTo>
                    <a:pt x="2369" y="1800"/>
                  </a:lnTo>
                  <a:close/>
                  <a:moveTo>
                    <a:pt x="2553" y="1902"/>
                  </a:moveTo>
                  <a:lnTo>
                    <a:pt x="2556" y="1902"/>
                  </a:lnTo>
                  <a:lnTo>
                    <a:pt x="2556" y="1899"/>
                  </a:lnTo>
                  <a:lnTo>
                    <a:pt x="2556" y="1899"/>
                  </a:lnTo>
                  <a:lnTo>
                    <a:pt x="2558" y="1899"/>
                  </a:lnTo>
                  <a:lnTo>
                    <a:pt x="2558" y="1897"/>
                  </a:lnTo>
                  <a:lnTo>
                    <a:pt x="2556" y="1897"/>
                  </a:lnTo>
                  <a:lnTo>
                    <a:pt x="2556" y="1897"/>
                  </a:lnTo>
                  <a:lnTo>
                    <a:pt x="2553" y="1899"/>
                  </a:lnTo>
                  <a:lnTo>
                    <a:pt x="2553" y="1899"/>
                  </a:lnTo>
                  <a:lnTo>
                    <a:pt x="2551" y="1899"/>
                  </a:lnTo>
                  <a:lnTo>
                    <a:pt x="2551" y="1899"/>
                  </a:lnTo>
                  <a:lnTo>
                    <a:pt x="2553" y="1902"/>
                  </a:lnTo>
                  <a:close/>
                  <a:moveTo>
                    <a:pt x="2591" y="1904"/>
                  </a:moveTo>
                  <a:lnTo>
                    <a:pt x="2591" y="1904"/>
                  </a:lnTo>
                  <a:lnTo>
                    <a:pt x="2591" y="1904"/>
                  </a:lnTo>
                  <a:lnTo>
                    <a:pt x="2594" y="1904"/>
                  </a:lnTo>
                  <a:lnTo>
                    <a:pt x="2594" y="1904"/>
                  </a:lnTo>
                  <a:lnTo>
                    <a:pt x="2596" y="1904"/>
                  </a:lnTo>
                  <a:lnTo>
                    <a:pt x="2596" y="1904"/>
                  </a:lnTo>
                  <a:lnTo>
                    <a:pt x="2598" y="1904"/>
                  </a:lnTo>
                  <a:lnTo>
                    <a:pt x="2596" y="1904"/>
                  </a:lnTo>
                  <a:lnTo>
                    <a:pt x="2596" y="1904"/>
                  </a:lnTo>
                  <a:lnTo>
                    <a:pt x="2596" y="1904"/>
                  </a:lnTo>
                  <a:lnTo>
                    <a:pt x="2596" y="1904"/>
                  </a:lnTo>
                  <a:lnTo>
                    <a:pt x="2598" y="1904"/>
                  </a:lnTo>
                  <a:lnTo>
                    <a:pt x="2598" y="1904"/>
                  </a:lnTo>
                  <a:lnTo>
                    <a:pt x="2596" y="1904"/>
                  </a:lnTo>
                  <a:lnTo>
                    <a:pt x="2596" y="1904"/>
                  </a:lnTo>
                  <a:lnTo>
                    <a:pt x="2596" y="1904"/>
                  </a:lnTo>
                  <a:lnTo>
                    <a:pt x="2596" y="1902"/>
                  </a:lnTo>
                  <a:lnTo>
                    <a:pt x="2596" y="1902"/>
                  </a:lnTo>
                  <a:lnTo>
                    <a:pt x="2596" y="1902"/>
                  </a:lnTo>
                  <a:lnTo>
                    <a:pt x="2596" y="1902"/>
                  </a:lnTo>
                  <a:lnTo>
                    <a:pt x="2598" y="1902"/>
                  </a:lnTo>
                  <a:lnTo>
                    <a:pt x="2598" y="1902"/>
                  </a:lnTo>
                  <a:lnTo>
                    <a:pt x="2598" y="1902"/>
                  </a:lnTo>
                  <a:lnTo>
                    <a:pt x="2596" y="1902"/>
                  </a:lnTo>
                  <a:lnTo>
                    <a:pt x="2596" y="1899"/>
                  </a:lnTo>
                  <a:lnTo>
                    <a:pt x="2596" y="1899"/>
                  </a:lnTo>
                  <a:lnTo>
                    <a:pt x="2596" y="1899"/>
                  </a:lnTo>
                  <a:lnTo>
                    <a:pt x="2594" y="1899"/>
                  </a:lnTo>
                  <a:lnTo>
                    <a:pt x="2594" y="1902"/>
                  </a:lnTo>
                  <a:lnTo>
                    <a:pt x="2594" y="1902"/>
                  </a:lnTo>
                  <a:lnTo>
                    <a:pt x="2594" y="1902"/>
                  </a:lnTo>
                  <a:lnTo>
                    <a:pt x="2591" y="1902"/>
                  </a:lnTo>
                  <a:lnTo>
                    <a:pt x="2591" y="1902"/>
                  </a:lnTo>
                  <a:lnTo>
                    <a:pt x="2591" y="1902"/>
                  </a:lnTo>
                  <a:lnTo>
                    <a:pt x="2591" y="1902"/>
                  </a:lnTo>
                  <a:lnTo>
                    <a:pt x="2589" y="1902"/>
                  </a:lnTo>
                  <a:lnTo>
                    <a:pt x="2589" y="1904"/>
                  </a:lnTo>
                  <a:lnTo>
                    <a:pt x="2589" y="1904"/>
                  </a:lnTo>
                  <a:lnTo>
                    <a:pt x="2591" y="1904"/>
                  </a:lnTo>
                  <a:close/>
                  <a:moveTo>
                    <a:pt x="2603" y="1920"/>
                  </a:moveTo>
                  <a:lnTo>
                    <a:pt x="2603" y="1920"/>
                  </a:lnTo>
                  <a:lnTo>
                    <a:pt x="2603" y="1923"/>
                  </a:lnTo>
                  <a:lnTo>
                    <a:pt x="2603" y="1923"/>
                  </a:lnTo>
                  <a:lnTo>
                    <a:pt x="2603" y="1923"/>
                  </a:lnTo>
                  <a:lnTo>
                    <a:pt x="2603" y="1925"/>
                  </a:lnTo>
                  <a:lnTo>
                    <a:pt x="2603" y="1925"/>
                  </a:lnTo>
                  <a:lnTo>
                    <a:pt x="2606" y="1923"/>
                  </a:lnTo>
                  <a:lnTo>
                    <a:pt x="2606" y="1923"/>
                  </a:lnTo>
                  <a:lnTo>
                    <a:pt x="2606" y="1923"/>
                  </a:lnTo>
                  <a:lnTo>
                    <a:pt x="2606" y="1923"/>
                  </a:lnTo>
                  <a:lnTo>
                    <a:pt x="2606" y="1923"/>
                  </a:lnTo>
                  <a:lnTo>
                    <a:pt x="2606" y="1920"/>
                  </a:lnTo>
                  <a:lnTo>
                    <a:pt x="2606" y="1920"/>
                  </a:lnTo>
                  <a:lnTo>
                    <a:pt x="2606" y="1920"/>
                  </a:lnTo>
                  <a:lnTo>
                    <a:pt x="2603" y="1920"/>
                  </a:lnTo>
                  <a:lnTo>
                    <a:pt x="2603" y="1920"/>
                  </a:lnTo>
                  <a:close/>
                  <a:moveTo>
                    <a:pt x="2530" y="1868"/>
                  </a:moveTo>
                  <a:lnTo>
                    <a:pt x="2530" y="1868"/>
                  </a:lnTo>
                  <a:lnTo>
                    <a:pt x="2530" y="1868"/>
                  </a:lnTo>
                  <a:lnTo>
                    <a:pt x="2532" y="1868"/>
                  </a:lnTo>
                  <a:lnTo>
                    <a:pt x="2532" y="1868"/>
                  </a:lnTo>
                  <a:lnTo>
                    <a:pt x="2532" y="1868"/>
                  </a:lnTo>
                  <a:lnTo>
                    <a:pt x="2532" y="1866"/>
                  </a:lnTo>
                  <a:lnTo>
                    <a:pt x="2530" y="1866"/>
                  </a:lnTo>
                  <a:lnTo>
                    <a:pt x="2530" y="1866"/>
                  </a:lnTo>
                  <a:lnTo>
                    <a:pt x="2530" y="1868"/>
                  </a:lnTo>
                  <a:lnTo>
                    <a:pt x="2530" y="1868"/>
                  </a:lnTo>
                  <a:close/>
                  <a:moveTo>
                    <a:pt x="2551" y="1909"/>
                  </a:moveTo>
                  <a:lnTo>
                    <a:pt x="2551" y="1909"/>
                  </a:lnTo>
                  <a:lnTo>
                    <a:pt x="2553" y="1909"/>
                  </a:lnTo>
                  <a:lnTo>
                    <a:pt x="2553" y="1909"/>
                  </a:lnTo>
                  <a:lnTo>
                    <a:pt x="2551" y="1906"/>
                  </a:lnTo>
                  <a:lnTo>
                    <a:pt x="2551" y="1906"/>
                  </a:lnTo>
                  <a:lnTo>
                    <a:pt x="2553" y="1906"/>
                  </a:lnTo>
                  <a:lnTo>
                    <a:pt x="2553" y="1904"/>
                  </a:lnTo>
                  <a:lnTo>
                    <a:pt x="2553" y="1904"/>
                  </a:lnTo>
                  <a:lnTo>
                    <a:pt x="2553" y="1904"/>
                  </a:lnTo>
                  <a:lnTo>
                    <a:pt x="2551" y="1904"/>
                  </a:lnTo>
                  <a:lnTo>
                    <a:pt x="2551" y="1904"/>
                  </a:lnTo>
                  <a:lnTo>
                    <a:pt x="2551" y="1906"/>
                  </a:lnTo>
                  <a:lnTo>
                    <a:pt x="2551" y="1906"/>
                  </a:lnTo>
                  <a:lnTo>
                    <a:pt x="2549" y="1906"/>
                  </a:lnTo>
                  <a:lnTo>
                    <a:pt x="2549" y="1906"/>
                  </a:lnTo>
                  <a:lnTo>
                    <a:pt x="2549" y="1909"/>
                  </a:lnTo>
                  <a:lnTo>
                    <a:pt x="2551" y="1909"/>
                  </a:lnTo>
                  <a:close/>
                  <a:moveTo>
                    <a:pt x="2532" y="1878"/>
                  </a:moveTo>
                  <a:lnTo>
                    <a:pt x="2532" y="1878"/>
                  </a:lnTo>
                  <a:lnTo>
                    <a:pt x="2532" y="1878"/>
                  </a:lnTo>
                  <a:lnTo>
                    <a:pt x="2532" y="1880"/>
                  </a:lnTo>
                  <a:lnTo>
                    <a:pt x="2532" y="1880"/>
                  </a:lnTo>
                  <a:lnTo>
                    <a:pt x="2532" y="1880"/>
                  </a:lnTo>
                  <a:lnTo>
                    <a:pt x="2532" y="1880"/>
                  </a:lnTo>
                  <a:lnTo>
                    <a:pt x="2535" y="1880"/>
                  </a:lnTo>
                  <a:lnTo>
                    <a:pt x="2532" y="1880"/>
                  </a:lnTo>
                  <a:lnTo>
                    <a:pt x="2532" y="1878"/>
                  </a:lnTo>
                  <a:lnTo>
                    <a:pt x="2532" y="1878"/>
                  </a:lnTo>
                  <a:lnTo>
                    <a:pt x="2532" y="1878"/>
                  </a:lnTo>
                  <a:close/>
                  <a:moveTo>
                    <a:pt x="1780" y="1206"/>
                  </a:moveTo>
                  <a:lnTo>
                    <a:pt x="1780" y="1208"/>
                  </a:lnTo>
                  <a:lnTo>
                    <a:pt x="1780" y="1211"/>
                  </a:lnTo>
                  <a:lnTo>
                    <a:pt x="1780" y="1211"/>
                  </a:lnTo>
                  <a:lnTo>
                    <a:pt x="1780" y="1211"/>
                  </a:lnTo>
                  <a:lnTo>
                    <a:pt x="1782" y="1211"/>
                  </a:lnTo>
                  <a:lnTo>
                    <a:pt x="1782" y="1213"/>
                  </a:lnTo>
                  <a:lnTo>
                    <a:pt x="1782" y="1216"/>
                  </a:lnTo>
                  <a:lnTo>
                    <a:pt x="1787" y="1218"/>
                  </a:lnTo>
                  <a:lnTo>
                    <a:pt x="1791" y="1220"/>
                  </a:lnTo>
                  <a:lnTo>
                    <a:pt x="1791" y="1220"/>
                  </a:lnTo>
                  <a:lnTo>
                    <a:pt x="1794" y="1223"/>
                  </a:lnTo>
                  <a:lnTo>
                    <a:pt x="1794" y="1223"/>
                  </a:lnTo>
                  <a:lnTo>
                    <a:pt x="1794" y="1223"/>
                  </a:lnTo>
                  <a:lnTo>
                    <a:pt x="1794" y="1223"/>
                  </a:lnTo>
                  <a:lnTo>
                    <a:pt x="1796" y="1223"/>
                  </a:lnTo>
                  <a:lnTo>
                    <a:pt x="1796" y="1223"/>
                  </a:lnTo>
                  <a:lnTo>
                    <a:pt x="1796" y="1223"/>
                  </a:lnTo>
                  <a:lnTo>
                    <a:pt x="1799" y="1223"/>
                  </a:lnTo>
                  <a:lnTo>
                    <a:pt x="1799" y="1225"/>
                  </a:lnTo>
                  <a:lnTo>
                    <a:pt x="1799" y="1223"/>
                  </a:lnTo>
                  <a:lnTo>
                    <a:pt x="1799" y="1223"/>
                  </a:lnTo>
                  <a:lnTo>
                    <a:pt x="1799" y="1223"/>
                  </a:lnTo>
                  <a:lnTo>
                    <a:pt x="1796" y="1223"/>
                  </a:lnTo>
                  <a:lnTo>
                    <a:pt x="1796" y="1223"/>
                  </a:lnTo>
                  <a:lnTo>
                    <a:pt x="1799" y="1223"/>
                  </a:lnTo>
                  <a:lnTo>
                    <a:pt x="1799" y="1223"/>
                  </a:lnTo>
                  <a:lnTo>
                    <a:pt x="1799" y="1220"/>
                  </a:lnTo>
                  <a:lnTo>
                    <a:pt x="1796" y="1220"/>
                  </a:lnTo>
                  <a:lnTo>
                    <a:pt x="1796" y="1220"/>
                  </a:lnTo>
                  <a:lnTo>
                    <a:pt x="1796" y="1220"/>
                  </a:lnTo>
                  <a:lnTo>
                    <a:pt x="1796" y="1220"/>
                  </a:lnTo>
                  <a:lnTo>
                    <a:pt x="1796" y="1220"/>
                  </a:lnTo>
                  <a:lnTo>
                    <a:pt x="1796" y="1220"/>
                  </a:lnTo>
                  <a:lnTo>
                    <a:pt x="1799" y="1218"/>
                  </a:lnTo>
                  <a:lnTo>
                    <a:pt x="1799" y="1218"/>
                  </a:lnTo>
                  <a:lnTo>
                    <a:pt x="1799" y="1218"/>
                  </a:lnTo>
                  <a:lnTo>
                    <a:pt x="1796" y="1218"/>
                  </a:lnTo>
                  <a:lnTo>
                    <a:pt x="1796" y="1218"/>
                  </a:lnTo>
                  <a:lnTo>
                    <a:pt x="1796" y="1218"/>
                  </a:lnTo>
                  <a:lnTo>
                    <a:pt x="1794" y="1218"/>
                  </a:lnTo>
                  <a:lnTo>
                    <a:pt x="1794" y="1218"/>
                  </a:lnTo>
                  <a:lnTo>
                    <a:pt x="1794" y="1216"/>
                  </a:lnTo>
                  <a:lnTo>
                    <a:pt x="1796" y="1216"/>
                  </a:lnTo>
                  <a:lnTo>
                    <a:pt x="1796" y="1216"/>
                  </a:lnTo>
                  <a:lnTo>
                    <a:pt x="1796" y="1216"/>
                  </a:lnTo>
                  <a:lnTo>
                    <a:pt x="1796" y="1216"/>
                  </a:lnTo>
                  <a:lnTo>
                    <a:pt x="1796" y="1213"/>
                  </a:lnTo>
                  <a:lnTo>
                    <a:pt x="1796" y="1213"/>
                  </a:lnTo>
                  <a:lnTo>
                    <a:pt x="1796" y="1213"/>
                  </a:lnTo>
                  <a:lnTo>
                    <a:pt x="1796" y="1211"/>
                  </a:lnTo>
                  <a:lnTo>
                    <a:pt x="1794" y="1211"/>
                  </a:lnTo>
                  <a:lnTo>
                    <a:pt x="1794" y="1208"/>
                  </a:lnTo>
                  <a:lnTo>
                    <a:pt x="1791" y="1208"/>
                  </a:lnTo>
                  <a:lnTo>
                    <a:pt x="1791" y="1206"/>
                  </a:lnTo>
                  <a:lnTo>
                    <a:pt x="1791" y="1206"/>
                  </a:lnTo>
                  <a:lnTo>
                    <a:pt x="1789" y="1204"/>
                  </a:lnTo>
                  <a:lnTo>
                    <a:pt x="1789" y="1201"/>
                  </a:lnTo>
                  <a:lnTo>
                    <a:pt x="1789" y="1201"/>
                  </a:lnTo>
                  <a:lnTo>
                    <a:pt x="1784" y="1201"/>
                  </a:lnTo>
                  <a:lnTo>
                    <a:pt x="1784" y="1201"/>
                  </a:lnTo>
                  <a:lnTo>
                    <a:pt x="1782" y="1201"/>
                  </a:lnTo>
                  <a:lnTo>
                    <a:pt x="1782" y="1199"/>
                  </a:lnTo>
                  <a:lnTo>
                    <a:pt x="1782" y="1199"/>
                  </a:lnTo>
                  <a:lnTo>
                    <a:pt x="1782" y="1201"/>
                  </a:lnTo>
                  <a:lnTo>
                    <a:pt x="1782" y="1201"/>
                  </a:lnTo>
                  <a:lnTo>
                    <a:pt x="1780" y="1201"/>
                  </a:lnTo>
                  <a:lnTo>
                    <a:pt x="1780" y="1204"/>
                  </a:lnTo>
                  <a:lnTo>
                    <a:pt x="1780" y="1204"/>
                  </a:lnTo>
                  <a:lnTo>
                    <a:pt x="1780" y="1206"/>
                  </a:lnTo>
                  <a:close/>
                  <a:moveTo>
                    <a:pt x="1846" y="1913"/>
                  </a:moveTo>
                  <a:lnTo>
                    <a:pt x="1846" y="1913"/>
                  </a:lnTo>
                  <a:lnTo>
                    <a:pt x="1846" y="1916"/>
                  </a:lnTo>
                  <a:lnTo>
                    <a:pt x="1846" y="1916"/>
                  </a:lnTo>
                  <a:lnTo>
                    <a:pt x="1846" y="1916"/>
                  </a:lnTo>
                  <a:lnTo>
                    <a:pt x="1846" y="1916"/>
                  </a:lnTo>
                  <a:lnTo>
                    <a:pt x="1846" y="1916"/>
                  </a:lnTo>
                  <a:lnTo>
                    <a:pt x="1846" y="1916"/>
                  </a:lnTo>
                  <a:lnTo>
                    <a:pt x="1848" y="1913"/>
                  </a:lnTo>
                  <a:lnTo>
                    <a:pt x="1848" y="1913"/>
                  </a:lnTo>
                  <a:lnTo>
                    <a:pt x="1848" y="1913"/>
                  </a:lnTo>
                  <a:lnTo>
                    <a:pt x="1848" y="1913"/>
                  </a:lnTo>
                  <a:lnTo>
                    <a:pt x="1848" y="1913"/>
                  </a:lnTo>
                  <a:lnTo>
                    <a:pt x="1848" y="1913"/>
                  </a:lnTo>
                  <a:lnTo>
                    <a:pt x="1848" y="1913"/>
                  </a:lnTo>
                  <a:lnTo>
                    <a:pt x="1848" y="1913"/>
                  </a:lnTo>
                  <a:lnTo>
                    <a:pt x="1848" y="1913"/>
                  </a:lnTo>
                  <a:lnTo>
                    <a:pt x="1848" y="1913"/>
                  </a:lnTo>
                  <a:lnTo>
                    <a:pt x="1848" y="1913"/>
                  </a:lnTo>
                  <a:lnTo>
                    <a:pt x="1848" y="1913"/>
                  </a:lnTo>
                  <a:lnTo>
                    <a:pt x="1848" y="1913"/>
                  </a:lnTo>
                  <a:lnTo>
                    <a:pt x="1846" y="1913"/>
                  </a:lnTo>
                  <a:lnTo>
                    <a:pt x="1846" y="1913"/>
                  </a:lnTo>
                  <a:lnTo>
                    <a:pt x="1846" y="1913"/>
                  </a:lnTo>
                  <a:lnTo>
                    <a:pt x="1846" y="1913"/>
                  </a:lnTo>
                  <a:lnTo>
                    <a:pt x="1846" y="1913"/>
                  </a:lnTo>
                  <a:lnTo>
                    <a:pt x="1846" y="1913"/>
                  </a:lnTo>
                  <a:lnTo>
                    <a:pt x="1846" y="1913"/>
                  </a:lnTo>
                  <a:close/>
                  <a:moveTo>
                    <a:pt x="1839" y="1989"/>
                  </a:moveTo>
                  <a:lnTo>
                    <a:pt x="1839" y="1991"/>
                  </a:lnTo>
                  <a:lnTo>
                    <a:pt x="1836" y="1994"/>
                  </a:lnTo>
                  <a:lnTo>
                    <a:pt x="1836" y="1996"/>
                  </a:lnTo>
                  <a:lnTo>
                    <a:pt x="1836" y="1996"/>
                  </a:lnTo>
                  <a:lnTo>
                    <a:pt x="1839" y="1996"/>
                  </a:lnTo>
                  <a:lnTo>
                    <a:pt x="1839" y="1994"/>
                  </a:lnTo>
                  <a:lnTo>
                    <a:pt x="1839" y="1991"/>
                  </a:lnTo>
                  <a:lnTo>
                    <a:pt x="1839" y="1989"/>
                  </a:lnTo>
                  <a:lnTo>
                    <a:pt x="1839" y="1987"/>
                  </a:lnTo>
                  <a:lnTo>
                    <a:pt x="1839" y="1984"/>
                  </a:lnTo>
                  <a:lnTo>
                    <a:pt x="1839" y="1984"/>
                  </a:lnTo>
                  <a:lnTo>
                    <a:pt x="1841" y="1982"/>
                  </a:lnTo>
                  <a:lnTo>
                    <a:pt x="1841" y="1982"/>
                  </a:lnTo>
                  <a:lnTo>
                    <a:pt x="1839" y="1982"/>
                  </a:lnTo>
                  <a:lnTo>
                    <a:pt x="1839" y="1984"/>
                  </a:lnTo>
                  <a:lnTo>
                    <a:pt x="1839" y="1982"/>
                  </a:lnTo>
                  <a:lnTo>
                    <a:pt x="1839" y="1982"/>
                  </a:lnTo>
                  <a:lnTo>
                    <a:pt x="1841" y="1982"/>
                  </a:lnTo>
                  <a:lnTo>
                    <a:pt x="1841" y="1982"/>
                  </a:lnTo>
                  <a:lnTo>
                    <a:pt x="1839" y="1982"/>
                  </a:lnTo>
                  <a:lnTo>
                    <a:pt x="1839" y="1980"/>
                  </a:lnTo>
                  <a:lnTo>
                    <a:pt x="1839" y="1980"/>
                  </a:lnTo>
                  <a:lnTo>
                    <a:pt x="1839" y="1980"/>
                  </a:lnTo>
                  <a:lnTo>
                    <a:pt x="1839" y="1980"/>
                  </a:lnTo>
                  <a:lnTo>
                    <a:pt x="1839" y="1980"/>
                  </a:lnTo>
                  <a:lnTo>
                    <a:pt x="1839" y="1980"/>
                  </a:lnTo>
                  <a:lnTo>
                    <a:pt x="1839" y="1982"/>
                  </a:lnTo>
                  <a:lnTo>
                    <a:pt x="1839" y="1982"/>
                  </a:lnTo>
                  <a:lnTo>
                    <a:pt x="1839" y="1982"/>
                  </a:lnTo>
                  <a:lnTo>
                    <a:pt x="1839" y="1984"/>
                  </a:lnTo>
                  <a:lnTo>
                    <a:pt x="1839" y="1984"/>
                  </a:lnTo>
                  <a:lnTo>
                    <a:pt x="1839" y="1989"/>
                  </a:lnTo>
                  <a:close/>
                  <a:moveTo>
                    <a:pt x="1829" y="2055"/>
                  </a:moveTo>
                  <a:lnTo>
                    <a:pt x="1827" y="2055"/>
                  </a:lnTo>
                  <a:lnTo>
                    <a:pt x="1827" y="2055"/>
                  </a:lnTo>
                  <a:lnTo>
                    <a:pt x="1827" y="2055"/>
                  </a:lnTo>
                  <a:lnTo>
                    <a:pt x="1832" y="2053"/>
                  </a:lnTo>
                  <a:lnTo>
                    <a:pt x="1839" y="2051"/>
                  </a:lnTo>
                  <a:lnTo>
                    <a:pt x="1841" y="2048"/>
                  </a:lnTo>
                  <a:lnTo>
                    <a:pt x="1841" y="2048"/>
                  </a:lnTo>
                  <a:lnTo>
                    <a:pt x="1841" y="2046"/>
                  </a:lnTo>
                  <a:lnTo>
                    <a:pt x="1844" y="2046"/>
                  </a:lnTo>
                  <a:lnTo>
                    <a:pt x="1846" y="2046"/>
                  </a:lnTo>
                  <a:lnTo>
                    <a:pt x="1848" y="2043"/>
                  </a:lnTo>
                  <a:lnTo>
                    <a:pt x="1851" y="2043"/>
                  </a:lnTo>
                  <a:lnTo>
                    <a:pt x="1851" y="2043"/>
                  </a:lnTo>
                  <a:lnTo>
                    <a:pt x="1841" y="2046"/>
                  </a:lnTo>
                  <a:lnTo>
                    <a:pt x="1841" y="2046"/>
                  </a:lnTo>
                  <a:lnTo>
                    <a:pt x="1839" y="2048"/>
                  </a:lnTo>
                  <a:lnTo>
                    <a:pt x="1839" y="2048"/>
                  </a:lnTo>
                  <a:lnTo>
                    <a:pt x="1836" y="2048"/>
                  </a:lnTo>
                  <a:lnTo>
                    <a:pt x="1829" y="2051"/>
                  </a:lnTo>
                  <a:lnTo>
                    <a:pt x="1829" y="2053"/>
                  </a:lnTo>
                  <a:lnTo>
                    <a:pt x="1829" y="2053"/>
                  </a:lnTo>
                  <a:lnTo>
                    <a:pt x="1829" y="2053"/>
                  </a:lnTo>
                  <a:lnTo>
                    <a:pt x="1829" y="2053"/>
                  </a:lnTo>
                  <a:lnTo>
                    <a:pt x="1829" y="2053"/>
                  </a:lnTo>
                  <a:lnTo>
                    <a:pt x="1829" y="2055"/>
                  </a:lnTo>
                  <a:close/>
                  <a:moveTo>
                    <a:pt x="1846" y="1847"/>
                  </a:moveTo>
                  <a:lnTo>
                    <a:pt x="1846" y="1847"/>
                  </a:lnTo>
                  <a:lnTo>
                    <a:pt x="1846" y="1847"/>
                  </a:lnTo>
                  <a:lnTo>
                    <a:pt x="1853" y="1849"/>
                  </a:lnTo>
                  <a:lnTo>
                    <a:pt x="1853" y="1852"/>
                  </a:lnTo>
                  <a:lnTo>
                    <a:pt x="1855" y="1849"/>
                  </a:lnTo>
                  <a:lnTo>
                    <a:pt x="1855" y="1849"/>
                  </a:lnTo>
                  <a:lnTo>
                    <a:pt x="1853" y="1849"/>
                  </a:lnTo>
                  <a:lnTo>
                    <a:pt x="1848" y="1847"/>
                  </a:lnTo>
                  <a:lnTo>
                    <a:pt x="1846" y="1847"/>
                  </a:lnTo>
                  <a:lnTo>
                    <a:pt x="1846" y="1847"/>
                  </a:lnTo>
                  <a:lnTo>
                    <a:pt x="1846" y="1847"/>
                  </a:lnTo>
                  <a:close/>
                  <a:moveTo>
                    <a:pt x="1844" y="1906"/>
                  </a:moveTo>
                  <a:lnTo>
                    <a:pt x="1841" y="1909"/>
                  </a:lnTo>
                  <a:lnTo>
                    <a:pt x="1841" y="1909"/>
                  </a:lnTo>
                  <a:lnTo>
                    <a:pt x="1841" y="1909"/>
                  </a:lnTo>
                  <a:lnTo>
                    <a:pt x="1841" y="1909"/>
                  </a:lnTo>
                  <a:lnTo>
                    <a:pt x="1841" y="1909"/>
                  </a:lnTo>
                  <a:lnTo>
                    <a:pt x="1844" y="1909"/>
                  </a:lnTo>
                  <a:lnTo>
                    <a:pt x="1844" y="1909"/>
                  </a:lnTo>
                  <a:lnTo>
                    <a:pt x="1844" y="1909"/>
                  </a:lnTo>
                  <a:lnTo>
                    <a:pt x="1846" y="1906"/>
                  </a:lnTo>
                  <a:lnTo>
                    <a:pt x="1846" y="1906"/>
                  </a:lnTo>
                  <a:lnTo>
                    <a:pt x="1844" y="1906"/>
                  </a:lnTo>
                  <a:lnTo>
                    <a:pt x="1844" y="1906"/>
                  </a:lnTo>
                  <a:close/>
                  <a:moveTo>
                    <a:pt x="1839" y="1944"/>
                  </a:moveTo>
                  <a:lnTo>
                    <a:pt x="1839" y="1944"/>
                  </a:lnTo>
                  <a:lnTo>
                    <a:pt x="1836" y="1946"/>
                  </a:lnTo>
                  <a:lnTo>
                    <a:pt x="1836" y="1946"/>
                  </a:lnTo>
                  <a:lnTo>
                    <a:pt x="1836" y="1946"/>
                  </a:lnTo>
                  <a:lnTo>
                    <a:pt x="1836" y="1946"/>
                  </a:lnTo>
                  <a:lnTo>
                    <a:pt x="1836" y="1946"/>
                  </a:lnTo>
                  <a:lnTo>
                    <a:pt x="1839" y="1946"/>
                  </a:lnTo>
                  <a:lnTo>
                    <a:pt x="1839" y="1946"/>
                  </a:lnTo>
                  <a:lnTo>
                    <a:pt x="1839" y="1946"/>
                  </a:lnTo>
                  <a:lnTo>
                    <a:pt x="1839" y="1946"/>
                  </a:lnTo>
                  <a:lnTo>
                    <a:pt x="1839" y="1944"/>
                  </a:lnTo>
                  <a:lnTo>
                    <a:pt x="1839" y="1944"/>
                  </a:lnTo>
                  <a:close/>
                  <a:moveTo>
                    <a:pt x="1801" y="1904"/>
                  </a:moveTo>
                  <a:lnTo>
                    <a:pt x="1801" y="1904"/>
                  </a:lnTo>
                  <a:lnTo>
                    <a:pt x="1801" y="1902"/>
                  </a:lnTo>
                  <a:lnTo>
                    <a:pt x="1801" y="1902"/>
                  </a:lnTo>
                  <a:lnTo>
                    <a:pt x="1801" y="1899"/>
                  </a:lnTo>
                  <a:lnTo>
                    <a:pt x="1801" y="1899"/>
                  </a:lnTo>
                  <a:lnTo>
                    <a:pt x="1801" y="1899"/>
                  </a:lnTo>
                  <a:lnTo>
                    <a:pt x="1799" y="1897"/>
                  </a:lnTo>
                  <a:lnTo>
                    <a:pt x="1799" y="1897"/>
                  </a:lnTo>
                  <a:lnTo>
                    <a:pt x="1799" y="1897"/>
                  </a:lnTo>
                  <a:lnTo>
                    <a:pt x="1799" y="1899"/>
                  </a:lnTo>
                  <a:lnTo>
                    <a:pt x="1799" y="1899"/>
                  </a:lnTo>
                  <a:lnTo>
                    <a:pt x="1799" y="1899"/>
                  </a:lnTo>
                  <a:lnTo>
                    <a:pt x="1799" y="1899"/>
                  </a:lnTo>
                  <a:lnTo>
                    <a:pt x="1799" y="1902"/>
                  </a:lnTo>
                  <a:lnTo>
                    <a:pt x="1799" y="1902"/>
                  </a:lnTo>
                  <a:lnTo>
                    <a:pt x="1799" y="1904"/>
                  </a:lnTo>
                  <a:lnTo>
                    <a:pt x="1799" y="1904"/>
                  </a:lnTo>
                  <a:lnTo>
                    <a:pt x="1799" y="1904"/>
                  </a:lnTo>
                  <a:lnTo>
                    <a:pt x="1799" y="1904"/>
                  </a:lnTo>
                  <a:lnTo>
                    <a:pt x="1799" y="1902"/>
                  </a:lnTo>
                  <a:lnTo>
                    <a:pt x="1799" y="1904"/>
                  </a:lnTo>
                  <a:lnTo>
                    <a:pt x="1799" y="1904"/>
                  </a:lnTo>
                  <a:lnTo>
                    <a:pt x="1799" y="1904"/>
                  </a:lnTo>
                  <a:lnTo>
                    <a:pt x="1799" y="1904"/>
                  </a:lnTo>
                  <a:lnTo>
                    <a:pt x="1799" y="1906"/>
                  </a:lnTo>
                  <a:lnTo>
                    <a:pt x="1799" y="1906"/>
                  </a:lnTo>
                  <a:lnTo>
                    <a:pt x="1799" y="1906"/>
                  </a:lnTo>
                  <a:lnTo>
                    <a:pt x="1796" y="1906"/>
                  </a:lnTo>
                  <a:lnTo>
                    <a:pt x="1799" y="1906"/>
                  </a:lnTo>
                  <a:lnTo>
                    <a:pt x="1799" y="1909"/>
                  </a:lnTo>
                  <a:lnTo>
                    <a:pt x="1799" y="1909"/>
                  </a:lnTo>
                  <a:lnTo>
                    <a:pt x="1799" y="1909"/>
                  </a:lnTo>
                  <a:lnTo>
                    <a:pt x="1799" y="1909"/>
                  </a:lnTo>
                  <a:lnTo>
                    <a:pt x="1799" y="1906"/>
                  </a:lnTo>
                  <a:lnTo>
                    <a:pt x="1799" y="1904"/>
                  </a:lnTo>
                  <a:lnTo>
                    <a:pt x="1799" y="1904"/>
                  </a:lnTo>
                  <a:lnTo>
                    <a:pt x="1801" y="1904"/>
                  </a:lnTo>
                  <a:close/>
                  <a:moveTo>
                    <a:pt x="1815" y="1944"/>
                  </a:moveTo>
                  <a:lnTo>
                    <a:pt x="1815" y="1944"/>
                  </a:lnTo>
                  <a:lnTo>
                    <a:pt x="1815" y="1944"/>
                  </a:lnTo>
                  <a:lnTo>
                    <a:pt x="1813" y="1944"/>
                  </a:lnTo>
                  <a:lnTo>
                    <a:pt x="1813" y="1944"/>
                  </a:lnTo>
                  <a:lnTo>
                    <a:pt x="1813" y="1944"/>
                  </a:lnTo>
                  <a:lnTo>
                    <a:pt x="1813" y="1942"/>
                  </a:lnTo>
                  <a:lnTo>
                    <a:pt x="1813" y="1942"/>
                  </a:lnTo>
                  <a:lnTo>
                    <a:pt x="1813" y="1942"/>
                  </a:lnTo>
                  <a:lnTo>
                    <a:pt x="1813" y="1942"/>
                  </a:lnTo>
                  <a:lnTo>
                    <a:pt x="1813" y="1942"/>
                  </a:lnTo>
                  <a:lnTo>
                    <a:pt x="1813" y="1942"/>
                  </a:lnTo>
                  <a:lnTo>
                    <a:pt x="1813" y="1942"/>
                  </a:lnTo>
                  <a:lnTo>
                    <a:pt x="1813" y="1944"/>
                  </a:lnTo>
                  <a:lnTo>
                    <a:pt x="1813" y="1944"/>
                  </a:lnTo>
                  <a:lnTo>
                    <a:pt x="1813" y="1944"/>
                  </a:lnTo>
                  <a:lnTo>
                    <a:pt x="1813" y="1944"/>
                  </a:lnTo>
                  <a:lnTo>
                    <a:pt x="1813" y="1944"/>
                  </a:lnTo>
                  <a:lnTo>
                    <a:pt x="1813" y="1944"/>
                  </a:lnTo>
                  <a:lnTo>
                    <a:pt x="1813" y="1946"/>
                  </a:lnTo>
                  <a:lnTo>
                    <a:pt x="1815" y="1946"/>
                  </a:lnTo>
                  <a:lnTo>
                    <a:pt x="1815" y="1949"/>
                  </a:lnTo>
                  <a:lnTo>
                    <a:pt x="1815" y="1949"/>
                  </a:lnTo>
                  <a:lnTo>
                    <a:pt x="1815" y="1949"/>
                  </a:lnTo>
                  <a:lnTo>
                    <a:pt x="1815" y="1951"/>
                  </a:lnTo>
                  <a:lnTo>
                    <a:pt x="1815" y="1951"/>
                  </a:lnTo>
                  <a:lnTo>
                    <a:pt x="1815" y="1951"/>
                  </a:lnTo>
                  <a:lnTo>
                    <a:pt x="1815" y="1951"/>
                  </a:lnTo>
                  <a:lnTo>
                    <a:pt x="1815" y="1954"/>
                  </a:lnTo>
                  <a:lnTo>
                    <a:pt x="1815" y="1951"/>
                  </a:lnTo>
                  <a:lnTo>
                    <a:pt x="1815" y="1951"/>
                  </a:lnTo>
                  <a:lnTo>
                    <a:pt x="1815" y="1949"/>
                  </a:lnTo>
                  <a:lnTo>
                    <a:pt x="1818" y="1951"/>
                  </a:lnTo>
                  <a:lnTo>
                    <a:pt x="1818" y="1951"/>
                  </a:lnTo>
                  <a:lnTo>
                    <a:pt x="1818" y="1949"/>
                  </a:lnTo>
                  <a:lnTo>
                    <a:pt x="1818" y="1949"/>
                  </a:lnTo>
                  <a:lnTo>
                    <a:pt x="1815" y="1946"/>
                  </a:lnTo>
                  <a:lnTo>
                    <a:pt x="1818" y="1946"/>
                  </a:lnTo>
                  <a:lnTo>
                    <a:pt x="1815" y="1946"/>
                  </a:lnTo>
                  <a:lnTo>
                    <a:pt x="1815" y="1944"/>
                  </a:lnTo>
                  <a:lnTo>
                    <a:pt x="1815" y="1944"/>
                  </a:lnTo>
                  <a:lnTo>
                    <a:pt x="1815" y="1944"/>
                  </a:lnTo>
                  <a:lnTo>
                    <a:pt x="1815" y="1944"/>
                  </a:lnTo>
                  <a:lnTo>
                    <a:pt x="1815" y="1944"/>
                  </a:lnTo>
                  <a:lnTo>
                    <a:pt x="1815" y="1944"/>
                  </a:lnTo>
                  <a:lnTo>
                    <a:pt x="1815" y="1944"/>
                  </a:lnTo>
                  <a:close/>
                  <a:moveTo>
                    <a:pt x="1808" y="1968"/>
                  </a:moveTo>
                  <a:lnTo>
                    <a:pt x="1808" y="1968"/>
                  </a:lnTo>
                  <a:lnTo>
                    <a:pt x="1808" y="1968"/>
                  </a:lnTo>
                  <a:lnTo>
                    <a:pt x="1808" y="1968"/>
                  </a:lnTo>
                  <a:lnTo>
                    <a:pt x="1808" y="1968"/>
                  </a:lnTo>
                  <a:lnTo>
                    <a:pt x="1808" y="1970"/>
                  </a:lnTo>
                  <a:lnTo>
                    <a:pt x="1808" y="1970"/>
                  </a:lnTo>
                  <a:lnTo>
                    <a:pt x="1808" y="1970"/>
                  </a:lnTo>
                  <a:lnTo>
                    <a:pt x="1808" y="1970"/>
                  </a:lnTo>
                  <a:lnTo>
                    <a:pt x="1806" y="1972"/>
                  </a:lnTo>
                  <a:lnTo>
                    <a:pt x="1803" y="1972"/>
                  </a:lnTo>
                  <a:lnTo>
                    <a:pt x="1803" y="1972"/>
                  </a:lnTo>
                  <a:lnTo>
                    <a:pt x="1803" y="1975"/>
                  </a:lnTo>
                  <a:lnTo>
                    <a:pt x="1803" y="1975"/>
                  </a:lnTo>
                  <a:lnTo>
                    <a:pt x="1803" y="1975"/>
                  </a:lnTo>
                  <a:lnTo>
                    <a:pt x="1803" y="1977"/>
                  </a:lnTo>
                  <a:lnTo>
                    <a:pt x="1803" y="1977"/>
                  </a:lnTo>
                  <a:lnTo>
                    <a:pt x="1803" y="1980"/>
                  </a:lnTo>
                  <a:lnTo>
                    <a:pt x="1803" y="1980"/>
                  </a:lnTo>
                  <a:lnTo>
                    <a:pt x="1803" y="1980"/>
                  </a:lnTo>
                  <a:lnTo>
                    <a:pt x="1803" y="1980"/>
                  </a:lnTo>
                  <a:lnTo>
                    <a:pt x="1803" y="1980"/>
                  </a:lnTo>
                  <a:lnTo>
                    <a:pt x="1806" y="1980"/>
                  </a:lnTo>
                  <a:lnTo>
                    <a:pt x="1806" y="1980"/>
                  </a:lnTo>
                  <a:lnTo>
                    <a:pt x="1813" y="1970"/>
                  </a:lnTo>
                  <a:lnTo>
                    <a:pt x="1815" y="1970"/>
                  </a:lnTo>
                  <a:lnTo>
                    <a:pt x="1815" y="1968"/>
                  </a:lnTo>
                  <a:lnTo>
                    <a:pt x="1815" y="1963"/>
                  </a:lnTo>
                  <a:lnTo>
                    <a:pt x="1818" y="1961"/>
                  </a:lnTo>
                  <a:lnTo>
                    <a:pt x="1818" y="1958"/>
                  </a:lnTo>
                  <a:lnTo>
                    <a:pt x="1818" y="1958"/>
                  </a:lnTo>
                  <a:lnTo>
                    <a:pt x="1818" y="1958"/>
                  </a:lnTo>
                  <a:lnTo>
                    <a:pt x="1818" y="1958"/>
                  </a:lnTo>
                  <a:lnTo>
                    <a:pt x="1818" y="1958"/>
                  </a:lnTo>
                  <a:lnTo>
                    <a:pt x="1815" y="1958"/>
                  </a:lnTo>
                  <a:lnTo>
                    <a:pt x="1815" y="1958"/>
                  </a:lnTo>
                  <a:lnTo>
                    <a:pt x="1815" y="1961"/>
                  </a:lnTo>
                  <a:lnTo>
                    <a:pt x="1815" y="1961"/>
                  </a:lnTo>
                  <a:lnTo>
                    <a:pt x="1815" y="1963"/>
                  </a:lnTo>
                  <a:lnTo>
                    <a:pt x="1815" y="1963"/>
                  </a:lnTo>
                  <a:lnTo>
                    <a:pt x="1815" y="1965"/>
                  </a:lnTo>
                  <a:lnTo>
                    <a:pt x="1815" y="1965"/>
                  </a:lnTo>
                  <a:lnTo>
                    <a:pt x="1815" y="1968"/>
                  </a:lnTo>
                  <a:lnTo>
                    <a:pt x="1813" y="1968"/>
                  </a:lnTo>
                  <a:lnTo>
                    <a:pt x="1813" y="1968"/>
                  </a:lnTo>
                  <a:lnTo>
                    <a:pt x="1813" y="1968"/>
                  </a:lnTo>
                  <a:lnTo>
                    <a:pt x="1813" y="1968"/>
                  </a:lnTo>
                  <a:lnTo>
                    <a:pt x="1810" y="1968"/>
                  </a:lnTo>
                  <a:lnTo>
                    <a:pt x="1810" y="1968"/>
                  </a:lnTo>
                  <a:lnTo>
                    <a:pt x="1808" y="1968"/>
                  </a:lnTo>
                  <a:close/>
                  <a:moveTo>
                    <a:pt x="1818" y="1826"/>
                  </a:moveTo>
                  <a:lnTo>
                    <a:pt x="1818" y="1826"/>
                  </a:lnTo>
                  <a:lnTo>
                    <a:pt x="1818" y="1826"/>
                  </a:lnTo>
                  <a:lnTo>
                    <a:pt x="1818" y="1826"/>
                  </a:lnTo>
                  <a:lnTo>
                    <a:pt x="1818" y="1826"/>
                  </a:lnTo>
                  <a:lnTo>
                    <a:pt x="1818" y="1826"/>
                  </a:lnTo>
                  <a:lnTo>
                    <a:pt x="1818" y="1826"/>
                  </a:lnTo>
                  <a:lnTo>
                    <a:pt x="1818" y="1826"/>
                  </a:lnTo>
                  <a:lnTo>
                    <a:pt x="1820" y="1826"/>
                  </a:lnTo>
                  <a:lnTo>
                    <a:pt x="1820" y="1826"/>
                  </a:lnTo>
                  <a:lnTo>
                    <a:pt x="1820" y="1826"/>
                  </a:lnTo>
                  <a:lnTo>
                    <a:pt x="1820" y="1826"/>
                  </a:lnTo>
                  <a:lnTo>
                    <a:pt x="1820" y="1826"/>
                  </a:lnTo>
                  <a:lnTo>
                    <a:pt x="1820" y="1826"/>
                  </a:lnTo>
                  <a:lnTo>
                    <a:pt x="1820" y="1826"/>
                  </a:lnTo>
                  <a:lnTo>
                    <a:pt x="1820" y="1826"/>
                  </a:lnTo>
                  <a:lnTo>
                    <a:pt x="1820" y="1826"/>
                  </a:lnTo>
                  <a:lnTo>
                    <a:pt x="1820" y="1826"/>
                  </a:lnTo>
                  <a:lnTo>
                    <a:pt x="1820" y="1826"/>
                  </a:lnTo>
                  <a:lnTo>
                    <a:pt x="1820" y="1826"/>
                  </a:lnTo>
                  <a:lnTo>
                    <a:pt x="1820" y="1823"/>
                  </a:lnTo>
                  <a:lnTo>
                    <a:pt x="1820" y="1823"/>
                  </a:lnTo>
                  <a:lnTo>
                    <a:pt x="1818" y="1823"/>
                  </a:lnTo>
                  <a:lnTo>
                    <a:pt x="1818" y="1826"/>
                  </a:lnTo>
                  <a:lnTo>
                    <a:pt x="1818" y="1826"/>
                  </a:lnTo>
                  <a:lnTo>
                    <a:pt x="1818" y="1826"/>
                  </a:lnTo>
                  <a:lnTo>
                    <a:pt x="1818" y="1826"/>
                  </a:lnTo>
                  <a:lnTo>
                    <a:pt x="1818" y="1826"/>
                  </a:lnTo>
                  <a:close/>
                  <a:moveTo>
                    <a:pt x="1839" y="1975"/>
                  </a:moveTo>
                  <a:lnTo>
                    <a:pt x="1839" y="1975"/>
                  </a:lnTo>
                  <a:lnTo>
                    <a:pt x="1839" y="1977"/>
                  </a:lnTo>
                  <a:lnTo>
                    <a:pt x="1839" y="1977"/>
                  </a:lnTo>
                  <a:lnTo>
                    <a:pt x="1841" y="1977"/>
                  </a:lnTo>
                  <a:lnTo>
                    <a:pt x="1844" y="1975"/>
                  </a:lnTo>
                  <a:lnTo>
                    <a:pt x="1844" y="1975"/>
                  </a:lnTo>
                  <a:lnTo>
                    <a:pt x="1844" y="1975"/>
                  </a:lnTo>
                  <a:lnTo>
                    <a:pt x="1844" y="1972"/>
                  </a:lnTo>
                  <a:lnTo>
                    <a:pt x="1846" y="1972"/>
                  </a:lnTo>
                  <a:lnTo>
                    <a:pt x="1844" y="1975"/>
                  </a:lnTo>
                  <a:lnTo>
                    <a:pt x="1846" y="1972"/>
                  </a:lnTo>
                  <a:lnTo>
                    <a:pt x="1846" y="1972"/>
                  </a:lnTo>
                  <a:lnTo>
                    <a:pt x="1846" y="1972"/>
                  </a:lnTo>
                  <a:lnTo>
                    <a:pt x="1846" y="1972"/>
                  </a:lnTo>
                  <a:lnTo>
                    <a:pt x="1846" y="1972"/>
                  </a:lnTo>
                  <a:lnTo>
                    <a:pt x="1846" y="1972"/>
                  </a:lnTo>
                  <a:lnTo>
                    <a:pt x="1848" y="1972"/>
                  </a:lnTo>
                  <a:lnTo>
                    <a:pt x="1846" y="1970"/>
                  </a:lnTo>
                  <a:lnTo>
                    <a:pt x="1846" y="1970"/>
                  </a:lnTo>
                  <a:lnTo>
                    <a:pt x="1848" y="1970"/>
                  </a:lnTo>
                  <a:lnTo>
                    <a:pt x="1848" y="1968"/>
                  </a:lnTo>
                  <a:lnTo>
                    <a:pt x="1846" y="1968"/>
                  </a:lnTo>
                  <a:lnTo>
                    <a:pt x="1846" y="1968"/>
                  </a:lnTo>
                  <a:lnTo>
                    <a:pt x="1846" y="1965"/>
                  </a:lnTo>
                  <a:lnTo>
                    <a:pt x="1846" y="1965"/>
                  </a:lnTo>
                  <a:lnTo>
                    <a:pt x="1846" y="1965"/>
                  </a:lnTo>
                  <a:lnTo>
                    <a:pt x="1846" y="1963"/>
                  </a:lnTo>
                  <a:lnTo>
                    <a:pt x="1846" y="1958"/>
                  </a:lnTo>
                  <a:lnTo>
                    <a:pt x="1844" y="1958"/>
                  </a:lnTo>
                  <a:lnTo>
                    <a:pt x="1844" y="1958"/>
                  </a:lnTo>
                  <a:lnTo>
                    <a:pt x="1844" y="1958"/>
                  </a:lnTo>
                  <a:lnTo>
                    <a:pt x="1841" y="1958"/>
                  </a:lnTo>
                  <a:lnTo>
                    <a:pt x="1841" y="1961"/>
                  </a:lnTo>
                  <a:lnTo>
                    <a:pt x="1841" y="1961"/>
                  </a:lnTo>
                  <a:lnTo>
                    <a:pt x="1841" y="1961"/>
                  </a:lnTo>
                  <a:lnTo>
                    <a:pt x="1841" y="1963"/>
                  </a:lnTo>
                  <a:lnTo>
                    <a:pt x="1841" y="1963"/>
                  </a:lnTo>
                  <a:lnTo>
                    <a:pt x="1841" y="1963"/>
                  </a:lnTo>
                  <a:lnTo>
                    <a:pt x="1841" y="1965"/>
                  </a:lnTo>
                  <a:lnTo>
                    <a:pt x="1841" y="1965"/>
                  </a:lnTo>
                  <a:lnTo>
                    <a:pt x="1841" y="1965"/>
                  </a:lnTo>
                  <a:lnTo>
                    <a:pt x="1841" y="1965"/>
                  </a:lnTo>
                  <a:lnTo>
                    <a:pt x="1841" y="1968"/>
                  </a:lnTo>
                  <a:lnTo>
                    <a:pt x="1841" y="1968"/>
                  </a:lnTo>
                  <a:lnTo>
                    <a:pt x="1841" y="1968"/>
                  </a:lnTo>
                  <a:lnTo>
                    <a:pt x="1841" y="1970"/>
                  </a:lnTo>
                  <a:lnTo>
                    <a:pt x="1839" y="1975"/>
                  </a:lnTo>
                  <a:close/>
                  <a:moveTo>
                    <a:pt x="1822" y="1835"/>
                  </a:moveTo>
                  <a:lnTo>
                    <a:pt x="1822" y="1833"/>
                  </a:lnTo>
                  <a:lnTo>
                    <a:pt x="1822" y="1833"/>
                  </a:lnTo>
                  <a:lnTo>
                    <a:pt x="1822" y="1833"/>
                  </a:lnTo>
                  <a:lnTo>
                    <a:pt x="1820" y="1833"/>
                  </a:lnTo>
                  <a:lnTo>
                    <a:pt x="1820" y="1831"/>
                  </a:lnTo>
                  <a:lnTo>
                    <a:pt x="1820" y="1831"/>
                  </a:lnTo>
                  <a:lnTo>
                    <a:pt x="1820" y="1831"/>
                  </a:lnTo>
                  <a:lnTo>
                    <a:pt x="1820" y="1831"/>
                  </a:lnTo>
                  <a:lnTo>
                    <a:pt x="1820" y="1831"/>
                  </a:lnTo>
                  <a:lnTo>
                    <a:pt x="1820" y="1833"/>
                  </a:lnTo>
                  <a:lnTo>
                    <a:pt x="1820" y="1833"/>
                  </a:lnTo>
                  <a:lnTo>
                    <a:pt x="1820" y="1833"/>
                  </a:lnTo>
                  <a:lnTo>
                    <a:pt x="1820" y="1833"/>
                  </a:lnTo>
                  <a:lnTo>
                    <a:pt x="1820" y="1833"/>
                  </a:lnTo>
                  <a:lnTo>
                    <a:pt x="1820" y="1833"/>
                  </a:lnTo>
                  <a:lnTo>
                    <a:pt x="1820" y="1835"/>
                  </a:lnTo>
                  <a:lnTo>
                    <a:pt x="1820" y="1835"/>
                  </a:lnTo>
                  <a:lnTo>
                    <a:pt x="1820" y="1835"/>
                  </a:lnTo>
                  <a:lnTo>
                    <a:pt x="1822" y="1835"/>
                  </a:lnTo>
                  <a:lnTo>
                    <a:pt x="1827" y="1838"/>
                  </a:lnTo>
                  <a:lnTo>
                    <a:pt x="1827" y="1838"/>
                  </a:lnTo>
                  <a:lnTo>
                    <a:pt x="1827" y="1838"/>
                  </a:lnTo>
                  <a:lnTo>
                    <a:pt x="1822" y="1835"/>
                  </a:lnTo>
                  <a:lnTo>
                    <a:pt x="1822" y="1835"/>
                  </a:lnTo>
                  <a:lnTo>
                    <a:pt x="1822" y="1833"/>
                  </a:lnTo>
                  <a:lnTo>
                    <a:pt x="1822" y="1835"/>
                  </a:lnTo>
                  <a:lnTo>
                    <a:pt x="1822" y="1835"/>
                  </a:lnTo>
                  <a:close/>
                  <a:moveTo>
                    <a:pt x="1810" y="1991"/>
                  </a:moveTo>
                  <a:lnTo>
                    <a:pt x="1808" y="1991"/>
                  </a:lnTo>
                  <a:lnTo>
                    <a:pt x="1808" y="1994"/>
                  </a:lnTo>
                  <a:lnTo>
                    <a:pt x="1808" y="1996"/>
                  </a:lnTo>
                  <a:lnTo>
                    <a:pt x="1810" y="1996"/>
                  </a:lnTo>
                  <a:lnTo>
                    <a:pt x="1810" y="1996"/>
                  </a:lnTo>
                  <a:lnTo>
                    <a:pt x="1810" y="1996"/>
                  </a:lnTo>
                  <a:lnTo>
                    <a:pt x="1810" y="1996"/>
                  </a:lnTo>
                  <a:lnTo>
                    <a:pt x="1813" y="1999"/>
                  </a:lnTo>
                  <a:lnTo>
                    <a:pt x="1813" y="1999"/>
                  </a:lnTo>
                  <a:lnTo>
                    <a:pt x="1813" y="1999"/>
                  </a:lnTo>
                  <a:lnTo>
                    <a:pt x="1813" y="1999"/>
                  </a:lnTo>
                  <a:lnTo>
                    <a:pt x="1813" y="1999"/>
                  </a:lnTo>
                  <a:lnTo>
                    <a:pt x="1813" y="1999"/>
                  </a:lnTo>
                  <a:lnTo>
                    <a:pt x="1813" y="1996"/>
                  </a:lnTo>
                  <a:lnTo>
                    <a:pt x="1813" y="1996"/>
                  </a:lnTo>
                  <a:lnTo>
                    <a:pt x="1815" y="1994"/>
                  </a:lnTo>
                  <a:lnTo>
                    <a:pt x="1818" y="1989"/>
                  </a:lnTo>
                  <a:lnTo>
                    <a:pt x="1820" y="1982"/>
                  </a:lnTo>
                  <a:lnTo>
                    <a:pt x="1820" y="1980"/>
                  </a:lnTo>
                  <a:lnTo>
                    <a:pt x="1822" y="1980"/>
                  </a:lnTo>
                  <a:lnTo>
                    <a:pt x="1822" y="1980"/>
                  </a:lnTo>
                  <a:lnTo>
                    <a:pt x="1822" y="1980"/>
                  </a:lnTo>
                  <a:lnTo>
                    <a:pt x="1822" y="1982"/>
                  </a:lnTo>
                  <a:lnTo>
                    <a:pt x="1822" y="1984"/>
                  </a:lnTo>
                  <a:lnTo>
                    <a:pt x="1822" y="1984"/>
                  </a:lnTo>
                  <a:lnTo>
                    <a:pt x="1820" y="1991"/>
                  </a:lnTo>
                  <a:lnTo>
                    <a:pt x="1818" y="1999"/>
                  </a:lnTo>
                  <a:lnTo>
                    <a:pt x="1818" y="2001"/>
                  </a:lnTo>
                  <a:lnTo>
                    <a:pt x="1818" y="2001"/>
                  </a:lnTo>
                  <a:lnTo>
                    <a:pt x="1818" y="2001"/>
                  </a:lnTo>
                  <a:lnTo>
                    <a:pt x="1818" y="1999"/>
                  </a:lnTo>
                  <a:lnTo>
                    <a:pt x="1818" y="1999"/>
                  </a:lnTo>
                  <a:lnTo>
                    <a:pt x="1818" y="1999"/>
                  </a:lnTo>
                  <a:lnTo>
                    <a:pt x="1820" y="1994"/>
                  </a:lnTo>
                  <a:lnTo>
                    <a:pt x="1820" y="1994"/>
                  </a:lnTo>
                  <a:lnTo>
                    <a:pt x="1820" y="1994"/>
                  </a:lnTo>
                  <a:lnTo>
                    <a:pt x="1822" y="1994"/>
                  </a:lnTo>
                  <a:lnTo>
                    <a:pt x="1822" y="1994"/>
                  </a:lnTo>
                  <a:lnTo>
                    <a:pt x="1825" y="1994"/>
                  </a:lnTo>
                  <a:lnTo>
                    <a:pt x="1825" y="1994"/>
                  </a:lnTo>
                  <a:lnTo>
                    <a:pt x="1827" y="1989"/>
                  </a:lnTo>
                  <a:lnTo>
                    <a:pt x="1827" y="1989"/>
                  </a:lnTo>
                  <a:lnTo>
                    <a:pt x="1829" y="1987"/>
                  </a:lnTo>
                  <a:lnTo>
                    <a:pt x="1829" y="1977"/>
                  </a:lnTo>
                  <a:lnTo>
                    <a:pt x="1832" y="1972"/>
                  </a:lnTo>
                  <a:lnTo>
                    <a:pt x="1832" y="1972"/>
                  </a:lnTo>
                  <a:lnTo>
                    <a:pt x="1832" y="1972"/>
                  </a:lnTo>
                  <a:lnTo>
                    <a:pt x="1832" y="1972"/>
                  </a:lnTo>
                  <a:lnTo>
                    <a:pt x="1832" y="1972"/>
                  </a:lnTo>
                  <a:lnTo>
                    <a:pt x="1834" y="1975"/>
                  </a:lnTo>
                  <a:lnTo>
                    <a:pt x="1834" y="1975"/>
                  </a:lnTo>
                  <a:lnTo>
                    <a:pt x="1832" y="1984"/>
                  </a:lnTo>
                  <a:lnTo>
                    <a:pt x="1832" y="1991"/>
                  </a:lnTo>
                  <a:lnTo>
                    <a:pt x="1832" y="1994"/>
                  </a:lnTo>
                  <a:lnTo>
                    <a:pt x="1832" y="1989"/>
                  </a:lnTo>
                  <a:lnTo>
                    <a:pt x="1834" y="1982"/>
                  </a:lnTo>
                  <a:lnTo>
                    <a:pt x="1834" y="1980"/>
                  </a:lnTo>
                  <a:lnTo>
                    <a:pt x="1834" y="1980"/>
                  </a:lnTo>
                  <a:lnTo>
                    <a:pt x="1834" y="1977"/>
                  </a:lnTo>
                  <a:lnTo>
                    <a:pt x="1834" y="1977"/>
                  </a:lnTo>
                  <a:lnTo>
                    <a:pt x="1834" y="1975"/>
                  </a:lnTo>
                  <a:lnTo>
                    <a:pt x="1834" y="1972"/>
                  </a:lnTo>
                  <a:lnTo>
                    <a:pt x="1834" y="1972"/>
                  </a:lnTo>
                  <a:lnTo>
                    <a:pt x="1834" y="1972"/>
                  </a:lnTo>
                  <a:lnTo>
                    <a:pt x="1834" y="1972"/>
                  </a:lnTo>
                  <a:lnTo>
                    <a:pt x="1834" y="1972"/>
                  </a:lnTo>
                  <a:lnTo>
                    <a:pt x="1834" y="1972"/>
                  </a:lnTo>
                  <a:lnTo>
                    <a:pt x="1834" y="1972"/>
                  </a:lnTo>
                  <a:lnTo>
                    <a:pt x="1834" y="1972"/>
                  </a:lnTo>
                  <a:lnTo>
                    <a:pt x="1834" y="1972"/>
                  </a:lnTo>
                  <a:lnTo>
                    <a:pt x="1834" y="1972"/>
                  </a:lnTo>
                  <a:lnTo>
                    <a:pt x="1834" y="1972"/>
                  </a:lnTo>
                  <a:lnTo>
                    <a:pt x="1834" y="1972"/>
                  </a:lnTo>
                  <a:lnTo>
                    <a:pt x="1834" y="1972"/>
                  </a:lnTo>
                  <a:lnTo>
                    <a:pt x="1834" y="1965"/>
                  </a:lnTo>
                  <a:lnTo>
                    <a:pt x="1834" y="1965"/>
                  </a:lnTo>
                  <a:lnTo>
                    <a:pt x="1834" y="1963"/>
                  </a:lnTo>
                  <a:lnTo>
                    <a:pt x="1834" y="1963"/>
                  </a:lnTo>
                  <a:lnTo>
                    <a:pt x="1834" y="1963"/>
                  </a:lnTo>
                  <a:lnTo>
                    <a:pt x="1834" y="1963"/>
                  </a:lnTo>
                  <a:lnTo>
                    <a:pt x="1834" y="1963"/>
                  </a:lnTo>
                  <a:lnTo>
                    <a:pt x="1834" y="1963"/>
                  </a:lnTo>
                  <a:lnTo>
                    <a:pt x="1834" y="1963"/>
                  </a:lnTo>
                  <a:lnTo>
                    <a:pt x="1834" y="1963"/>
                  </a:lnTo>
                  <a:lnTo>
                    <a:pt x="1836" y="1963"/>
                  </a:lnTo>
                  <a:lnTo>
                    <a:pt x="1836" y="1963"/>
                  </a:lnTo>
                  <a:lnTo>
                    <a:pt x="1836" y="1963"/>
                  </a:lnTo>
                  <a:lnTo>
                    <a:pt x="1836" y="1965"/>
                  </a:lnTo>
                  <a:lnTo>
                    <a:pt x="1836" y="1965"/>
                  </a:lnTo>
                  <a:lnTo>
                    <a:pt x="1836" y="1968"/>
                  </a:lnTo>
                  <a:lnTo>
                    <a:pt x="1836" y="1970"/>
                  </a:lnTo>
                  <a:lnTo>
                    <a:pt x="1834" y="1980"/>
                  </a:lnTo>
                  <a:lnTo>
                    <a:pt x="1834" y="1982"/>
                  </a:lnTo>
                  <a:lnTo>
                    <a:pt x="1834" y="1984"/>
                  </a:lnTo>
                  <a:lnTo>
                    <a:pt x="1834" y="1984"/>
                  </a:lnTo>
                  <a:lnTo>
                    <a:pt x="1834" y="1989"/>
                  </a:lnTo>
                  <a:lnTo>
                    <a:pt x="1834" y="1991"/>
                  </a:lnTo>
                  <a:lnTo>
                    <a:pt x="1834" y="1991"/>
                  </a:lnTo>
                  <a:lnTo>
                    <a:pt x="1834" y="1991"/>
                  </a:lnTo>
                  <a:lnTo>
                    <a:pt x="1834" y="1991"/>
                  </a:lnTo>
                  <a:lnTo>
                    <a:pt x="1834" y="1991"/>
                  </a:lnTo>
                  <a:lnTo>
                    <a:pt x="1834" y="1994"/>
                  </a:lnTo>
                  <a:lnTo>
                    <a:pt x="1834" y="1994"/>
                  </a:lnTo>
                  <a:lnTo>
                    <a:pt x="1834" y="1991"/>
                  </a:lnTo>
                  <a:lnTo>
                    <a:pt x="1836" y="1982"/>
                  </a:lnTo>
                  <a:lnTo>
                    <a:pt x="1836" y="1977"/>
                  </a:lnTo>
                  <a:lnTo>
                    <a:pt x="1836" y="1970"/>
                  </a:lnTo>
                  <a:lnTo>
                    <a:pt x="1836" y="1970"/>
                  </a:lnTo>
                  <a:lnTo>
                    <a:pt x="1836" y="1968"/>
                  </a:lnTo>
                  <a:lnTo>
                    <a:pt x="1839" y="1968"/>
                  </a:lnTo>
                  <a:lnTo>
                    <a:pt x="1839" y="1968"/>
                  </a:lnTo>
                  <a:lnTo>
                    <a:pt x="1839" y="1968"/>
                  </a:lnTo>
                  <a:lnTo>
                    <a:pt x="1839" y="1965"/>
                  </a:lnTo>
                  <a:lnTo>
                    <a:pt x="1839" y="1965"/>
                  </a:lnTo>
                  <a:lnTo>
                    <a:pt x="1836" y="1965"/>
                  </a:lnTo>
                  <a:lnTo>
                    <a:pt x="1836" y="1965"/>
                  </a:lnTo>
                  <a:lnTo>
                    <a:pt x="1836" y="1965"/>
                  </a:lnTo>
                  <a:lnTo>
                    <a:pt x="1836" y="1965"/>
                  </a:lnTo>
                  <a:lnTo>
                    <a:pt x="1836" y="1965"/>
                  </a:lnTo>
                  <a:lnTo>
                    <a:pt x="1839" y="1965"/>
                  </a:lnTo>
                  <a:lnTo>
                    <a:pt x="1839" y="1963"/>
                  </a:lnTo>
                  <a:lnTo>
                    <a:pt x="1836" y="1963"/>
                  </a:lnTo>
                  <a:lnTo>
                    <a:pt x="1836" y="1963"/>
                  </a:lnTo>
                  <a:lnTo>
                    <a:pt x="1836" y="1963"/>
                  </a:lnTo>
                  <a:lnTo>
                    <a:pt x="1836" y="1961"/>
                  </a:lnTo>
                  <a:lnTo>
                    <a:pt x="1836" y="1961"/>
                  </a:lnTo>
                  <a:lnTo>
                    <a:pt x="1836" y="1961"/>
                  </a:lnTo>
                  <a:lnTo>
                    <a:pt x="1836" y="1961"/>
                  </a:lnTo>
                  <a:lnTo>
                    <a:pt x="1834" y="1961"/>
                  </a:lnTo>
                  <a:lnTo>
                    <a:pt x="1832" y="1961"/>
                  </a:lnTo>
                  <a:lnTo>
                    <a:pt x="1832" y="1958"/>
                  </a:lnTo>
                  <a:lnTo>
                    <a:pt x="1829" y="1958"/>
                  </a:lnTo>
                  <a:lnTo>
                    <a:pt x="1829" y="1954"/>
                  </a:lnTo>
                  <a:lnTo>
                    <a:pt x="1829" y="1954"/>
                  </a:lnTo>
                  <a:lnTo>
                    <a:pt x="1829" y="1954"/>
                  </a:lnTo>
                  <a:lnTo>
                    <a:pt x="1827" y="1954"/>
                  </a:lnTo>
                  <a:lnTo>
                    <a:pt x="1827" y="1956"/>
                  </a:lnTo>
                  <a:lnTo>
                    <a:pt x="1825" y="1954"/>
                  </a:lnTo>
                  <a:lnTo>
                    <a:pt x="1825" y="1954"/>
                  </a:lnTo>
                  <a:lnTo>
                    <a:pt x="1825" y="1951"/>
                  </a:lnTo>
                  <a:lnTo>
                    <a:pt x="1825" y="1949"/>
                  </a:lnTo>
                  <a:lnTo>
                    <a:pt x="1827" y="1949"/>
                  </a:lnTo>
                  <a:lnTo>
                    <a:pt x="1827" y="1951"/>
                  </a:lnTo>
                  <a:lnTo>
                    <a:pt x="1827" y="1951"/>
                  </a:lnTo>
                  <a:lnTo>
                    <a:pt x="1829" y="1951"/>
                  </a:lnTo>
                  <a:lnTo>
                    <a:pt x="1827" y="1949"/>
                  </a:lnTo>
                  <a:lnTo>
                    <a:pt x="1827" y="1949"/>
                  </a:lnTo>
                  <a:lnTo>
                    <a:pt x="1825" y="1946"/>
                  </a:lnTo>
                  <a:lnTo>
                    <a:pt x="1825" y="1949"/>
                  </a:lnTo>
                  <a:lnTo>
                    <a:pt x="1822" y="1949"/>
                  </a:lnTo>
                  <a:lnTo>
                    <a:pt x="1825" y="1951"/>
                  </a:lnTo>
                  <a:lnTo>
                    <a:pt x="1825" y="1954"/>
                  </a:lnTo>
                  <a:lnTo>
                    <a:pt x="1825" y="1958"/>
                  </a:lnTo>
                  <a:lnTo>
                    <a:pt x="1825" y="1961"/>
                  </a:lnTo>
                  <a:lnTo>
                    <a:pt x="1825" y="1963"/>
                  </a:lnTo>
                  <a:lnTo>
                    <a:pt x="1825" y="1968"/>
                  </a:lnTo>
                  <a:lnTo>
                    <a:pt x="1825" y="1972"/>
                  </a:lnTo>
                  <a:lnTo>
                    <a:pt x="1825" y="1975"/>
                  </a:lnTo>
                  <a:lnTo>
                    <a:pt x="1825" y="1975"/>
                  </a:lnTo>
                  <a:lnTo>
                    <a:pt x="1822" y="1975"/>
                  </a:lnTo>
                  <a:lnTo>
                    <a:pt x="1822" y="1977"/>
                  </a:lnTo>
                  <a:lnTo>
                    <a:pt x="1820" y="1977"/>
                  </a:lnTo>
                  <a:lnTo>
                    <a:pt x="1820" y="1977"/>
                  </a:lnTo>
                  <a:lnTo>
                    <a:pt x="1820" y="1977"/>
                  </a:lnTo>
                  <a:lnTo>
                    <a:pt x="1820" y="1980"/>
                  </a:lnTo>
                  <a:lnTo>
                    <a:pt x="1820" y="1980"/>
                  </a:lnTo>
                  <a:lnTo>
                    <a:pt x="1820" y="1980"/>
                  </a:lnTo>
                  <a:lnTo>
                    <a:pt x="1820" y="1980"/>
                  </a:lnTo>
                  <a:lnTo>
                    <a:pt x="1820" y="1980"/>
                  </a:lnTo>
                  <a:lnTo>
                    <a:pt x="1820" y="1980"/>
                  </a:lnTo>
                  <a:lnTo>
                    <a:pt x="1818" y="1980"/>
                  </a:lnTo>
                  <a:lnTo>
                    <a:pt x="1818" y="1980"/>
                  </a:lnTo>
                  <a:lnTo>
                    <a:pt x="1820" y="1977"/>
                  </a:lnTo>
                  <a:lnTo>
                    <a:pt x="1820" y="1977"/>
                  </a:lnTo>
                  <a:lnTo>
                    <a:pt x="1820" y="1975"/>
                  </a:lnTo>
                  <a:lnTo>
                    <a:pt x="1820" y="1972"/>
                  </a:lnTo>
                  <a:lnTo>
                    <a:pt x="1820" y="1970"/>
                  </a:lnTo>
                  <a:lnTo>
                    <a:pt x="1820" y="1970"/>
                  </a:lnTo>
                  <a:lnTo>
                    <a:pt x="1820" y="1970"/>
                  </a:lnTo>
                  <a:lnTo>
                    <a:pt x="1820" y="1968"/>
                  </a:lnTo>
                  <a:lnTo>
                    <a:pt x="1820" y="1968"/>
                  </a:lnTo>
                  <a:lnTo>
                    <a:pt x="1820" y="1968"/>
                  </a:lnTo>
                  <a:lnTo>
                    <a:pt x="1820" y="1968"/>
                  </a:lnTo>
                  <a:lnTo>
                    <a:pt x="1820" y="1965"/>
                  </a:lnTo>
                  <a:lnTo>
                    <a:pt x="1820" y="1965"/>
                  </a:lnTo>
                  <a:lnTo>
                    <a:pt x="1822" y="1963"/>
                  </a:lnTo>
                  <a:lnTo>
                    <a:pt x="1822" y="1963"/>
                  </a:lnTo>
                  <a:lnTo>
                    <a:pt x="1820" y="1961"/>
                  </a:lnTo>
                  <a:lnTo>
                    <a:pt x="1820" y="1961"/>
                  </a:lnTo>
                  <a:lnTo>
                    <a:pt x="1820" y="1958"/>
                  </a:lnTo>
                  <a:lnTo>
                    <a:pt x="1820" y="1958"/>
                  </a:lnTo>
                  <a:lnTo>
                    <a:pt x="1820" y="1958"/>
                  </a:lnTo>
                  <a:lnTo>
                    <a:pt x="1820" y="1956"/>
                  </a:lnTo>
                  <a:lnTo>
                    <a:pt x="1820" y="1956"/>
                  </a:lnTo>
                  <a:lnTo>
                    <a:pt x="1818" y="1956"/>
                  </a:lnTo>
                  <a:lnTo>
                    <a:pt x="1820" y="1956"/>
                  </a:lnTo>
                  <a:lnTo>
                    <a:pt x="1820" y="1956"/>
                  </a:lnTo>
                  <a:lnTo>
                    <a:pt x="1820" y="1958"/>
                  </a:lnTo>
                  <a:lnTo>
                    <a:pt x="1820" y="1958"/>
                  </a:lnTo>
                  <a:lnTo>
                    <a:pt x="1820" y="1958"/>
                  </a:lnTo>
                  <a:lnTo>
                    <a:pt x="1820" y="1958"/>
                  </a:lnTo>
                  <a:lnTo>
                    <a:pt x="1818" y="1958"/>
                  </a:lnTo>
                  <a:lnTo>
                    <a:pt x="1820" y="1961"/>
                  </a:lnTo>
                  <a:lnTo>
                    <a:pt x="1820" y="1963"/>
                  </a:lnTo>
                  <a:lnTo>
                    <a:pt x="1820" y="1968"/>
                  </a:lnTo>
                  <a:lnTo>
                    <a:pt x="1820" y="1970"/>
                  </a:lnTo>
                  <a:lnTo>
                    <a:pt x="1820" y="1972"/>
                  </a:lnTo>
                  <a:lnTo>
                    <a:pt x="1815" y="1980"/>
                  </a:lnTo>
                  <a:lnTo>
                    <a:pt x="1810" y="1991"/>
                  </a:lnTo>
                  <a:close/>
                  <a:moveTo>
                    <a:pt x="1787" y="2152"/>
                  </a:moveTo>
                  <a:lnTo>
                    <a:pt x="1784" y="2152"/>
                  </a:lnTo>
                  <a:lnTo>
                    <a:pt x="1782" y="2152"/>
                  </a:lnTo>
                  <a:lnTo>
                    <a:pt x="1780" y="2155"/>
                  </a:lnTo>
                  <a:lnTo>
                    <a:pt x="1777" y="2155"/>
                  </a:lnTo>
                  <a:lnTo>
                    <a:pt x="1775" y="2155"/>
                  </a:lnTo>
                  <a:lnTo>
                    <a:pt x="1775" y="2155"/>
                  </a:lnTo>
                  <a:lnTo>
                    <a:pt x="1773" y="2157"/>
                  </a:lnTo>
                  <a:lnTo>
                    <a:pt x="1773" y="2159"/>
                  </a:lnTo>
                  <a:lnTo>
                    <a:pt x="1773" y="2162"/>
                  </a:lnTo>
                  <a:lnTo>
                    <a:pt x="1773" y="2162"/>
                  </a:lnTo>
                  <a:lnTo>
                    <a:pt x="1770" y="2164"/>
                  </a:lnTo>
                  <a:lnTo>
                    <a:pt x="1770" y="2164"/>
                  </a:lnTo>
                  <a:lnTo>
                    <a:pt x="1773" y="2164"/>
                  </a:lnTo>
                  <a:lnTo>
                    <a:pt x="1775" y="2166"/>
                  </a:lnTo>
                  <a:lnTo>
                    <a:pt x="1780" y="2166"/>
                  </a:lnTo>
                  <a:lnTo>
                    <a:pt x="1784" y="2169"/>
                  </a:lnTo>
                  <a:lnTo>
                    <a:pt x="1791" y="2171"/>
                  </a:lnTo>
                  <a:lnTo>
                    <a:pt x="1799" y="2171"/>
                  </a:lnTo>
                  <a:lnTo>
                    <a:pt x="1803" y="2171"/>
                  </a:lnTo>
                  <a:lnTo>
                    <a:pt x="1806" y="2174"/>
                  </a:lnTo>
                  <a:lnTo>
                    <a:pt x="1815" y="2174"/>
                  </a:lnTo>
                  <a:lnTo>
                    <a:pt x="1818" y="2176"/>
                  </a:lnTo>
                  <a:lnTo>
                    <a:pt x="1818" y="2176"/>
                  </a:lnTo>
                  <a:lnTo>
                    <a:pt x="1818" y="2174"/>
                  </a:lnTo>
                  <a:lnTo>
                    <a:pt x="1818" y="2174"/>
                  </a:lnTo>
                  <a:lnTo>
                    <a:pt x="1818" y="2171"/>
                  </a:lnTo>
                  <a:lnTo>
                    <a:pt x="1818" y="2171"/>
                  </a:lnTo>
                  <a:lnTo>
                    <a:pt x="1815" y="2166"/>
                  </a:lnTo>
                  <a:lnTo>
                    <a:pt x="1815" y="2166"/>
                  </a:lnTo>
                  <a:lnTo>
                    <a:pt x="1815" y="2164"/>
                  </a:lnTo>
                  <a:lnTo>
                    <a:pt x="1813" y="2162"/>
                  </a:lnTo>
                  <a:lnTo>
                    <a:pt x="1813" y="2162"/>
                  </a:lnTo>
                  <a:lnTo>
                    <a:pt x="1808" y="2157"/>
                  </a:lnTo>
                  <a:lnTo>
                    <a:pt x="1808" y="2157"/>
                  </a:lnTo>
                  <a:lnTo>
                    <a:pt x="1806" y="2157"/>
                  </a:lnTo>
                  <a:lnTo>
                    <a:pt x="1806" y="2155"/>
                  </a:lnTo>
                  <a:lnTo>
                    <a:pt x="1806" y="2155"/>
                  </a:lnTo>
                  <a:lnTo>
                    <a:pt x="1806" y="2155"/>
                  </a:lnTo>
                  <a:lnTo>
                    <a:pt x="1803" y="2152"/>
                  </a:lnTo>
                  <a:lnTo>
                    <a:pt x="1799" y="2150"/>
                  </a:lnTo>
                  <a:lnTo>
                    <a:pt x="1799" y="2150"/>
                  </a:lnTo>
                  <a:lnTo>
                    <a:pt x="1789" y="2150"/>
                  </a:lnTo>
                  <a:lnTo>
                    <a:pt x="1787" y="2152"/>
                  </a:lnTo>
                  <a:close/>
                  <a:moveTo>
                    <a:pt x="1754" y="1783"/>
                  </a:moveTo>
                  <a:lnTo>
                    <a:pt x="1754" y="1783"/>
                  </a:lnTo>
                  <a:lnTo>
                    <a:pt x="1754" y="1783"/>
                  </a:lnTo>
                  <a:lnTo>
                    <a:pt x="1754" y="1786"/>
                  </a:lnTo>
                  <a:lnTo>
                    <a:pt x="1754" y="1786"/>
                  </a:lnTo>
                  <a:lnTo>
                    <a:pt x="1754" y="1786"/>
                  </a:lnTo>
                  <a:lnTo>
                    <a:pt x="1754" y="1786"/>
                  </a:lnTo>
                  <a:lnTo>
                    <a:pt x="1754" y="1786"/>
                  </a:lnTo>
                  <a:lnTo>
                    <a:pt x="1754" y="1786"/>
                  </a:lnTo>
                  <a:lnTo>
                    <a:pt x="1754" y="1786"/>
                  </a:lnTo>
                  <a:lnTo>
                    <a:pt x="1754" y="1783"/>
                  </a:lnTo>
                  <a:lnTo>
                    <a:pt x="1754" y="1783"/>
                  </a:lnTo>
                  <a:lnTo>
                    <a:pt x="1754" y="1783"/>
                  </a:lnTo>
                  <a:lnTo>
                    <a:pt x="1754" y="1783"/>
                  </a:lnTo>
                  <a:close/>
                  <a:moveTo>
                    <a:pt x="1758" y="1781"/>
                  </a:moveTo>
                  <a:lnTo>
                    <a:pt x="1758" y="1781"/>
                  </a:lnTo>
                  <a:lnTo>
                    <a:pt x="1758" y="1781"/>
                  </a:lnTo>
                  <a:lnTo>
                    <a:pt x="1758" y="1781"/>
                  </a:lnTo>
                  <a:lnTo>
                    <a:pt x="1758" y="1781"/>
                  </a:lnTo>
                  <a:lnTo>
                    <a:pt x="1758" y="1783"/>
                  </a:lnTo>
                  <a:lnTo>
                    <a:pt x="1756" y="1783"/>
                  </a:lnTo>
                  <a:lnTo>
                    <a:pt x="1756" y="1786"/>
                  </a:lnTo>
                  <a:lnTo>
                    <a:pt x="1756" y="1786"/>
                  </a:lnTo>
                  <a:lnTo>
                    <a:pt x="1758" y="1786"/>
                  </a:lnTo>
                  <a:lnTo>
                    <a:pt x="1758" y="1786"/>
                  </a:lnTo>
                  <a:lnTo>
                    <a:pt x="1758" y="1783"/>
                  </a:lnTo>
                  <a:lnTo>
                    <a:pt x="1758" y="1783"/>
                  </a:lnTo>
                  <a:lnTo>
                    <a:pt x="1758" y="1783"/>
                  </a:lnTo>
                  <a:lnTo>
                    <a:pt x="1758" y="1783"/>
                  </a:lnTo>
                  <a:lnTo>
                    <a:pt x="1758" y="1783"/>
                  </a:lnTo>
                  <a:lnTo>
                    <a:pt x="1758" y="1783"/>
                  </a:lnTo>
                  <a:lnTo>
                    <a:pt x="1758" y="1783"/>
                  </a:lnTo>
                  <a:lnTo>
                    <a:pt x="1758" y="1783"/>
                  </a:lnTo>
                  <a:lnTo>
                    <a:pt x="1758" y="1781"/>
                  </a:lnTo>
                  <a:close/>
                  <a:moveTo>
                    <a:pt x="1735" y="1175"/>
                  </a:moveTo>
                  <a:lnTo>
                    <a:pt x="1735" y="1175"/>
                  </a:lnTo>
                  <a:lnTo>
                    <a:pt x="1735" y="1173"/>
                  </a:lnTo>
                  <a:lnTo>
                    <a:pt x="1737" y="1171"/>
                  </a:lnTo>
                  <a:lnTo>
                    <a:pt x="1737" y="1171"/>
                  </a:lnTo>
                  <a:lnTo>
                    <a:pt x="1737" y="1171"/>
                  </a:lnTo>
                  <a:lnTo>
                    <a:pt x="1739" y="1168"/>
                  </a:lnTo>
                  <a:lnTo>
                    <a:pt x="1739" y="1168"/>
                  </a:lnTo>
                  <a:lnTo>
                    <a:pt x="1739" y="1168"/>
                  </a:lnTo>
                  <a:lnTo>
                    <a:pt x="1739" y="1166"/>
                  </a:lnTo>
                  <a:lnTo>
                    <a:pt x="1739" y="1166"/>
                  </a:lnTo>
                  <a:lnTo>
                    <a:pt x="1739" y="1166"/>
                  </a:lnTo>
                  <a:lnTo>
                    <a:pt x="1739" y="1166"/>
                  </a:lnTo>
                  <a:lnTo>
                    <a:pt x="1739" y="1163"/>
                  </a:lnTo>
                  <a:lnTo>
                    <a:pt x="1739" y="1163"/>
                  </a:lnTo>
                  <a:lnTo>
                    <a:pt x="1739" y="1163"/>
                  </a:lnTo>
                  <a:lnTo>
                    <a:pt x="1737" y="1161"/>
                  </a:lnTo>
                  <a:lnTo>
                    <a:pt x="1737" y="1161"/>
                  </a:lnTo>
                  <a:lnTo>
                    <a:pt x="1737" y="1161"/>
                  </a:lnTo>
                  <a:lnTo>
                    <a:pt x="1735" y="1161"/>
                  </a:lnTo>
                  <a:lnTo>
                    <a:pt x="1735" y="1161"/>
                  </a:lnTo>
                  <a:lnTo>
                    <a:pt x="1730" y="1163"/>
                  </a:lnTo>
                  <a:lnTo>
                    <a:pt x="1730" y="1163"/>
                  </a:lnTo>
                  <a:lnTo>
                    <a:pt x="1728" y="1161"/>
                  </a:lnTo>
                  <a:lnTo>
                    <a:pt x="1728" y="1161"/>
                  </a:lnTo>
                  <a:lnTo>
                    <a:pt x="1723" y="1163"/>
                  </a:lnTo>
                  <a:lnTo>
                    <a:pt x="1723" y="1163"/>
                  </a:lnTo>
                  <a:lnTo>
                    <a:pt x="1723" y="1166"/>
                  </a:lnTo>
                  <a:lnTo>
                    <a:pt x="1723" y="1168"/>
                  </a:lnTo>
                  <a:lnTo>
                    <a:pt x="1723" y="1168"/>
                  </a:lnTo>
                  <a:lnTo>
                    <a:pt x="1723" y="1168"/>
                  </a:lnTo>
                  <a:lnTo>
                    <a:pt x="1723" y="1171"/>
                  </a:lnTo>
                  <a:lnTo>
                    <a:pt x="1723" y="1171"/>
                  </a:lnTo>
                  <a:lnTo>
                    <a:pt x="1723" y="1173"/>
                  </a:lnTo>
                  <a:lnTo>
                    <a:pt x="1723" y="1175"/>
                  </a:lnTo>
                  <a:lnTo>
                    <a:pt x="1723" y="1178"/>
                  </a:lnTo>
                  <a:lnTo>
                    <a:pt x="1725" y="1180"/>
                  </a:lnTo>
                  <a:lnTo>
                    <a:pt x="1728" y="1182"/>
                  </a:lnTo>
                  <a:lnTo>
                    <a:pt x="1730" y="1182"/>
                  </a:lnTo>
                  <a:lnTo>
                    <a:pt x="1730" y="1182"/>
                  </a:lnTo>
                  <a:lnTo>
                    <a:pt x="1732" y="1182"/>
                  </a:lnTo>
                  <a:lnTo>
                    <a:pt x="1735" y="1180"/>
                  </a:lnTo>
                  <a:lnTo>
                    <a:pt x="1735" y="1180"/>
                  </a:lnTo>
                  <a:lnTo>
                    <a:pt x="1735" y="1182"/>
                  </a:lnTo>
                  <a:lnTo>
                    <a:pt x="1735" y="1182"/>
                  </a:lnTo>
                  <a:lnTo>
                    <a:pt x="1737" y="1182"/>
                  </a:lnTo>
                  <a:lnTo>
                    <a:pt x="1737" y="1182"/>
                  </a:lnTo>
                  <a:lnTo>
                    <a:pt x="1737" y="1182"/>
                  </a:lnTo>
                  <a:lnTo>
                    <a:pt x="1737" y="1182"/>
                  </a:lnTo>
                  <a:lnTo>
                    <a:pt x="1737" y="1182"/>
                  </a:lnTo>
                  <a:lnTo>
                    <a:pt x="1737" y="1180"/>
                  </a:lnTo>
                  <a:lnTo>
                    <a:pt x="1737" y="1180"/>
                  </a:lnTo>
                  <a:lnTo>
                    <a:pt x="1737" y="1180"/>
                  </a:lnTo>
                  <a:lnTo>
                    <a:pt x="1737" y="1180"/>
                  </a:lnTo>
                  <a:lnTo>
                    <a:pt x="1735" y="1180"/>
                  </a:lnTo>
                  <a:lnTo>
                    <a:pt x="1735" y="1178"/>
                  </a:lnTo>
                  <a:lnTo>
                    <a:pt x="1735" y="1178"/>
                  </a:lnTo>
                  <a:lnTo>
                    <a:pt x="1735" y="1175"/>
                  </a:lnTo>
                  <a:lnTo>
                    <a:pt x="1735" y="1175"/>
                  </a:lnTo>
                  <a:lnTo>
                    <a:pt x="1735" y="1175"/>
                  </a:lnTo>
                  <a:close/>
                  <a:moveTo>
                    <a:pt x="1749" y="1253"/>
                  </a:moveTo>
                  <a:lnTo>
                    <a:pt x="1747" y="1265"/>
                  </a:lnTo>
                  <a:lnTo>
                    <a:pt x="1747" y="1268"/>
                  </a:lnTo>
                  <a:lnTo>
                    <a:pt x="1747" y="1275"/>
                  </a:lnTo>
                  <a:lnTo>
                    <a:pt x="1747" y="1277"/>
                  </a:lnTo>
                  <a:lnTo>
                    <a:pt x="1747" y="1277"/>
                  </a:lnTo>
                  <a:lnTo>
                    <a:pt x="1747" y="1279"/>
                  </a:lnTo>
                  <a:lnTo>
                    <a:pt x="1749" y="1284"/>
                  </a:lnTo>
                  <a:lnTo>
                    <a:pt x="1749" y="1284"/>
                  </a:lnTo>
                  <a:lnTo>
                    <a:pt x="1751" y="1286"/>
                  </a:lnTo>
                  <a:lnTo>
                    <a:pt x="1751" y="1286"/>
                  </a:lnTo>
                  <a:lnTo>
                    <a:pt x="1751" y="1289"/>
                  </a:lnTo>
                  <a:lnTo>
                    <a:pt x="1751" y="1289"/>
                  </a:lnTo>
                  <a:lnTo>
                    <a:pt x="1749" y="1289"/>
                  </a:lnTo>
                  <a:lnTo>
                    <a:pt x="1751" y="1289"/>
                  </a:lnTo>
                  <a:lnTo>
                    <a:pt x="1751" y="1291"/>
                  </a:lnTo>
                  <a:lnTo>
                    <a:pt x="1751" y="1291"/>
                  </a:lnTo>
                  <a:lnTo>
                    <a:pt x="1751" y="1294"/>
                  </a:lnTo>
                  <a:lnTo>
                    <a:pt x="1751" y="1294"/>
                  </a:lnTo>
                  <a:lnTo>
                    <a:pt x="1754" y="1294"/>
                  </a:lnTo>
                  <a:lnTo>
                    <a:pt x="1754" y="1296"/>
                  </a:lnTo>
                  <a:lnTo>
                    <a:pt x="1754" y="1296"/>
                  </a:lnTo>
                  <a:lnTo>
                    <a:pt x="1754" y="1296"/>
                  </a:lnTo>
                  <a:lnTo>
                    <a:pt x="1756" y="1301"/>
                  </a:lnTo>
                  <a:lnTo>
                    <a:pt x="1758" y="1303"/>
                  </a:lnTo>
                  <a:lnTo>
                    <a:pt x="1758" y="1303"/>
                  </a:lnTo>
                  <a:lnTo>
                    <a:pt x="1758" y="1305"/>
                  </a:lnTo>
                  <a:lnTo>
                    <a:pt x="1758" y="1305"/>
                  </a:lnTo>
                  <a:lnTo>
                    <a:pt x="1761" y="1305"/>
                  </a:lnTo>
                  <a:lnTo>
                    <a:pt x="1770" y="1305"/>
                  </a:lnTo>
                  <a:lnTo>
                    <a:pt x="1770" y="1303"/>
                  </a:lnTo>
                  <a:lnTo>
                    <a:pt x="1773" y="1303"/>
                  </a:lnTo>
                  <a:lnTo>
                    <a:pt x="1775" y="1303"/>
                  </a:lnTo>
                  <a:lnTo>
                    <a:pt x="1777" y="1303"/>
                  </a:lnTo>
                  <a:lnTo>
                    <a:pt x="1777" y="1301"/>
                  </a:lnTo>
                  <a:lnTo>
                    <a:pt x="1780" y="1301"/>
                  </a:lnTo>
                  <a:lnTo>
                    <a:pt x="1782" y="1301"/>
                  </a:lnTo>
                  <a:lnTo>
                    <a:pt x="1782" y="1301"/>
                  </a:lnTo>
                  <a:lnTo>
                    <a:pt x="1787" y="1298"/>
                  </a:lnTo>
                  <a:lnTo>
                    <a:pt x="1787" y="1298"/>
                  </a:lnTo>
                  <a:lnTo>
                    <a:pt x="1791" y="1294"/>
                  </a:lnTo>
                  <a:lnTo>
                    <a:pt x="1794" y="1294"/>
                  </a:lnTo>
                  <a:lnTo>
                    <a:pt x="1794" y="1294"/>
                  </a:lnTo>
                  <a:lnTo>
                    <a:pt x="1794" y="1294"/>
                  </a:lnTo>
                  <a:lnTo>
                    <a:pt x="1794" y="1291"/>
                  </a:lnTo>
                  <a:lnTo>
                    <a:pt x="1794" y="1291"/>
                  </a:lnTo>
                  <a:lnTo>
                    <a:pt x="1796" y="1289"/>
                  </a:lnTo>
                  <a:lnTo>
                    <a:pt x="1799" y="1289"/>
                  </a:lnTo>
                  <a:lnTo>
                    <a:pt x="1799" y="1289"/>
                  </a:lnTo>
                  <a:lnTo>
                    <a:pt x="1799" y="1289"/>
                  </a:lnTo>
                  <a:lnTo>
                    <a:pt x="1799" y="1286"/>
                  </a:lnTo>
                  <a:lnTo>
                    <a:pt x="1799" y="1286"/>
                  </a:lnTo>
                  <a:lnTo>
                    <a:pt x="1799" y="1286"/>
                  </a:lnTo>
                  <a:lnTo>
                    <a:pt x="1799" y="1286"/>
                  </a:lnTo>
                  <a:lnTo>
                    <a:pt x="1799" y="1286"/>
                  </a:lnTo>
                  <a:lnTo>
                    <a:pt x="1799" y="1286"/>
                  </a:lnTo>
                  <a:lnTo>
                    <a:pt x="1799" y="1286"/>
                  </a:lnTo>
                  <a:lnTo>
                    <a:pt x="1799" y="1286"/>
                  </a:lnTo>
                  <a:lnTo>
                    <a:pt x="1801" y="1284"/>
                  </a:lnTo>
                  <a:lnTo>
                    <a:pt x="1801" y="1284"/>
                  </a:lnTo>
                  <a:lnTo>
                    <a:pt x="1801" y="1282"/>
                  </a:lnTo>
                  <a:lnTo>
                    <a:pt x="1803" y="1282"/>
                  </a:lnTo>
                  <a:lnTo>
                    <a:pt x="1803" y="1279"/>
                  </a:lnTo>
                  <a:lnTo>
                    <a:pt x="1803" y="1277"/>
                  </a:lnTo>
                  <a:lnTo>
                    <a:pt x="1803" y="1275"/>
                  </a:lnTo>
                  <a:lnTo>
                    <a:pt x="1803" y="1272"/>
                  </a:lnTo>
                  <a:lnTo>
                    <a:pt x="1803" y="1272"/>
                  </a:lnTo>
                  <a:lnTo>
                    <a:pt x="1803" y="1270"/>
                  </a:lnTo>
                  <a:lnTo>
                    <a:pt x="1803" y="1270"/>
                  </a:lnTo>
                  <a:lnTo>
                    <a:pt x="1803" y="1270"/>
                  </a:lnTo>
                  <a:lnTo>
                    <a:pt x="1803" y="1270"/>
                  </a:lnTo>
                  <a:lnTo>
                    <a:pt x="1803" y="1270"/>
                  </a:lnTo>
                  <a:lnTo>
                    <a:pt x="1801" y="1268"/>
                  </a:lnTo>
                  <a:lnTo>
                    <a:pt x="1801" y="1263"/>
                  </a:lnTo>
                  <a:lnTo>
                    <a:pt x="1801" y="1260"/>
                  </a:lnTo>
                  <a:lnTo>
                    <a:pt x="1801" y="1258"/>
                  </a:lnTo>
                  <a:lnTo>
                    <a:pt x="1799" y="1258"/>
                  </a:lnTo>
                  <a:lnTo>
                    <a:pt x="1799" y="1256"/>
                  </a:lnTo>
                  <a:lnTo>
                    <a:pt x="1799" y="1256"/>
                  </a:lnTo>
                  <a:lnTo>
                    <a:pt x="1796" y="1251"/>
                  </a:lnTo>
                  <a:lnTo>
                    <a:pt x="1796" y="1251"/>
                  </a:lnTo>
                  <a:lnTo>
                    <a:pt x="1796" y="1249"/>
                  </a:lnTo>
                  <a:lnTo>
                    <a:pt x="1796" y="1249"/>
                  </a:lnTo>
                  <a:lnTo>
                    <a:pt x="1796" y="1244"/>
                  </a:lnTo>
                  <a:lnTo>
                    <a:pt x="1796" y="1242"/>
                  </a:lnTo>
                  <a:lnTo>
                    <a:pt x="1796" y="1242"/>
                  </a:lnTo>
                  <a:lnTo>
                    <a:pt x="1796" y="1239"/>
                  </a:lnTo>
                  <a:lnTo>
                    <a:pt x="1796" y="1239"/>
                  </a:lnTo>
                  <a:lnTo>
                    <a:pt x="1796" y="1237"/>
                  </a:lnTo>
                  <a:lnTo>
                    <a:pt x="1796" y="1237"/>
                  </a:lnTo>
                  <a:lnTo>
                    <a:pt x="1796" y="1237"/>
                  </a:lnTo>
                  <a:lnTo>
                    <a:pt x="1796" y="1234"/>
                  </a:lnTo>
                  <a:lnTo>
                    <a:pt x="1796" y="1234"/>
                  </a:lnTo>
                  <a:lnTo>
                    <a:pt x="1794" y="1234"/>
                  </a:lnTo>
                  <a:lnTo>
                    <a:pt x="1794" y="1234"/>
                  </a:lnTo>
                  <a:lnTo>
                    <a:pt x="1794" y="1234"/>
                  </a:lnTo>
                  <a:lnTo>
                    <a:pt x="1794" y="1232"/>
                  </a:lnTo>
                  <a:lnTo>
                    <a:pt x="1791" y="1232"/>
                  </a:lnTo>
                  <a:lnTo>
                    <a:pt x="1791" y="1232"/>
                  </a:lnTo>
                  <a:lnTo>
                    <a:pt x="1782" y="1230"/>
                  </a:lnTo>
                  <a:lnTo>
                    <a:pt x="1780" y="1230"/>
                  </a:lnTo>
                  <a:lnTo>
                    <a:pt x="1773" y="1227"/>
                  </a:lnTo>
                  <a:lnTo>
                    <a:pt x="1770" y="1230"/>
                  </a:lnTo>
                  <a:lnTo>
                    <a:pt x="1768" y="1232"/>
                  </a:lnTo>
                  <a:lnTo>
                    <a:pt x="1768" y="1232"/>
                  </a:lnTo>
                  <a:lnTo>
                    <a:pt x="1765" y="1232"/>
                  </a:lnTo>
                  <a:lnTo>
                    <a:pt x="1765" y="1232"/>
                  </a:lnTo>
                  <a:lnTo>
                    <a:pt x="1763" y="1232"/>
                  </a:lnTo>
                  <a:lnTo>
                    <a:pt x="1763" y="1232"/>
                  </a:lnTo>
                  <a:lnTo>
                    <a:pt x="1763" y="1230"/>
                  </a:lnTo>
                  <a:lnTo>
                    <a:pt x="1763" y="1232"/>
                  </a:lnTo>
                  <a:lnTo>
                    <a:pt x="1754" y="1237"/>
                  </a:lnTo>
                  <a:lnTo>
                    <a:pt x="1754" y="1239"/>
                  </a:lnTo>
                  <a:lnTo>
                    <a:pt x="1751" y="1244"/>
                  </a:lnTo>
                  <a:lnTo>
                    <a:pt x="1751" y="1246"/>
                  </a:lnTo>
                  <a:lnTo>
                    <a:pt x="1751" y="1246"/>
                  </a:lnTo>
                  <a:lnTo>
                    <a:pt x="1751" y="1246"/>
                  </a:lnTo>
                  <a:lnTo>
                    <a:pt x="1751" y="1249"/>
                  </a:lnTo>
                  <a:lnTo>
                    <a:pt x="1749" y="1253"/>
                  </a:lnTo>
                  <a:close/>
                  <a:moveTo>
                    <a:pt x="1794" y="1206"/>
                  </a:moveTo>
                  <a:lnTo>
                    <a:pt x="1794" y="1208"/>
                  </a:lnTo>
                  <a:lnTo>
                    <a:pt x="1796" y="1208"/>
                  </a:lnTo>
                  <a:lnTo>
                    <a:pt x="1801" y="1206"/>
                  </a:lnTo>
                  <a:lnTo>
                    <a:pt x="1801" y="1206"/>
                  </a:lnTo>
                  <a:lnTo>
                    <a:pt x="1801" y="1204"/>
                  </a:lnTo>
                  <a:lnTo>
                    <a:pt x="1801" y="1204"/>
                  </a:lnTo>
                  <a:lnTo>
                    <a:pt x="1799" y="1204"/>
                  </a:lnTo>
                  <a:lnTo>
                    <a:pt x="1799" y="1204"/>
                  </a:lnTo>
                  <a:lnTo>
                    <a:pt x="1799" y="1204"/>
                  </a:lnTo>
                  <a:lnTo>
                    <a:pt x="1799" y="1201"/>
                  </a:lnTo>
                  <a:lnTo>
                    <a:pt x="1796" y="1201"/>
                  </a:lnTo>
                  <a:lnTo>
                    <a:pt x="1794" y="1201"/>
                  </a:lnTo>
                  <a:lnTo>
                    <a:pt x="1794" y="1201"/>
                  </a:lnTo>
                  <a:lnTo>
                    <a:pt x="1791" y="1204"/>
                  </a:lnTo>
                  <a:lnTo>
                    <a:pt x="1794" y="1206"/>
                  </a:lnTo>
                  <a:lnTo>
                    <a:pt x="1794" y="1206"/>
                  </a:lnTo>
                  <a:close/>
                  <a:moveTo>
                    <a:pt x="1758" y="1797"/>
                  </a:moveTo>
                  <a:lnTo>
                    <a:pt x="1758" y="1797"/>
                  </a:lnTo>
                  <a:lnTo>
                    <a:pt x="1758" y="1797"/>
                  </a:lnTo>
                  <a:lnTo>
                    <a:pt x="1758" y="1797"/>
                  </a:lnTo>
                  <a:lnTo>
                    <a:pt x="1758" y="1795"/>
                  </a:lnTo>
                  <a:lnTo>
                    <a:pt x="1758" y="1795"/>
                  </a:lnTo>
                  <a:lnTo>
                    <a:pt x="1758" y="1795"/>
                  </a:lnTo>
                  <a:lnTo>
                    <a:pt x="1758" y="1795"/>
                  </a:lnTo>
                  <a:lnTo>
                    <a:pt x="1758" y="1795"/>
                  </a:lnTo>
                  <a:lnTo>
                    <a:pt x="1758" y="1795"/>
                  </a:lnTo>
                  <a:lnTo>
                    <a:pt x="1756" y="1797"/>
                  </a:lnTo>
                  <a:lnTo>
                    <a:pt x="1756" y="1797"/>
                  </a:lnTo>
                  <a:lnTo>
                    <a:pt x="1756" y="1797"/>
                  </a:lnTo>
                  <a:lnTo>
                    <a:pt x="1756" y="1797"/>
                  </a:lnTo>
                  <a:lnTo>
                    <a:pt x="1756" y="1797"/>
                  </a:lnTo>
                  <a:lnTo>
                    <a:pt x="1756" y="1800"/>
                  </a:lnTo>
                  <a:lnTo>
                    <a:pt x="1756" y="1800"/>
                  </a:lnTo>
                  <a:lnTo>
                    <a:pt x="1756" y="1802"/>
                  </a:lnTo>
                  <a:lnTo>
                    <a:pt x="1756" y="1802"/>
                  </a:lnTo>
                  <a:lnTo>
                    <a:pt x="1758" y="1802"/>
                  </a:lnTo>
                  <a:lnTo>
                    <a:pt x="1758" y="1800"/>
                  </a:lnTo>
                  <a:lnTo>
                    <a:pt x="1758" y="1800"/>
                  </a:lnTo>
                  <a:lnTo>
                    <a:pt x="1758" y="1797"/>
                  </a:lnTo>
                  <a:lnTo>
                    <a:pt x="1758" y="1797"/>
                  </a:lnTo>
                  <a:close/>
                  <a:moveTo>
                    <a:pt x="1765" y="1776"/>
                  </a:moveTo>
                  <a:lnTo>
                    <a:pt x="1765" y="1776"/>
                  </a:lnTo>
                  <a:lnTo>
                    <a:pt x="1765" y="1779"/>
                  </a:lnTo>
                  <a:lnTo>
                    <a:pt x="1768" y="1776"/>
                  </a:lnTo>
                  <a:lnTo>
                    <a:pt x="1768" y="1776"/>
                  </a:lnTo>
                  <a:lnTo>
                    <a:pt x="1768" y="1774"/>
                  </a:lnTo>
                  <a:lnTo>
                    <a:pt x="1770" y="1774"/>
                  </a:lnTo>
                  <a:lnTo>
                    <a:pt x="1770" y="1774"/>
                  </a:lnTo>
                  <a:lnTo>
                    <a:pt x="1770" y="1774"/>
                  </a:lnTo>
                  <a:lnTo>
                    <a:pt x="1770" y="1774"/>
                  </a:lnTo>
                  <a:lnTo>
                    <a:pt x="1770" y="1771"/>
                  </a:lnTo>
                  <a:lnTo>
                    <a:pt x="1770" y="1771"/>
                  </a:lnTo>
                  <a:lnTo>
                    <a:pt x="1770" y="1771"/>
                  </a:lnTo>
                  <a:lnTo>
                    <a:pt x="1770" y="1771"/>
                  </a:lnTo>
                  <a:lnTo>
                    <a:pt x="1770" y="1771"/>
                  </a:lnTo>
                  <a:lnTo>
                    <a:pt x="1770" y="1771"/>
                  </a:lnTo>
                  <a:lnTo>
                    <a:pt x="1770" y="1769"/>
                  </a:lnTo>
                  <a:lnTo>
                    <a:pt x="1770" y="1769"/>
                  </a:lnTo>
                  <a:lnTo>
                    <a:pt x="1768" y="1769"/>
                  </a:lnTo>
                  <a:lnTo>
                    <a:pt x="1768" y="1771"/>
                  </a:lnTo>
                  <a:lnTo>
                    <a:pt x="1768" y="1771"/>
                  </a:lnTo>
                  <a:lnTo>
                    <a:pt x="1768" y="1771"/>
                  </a:lnTo>
                  <a:lnTo>
                    <a:pt x="1768" y="1769"/>
                  </a:lnTo>
                  <a:lnTo>
                    <a:pt x="1768" y="1769"/>
                  </a:lnTo>
                  <a:lnTo>
                    <a:pt x="1768" y="1769"/>
                  </a:lnTo>
                  <a:lnTo>
                    <a:pt x="1768" y="1769"/>
                  </a:lnTo>
                  <a:lnTo>
                    <a:pt x="1768" y="1769"/>
                  </a:lnTo>
                  <a:lnTo>
                    <a:pt x="1765" y="1771"/>
                  </a:lnTo>
                  <a:lnTo>
                    <a:pt x="1765" y="1771"/>
                  </a:lnTo>
                  <a:lnTo>
                    <a:pt x="1765" y="1771"/>
                  </a:lnTo>
                  <a:lnTo>
                    <a:pt x="1765" y="1771"/>
                  </a:lnTo>
                  <a:lnTo>
                    <a:pt x="1765" y="1774"/>
                  </a:lnTo>
                  <a:lnTo>
                    <a:pt x="1763" y="1779"/>
                  </a:lnTo>
                  <a:lnTo>
                    <a:pt x="1763" y="1779"/>
                  </a:lnTo>
                  <a:lnTo>
                    <a:pt x="1765" y="1779"/>
                  </a:lnTo>
                  <a:lnTo>
                    <a:pt x="1765" y="1779"/>
                  </a:lnTo>
                  <a:lnTo>
                    <a:pt x="1765" y="1779"/>
                  </a:lnTo>
                  <a:lnTo>
                    <a:pt x="1765" y="1779"/>
                  </a:lnTo>
                  <a:lnTo>
                    <a:pt x="1765" y="1776"/>
                  </a:lnTo>
                  <a:lnTo>
                    <a:pt x="1765" y="1776"/>
                  </a:lnTo>
                  <a:lnTo>
                    <a:pt x="1765" y="1776"/>
                  </a:lnTo>
                  <a:lnTo>
                    <a:pt x="1765" y="1776"/>
                  </a:lnTo>
                  <a:lnTo>
                    <a:pt x="1765" y="1776"/>
                  </a:lnTo>
                  <a:lnTo>
                    <a:pt x="1765" y="1776"/>
                  </a:lnTo>
                  <a:lnTo>
                    <a:pt x="1765" y="1776"/>
                  </a:lnTo>
                  <a:lnTo>
                    <a:pt x="1765" y="1776"/>
                  </a:lnTo>
                  <a:lnTo>
                    <a:pt x="1765" y="1774"/>
                  </a:lnTo>
                  <a:lnTo>
                    <a:pt x="1765" y="1774"/>
                  </a:lnTo>
                  <a:lnTo>
                    <a:pt x="1765" y="1776"/>
                  </a:lnTo>
                  <a:lnTo>
                    <a:pt x="1765" y="1776"/>
                  </a:lnTo>
                  <a:close/>
                  <a:moveTo>
                    <a:pt x="1806" y="1939"/>
                  </a:moveTo>
                  <a:lnTo>
                    <a:pt x="1806" y="1939"/>
                  </a:lnTo>
                  <a:lnTo>
                    <a:pt x="1806" y="1939"/>
                  </a:lnTo>
                  <a:lnTo>
                    <a:pt x="1806" y="1942"/>
                  </a:lnTo>
                  <a:lnTo>
                    <a:pt x="1806" y="1942"/>
                  </a:lnTo>
                  <a:lnTo>
                    <a:pt x="1806" y="1944"/>
                  </a:lnTo>
                  <a:lnTo>
                    <a:pt x="1806" y="1944"/>
                  </a:lnTo>
                  <a:lnTo>
                    <a:pt x="1806" y="1944"/>
                  </a:lnTo>
                  <a:lnTo>
                    <a:pt x="1808" y="1944"/>
                  </a:lnTo>
                  <a:lnTo>
                    <a:pt x="1808" y="1944"/>
                  </a:lnTo>
                  <a:lnTo>
                    <a:pt x="1808" y="1942"/>
                  </a:lnTo>
                  <a:lnTo>
                    <a:pt x="1808" y="1942"/>
                  </a:lnTo>
                  <a:lnTo>
                    <a:pt x="1806" y="1939"/>
                  </a:lnTo>
                  <a:lnTo>
                    <a:pt x="1806" y="1937"/>
                  </a:lnTo>
                  <a:lnTo>
                    <a:pt x="1806" y="1937"/>
                  </a:lnTo>
                  <a:lnTo>
                    <a:pt x="1806" y="1937"/>
                  </a:lnTo>
                  <a:lnTo>
                    <a:pt x="1806" y="1937"/>
                  </a:lnTo>
                  <a:lnTo>
                    <a:pt x="1803" y="1935"/>
                  </a:lnTo>
                  <a:lnTo>
                    <a:pt x="1803" y="1935"/>
                  </a:lnTo>
                  <a:lnTo>
                    <a:pt x="1803" y="1937"/>
                  </a:lnTo>
                  <a:lnTo>
                    <a:pt x="1803" y="1937"/>
                  </a:lnTo>
                  <a:lnTo>
                    <a:pt x="1803" y="1937"/>
                  </a:lnTo>
                  <a:lnTo>
                    <a:pt x="1803" y="1937"/>
                  </a:lnTo>
                  <a:lnTo>
                    <a:pt x="1803" y="1937"/>
                  </a:lnTo>
                  <a:lnTo>
                    <a:pt x="1803" y="1937"/>
                  </a:lnTo>
                  <a:lnTo>
                    <a:pt x="1801" y="1939"/>
                  </a:lnTo>
                  <a:lnTo>
                    <a:pt x="1801" y="1939"/>
                  </a:lnTo>
                  <a:lnTo>
                    <a:pt x="1803" y="1939"/>
                  </a:lnTo>
                  <a:lnTo>
                    <a:pt x="1806" y="1939"/>
                  </a:lnTo>
                  <a:close/>
                  <a:moveTo>
                    <a:pt x="1810" y="1823"/>
                  </a:moveTo>
                  <a:lnTo>
                    <a:pt x="1810" y="1823"/>
                  </a:lnTo>
                  <a:lnTo>
                    <a:pt x="1810" y="1823"/>
                  </a:lnTo>
                  <a:lnTo>
                    <a:pt x="1810" y="1826"/>
                  </a:lnTo>
                  <a:lnTo>
                    <a:pt x="1810" y="1826"/>
                  </a:lnTo>
                  <a:lnTo>
                    <a:pt x="1810" y="1826"/>
                  </a:lnTo>
                  <a:lnTo>
                    <a:pt x="1810" y="1826"/>
                  </a:lnTo>
                  <a:lnTo>
                    <a:pt x="1810" y="1826"/>
                  </a:lnTo>
                  <a:lnTo>
                    <a:pt x="1813" y="1826"/>
                  </a:lnTo>
                  <a:lnTo>
                    <a:pt x="1813" y="1826"/>
                  </a:lnTo>
                  <a:lnTo>
                    <a:pt x="1810" y="1826"/>
                  </a:lnTo>
                  <a:lnTo>
                    <a:pt x="1810" y="1823"/>
                  </a:lnTo>
                  <a:lnTo>
                    <a:pt x="1810" y="1823"/>
                  </a:lnTo>
                  <a:lnTo>
                    <a:pt x="1810" y="1823"/>
                  </a:lnTo>
                  <a:lnTo>
                    <a:pt x="1810" y="1823"/>
                  </a:lnTo>
                  <a:lnTo>
                    <a:pt x="1810" y="1823"/>
                  </a:lnTo>
                  <a:lnTo>
                    <a:pt x="1810" y="1823"/>
                  </a:lnTo>
                  <a:lnTo>
                    <a:pt x="1810" y="1823"/>
                  </a:lnTo>
                  <a:close/>
                  <a:moveTo>
                    <a:pt x="1758" y="1816"/>
                  </a:moveTo>
                  <a:lnTo>
                    <a:pt x="1758" y="1819"/>
                  </a:lnTo>
                  <a:lnTo>
                    <a:pt x="1758" y="1819"/>
                  </a:lnTo>
                  <a:lnTo>
                    <a:pt x="1758" y="1819"/>
                  </a:lnTo>
                  <a:lnTo>
                    <a:pt x="1761" y="1819"/>
                  </a:lnTo>
                  <a:lnTo>
                    <a:pt x="1761" y="1819"/>
                  </a:lnTo>
                  <a:lnTo>
                    <a:pt x="1761" y="1819"/>
                  </a:lnTo>
                  <a:lnTo>
                    <a:pt x="1761" y="1816"/>
                  </a:lnTo>
                  <a:lnTo>
                    <a:pt x="1758" y="1816"/>
                  </a:lnTo>
                  <a:close/>
                  <a:moveTo>
                    <a:pt x="1801" y="1946"/>
                  </a:moveTo>
                  <a:lnTo>
                    <a:pt x="1803" y="1946"/>
                  </a:lnTo>
                  <a:lnTo>
                    <a:pt x="1803" y="1946"/>
                  </a:lnTo>
                  <a:lnTo>
                    <a:pt x="1803" y="1946"/>
                  </a:lnTo>
                  <a:lnTo>
                    <a:pt x="1803" y="1946"/>
                  </a:lnTo>
                  <a:lnTo>
                    <a:pt x="1803" y="1946"/>
                  </a:lnTo>
                  <a:lnTo>
                    <a:pt x="1803" y="1946"/>
                  </a:lnTo>
                  <a:lnTo>
                    <a:pt x="1803" y="1946"/>
                  </a:lnTo>
                  <a:lnTo>
                    <a:pt x="1803" y="1944"/>
                  </a:lnTo>
                  <a:lnTo>
                    <a:pt x="1806" y="1944"/>
                  </a:lnTo>
                  <a:lnTo>
                    <a:pt x="1806" y="1944"/>
                  </a:lnTo>
                  <a:lnTo>
                    <a:pt x="1806" y="1944"/>
                  </a:lnTo>
                  <a:lnTo>
                    <a:pt x="1806" y="1942"/>
                  </a:lnTo>
                  <a:lnTo>
                    <a:pt x="1806" y="1942"/>
                  </a:lnTo>
                  <a:lnTo>
                    <a:pt x="1803" y="1942"/>
                  </a:lnTo>
                  <a:lnTo>
                    <a:pt x="1803" y="1942"/>
                  </a:lnTo>
                  <a:lnTo>
                    <a:pt x="1801" y="1942"/>
                  </a:lnTo>
                  <a:lnTo>
                    <a:pt x="1801" y="1942"/>
                  </a:lnTo>
                  <a:lnTo>
                    <a:pt x="1801" y="1942"/>
                  </a:lnTo>
                  <a:lnTo>
                    <a:pt x="1801" y="1942"/>
                  </a:lnTo>
                  <a:lnTo>
                    <a:pt x="1801" y="1944"/>
                  </a:lnTo>
                  <a:lnTo>
                    <a:pt x="1801" y="1946"/>
                  </a:lnTo>
                  <a:lnTo>
                    <a:pt x="1801" y="1946"/>
                  </a:lnTo>
                  <a:close/>
                  <a:moveTo>
                    <a:pt x="1761" y="1648"/>
                  </a:moveTo>
                  <a:lnTo>
                    <a:pt x="1761" y="1648"/>
                  </a:lnTo>
                  <a:lnTo>
                    <a:pt x="1761" y="1646"/>
                  </a:lnTo>
                  <a:lnTo>
                    <a:pt x="1761" y="1646"/>
                  </a:lnTo>
                  <a:lnTo>
                    <a:pt x="1761" y="1646"/>
                  </a:lnTo>
                  <a:lnTo>
                    <a:pt x="1763" y="1644"/>
                  </a:lnTo>
                  <a:lnTo>
                    <a:pt x="1763" y="1644"/>
                  </a:lnTo>
                  <a:lnTo>
                    <a:pt x="1763" y="1644"/>
                  </a:lnTo>
                  <a:lnTo>
                    <a:pt x="1763" y="1641"/>
                  </a:lnTo>
                  <a:lnTo>
                    <a:pt x="1763" y="1641"/>
                  </a:lnTo>
                  <a:lnTo>
                    <a:pt x="1763" y="1641"/>
                  </a:lnTo>
                  <a:lnTo>
                    <a:pt x="1763" y="1641"/>
                  </a:lnTo>
                  <a:lnTo>
                    <a:pt x="1763" y="1641"/>
                  </a:lnTo>
                  <a:lnTo>
                    <a:pt x="1763" y="1641"/>
                  </a:lnTo>
                  <a:lnTo>
                    <a:pt x="1763" y="1644"/>
                  </a:lnTo>
                  <a:lnTo>
                    <a:pt x="1763" y="1641"/>
                  </a:lnTo>
                  <a:lnTo>
                    <a:pt x="1763" y="1639"/>
                  </a:lnTo>
                  <a:lnTo>
                    <a:pt x="1763" y="1639"/>
                  </a:lnTo>
                  <a:lnTo>
                    <a:pt x="1763" y="1637"/>
                  </a:lnTo>
                  <a:lnTo>
                    <a:pt x="1763" y="1637"/>
                  </a:lnTo>
                  <a:lnTo>
                    <a:pt x="1763" y="1634"/>
                  </a:lnTo>
                  <a:lnTo>
                    <a:pt x="1763" y="1632"/>
                  </a:lnTo>
                  <a:lnTo>
                    <a:pt x="1763" y="1632"/>
                  </a:lnTo>
                  <a:lnTo>
                    <a:pt x="1763" y="1629"/>
                  </a:lnTo>
                  <a:lnTo>
                    <a:pt x="1763" y="1629"/>
                  </a:lnTo>
                  <a:lnTo>
                    <a:pt x="1763" y="1627"/>
                  </a:lnTo>
                  <a:lnTo>
                    <a:pt x="1763" y="1627"/>
                  </a:lnTo>
                  <a:lnTo>
                    <a:pt x="1761" y="1625"/>
                  </a:lnTo>
                  <a:lnTo>
                    <a:pt x="1761" y="1625"/>
                  </a:lnTo>
                  <a:lnTo>
                    <a:pt x="1761" y="1625"/>
                  </a:lnTo>
                  <a:lnTo>
                    <a:pt x="1761" y="1625"/>
                  </a:lnTo>
                  <a:lnTo>
                    <a:pt x="1761" y="1625"/>
                  </a:lnTo>
                  <a:lnTo>
                    <a:pt x="1758" y="1622"/>
                  </a:lnTo>
                  <a:lnTo>
                    <a:pt x="1758" y="1622"/>
                  </a:lnTo>
                  <a:lnTo>
                    <a:pt x="1758" y="1622"/>
                  </a:lnTo>
                  <a:lnTo>
                    <a:pt x="1758" y="1622"/>
                  </a:lnTo>
                  <a:lnTo>
                    <a:pt x="1756" y="1622"/>
                  </a:lnTo>
                  <a:lnTo>
                    <a:pt x="1756" y="1620"/>
                  </a:lnTo>
                  <a:lnTo>
                    <a:pt x="1756" y="1620"/>
                  </a:lnTo>
                  <a:lnTo>
                    <a:pt x="1756" y="1620"/>
                  </a:lnTo>
                  <a:lnTo>
                    <a:pt x="1756" y="1620"/>
                  </a:lnTo>
                  <a:lnTo>
                    <a:pt x="1754" y="1620"/>
                  </a:lnTo>
                  <a:lnTo>
                    <a:pt x="1754" y="1620"/>
                  </a:lnTo>
                  <a:lnTo>
                    <a:pt x="1754" y="1620"/>
                  </a:lnTo>
                  <a:lnTo>
                    <a:pt x="1754" y="1618"/>
                  </a:lnTo>
                  <a:lnTo>
                    <a:pt x="1754" y="1618"/>
                  </a:lnTo>
                  <a:lnTo>
                    <a:pt x="1754" y="1618"/>
                  </a:lnTo>
                  <a:lnTo>
                    <a:pt x="1751" y="1618"/>
                  </a:lnTo>
                  <a:lnTo>
                    <a:pt x="1751" y="1618"/>
                  </a:lnTo>
                  <a:lnTo>
                    <a:pt x="1751" y="1618"/>
                  </a:lnTo>
                  <a:lnTo>
                    <a:pt x="1751" y="1620"/>
                  </a:lnTo>
                  <a:lnTo>
                    <a:pt x="1749" y="1620"/>
                  </a:lnTo>
                  <a:lnTo>
                    <a:pt x="1749" y="1620"/>
                  </a:lnTo>
                  <a:lnTo>
                    <a:pt x="1749" y="1622"/>
                  </a:lnTo>
                  <a:lnTo>
                    <a:pt x="1749" y="1622"/>
                  </a:lnTo>
                  <a:lnTo>
                    <a:pt x="1749" y="1620"/>
                  </a:lnTo>
                  <a:lnTo>
                    <a:pt x="1749" y="1620"/>
                  </a:lnTo>
                  <a:lnTo>
                    <a:pt x="1749" y="1620"/>
                  </a:lnTo>
                  <a:lnTo>
                    <a:pt x="1749" y="1620"/>
                  </a:lnTo>
                  <a:lnTo>
                    <a:pt x="1747" y="1620"/>
                  </a:lnTo>
                  <a:lnTo>
                    <a:pt x="1747" y="1620"/>
                  </a:lnTo>
                  <a:lnTo>
                    <a:pt x="1747" y="1620"/>
                  </a:lnTo>
                  <a:lnTo>
                    <a:pt x="1747" y="1620"/>
                  </a:lnTo>
                  <a:lnTo>
                    <a:pt x="1747" y="1620"/>
                  </a:lnTo>
                  <a:lnTo>
                    <a:pt x="1744" y="1620"/>
                  </a:lnTo>
                  <a:lnTo>
                    <a:pt x="1744" y="1620"/>
                  </a:lnTo>
                  <a:lnTo>
                    <a:pt x="1742" y="1622"/>
                  </a:lnTo>
                  <a:lnTo>
                    <a:pt x="1742" y="1622"/>
                  </a:lnTo>
                  <a:lnTo>
                    <a:pt x="1742" y="1622"/>
                  </a:lnTo>
                  <a:lnTo>
                    <a:pt x="1742" y="1625"/>
                  </a:lnTo>
                  <a:lnTo>
                    <a:pt x="1742" y="1627"/>
                  </a:lnTo>
                  <a:lnTo>
                    <a:pt x="1742" y="1629"/>
                  </a:lnTo>
                  <a:lnTo>
                    <a:pt x="1739" y="1632"/>
                  </a:lnTo>
                  <a:lnTo>
                    <a:pt x="1739" y="1632"/>
                  </a:lnTo>
                  <a:lnTo>
                    <a:pt x="1737" y="1634"/>
                  </a:lnTo>
                  <a:lnTo>
                    <a:pt x="1737" y="1639"/>
                  </a:lnTo>
                  <a:lnTo>
                    <a:pt x="1737" y="1641"/>
                  </a:lnTo>
                  <a:lnTo>
                    <a:pt x="1737" y="1644"/>
                  </a:lnTo>
                  <a:lnTo>
                    <a:pt x="1737" y="1646"/>
                  </a:lnTo>
                  <a:lnTo>
                    <a:pt x="1737" y="1648"/>
                  </a:lnTo>
                  <a:lnTo>
                    <a:pt x="1737" y="1651"/>
                  </a:lnTo>
                  <a:lnTo>
                    <a:pt x="1737" y="1651"/>
                  </a:lnTo>
                  <a:lnTo>
                    <a:pt x="1737" y="1653"/>
                  </a:lnTo>
                  <a:lnTo>
                    <a:pt x="1739" y="1653"/>
                  </a:lnTo>
                  <a:lnTo>
                    <a:pt x="1739" y="1656"/>
                  </a:lnTo>
                  <a:lnTo>
                    <a:pt x="1739" y="1656"/>
                  </a:lnTo>
                  <a:lnTo>
                    <a:pt x="1739" y="1658"/>
                  </a:lnTo>
                  <a:lnTo>
                    <a:pt x="1739" y="1658"/>
                  </a:lnTo>
                  <a:lnTo>
                    <a:pt x="1742" y="1658"/>
                  </a:lnTo>
                  <a:lnTo>
                    <a:pt x="1742" y="1658"/>
                  </a:lnTo>
                  <a:lnTo>
                    <a:pt x="1742" y="1660"/>
                  </a:lnTo>
                  <a:lnTo>
                    <a:pt x="1744" y="1660"/>
                  </a:lnTo>
                  <a:lnTo>
                    <a:pt x="1744" y="1660"/>
                  </a:lnTo>
                  <a:lnTo>
                    <a:pt x="1747" y="1660"/>
                  </a:lnTo>
                  <a:lnTo>
                    <a:pt x="1747" y="1663"/>
                  </a:lnTo>
                  <a:lnTo>
                    <a:pt x="1747" y="1663"/>
                  </a:lnTo>
                  <a:lnTo>
                    <a:pt x="1749" y="1663"/>
                  </a:lnTo>
                  <a:lnTo>
                    <a:pt x="1749" y="1663"/>
                  </a:lnTo>
                  <a:lnTo>
                    <a:pt x="1749" y="1663"/>
                  </a:lnTo>
                  <a:lnTo>
                    <a:pt x="1749" y="1665"/>
                  </a:lnTo>
                  <a:lnTo>
                    <a:pt x="1751" y="1665"/>
                  </a:lnTo>
                  <a:lnTo>
                    <a:pt x="1751" y="1667"/>
                  </a:lnTo>
                  <a:lnTo>
                    <a:pt x="1751" y="1667"/>
                  </a:lnTo>
                  <a:lnTo>
                    <a:pt x="1754" y="1667"/>
                  </a:lnTo>
                  <a:lnTo>
                    <a:pt x="1754" y="1667"/>
                  </a:lnTo>
                  <a:lnTo>
                    <a:pt x="1754" y="1670"/>
                  </a:lnTo>
                  <a:lnTo>
                    <a:pt x="1754" y="1670"/>
                  </a:lnTo>
                  <a:lnTo>
                    <a:pt x="1754" y="1670"/>
                  </a:lnTo>
                  <a:lnTo>
                    <a:pt x="1754" y="1670"/>
                  </a:lnTo>
                  <a:lnTo>
                    <a:pt x="1754" y="1670"/>
                  </a:lnTo>
                  <a:lnTo>
                    <a:pt x="1756" y="1670"/>
                  </a:lnTo>
                  <a:lnTo>
                    <a:pt x="1756" y="1670"/>
                  </a:lnTo>
                  <a:lnTo>
                    <a:pt x="1756" y="1667"/>
                  </a:lnTo>
                  <a:lnTo>
                    <a:pt x="1756" y="1667"/>
                  </a:lnTo>
                  <a:lnTo>
                    <a:pt x="1758" y="1665"/>
                  </a:lnTo>
                  <a:lnTo>
                    <a:pt x="1758" y="1665"/>
                  </a:lnTo>
                  <a:lnTo>
                    <a:pt x="1758" y="1663"/>
                  </a:lnTo>
                  <a:lnTo>
                    <a:pt x="1758" y="1660"/>
                  </a:lnTo>
                  <a:lnTo>
                    <a:pt x="1758" y="1660"/>
                  </a:lnTo>
                  <a:lnTo>
                    <a:pt x="1761" y="1658"/>
                  </a:lnTo>
                  <a:lnTo>
                    <a:pt x="1761" y="1658"/>
                  </a:lnTo>
                  <a:lnTo>
                    <a:pt x="1761" y="1656"/>
                  </a:lnTo>
                  <a:lnTo>
                    <a:pt x="1761" y="1656"/>
                  </a:lnTo>
                  <a:lnTo>
                    <a:pt x="1761" y="1656"/>
                  </a:lnTo>
                  <a:lnTo>
                    <a:pt x="1761" y="1656"/>
                  </a:lnTo>
                  <a:lnTo>
                    <a:pt x="1761" y="1653"/>
                  </a:lnTo>
                  <a:lnTo>
                    <a:pt x="1761" y="1653"/>
                  </a:lnTo>
                  <a:lnTo>
                    <a:pt x="1761" y="1653"/>
                  </a:lnTo>
                  <a:lnTo>
                    <a:pt x="1761" y="1651"/>
                  </a:lnTo>
                  <a:lnTo>
                    <a:pt x="1761" y="1651"/>
                  </a:lnTo>
                  <a:lnTo>
                    <a:pt x="1761" y="1648"/>
                  </a:lnTo>
                  <a:close/>
                  <a:moveTo>
                    <a:pt x="2099" y="1391"/>
                  </a:moveTo>
                  <a:lnTo>
                    <a:pt x="2101" y="1391"/>
                  </a:lnTo>
                  <a:lnTo>
                    <a:pt x="2101" y="1388"/>
                  </a:lnTo>
                  <a:lnTo>
                    <a:pt x="2101" y="1388"/>
                  </a:lnTo>
                  <a:lnTo>
                    <a:pt x="2101" y="1388"/>
                  </a:lnTo>
                  <a:lnTo>
                    <a:pt x="2101" y="1388"/>
                  </a:lnTo>
                  <a:lnTo>
                    <a:pt x="2101" y="1386"/>
                  </a:lnTo>
                  <a:lnTo>
                    <a:pt x="2101" y="1386"/>
                  </a:lnTo>
                  <a:lnTo>
                    <a:pt x="2101" y="1388"/>
                  </a:lnTo>
                  <a:lnTo>
                    <a:pt x="2101" y="1388"/>
                  </a:lnTo>
                  <a:lnTo>
                    <a:pt x="2101" y="1388"/>
                  </a:lnTo>
                  <a:lnTo>
                    <a:pt x="2101" y="1386"/>
                  </a:lnTo>
                  <a:lnTo>
                    <a:pt x="2101" y="1386"/>
                  </a:lnTo>
                  <a:lnTo>
                    <a:pt x="2101" y="1386"/>
                  </a:lnTo>
                  <a:lnTo>
                    <a:pt x="2099" y="1386"/>
                  </a:lnTo>
                  <a:lnTo>
                    <a:pt x="2099" y="1386"/>
                  </a:lnTo>
                  <a:lnTo>
                    <a:pt x="2099" y="1383"/>
                  </a:lnTo>
                  <a:lnTo>
                    <a:pt x="2099" y="1383"/>
                  </a:lnTo>
                  <a:lnTo>
                    <a:pt x="2099" y="1383"/>
                  </a:lnTo>
                  <a:lnTo>
                    <a:pt x="2099" y="1383"/>
                  </a:lnTo>
                  <a:lnTo>
                    <a:pt x="2099" y="1383"/>
                  </a:lnTo>
                  <a:lnTo>
                    <a:pt x="2099" y="1381"/>
                  </a:lnTo>
                  <a:lnTo>
                    <a:pt x="2097" y="1383"/>
                  </a:lnTo>
                  <a:lnTo>
                    <a:pt x="2097" y="1383"/>
                  </a:lnTo>
                  <a:lnTo>
                    <a:pt x="2097" y="1386"/>
                  </a:lnTo>
                  <a:lnTo>
                    <a:pt x="2097" y="1388"/>
                  </a:lnTo>
                  <a:lnTo>
                    <a:pt x="2097" y="1388"/>
                  </a:lnTo>
                  <a:lnTo>
                    <a:pt x="2097" y="1388"/>
                  </a:lnTo>
                  <a:lnTo>
                    <a:pt x="2097" y="1383"/>
                  </a:lnTo>
                  <a:lnTo>
                    <a:pt x="2097" y="1383"/>
                  </a:lnTo>
                  <a:lnTo>
                    <a:pt x="2097" y="1383"/>
                  </a:lnTo>
                  <a:lnTo>
                    <a:pt x="2094" y="1383"/>
                  </a:lnTo>
                  <a:lnTo>
                    <a:pt x="2094" y="1383"/>
                  </a:lnTo>
                  <a:lnTo>
                    <a:pt x="2094" y="1386"/>
                  </a:lnTo>
                  <a:lnTo>
                    <a:pt x="2094" y="1386"/>
                  </a:lnTo>
                  <a:lnTo>
                    <a:pt x="2094" y="1388"/>
                  </a:lnTo>
                  <a:lnTo>
                    <a:pt x="2094" y="1391"/>
                  </a:lnTo>
                  <a:lnTo>
                    <a:pt x="2092" y="1393"/>
                  </a:lnTo>
                  <a:lnTo>
                    <a:pt x="2092" y="1395"/>
                  </a:lnTo>
                  <a:lnTo>
                    <a:pt x="2092" y="1398"/>
                  </a:lnTo>
                  <a:lnTo>
                    <a:pt x="2092" y="1398"/>
                  </a:lnTo>
                  <a:lnTo>
                    <a:pt x="2094" y="1398"/>
                  </a:lnTo>
                  <a:lnTo>
                    <a:pt x="2097" y="1398"/>
                  </a:lnTo>
                  <a:lnTo>
                    <a:pt x="2097" y="1398"/>
                  </a:lnTo>
                  <a:lnTo>
                    <a:pt x="2097" y="1395"/>
                  </a:lnTo>
                  <a:lnTo>
                    <a:pt x="2099" y="1395"/>
                  </a:lnTo>
                  <a:lnTo>
                    <a:pt x="2097" y="1395"/>
                  </a:lnTo>
                  <a:lnTo>
                    <a:pt x="2097" y="1395"/>
                  </a:lnTo>
                  <a:lnTo>
                    <a:pt x="2094" y="1395"/>
                  </a:lnTo>
                  <a:lnTo>
                    <a:pt x="2099" y="1395"/>
                  </a:lnTo>
                  <a:lnTo>
                    <a:pt x="2099" y="1393"/>
                  </a:lnTo>
                  <a:lnTo>
                    <a:pt x="2099" y="1393"/>
                  </a:lnTo>
                  <a:lnTo>
                    <a:pt x="2099" y="1393"/>
                  </a:lnTo>
                  <a:lnTo>
                    <a:pt x="2099" y="1393"/>
                  </a:lnTo>
                  <a:lnTo>
                    <a:pt x="2097" y="1393"/>
                  </a:lnTo>
                  <a:lnTo>
                    <a:pt x="2099" y="1391"/>
                  </a:lnTo>
                  <a:lnTo>
                    <a:pt x="2099" y="1391"/>
                  </a:lnTo>
                  <a:close/>
                  <a:moveTo>
                    <a:pt x="2021" y="1339"/>
                  </a:moveTo>
                  <a:lnTo>
                    <a:pt x="2021" y="1341"/>
                  </a:lnTo>
                  <a:lnTo>
                    <a:pt x="2019" y="1341"/>
                  </a:lnTo>
                  <a:lnTo>
                    <a:pt x="2019" y="1341"/>
                  </a:lnTo>
                  <a:lnTo>
                    <a:pt x="2019" y="1343"/>
                  </a:lnTo>
                  <a:lnTo>
                    <a:pt x="2019" y="1343"/>
                  </a:lnTo>
                  <a:lnTo>
                    <a:pt x="2021" y="1343"/>
                  </a:lnTo>
                  <a:lnTo>
                    <a:pt x="2023" y="1341"/>
                  </a:lnTo>
                  <a:lnTo>
                    <a:pt x="2023" y="1341"/>
                  </a:lnTo>
                  <a:lnTo>
                    <a:pt x="2026" y="1339"/>
                  </a:lnTo>
                  <a:lnTo>
                    <a:pt x="2026" y="1339"/>
                  </a:lnTo>
                  <a:lnTo>
                    <a:pt x="2026" y="1339"/>
                  </a:lnTo>
                  <a:lnTo>
                    <a:pt x="2021" y="1339"/>
                  </a:lnTo>
                  <a:close/>
                  <a:moveTo>
                    <a:pt x="2085" y="1495"/>
                  </a:moveTo>
                  <a:lnTo>
                    <a:pt x="2083" y="1495"/>
                  </a:lnTo>
                  <a:lnTo>
                    <a:pt x="2085" y="1495"/>
                  </a:lnTo>
                  <a:lnTo>
                    <a:pt x="2087" y="1497"/>
                  </a:lnTo>
                  <a:lnTo>
                    <a:pt x="2090" y="1499"/>
                  </a:lnTo>
                  <a:lnTo>
                    <a:pt x="2092" y="1499"/>
                  </a:lnTo>
                  <a:lnTo>
                    <a:pt x="2092" y="1502"/>
                  </a:lnTo>
                  <a:lnTo>
                    <a:pt x="2094" y="1499"/>
                  </a:lnTo>
                  <a:lnTo>
                    <a:pt x="2092" y="1499"/>
                  </a:lnTo>
                  <a:lnTo>
                    <a:pt x="2087" y="1495"/>
                  </a:lnTo>
                  <a:lnTo>
                    <a:pt x="2085" y="1495"/>
                  </a:lnTo>
                  <a:close/>
                  <a:moveTo>
                    <a:pt x="2104" y="1502"/>
                  </a:moveTo>
                  <a:lnTo>
                    <a:pt x="2099" y="1499"/>
                  </a:lnTo>
                  <a:lnTo>
                    <a:pt x="2099" y="1502"/>
                  </a:lnTo>
                  <a:lnTo>
                    <a:pt x="2101" y="1502"/>
                  </a:lnTo>
                  <a:lnTo>
                    <a:pt x="2104" y="1504"/>
                  </a:lnTo>
                  <a:lnTo>
                    <a:pt x="2106" y="1502"/>
                  </a:lnTo>
                  <a:lnTo>
                    <a:pt x="2106" y="1502"/>
                  </a:lnTo>
                  <a:lnTo>
                    <a:pt x="2104" y="1502"/>
                  </a:lnTo>
                  <a:close/>
                  <a:moveTo>
                    <a:pt x="2059" y="1495"/>
                  </a:moveTo>
                  <a:lnTo>
                    <a:pt x="2057" y="1492"/>
                  </a:lnTo>
                  <a:lnTo>
                    <a:pt x="2054" y="1490"/>
                  </a:lnTo>
                  <a:lnTo>
                    <a:pt x="2052" y="1490"/>
                  </a:lnTo>
                  <a:lnTo>
                    <a:pt x="2054" y="1492"/>
                  </a:lnTo>
                  <a:lnTo>
                    <a:pt x="2057" y="1495"/>
                  </a:lnTo>
                  <a:lnTo>
                    <a:pt x="2059" y="1495"/>
                  </a:lnTo>
                  <a:close/>
                  <a:moveTo>
                    <a:pt x="2106" y="1658"/>
                  </a:moveTo>
                  <a:lnTo>
                    <a:pt x="2109" y="1658"/>
                  </a:lnTo>
                  <a:lnTo>
                    <a:pt x="2109" y="1656"/>
                  </a:lnTo>
                  <a:lnTo>
                    <a:pt x="2109" y="1653"/>
                  </a:lnTo>
                  <a:lnTo>
                    <a:pt x="2106" y="1651"/>
                  </a:lnTo>
                  <a:lnTo>
                    <a:pt x="2106" y="1651"/>
                  </a:lnTo>
                  <a:lnTo>
                    <a:pt x="2106" y="1651"/>
                  </a:lnTo>
                  <a:lnTo>
                    <a:pt x="2104" y="1651"/>
                  </a:lnTo>
                  <a:lnTo>
                    <a:pt x="2101" y="1648"/>
                  </a:lnTo>
                  <a:lnTo>
                    <a:pt x="2101" y="1646"/>
                  </a:lnTo>
                  <a:lnTo>
                    <a:pt x="2101" y="1648"/>
                  </a:lnTo>
                  <a:lnTo>
                    <a:pt x="2099" y="1648"/>
                  </a:lnTo>
                  <a:lnTo>
                    <a:pt x="2099" y="1648"/>
                  </a:lnTo>
                  <a:lnTo>
                    <a:pt x="2097" y="1648"/>
                  </a:lnTo>
                  <a:lnTo>
                    <a:pt x="2094" y="1648"/>
                  </a:lnTo>
                  <a:lnTo>
                    <a:pt x="2094" y="1653"/>
                  </a:lnTo>
                  <a:lnTo>
                    <a:pt x="2094" y="1656"/>
                  </a:lnTo>
                  <a:lnTo>
                    <a:pt x="2094" y="1658"/>
                  </a:lnTo>
                  <a:lnTo>
                    <a:pt x="2094" y="1663"/>
                  </a:lnTo>
                  <a:lnTo>
                    <a:pt x="2094" y="1667"/>
                  </a:lnTo>
                  <a:lnTo>
                    <a:pt x="2094" y="1670"/>
                  </a:lnTo>
                  <a:lnTo>
                    <a:pt x="2097" y="1672"/>
                  </a:lnTo>
                  <a:lnTo>
                    <a:pt x="2097" y="1672"/>
                  </a:lnTo>
                  <a:lnTo>
                    <a:pt x="2099" y="1672"/>
                  </a:lnTo>
                  <a:lnTo>
                    <a:pt x="2099" y="1670"/>
                  </a:lnTo>
                  <a:lnTo>
                    <a:pt x="2101" y="1670"/>
                  </a:lnTo>
                  <a:lnTo>
                    <a:pt x="2101" y="1670"/>
                  </a:lnTo>
                  <a:lnTo>
                    <a:pt x="2101" y="1667"/>
                  </a:lnTo>
                  <a:lnTo>
                    <a:pt x="2101" y="1667"/>
                  </a:lnTo>
                  <a:lnTo>
                    <a:pt x="2104" y="1667"/>
                  </a:lnTo>
                  <a:lnTo>
                    <a:pt x="2104" y="1665"/>
                  </a:lnTo>
                  <a:lnTo>
                    <a:pt x="2104" y="1665"/>
                  </a:lnTo>
                  <a:lnTo>
                    <a:pt x="2104" y="1665"/>
                  </a:lnTo>
                  <a:lnTo>
                    <a:pt x="2104" y="1665"/>
                  </a:lnTo>
                  <a:lnTo>
                    <a:pt x="2106" y="1663"/>
                  </a:lnTo>
                  <a:lnTo>
                    <a:pt x="2106" y="1663"/>
                  </a:lnTo>
                  <a:lnTo>
                    <a:pt x="2106" y="1663"/>
                  </a:lnTo>
                  <a:lnTo>
                    <a:pt x="2106" y="1663"/>
                  </a:lnTo>
                  <a:lnTo>
                    <a:pt x="2106" y="1660"/>
                  </a:lnTo>
                  <a:lnTo>
                    <a:pt x="2106" y="1660"/>
                  </a:lnTo>
                  <a:lnTo>
                    <a:pt x="2106" y="1658"/>
                  </a:lnTo>
                  <a:close/>
                  <a:moveTo>
                    <a:pt x="2059" y="1488"/>
                  </a:moveTo>
                  <a:lnTo>
                    <a:pt x="2057" y="1485"/>
                  </a:lnTo>
                  <a:lnTo>
                    <a:pt x="2054" y="1483"/>
                  </a:lnTo>
                  <a:lnTo>
                    <a:pt x="2054" y="1483"/>
                  </a:lnTo>
                  <a:lnTo>
                    <a:pt x="2054" y="1485"/>
                  </a:lnTo>
                  <a:lnTo>
                    <a:pt x="2057" y="1488"/>
                  </a:lnTo>
                  <a:lnTo>
                    <a:pt x="2059" y="1490"/>
                  </a:lnTo>
                  <a:lnTo>
                    <a:pt x="2059" y="1488"/>
                  </a:lnTo>
                  <a:lnTo>
                    <a:pt x="2059" y="1488"/>
                  </a:lnTo>
                  <a:close/>
                  <a:moveTo>
                    <a:pt x="2049" y="1492"/>
                  </a:moveTo>
                  <a:lnTo>
                    <a:pt x="2049" y="1495"/>
                  </a:lnTo>
                  <a:lnTo>
                    <a:pt x="2052" y="1495"/>
                  </a:lnTo>
                  <a:lnTo>
                    <a:pt x="2054" y="1497"/>
                  </a:lnTo>
                  <a:lnTo>
                    <a:pt x="2054" y="1495"/>
                  </a:lnTo>
                  <a:lnTo>
                    <a:pt x="2052" y="1492"/>
                  </a:lnTo>
                  <a:lnTo>
                    <a:pt x="2049" y="1492"/>
                  </a:lnTo>
                  <a:close/>
                  <a:moveTo>
                    <a:pt x="2113" y="1405"/>
                  </a:moveTo>
                  <a:lnTo>
                    <a:pt x="2113" y="1405"/>
                  </a:lnTo>
                  <a:lnTo>
                    <a:pt x="2113" y="1407"/>
                  </a:lnTo>
                  <a:lnTo>
                    <a:pt x="2113" y="1409"/>
                  </a:lnTo>
                  <a:lnTo>
                    <a:pt x="2116" y="1412"/>
                  </a:lnTo>
                  <a:lnTo>
                    <a:pt x="2118" y="1412"/>
                  </a:lnTo>
                  <a:lnTo>
                    <a:pt x="2118" y="1409"/>
                  </a:lnTo>
                  <a:lnTo>
                    <a:pt x="2118" y="1409"/>
                  </a:lnTo>
                  <a:lnTo>
                    <a:pt x="2118" y="1407"/>
                  </a:lnTo>
                  <a:lnTo>
                    <a:pt x="2116" y="1407"/>
                  </a:lnTo>
                  <a:lnTo>
                    <a:pt x="2116" y="1407"/>
                  </a:lnTo>
                  <a:lnTo>
                    <a:pt x="2116" y="1405"/>
                  </a:lnTo>
                  <a:lnTo>
                    <a:pt x="2113" y="1405"/>
                  </a:lnTo>
                  <a:close/>
                  <a:moveTo>
                    <a:pt x="1952" y="1152"/>
                  </a:moveTo>
                  <a:lnTo>
                    <a:pt x="1948" y="1152"/>
                  </a:lnTo>
                  <a:lnTo>
                    <a:pt x="1945" y="1152"/>
                  </a:lnTo>
                  <a:lnTo>
                    <a:pt x="1943" y="1152"/>
                  </a:lnTo>
                  <a:lnTo>
                    <a:pt x="1943" y="1152"/>
                  </a:lnTo>
                  <a:lnTo>
                    <a:pt x="1943" y="1152"/>
                  </a:lnTo>
                  <a:lnTo>
                    <a:pt x="1943" y="1152"/>
                  </a:lnTo>
                  <a:lnTo>
                    <a:pt x="1943" y="1152"/>
                  </a:lnTo>
                  <a:lnTo>
                    <a:pt x="1943" y="1154"/>
                  </a:lnTo>
                  <a:lnTo>
                    <a:pt x="1943" y="1154"/>
                  </a:lnTo>
                  <a:lnTo>
                    <a:pt x="1950" y="1154"/>
                  </a:lnTo>
                  <a:lnTo>
                    <a:pt x="1957" y="1154"/>
                  </a:lnTo>
                  <a:lnTo>
                    <a:pt x="1962" y="1154"/>
                  </a:lnTo>
                  <a:lnTo>
                    <a:pt x="1962" y="1154"/>
                  </a:lnTo>
                  <a:lnTo>
                    <a:pt x="1962" y="1152"/>
                  </a:lnTo>
                  <a:lnTo>
                    <a:pt x="1952" y="1152"/>
                  </a:lnTo>
                  <a:close/>
                  <a:moveTo>
                    <a:pt x="1941" y="1095"/>
                  </a:moveTo>
                  <a:lnTo>
                    <a:pt x="1943" y="1093"/>
                  </a:lnTo>
                  <a:lnTo>
                    <a:pt x="1943" y="1093"/>
                  </a:lnTo>
                  <a:lnTo>
                    <a:pt x="1943" y="1093"/>
                  </a:lnTo>
                  <a:lnTo>
                    <a:pt x="1941" y="1090"/>
                  </a:lnTo>
                  <a:lnTo>
                    <a:pt x="1941" y="1090"/>
                  </a:lnTo>
                  <a:lnTo>
                    <a:pt x="1941" y="1090"/>
                  </a:lnTo>
                  <a:lnTo>
                    <a:pt x="1941" y="1090"/>
                  </a:lnTo>
                  <a:lnTo>
                    <a:pt x="1941" y="1090"/>
                  </a:lnTo>
                  <a:lnTo>
                    <a:pt x="1938" y="1090"/>
                  </a:lnTo>
                  <a:lnTo>
                    <a:pt x="1938" y="1090"/>
                  </a:lnTo>
                  <a:lnTo>
                    <a:pt x="1938" y="1088"/>
                  </a:lnTo>
                  <a:lnTo>
                    <a:pt x="1938" y="1088"/>
                  </a:lnTo>
                  <a:lnTo>
                    <a:pt x="1936" y="1090"/>
                  </a:lnTo>
                  <a:lnTo>
                    <a:pt x="1936" y="1090"/>
                  </a:lnTo>
                  <a:lnTo>
                    <a:pt x="1936" y="1090"/>
                  </a:lnTo>
                  <a:lnTo>
                    <a:pt x="1936" y="1090"/>
                  </a:lnTo>
                  <a:lnTo>
                    <a:pt x="1936" y="1093"/>
                  </a:lnTo>
                  <a:lnTo>
                    <a:pt x="1941" y="1093"/>
                  </a:lnTo>
                  <a:lnTo>
                    <a:pt x="1938" y="1093"/>
                  </a:lnTo>
                  <a:lnTo>
                    <a:pt x="1936" y="1093"/>
                  </a:lnTo>
                  <a:lnTo>
                    <a:pt x="1933" y="1093"/>
                  </a:lnTo>
                  <a:lnTo>
                    <a:pt x="1933" y="1095"/>
                  </a:lnTo>
                  <a:lnTo>
                    <a:pt x="1933" y="1097"/>
                  </a:lnTo>
                  <a:lnTo>
                    <a:pt x="1931" y="1097"/>
                  </a:lnTo>
                  <a:lnTo>
                    <a:pt x="1931" y="1097"/>
                  </a:lnTo>
                  <a:lnTo>
                    <a:pt x="1931" y="1097"/>
                  </a:lnTo>
                  <a:lnTo>
                    <a:pt x="1931" y="1100"/>
                  </a:lnTo>
                  <a:lnTo>
                    <a:pt x="1931" y="1100"/>
                  </a:lnTo>
                  <a:lnTo>
                    <a:pt x="1938" y="1102"/>
                  </a:lnTo>
                  <a:lnTo>
                    <a:pt x="1941" y="1102"/>
                  </a:lnTo>
                  <a:lnTo>
                    <a:pt x="1941" y="1100"/>
                  </a:lnTo>
                  <a:lnTo>
                    <a:pt x="1941" y="1097"/>
                  </a:lnTo>
                  <a:lnTo>
                    <a:pt x="1941" y="1095"/>
                  </a:lnTo>
                  <a:close/>
                  <a:moveTo>
                    <a:pt x="2045" y="1360"/>
                  </a:moveTo>
                  <a:lnTo>
                    <a:pt x="2042" y="1360"/>
                  </a:lnTo>
                  <a:lnTo>
                    <a:pt x="2045" y="1362"/>
                  </a:lnTo>
                  <a:lnTo>
                    <a:pt x="2045" y="1362"/>
                  </a:lnTo>
                  <a:lnTo>
                    <a:pt x="2045" y="1360"/>
                  </a:lnTo>
                  <a:lnTo>
                    <a:pt x="2045" y="1357"/>
                  </a:lnTo>
                  <a:lnTo>
                    <a:pt x="2045" y="1357"/>
                  </a:lnTo>
                  <a:lnTo>
                    <a:pt x="2045" y="1360"/>
                  </a:lnTo>
                  <a:close/>
                  <a:moveTo>
                    <a:pt x="2066" y="1324"/>
                  </a:moveTo>
                  <a:lnTo>
                    <a:pt x="2064" y="1324"/>
                  </a:lnTo>
                  <a:lnTo>
                    <a:pt x="2064" y="1324"/>
                  </a:lnTo>
                  <a:lnTo>
                    <a:pt x="2066" y="1329"/>
                  </a:lnTo>
                  <a:lnTo>
                    <a:pt x="2066" y="1329"/>
                  </a:lnTo>
                  <a:lnTo>
                    <a:pt x="2066" y="1329"/>
                  </a:lnTo>
                  <a:lnTo>
                    <a:pt x="2066" y="1327"/>
                  </a:lnTo>
                  <a:lnTo>
                    <a:pt x="2066" y="1324"/>
                  </a:lnTo>
                  <a:lnTo>
                    <a:pt x="2066" y="1324"/>
                  </a:lnTo>
                  <a:close/>
                  <a:moveTo>
                    <a:pt x="2031" y="1320"/>
                  </a:moveTo>
                  <a:lnTo>
                    <a:pt x="2028" y="1320"/>
                  </a:lnTo>
                  <a:lnTo>
                    <a:pt x="2028" y="1320"/>
                  </a:lnTo>
                  <a:lnTo>
                    <a:pt x="2028" y="1320"/>
                  </a:lnTo>
                  <a:lnTo>
                    <a:pt x="2028" y="1322"/>
                  </a:lnTo>
                  <a:lnTo>
                    <a:pt x="2028" y="1322"/>
                  </a:lnTo>
                  <a:lnTo>
                    <a:pt x="2028" y="1322"/>
                  </a:lnTo>
                  <a:lnTo>
                    <a:pt x="2031" y="1320"/>
                  </a:lnTo>
                  <a:lnTo>
                    <a:pt x="2031" y="1320"/>
                  </a:lnTo>
                  <a:lnTo>
                    <a:pt x="2033" y="1322"/>
                  </a:lnTo>
                  <a:lnTo>
                    <a:pt x="2033" y="1322"/>
                  </a:lnTo>
                  <a:lnTo>
                    <a:pt x="2033" y="1320"/>
                  </a:lnTo>
                  <a:lnTo>
                    <a:pt x="2031" y="1320"/>
                  </a:lnTo>
                  <a:close/>
                  <a:moveTo>
                    <a:pt x="1820" y="1540"/>
                  </a:moveTo>
                  <a:lnTo>
                    <a:pt x="1822" y="1540"/>
                  </a:lnTo>
                  <a:lnTo>
                    <a:pt x="1822" y="1540"/>
                  </a:lnTo>
                  <a:lnTo>
                    <a:pt x="1822" y="1540"/>
                  </a:lnTo>
                  <a:lnTo>
                    <a:pt x="1822" y="1540"/>
                  </a:lnTo>
                  <a:lnTo>
                    <a:pt x="1822" y="1537"/>
                  </a:lnTo>
                  <a:lnTo>
                    <a:pt x="1820" y="1540"/>
                  </a:lnTo>
                  <a:lnTo>
                    <a:pt x="1818" y="1537"/>
                  </a:lnTo>
                  <a:lnTo>
                    <a:pt x="1820" y="1535"/>
                  </a:lnTo>
                  <a:lnTo>
                    <a:pt x="1820" y="1535"/>
                  </a:lnTo>
                  <a:lnTo>
                    <a:pt x="1820" y="1535"/>
                  </a:lnTo>
                  <a:lnTo>
                    <a:pt x="1818" y="1535"/>
                  </a:lnTo>
                  <a:lnTo>
                    <a:pt x="1818" y="1535"/>
                  </a:lnTo>
                  <a:lnTo>
                    <a:pt x="1815" y="1535"/>
                  </a:lnTo>
                  <a:lnTo>
                    <a:pt x="1818" y="1532"/>
                  </a:lnTo>
                  <a:lnTo>
                    <a:pt x="1818" y="1532"/>
                  </a:lnTo>
                  <a:lnTo>
                    <a:pt x="1803" y="1528"/>
                  </a:lnTo>
                  <a:lnTo>
                    <a:pt x="1803" y="1530"/>
                  </a:lnTo>
                  <a:lnTo>
                    <a:pt x="1806" y="1530"/>
                  </a:lnTo>
                  <a:lnTo>
                    <a:pt x="1803" y="1530"/>
                  </a:lnTo>
                  <a:lnTo>
                    <a:pt x="1803" y="1530"/>
                  </a:lnTo>
                  <a:lnTo>
                    <a:pt x="1803" y="1530"/>
                  </a:lnTo>
                  <a:lnTo>
                    <a:pt x="1803" y="1530"/>
                  </a:lnTo>
                  <a:lnTo>
                    <a:pt x="1801" y="1528"/>
                  </a:lnTo>
                  <a:lnTo>
                    <a:pt x="1799" y="1530"/>
                  </a:lnTo>
                  <a:lnTo>
                    <a:pt x="1799" y="1528"/>
                  </a:lnTo>
                  <a:lnTo>
                    <a:pt x="1796" y="1528"/>
                  </a:lnTo>
                  <a:lnTo>
                    <a:pt x="1796" y="1530"/>
                  </a:lnTo>
                  <a:lnTo>
                    <a:pt x="1796" y="1530"/>
                  </a:lnTo>
                  <a:lnTo>
                    <a:pt x="1796" y="1532"/>
                  </a:lnTo>
                  <a:lnTo>
                    <a:pt x="1796" y="1532"/>
                  </a:lnTo>
                  <a:lnTo>
                    <a:pt x="1796" y="1532"/>
                  </a:lnTo>
                  <a:lnTo>
                    <a:pt x="1799" y="1532"/>
                  </a:lnTo>
                  <a:lnTo>
                    <a:pt x="1799" y="1532"/>
                  </a:lnTo>
                  <a:lnTo>
                    <a:pt x="1796" y="1535"/>
                  </a:lnTo>
                  <a:lnTo>
                    <a:pt x="1796" y="1535"/>
                  </a:lnTo>
                  <a:lnTo>
                    <a:pt x="1796" y="1535"/>
                  </a:lnTo>
                  <a:lnTo>
                    <a:pt x="1796" y="1535"/>
                  </a:lnTo>
                  <a:lnTo>
                    <a:pt x="1799" y="1535"/>
                  </a:lnTo>
                  <a:lnTo>
                    <a:pt x="1796" y="1535"/>
                  </a:lnTo>
                  <a:lnTo>
                    <a:pt x="1796" y="1535"/>
                  </a:lnTo>
                  <a:lnTo>
                    <a:pt x="1796" y="1535"/>
                  </a:lnTo>
                  <a:lnTo>
                    <a:pt x="1796" y="1535"/>
                  </a:lnTo>
                  <a:lnTo>
                    <a:pt x="1796" y="1535"/>
                  </a:lnTo>
                  <a:lnTo>
                    <a:pt x="1799" y="1535"/>
                  </a:lnTo>
                  <a:lnTo>
                    <a:pt x="1799" y="1535"/>
                  </a:lnTo>
                  <a:lnTo>
                    <a:pt x="1799" y="1535"/>
                  </a:lnTo>
                  <a:lnTo>
                    <a:pt x="1799" y="1537"/>
                  </a:lnTo>
                  <a:lnTo>
                    <a:pt x="1801" y="1537"/>
                  </a:lnTo>
                  <a:lnTo>
                    <a:pt x="1801" y="1537"/>
                  </a:lnTo>
                  <a:lnTo>
                    <a:pt x="1801" y="1537"/>
                  </a:lnTo>
                  <a:lnTo>
                    <a:pt x="1803" y="1537"/>
                  </a:lnTo>
                  <a:lnTo>
                    <a:pt x="1803" y="1537"/>
                  </a:lnTo>
                  <a:lnTo>
                    <a:pt x="1803" y="1537"/>
                  </a:lnTo>
                  <a:lnTo>
                    <a:pt x="1803" y="1540"/>
                  </a:lnTo>
                  <a:lnTo>
                    <a:pt x="1803" y="1540"/>
                  </a:lnTo>
                  <a:lnTo>
                    <a:pt x="1803" y="1540"/>
                  </a:lnTo>
                  <a:lnTo>
                    <a:pt x="1803" y="1540"/>
                  </a:lnTo>
                  <a:lnTo>
                    <a:pt x="1803" y="1540"/>
                  </a:lnTo>
                  <a:lnTo>
                    <a:pt x="1803" y="1540"/>
                  </a:lnTo>
                  <a:lnTo>
                    <a:pt x="1803" y="1540"/>
                  </a:lnTo>
                  <a:lnTo>
                    <a:pt x="1806" y="1540"/>
                  </a:lnTo>
                  <a:lnTo>
                    <a:pt x="1806" y="1540"/>
                  </a:lnTo>
                  <a:lnTo>
                    <a:pt x="1806" y="1540"/>
                  </a:lnTo>
                  <a:lnTo>
                    <a:pt x="1808" y="1542"/>
                  </a:lnTo>
                  <a:lnTo>
                    <a:pt x="1808" y="1542"/>
                  </a:lnTo>
                  <a:lnTo>
                    <a:pt x="1810" y="1544"/>
                  </a:lnTo>
                  <a:lnTo>
                    <a:pt x="1810" y="1544"/>
                  </a:lnTo>
                  <a:lnTo>
                    <a:pt x="1810" y="1544"/>
                  </a:lnTo>
                  <a:lnTo>
                    <a:pt x="1810" y="1544"/>
                  </a:lnTo>
                  <a:lnTo>
                    <a:pt x="1813" y="1544"/>
                  </a:lnTo>
                  <a:lnTo>
                    <a:pt x="1813" y="1544"/>
                  </a:lnTo>
                  <a:lnTo>
                    <a:pt x="1815" y="1544"/>
                  </a:lnTo>
                  <a:lnTo>
                    <a:pt x="1815" y="1544"/>
                  </a:lnTo>
                  <a:lnTo>
                    <a:pt x="1815" y="1544"/>
                  </a:lnTo>
                  <a:lnTo>
                    <a:pt x="1815" y="1544"/>
                  </a:lnTo>
                  <a:lnTo>
                    <a:pt x="1818" y="1544"/>
                  </a:lnTo>
                  <a:lnTo>
                    <a:pt x="1820" y="1544"/>
                  </a:lnTo>
                  <a:lnTo>
                    <a:pt x="1820" y="1544"/>
                  </a:lnTo>
                  <a:lnTo>
                    <a:pt x="1820" y="1544"/>
                  </a:lnTo>
                  <a:lnTo>
                    <a:pt x="1820" y="1542"/>
                  </a:lnTo>
                  <a:lnTo>
                    <a:pt x="1820" y="1542"/>
                  </a:lnTo>
                  <a:lnTo>
                    <a:pt x="1820" y="1542"/>
                  </a:lnTo>
                  <a:lnTo>
                    <a:pt x="1820" y="1540"/>
                  </a:lnTo>
                  <a:lnTo>
                    <a:pt x="1820" y="1542"/>
                  </a:lnTo>
                  <a:lnTo>
                    <a:pt x="1820" y="1540"/>
                  </a:lnTo>
                  <a:close/>
                  <a:moveTo>
                    <a:pt x="1889" y="1454"/>
                  </a:moveTo>
                  <a:lnTo>
                    <a:pt x="1889" y="1454"/>
                  </a:lnTo>
                  <a:lnTo>
                    <a:pt x="1889" y="1454"/>
                  </a:lnTo>
                  <a:lnTo>
                    <a:pt x="1886" y="1452"/>
                  </a:lnTo>
                  <a:lnTo>
                    <a:pt x="1886" y="1454"/>
                  </a:lnTo>
                  <a:lnTo>
                    <a:pt x="1886" y="1454"/>
                  </a:lnTo>
                  <a:lnTo>
                    <a:pt x="1884" y="1454"/>
                  </a:lnTo>
                  <a:lnTo>
                    <a:pt x="1884" y="1457"/>
                  </a:lnTo>
                  <a:lnTo>
                    <a:pt x="1884" y="1457"/>
                  </a:lnTo>
                  <a:lnTo>
                    <a:pt x="1884" y="1457"/>
                  </a:lnTo>
                  <a:lnTo>
                    <a:pt x="1884" y="1457"/>
                  </a:lnTo>
                  <a:lnTo>
                    <a:pt x="1886" y="1457"/>
                  </a:lnTo>
                  <a:lnTo>
                    <a:pt x="1886" y="1459"/>
                  </a:lnTo>
                  <a:lnTo>
                    <a:pt x="1886" y="1459"/>
                  </a:lnTo>
                  <a:lnTo>
                    <a:pt x="1886" y="1459"/>
                  </a:lnTo>
                  <a:lnTo>
                    <a:pt x="1886" y="1459"/>
                  </a:lnTo>
                  <a:lnTo>
                    <a:pt x="1889" y="1462"/>
                  </a:lnTo>
                  <a:lnTo>
                    <a:pt x="1889" y="1462"/>
                  </a:lnTo>
                  <a:lnTo>
                    <a:pt x="1889" y="1462"/>
                  </a:lnTo>
                  <a:lnTo>
                    <a:pt x="1886" y="1462"/>
                  </a:lnTo>
                  <a:lnTo>
                    <a:pt x="1886" y="1462"/>
                  </a:lnTo>
                  <a:lnTo>
                    <a:pt x="1886" y="1462"/>
                  </a:lnTo>
                  <a:lnTo>
                    <a:pt x="1886" y="1462"/>
                  </a:lnTo>
                  <a:lnTo>
                    <a:pt x="1886" y="1462"/>
                  </a:lnTo>
                  <a:lnTo>
                    <a:pt x="1886" y="1464"/>
                  </a:lnTo>
                  <a:lnTo>
                    <a:pt x="1886" y="1464"/>
                  </a:lnTo>
                  <a:lnTo>
                    <a:pt x="1889" y="1469"/>
                  </a:lnTo>
                  <a:lnTo>
                    <a:pt x="1889" y="1469"/>
                  </a:lnTo>
                  <a:lnTo>
                    <a:pt x="1889" y="1469"/>
                  </a:lnTo>
                  <a:lnTo>
                    <a:pt x="1891" y="1469"/>
                  </a:lnTo>
                  <a:lnTo>
                    <a:pt x="1891" y="1469"/>
                  </a:lnTo>
                  <a:lnTo>
                    <a:pt x="1891" y="1469"/>
                  </a:lnTo>
                  <a:lnTo>
                    <a:pt x="1891" y="1469"/>
                  </a:lnTo>
                  <a:lnTo>
                    <a:pt x="1889" y="1469"/>
                  </a:lnTo>
                  <a:lnTo>
                    <a:pt x="1889" y="1466"/>
                  </a:lnTo>
                  <a:lnTo>
                    <a:pt x="1891" y="1466"/>
                  </a:lnTo>
                  <a:lnTo>
                    <a:pt x="1891" y="1466"/>
                  </a:lnTo>
                  <a:lnTo>
                    <a:pt x="1891" y="1464"/>
                  </a:lnTo>
                  <a:lnTo>
                    <a:pt x="1891" y="1466"/>
                  </a:lnTo>
                  <a:lnTo>
                    <a:pt x="1891" y="1464"/>
                  </a:lnTo>
                  <a:lnTo>
                    <a:pt x="1889" y="1464"/>
                  </a:lnTo>
                  <a:lnTo>
                    <a:pt x="1889" y="1464"/>
                  </a:lnTo>
                  <a:lnTo>
                    <a:pt x="1891" y="1462"/>
                  </a:lnTo>
                  <a:lnTo>
                    <a:pt x="1891" y="1462"/>
                  </a:lnTo>
                  <a:lnTo>
                    <a:pt x="1891" y="1459"/>
                  </a:lnTo>
                  <a:lnTo>
                    <a:pt x="1889" y="1459"/>
                  </a:lnTo>
                  <a:lnTo>
                    <a:pt x="1889" y="1459"/>
                  </a:lnTo>
                  <a:lnTo>
                    <a:pt x="1889" y="1457"/>
                  </a:lnTo>
                  <a:lnTo>
                    <a:pt x="1889" y="1457"/>
                  </a:lnTo>
                  <a:lnTo>
                    <a:pt x="1889" y="1457"/>
                  </a:lnTo>
                  <a:lnTo>
                    <a:pt x="1889" y="1457"/>
                  </a:lnTo>
                  <a:lnTo>
                    <a:pt x="1889" y="1457"/>
                  </a:lnTo>
                  <a:lnTo>
                    <a:pt x="1889" y="1454"/>
                  </a:lnTo>
                  <a:lnTo>
                    <a:pt x="1889" y="1454"/>
                  </a:lnTo>
                  <a:lnTo>
                    <a:pt x="1889" y="1454"/>
                  </a:lnTo>
                  <a:lnTo>
                    <a:pt x="1889" y="1454"/>
                  </a:lnTo>
                  <a:close/>
                  <a:moveTo>
                    <a:pt x="2099" y="1743"/>
                  </a:moveTo>
                  <a:lnTo>
                    <a:pt x="2097" y="1745"/>
                  </a:lnTo>
                  <a:lnTo>
                    <a:pt x="2097" y="1745"/>
                  </a:lnTo>
                  <a:lnTo>
                    <a:pt x="2097" y="1748"/>
                  </a:lnTo>
                  <a:lnTo>
                    <a:pt x="2097" y="1748"/>
                  </a:lnTo>
                  <a:lnTo>
                    <a:pt x="2097" y="1748"/>
                  </a:lnTo>
                  <a:lnTo>
                    <a:pt x="2099" y="1748"/>
                  </a:lnTo>
                  <a:lnTo>
                    <a:pt x="2099" y="1745"/>
                  </a:lnTo>
                  <a:lnTo>
                    <a:pt x="2099" y="1745"/>
                  </a:lnTo>
                  <a:lnTo>
                    <a:pt x="2099" y="1743"/>
                  </a:lnTo>
                  <a:close/>
                  <a:moveTo>
                    <a:pt x="1955" y="1596"/>
                  </a:moveTo>
                  <a:lnTo>
                    <a:pt x="1955" y="1596"/>
                  </a:lnTo>
                  <a:lnTo>
                    <a:pt x="1955" y="1599"/>
                  </a:lnTo>
                  <a:lnTo>
                    <a:pt x="1957" y="1599"/>
                  </a:lnTo>
                  <a:lnTo>
                    <a:pt x="1957" y="1599"/>
                  </a:lnTo>
                  <a:lnTo>
                    <a:pt x="1957" y="1599"/>
                  </a:lnTo>
                  <a:lnTo>
                    <a:pt x="1957" y="1596"/>
                  </a:lnTo>
                  <a:lnTo>
                    <a:pt x="1955" y="1596"/>
                  </a:lnTo>
                  <a:close/>
                  <a:moveTo>
                    <a:pt x="1926" y="1499"/>
                  </a:moveTo>
                  <a:lnTo>
                    <a:pt x="1926" y="1499"/>
                  </a:lnTo>
                  <a:lnTo>
                    <a:pt x="1929" y="1499"/>
                  </a:lnTo>
                  <a:lnTo>
                    <a:pt x="1929" y="1499"/>
                  </a:lnTo>
                  <a:lnTo>
                    <a:pt x="1929" y="1499"/>
                  </a:lnTo>
                  <a:lnTo>
                    <a:pt x="1929" y="1499"/>
                  </a:lnTo>
                  <a:lnTo>
                    <a:pt x="1929" y="1499"/>
                  </a:lnTo>
                  <a:lnTo>
                    <a:pt x="1926" y="1497"/>
                  </a:lnTo>
                  <a:lnTo>
                    <a:pt x="1922" y="1502"/>
                  </a:lnTo>
                  <a:lnTo>
                    <a:pt x="1922" y="1502"/>
                  </a:lnTo>
                  <a:lnTo>
                    <a:pt x="1922" y="1502"/>
                  </a:lnTo>
                  <a:lnTo>
                    <a:pt x="1924" y="1502"/>
                  </a:lnTo>
                  <a:lnTo>
                    <a:pt x="1924" y="1504"/>
                  </a:lnTo>
                  <a:lnTo>
                    <a:pt x="1926" y="1502"/>
                  </a:lnTo>
                  <a:lnTo>
                    <a:pt x="1926" y="1502"/>
                  </a:lnTo>
                  <a:lnTo>
                    <a:pt x="1926" y="1502"/>
                  </a:lnTo>
                  <a:lnTo>
                    <a:pt x="1926" y="1502"/>
                  </a:lnTo>
                  <a:lnTo>
                    <a:pt x="1926" y="1502"/>
                  </a:lnTo>
                  <a:lnTo>
                    <a:pt x="1926" y="1499"/>
                  </a:lnTo>
                  <a:lnTo>
                    <a:pt x="1926" y="1499"/>
                  </a:lnTo>
                  <a:close/>
                  <a:moveTo>
                    <a:pt x="1898" y="1476"/>
                  </a:moveTo>
                  <a:lnTo>
                    <a:pt x="1896" y="1476"/>
                  </a:lnTo>
                  <a:lnTo>
                    <a:pt x="1898" y="1476"/>
                  </a:lnTo>
                  <a:lnTo>
                    <a:pt x="1896" y="1476"/>
                  </a:lnTo>
                  <a:lnTo>
                    <a:pt x="1896" y="1476"/>
                  </a:lnTo>
                  <a:lnTo>
                    <a:pt x="1898" y="1476"/>
                  </a:lnTo>
                  <a:lnTo>
                    <a:pt x="1898" y="1476"/>
                  </a:lnTo>
                  <a:lnTo>
                    <a:pt x="1898" y="1476"/>
                  </a:lnTo>
                  <a:lnTo>
                    <a:pt x="1898" y="1476"/>
                  </a:lnTo>
                  <a:lnTo>
                    <a:pt x="1898" y="1476"/>
                  </a:lnTo>
                  <a:lnTo>
                    <a:pt x="1898" y="1478"/>
                  </a:lnTo>
                  <a:lnTo>
                    <a:pt x="1898" y="1478"/>
                  </a:lnTo>
                  <a:lnTo>
                    <a:pt x="1898" y="1478"/>
                  </a:lnTo>
                  <a:lnTo>
                    <a:pt x="1898" y="1476"/>
                  </a:lnTo>
                  <a:lnTo>
                    <a:pt x="1898" y="1476"/>
                  </a:lnTo>
                  <a:lnTo>
                    <a:pt x="1900" y="1476"/>
                  </a:lnTo>
                  <a:lnTo>
                    <a:pt x="1900" y="1478"/>
                  </a:lnTo>
                  <a:lnTo>
                    <a:pt x="1900" y="1476"/>
                  </a:lnTo>
                  <a:lnTo>
                    <a:pt x="1900" y="1476"/>
                  </a:lnTo>
                  <a:lnTo>
                    <a:pt x="1900" y="1476"/>
                  </a:lnTo>
                  <a:lnTo>
                    <a:pt x="1900" y="1476"/>
                  </a:lnTo>
                  <a:lnTo>
                    <a:pt x="1900" y="1476"/>
                  </a:lnTo>
                  <a:lnTo>
                    <a:pt x="1900" y="1476"/>
                  </a:lnTo>
                  <a:lnTo>
                    <a:pt x="1900" y="1473"/>
                  </a:lnTo>
                  <a:lnTo>
                    <a:pt x="1903" y="1473"/>
                  </a:lnTo>
                  <a:lnTo>
                    <a:pt x="1903" y="1473"/>
                  </a:lnTo>
                  <a:lnTo>
                    <a:pt x="1900" y="1473"/>
                  </a:lnTo>
                  <a:lnTo>
                    <a:pt x="1900" y="1473"/>
                  </a:lnTo>
                  <a:lnTo>
                    <a:pt x="1900" y="1473"/>
                  </a:lnTo>
                  <a:lnTo>
                    <a:pt x="1900" y="1471"/>
                  </a:lnTo>
                  <a:lnTo>
                    <a:pt x="1900" y="1471"/>
                  </a:lnTo>
                  <a:lnTo>
                    <a:pt x="1900" y="1471"/>
                  </a:lnTo>
                  <a:lnTo>
                    <a:pt x="1900" y="1471"/>
                  </a:lnTo>
                  <a:lnTo>
                    <a:pt x="1900" y="1471"/>
                  </a:lnTo>
                  <a:lnTo>
                    <a:pt x="1900" y="1471"/>
                  </a:lnTo>
                  <a:lnTo>
                    <a:pt x="1898" y="1471"/>
                  </a:lnTo>
                  <a:lnTo>
                    <a:pt x="1898" y="1471"/>
                  </a:lnTo>
                  <a:lnTo>
                    <a:pt x="1898" y="1473"/>
                  </a:lnTo>
                  <a:lnTo>
                    <a:pt x="1898" y="1473"/>
                  </a:lnTo>
                  <a:lnTo>
                    <a:pt x="1898" y="1473"/>
                  </a:lnTo>
                  <a:lnTo>
                    <a:pt x="1898" y="1476"/>
                  </a:lnTo>
                  <a:lnTo>
                    <a:pt x="1898" y="1476"/>
                  </a:lnTo>
                  <a:close/>
                  <a:moveTo>
                    <a:pt x="1799" y="1712"/>
                  </a:moveTo>
                  <a:lnTo>
                    <a:pt x="1796" y="1715"/>
                  </a:lnTo>
                  <a:lnTo>
                    <a:pt x="1796" y="1715"/>
                  </a:lnTo>
                  <a:lnTo>
                    <a:pt x="1796" y="1715"/>
                  </a:lnTo>
                  <a:lnTo>
                    <a:pt x="1799" y="1715"/>
                  </a:lnTo>
                  <a:lnTo>
                    <a:pt x="1801" y="1712"/>
                  </a:lnTo>
                  <a:lnTo>
                    <a:pt x="1806" y="1710"/>
                  </a:lnTo>
                  <a:lnTo>
                    <a:pt x="1808" y="1708"/>
                  </a:lnTo>
                  <a:lnTo>
                    <a:pt x="1808" y="1708"/>
                  </a:lnTo>
                  <a:lnTo>
                    <a:pt x="1806" y="1708"/>
                  </a:lnTo>
                  <a:lnTo>
                    <a:pt x="1806" y="1710"/>
                  </a:lnTo>
                  <a:lnTo>
                    <a:pt x="1808" y="1705"/>
                  </a:lnTo>
                  <a:lnTo>
                    <a:pt x="1808" y="1705"/>
                  </a:lnTo>
                  <a:lnTo>
                    <a:pt x="1808" y="1705"/>
                  </a:lnTo>
                  <a:lnTo>
                    <a:pt x="1808" y="1705"/>
                  </a:lnTo>
                  <a:lnTo>
                    <a:pt x="1808" y="1705"/>
                  </a:lnTo>
                  <a:lnTo>
                    <a:pt x="1808" y="1705"/>
                  </a:lnTo>
                  <a:lnTo>
                    <a:pt x="1808" y="1705"/>
                  </a:lnTo>
                  <a:lnTo>
                    <a:pt x="1808" y="1705"/>
                  </a:lnTo>
                  <a:lnTo>
                    <a:pt x="1808" y="1705"/>
                  </a:lnTo>
                  <a:lnTo>
                    <a:pt x="1808" y="1705"/>
                  </a:lnTo>
                  <a:lnTo>
                    <a:pt x="1799" y="1710"/>
                  </a:lnTo>
                  <a:lnTo>
                    <a:pt x="1799" y="1710"/>
                  </a:lnTo>
                  <a:lnTo>
                    <a:pt x="1799" y="1710"/>
                  </a:lnTo>
                  <a:lnTo>
                    <a:pt x="1799" y="1712"/>
                  </a:lnTo>
                  <a:lnTo>
                    <a:pt x="1799" y="1712"/>
                  </a:lnTo>
                  <a:lnTo>
                    <a:pt x="1799" y="1712"/>
                  </a:lnTo>
                  <a:close/>
                  <a:moveTo>
                    <a:pt x="1886" y="1573"/>
                  </a:moveTo>
                  <a:lnTo>
                    <a:pt x="1889" y="1573"/>
                  </a:lnTo>
                  <a:lnTo>
                    <a:pt x="1889" y="1575"/>
                  </a:lnTo>
                  <a:lnTo>
                    <a:pt x="1891" y="1573"/>
                  </a:lnTo>
                  <a:lnTo>
                    <a:pt x="1891" y="1575"/>
                  </a:lnTo>
                  <a:lnTo>
                    <a:pt x="1891" y="1575"/>
                  </a:lnTo>
                  <a:lnTo>
                    <a:pt x="1893" y="1575"/>
                  </a:lnTo>
                  <a:lnTo>
                    <a:pt x="1900" y="1575"/>
                  </a:lnTo>
                  <a:lnTo>
                    <a:pt x="1905" y="1573"/>
                  </a:lnTo>
                  <a:lnTo>
                    <a:pt x="1905" y="1573"/>
                  </a:lnTo>
                  <a:lnTo>
                    <a:pt x="1903" y="1570"/>
                  </a:lnTo>
                  <a:lnTo>
                    <a:pt x="1903" y="1570"/>
                  </a:lnTo>
                  <a:lnTo>
                    <a:pt x="1900" y="1570"/>
                  </a:lnTo>
                  <a:lnTo>
                    <a:pt x="1900" y="1570"/>
                  </a:lnTo>
                  <a:lnTo>
                    <a:pt x="1898" y="1570"/>
                  </a:lnTo>
                  <a:lnTo>
                    <a:pt x="1898" y="1570"/>
                  </a:lnTo>
                  <a:lnTo>
                    <a:pt x="1891" y="1573"/>
                  </a:lnTo>
                  <a:lnTo>
                    <a:pt x="1891" y="1573"/>
                  </a:lnTo>
                  <a:lnTo>
                    <a:pt x="1891" y="1570"/>
                  </a:lnTo>
                  <a:lnTo>
                    <a:pt x="1891" y="1570"/>
                  </a:lnTo>
                  <a:lnTo>
                    <a:pt x="1891" y="1570"/>
                  </a:lnTo>
                  <a:lnTo>
                    <a:pt x="1891" y="1570"/>
                  </a:lnTo>
                  <a:lnTo>
                    <a:pt x="1891" y="1570"/>
                  </a:lnTo>
                  <a:lnTo>
                    <a:pt x="1891" y="1570"/>
                  </a:lnTo>
                  <a:lnTo>
                    <a:pt x="1889" y="1570"/>
                  </a:lnTo>
                  <a:lnTo>
                    <a:pt x="1889" y="1570"/>
                  </a:lnTo>
                  <a:lnTo>
                    <a:pt x="1889" y="1570"/>
                  </a:lnTo>
                  <a:lnTo>
                    <a:pt x="1889" y="1570"/>
                  </a:lnTo>
                  <a:lnTo>
                    <a:pt x="1889" y="1570"/>
                  </a:lnTo>
                  <a:lnTo>
                    <a:pt x="1889" y="1568"/>
                  </a:lnTo>
                  <a:lnTo>
                    <a:pt x="1889" y="1568"/>
                  </a:lnTo>
                  <a:lnTo>
                    <a:pt x="1886" y="1568"/>
                  </a:lnTo>
                  <a:lnTo>
                    <a:pt x="1886" y="1568"/>
                  </a:lnTo>
                  <a:lnTo>
                    <a:pt x="1886" y="1568"/>
                  </a:lnTo>
                  <a:lnTo>
                    <a:pt x="1886" y="1570"/>
                  </a:lnTo>
                  <a:lnTo>
                    <a:pt x="1884" y="1570"/>
                  </a:lnTo>
                  <a:lnTo>
                    <a:pt x="1884" y="1573"/>
                  </a:lnTo>
                  <a:lnTo>
                    <a:pt x="1886" y="1573"/>
                  </a:lnTo>
                  <a:close/>
                  <a:moveTo>
                    <a:pt x="2040" y="1639"/>
                  </a:moveTo>
                  <a:lnTo>
                    <a:pt x="2040" y="1637"/>
                  </a:lnTo>
                  <a:lnTo>
                    <a:pt x="2040" y="1637"/>
                  </a:lnTo>
                  <a:lnTo>
                    <a:pt x="2038" y="1639"/>
                  </a:lnTo>
                  <a:lnTo>
                    <a:pt x="2038" y="1639"/>
                  </a:lnTo>
                  <a:lnTo>
                    <a:pt x="2040" y="1641"/>
                  </a:lnTo>
                  <a:lnTo>
                    <a:pt x="2040" y="1644"/>
                  </a:lnTo>
                  <a:lnTo>
                    <a:pt x="2040" y="1644"/>
                  </a:lnTo>
                  <a:lnTo>
                    <a:pt x="2040" y="1641"/>
                  </a:lnTo>
                  <a:lnTo>
                    <a:pt x="2040" y="1641"/>
                  </a:lnTo>
                  <a:lnTo>
                    <a:pt x="2040" y="1639"/>
                  </a:lnTo>
                  <a:lnTo>
                    <a:pt x="2040" y="1639"/>
                  </a:lnTo>
                  <a:lnTo>
                    <a:pt x="2040" y="1639"/>
                  </a:lnTo>
                  <a:close/>
                  <a:moveTo>
                    <a:pt x="2097" y="1741"/>
                  </a:moveTo>
                  <a:lnTo>
                    <a:pt x="2094" y="1738"/>
                  </a:lnTo>
                  <a:lnTo>
                    <a:pt x="2094" y="1738"/>
                  </a:lnTo>
                  <a:lnTo>
                    <a:pt x="2094" y="1738"/>
                  </a:lnTo>
                  <a:lnTo>
                    <a:pt x="2092" y="1738"/>
                  </a:lnTo>
                  <a:lnTo>
                    <a:pt x="2092" y="1738"/>
                  </a:lnTo>
                  <a:lnTo>
                    <a:pt x="2092" y="1738"/>
                  </a:lnTo>
                  <a:lnTo>
                    <a:pt x="2090" y="1738"/>
                  </a:lnTo>
                  <a:lnTo>
                    <a:pt x="2087" y="1738"/>
                  </a:lnTo>
                  <a:lnTo>
                    <a:pt x="2087" y="1738"/>
                  </a:lnTo>
                  <a:lnTo>
                    <a:pt x="2087" y="1741"/>
                  </a:lnTo>
                  <a:lnTo>
                    <a:pt x="2087" y="1741"/>
                  </a:lnTo>
                  <a:lnTo>
                    <a:pt x="2087" y="1741"/>
                  </a:lnTo>
                  <a:lnTo>
                    <a:pt x="2090" y="1743"/>
                  </a:lnTo>
                  <a:lnTo>
                    <a:pt x="2090" y="1743"/>
                  </a:lnTo>
                  <a:lnTo>
                    <a:pt x="2090" y="1743"/>
                  </a:lnTo>
                  <a:lnTo>
                    <a:pt x="2090" y="1743"/>
                  </a:lnTo>
                  <a:lnTo>
                    <a:pt x="2090" y="1745"/>
                  </a:lnTo>
                  <a:lnTo>
                    <a:pt x="2090" y="1745"/>
                  </a:lnTo>
                  <a:lnTo>
                    <a:pt x="2090" y="1745"/>
                  </a:lnTo>
                  <a:lnTo>
                    <a:pt x="2090" y="1745"/>
                  </a:lnTo>
                  <a:lnTo>
                    <a:pt x="2090" y="1748"/>
                  </a:lnTo>
                  <a:lnTo>
                    <a:pt x="2090" y="1748"/>
                  </a:lnTo>
                  <a:lnTo>
                    <a:pt x="2090" y="1748"/>
                  </a:lnTo>
                  <a:lnTo>
                    <a:pt x="2090" y="1750"/>
                  </a:lnTo>
                  <a:lnTo>
                    <a:pt x="2090" y="1750"/>
                  </a:lnTo>
                  <a:lnTo>
                    <a:pt x="2090" y="1750"/>
                  </a:lnTo>
                  <a:lnTo>
                    <a:pt x="2090" y="1750"/>
                  </a:lnTo>
                  <a:lnTo>
                    <a:pt x="2090" y="1750"/>
                  </a:lnTo>
                  <a:lnTo>
                    <a:pt x="2090" y="1748"/>
                  </a:lnTo>
                  <a:lnTo>
                    <a:pt x="2092" y="1750"/>
                  </a:lnTo>
                  <a:lnTo>
                    <a:pt x="2092" y="1750"/>
                  </a:lnTo>
                  <a:lnTo>
                    <a:pt x="2094" y="1748"/>
                  </a:lnTo>
                  <a:lnTo>
                    <a:pt x="2092" y="1748"/>
                  </a:lnTo>
                  <a:lnTo>
                    <a:pt x="2092" y="1748"/>
                  </a:lnTo>
                  <a:lnTo>
                    <a:pt x="2094" y="1745"/>
                  </a:lnTo>
                  <a:lnTo>
                    <a:pt x="2094" y="1745"/>
                  </a:lnTo>
                  <a:lnTo>
                    <a:pt x="2094" y="1745"/>
                  </a:lnTo>
                  <a:lnTo>
                    <a:pt x="2094" y="1743"/>
                  </a:lnTo>
                  <a:lnTo>
                    <a:pt x="2094" y="1743"/>
                  </a:lnTo>
                  <a:lnTo>
                    <a:pt x="2097" y="1743"/>
                  </a:lnTo>
                  <a:lnTo>
                    <a:pt x="2094" y="1743"/>
                  </a:lnTo>
                  <a:lnTo>
                    <a:pt x="2097" y="1741"/>
                  </a:lnTo>
                  <a:lnTo>
                    <a:pt x="2097" y="1741"/>
                  </a:lnTo>
                  <a:close/>
                  <a:moveTo>
                    <a:pt x="1990" y="1632"/>
                  </a:moveTo>
                  <a:lnTo>
                    <a:pt x="1988" y="1632"/>
                  </a:lnTo>
                  <a:lnTo>
                    <a:pt x="1990" y="1634"/>
                  </a:lnTo>
                  <a:lnTo>
                    <a:pt x="1990" y="1634"/>
                  </a:lnTo>
                  <a:lnTo>
                    <a:pt x="1990" y="1634"/>
                  </a:lnTo>
                  <a:lnTo>
                    <a:pt x="1993" y="1634"/>
                  </a:lnTo>
                  <a:lnTo>
                    <a:pt x="1993" y="1632"/>
                  </a:lnTo>
                  <a:lnTo>
                    <a:pt x="1993" y="1632"/>
                  </a:lnTo>
                  <a:lnTo>
                    <a:pt x="1990" y="1632"/>
                  </a:lnTo>
                  <a:close/>
                  <a:moveTo>
                    <a:pt x="1969" y="1603"/>
                  </a:moveTo>
                  <a:lnTo>
                    <a:pt x="1967" y="1603"/>
                  </a:lnTo>
                  <a:lnTo>
                    <a:pt x="1967" y="1603"/>
                  </a:lnTo>
                  <a:lnTo>
                    <a:pt x="1964" y="1603"/>
                  </a:lnTo>
                  <a:lnTo>
                    <a:pt x="1967" y="1603"/>
                  </a:lnTo>
                  <a:lnTo>
                    <a:pt x="1969" y="1606"/>
                  </a:lnTo>
                  <a:lnTo>
                    <a:pt x="1969" y="1606"/>
                  </a:lnTo>
                  <a:lnTo>
                    <a:pt x="1969" y="1603"/>
                  </a:lnTo>
                  <a:lnTo>
                    <a:pt x="1969" y="1603"/>
                  </a:lnTo>
                  <a:lnTo>
                    <a:pt x="1969" y="1603"/>
                  </a:lnTo>
                  <a:close/>
                  <a:moveTo>
                    <a:pt x="1993" y="1554"/>
                  </a:moveTo>
                  <a:lnTo>
                    <a:pt x="1995" y="1554"/>
                  </a:lnTo>
                  <a:lnTo>
                    <a:pt x="1995" y="1554"/>
                  </a:lnTo>
                  <a:lnTo>
                    <a:pt x="1995" y="1554"/>
                  </a:lnTo>
                  <a:lnTo>
                    <a:pt x="1995" y="1554"/>
                  </a:lnTo>
                  <a:lnTo>
                    <a:pt x="1995" y="1554"/>
                  </a:lnTo>
                  <a:lnTo>
                    <a:pt x="1997" y="1554"/>
                  </a:lnTo>
                  <a:lnTo>
                    <a:pt x="1997" y="1554"/>
                  </a:lnTo>
                  <a:lnTo>
                    <a:pt x="2002" y="1554"/>
                  </a:lnTo>
                  <a:lnTo>
                    <a:pt x="2004" y="1554"/>
                  </a:lnTo>
                  <a:lnTo>
                    <a:pt x="2007" y="1551"/>
                  </a:lnTo>
                  <a:lnTo>
                    <a:pt x="2007" y="1551"/>
                  </a:lnTo>
                  <a:lnTo>
                    <a:pt x="2007" y="1549"/>
                  </a:lnTo>
                  <a:lnTo>
                    <a:pt x="2007" y="1549"/>
                  </a:lnTo>
                  <a:lnTo>
                    <a:pt x="2007" y="1547"/>
                  </a:lnTo>
                  <a:lnTo>
                    <a:pt x="2007" y="1547"/>
                  </a:lnTo>
                  <a:lnTo>
                    <a:pt x="2004" y="1547"/>
                  </a:lnTo>
                  <a:lnTo>
                    <a:pt x="2004" y="1544"/>
                  </a:lnTo>
                  <a:lnTo>
                    <a:pt x="2002" y="1544"/>
                  </a:lnTo>
                  <a:lnTo>
                    <a:pt x="2002" y="1544"/>
                  </a:lnTo>
                  <a:lnTo>
                    <a:pt x="2002" y="1544"/>
                  </a:lnTo>
                  <a:lnTo>
                    <a:pt x="2002" y="1544"/>
                  </a:lnTo>
                  <a:lnTo>
                    <a:pt x="2002" y="1544"/>
                  </a:lnTo>
                  <a:lnTo>
                    <a:pt x="2002" y="1544"/>
                  </a:lnTo>
                  <a:lnTo>
                    <a:pt x="2000" y="1544"/>
                  </a:lnTo>
                  <a:lnTo>
                    <a:pt x="2000" y="1542"/>
                  </a:lnTo>
                  <a:lnTo>
                    <a:pt x="2000" y="1542"/>
                  </a:lnTo>
                  <a:lnTo>
                    <a:pt x="2000" y="1542"/>
                  </a:lnTo>
                  <a:lnTo>
                    <a:pt x="2000" y="1542"/>
                  </a:lnTo>
                  <a:lnTo>
                    <a:pt x="2000" y="1542"/>
                  </a:lnTo>
                  <a:lnTo>
                    <a:pt x="1997" y="1542"/>
                  </a:lnTo>
                  <a:lnTo>
                    <a:pt x="1997" y="1542"/>
                  </a:lnTo>
                  <a:lnTo>
                    <a:pt x="1997" y="1540"/>
                  </a:lnTo>
                  <a:lnTo>
                    <a:pt x="1995" y="1540"/>
                  </a:lnTo>
                  <a:lnTo>
                    <a:pt x="1993" y="1540"/>
                  </a:lnTo>
                  <a:lnTo>
                    <a:pt x="1988" y="1537"/>
                  </a:lnTo>
                  <a:lnTo>
                    <a:pt x="1976" y="1537"/>
                  </a:lnTo>
                  <a:lnTo>
                    <a:pt x="1974" y="1540"/>
                  </a:lnTo>
                  <a:lnTo>
                    <a:pt x="1974" y="1540"/>
                  </a:lnTo>
                  <a:lnTo>
                    <a:pt x="1976" y="1540"/>
                  </a:lnTo>
                  <a:lnTo>
                    <a:pt x="1978" y="1540"/>
                  </a:lnTo>
                  <a:lnTo>
                    <a:pt x="1981" y="1540"/>
                  </a:lnTo>
                  <a:lnTo>
                    <a:pt x="1981" y="1542"/>
                  </a:lnTo>
                  <a:lnTo>
                    <a:pt x="1978" y="1542"/>
                  </a:lnTo>
                  <a:lnTo>
                    <a:pt x="1976" y="1542"/>
                  </a:lnTo>
                  <a:lnTo>
                    <a:pt x="1978" y="1542"/>
                  </a:lnTo>
                  <a:lnTo>
                    <a:pt x="1978" y="1542"/>
                  </a:lnTo>
                  <a:lnTo>
                    <a:pt x="1978" y="1542"/>
                  </a:lnTo>
                  <a:lnTo>
                    <a:pt x="1981" y="1542"/>
                  </a:lnTo>
                  <a:lnTo>
                    <a:pt x="1981" y="1542"/>
                  </a:lnTo>
                  <a:lnTo>
                    <a:pt x="1983" y="1542"/>
                  </a:lnTo>
                  <a:lnTo>
                    <a:pt x="1983" y="1542"/>
                  </a:lnTo>
                  <a:lnTo>
                    <a:pt x="1986" y="1542"/>
                  </a:lnTo>
                  <a:lnTo>
                    <a:pt x="1986" y="1542"/>
                  </a:lnTo>
                  <a:lnTo>
                    <a:pt x="1988" y="1542"/>
                  </a:lnTo>
                  <a:lnTo>
                    <a:pt x="1988" y="1542"/>
                  </a:lnTo>
                  <a:lnTo>
                    <a:pt x="1988" y="1542"/>
                  </a:lnTo>
                  <a:lnTo>
                    <a:pt x="1988" y="1542"/>
                  </a:lnTo>
                  <a:lnTo>
                    <a:pt x="1988" y="1544"/>
                  </a:lnTo>
                  <a:lnTo>
                    <a:pt x="1988" y="1544"/>
                  </a:lnTo>
                  <a:lnTo>
                    <a:pt x="1988" y="1544"/>
                  </a:lnTo>
                  <a:lnTo>
                    <a:pt x="1988" y="1544"/>
                  </a:lnTo>
                  <a:lnTo>
                    <a:pt x="1988" y="1544"/>
                  </a:lnTo>
                  <a:lnTo>
                    <a:pt x="1988" y="1544"/>
                  </a:lnTo>
                  <a:lnTo>
                    <a:pt x="1986" y="1544"/>
                  </a:lnTo>
                  <a:lnTo>
                    <a:pt x="1986" y="1544"/>
                  </a:lnTo>
                  <a:lnTo>
                    <a:pt x="1986" y="1544"/>
                  </a:lnTo>
                  <a:lnTo>
                    <a:pt x="1986" y="1544"/>
                  </a:lnTo>
                  <a:lnTo>
                    <a:pt x="1988" y="1547"/>
                  </a:lnTo>
                  <a:lnTo>
                    <a:pt x="1988" y="1547"/>
                  </a:lnTo>
                  <a:lnTo>
                    <a:pt x="1990" y="1549"/>
                  </a:lnTo>
                  <a:lnTo>
                    <a:pt x="1990" y="1551"/>
                  </a:lnTo>
                  <a:lnTo>
                    <a:pt x="1990" y="1551"/>
                  </a:lnTo>
                  <a:lnTo>
                    <a:pt x="1993" y="1551"/>
                  </a:lnTo>
                  <a:lnTo>
                    <a:pt x="1993" y="1554"/>
                  </a:lnTo>
                  <a:lnTo>
                    <a:pt x="1993" y="1554"/>
                  </a:lnTo>
                  <a:lnTo>
                    <a:pt x="1993" y="1554"/>
                  </a:lnTo>
                  <a:lnTo>
                    <a:pt x="1993" y="1554"/>
                  </a:lnTo>
                  <a:close/>
                  <a:moveTo>
                    <a:pt x="1612" y="875"/>
                  </a:moveTo>
                  <a:lnTo>
                    <a:pt x="1612" y="873"/>
                  </a:lnTo>
                  <a:lnTo>
                    <a:pt x="1605" y="873"/>
                  </a:lnTo>
                  <a:lnTo>
                    <a:pt x="1602" y="870"/>
                  </a:lnTo>
                  <a:lnTo>
                    <a:pt x="1602" y="870"/>
                  </a:lnTo>
                  <a:lnTo>
                    <a:pt x="1602" y="870"/>
                  </a:lnTo>
                  <a:lnTo>
                    <a:pt x="1602" y="873"/>
                  </a:lnTo>
                  <a:lnTo>
                    <a:pt x="1602" y="873"/>
                  </a:lnTo>
                  <a:lnTo>
                    <a:pt x="1602" y="873"/>
                  </a:lnTo>
                  <a:lnTo>
                    <a:pt x="1602" y="873"/>
                  </a:lnTo>
                  <a:lnTo>
                    <a:pt x="1600" y="873"/>
                  </a:lnTo>
                  <a:lnTo>
                    <a:pt x="1595" y="870"/>
                  </a:lnTo>
                  <a:lnTo>
                    <a:pt x="1593" y="870"/>
                  </a:lnTo>
                  <a:lnTo>
                    <a:pt x="1590" y="870"/>
                  </a:lnTo>
                  <a:lnTo>
                    <a:pt x="1588" y="870"/>
                  </a:lnTo>
                  <a:lnTo>
                    <a:pt x="1586" y="873"/>
                  </a:lnTo>
                  <a:lnTo>
                    <a:pt x="1586" y="873"/>
                  </a:lnTo>
                  <a:lnTo>
                    <a:pt x="1586" y="873"/>
                  </a:lnTo>
                  <a:lnTo>
                    <a:pt x="1583" y="873"/>
                  </a:lnTo>
                  <a:lnTo>
                    <a:pt x="1586" y="873"/>
                  </a:lnTo>
                  <a:lnTo>
                    <a:pt x="1586" y="875"/>
                  </a:lnTo>
                  <a:lnTo>
                    <a:pt x="1586" y="877"/>
                  </a:lnTo>
                  <a:lnTo>
                    <a:pt x="1586" y="882"/>
                  </a:lnTo>
                  <a:lnTo>
                    <a:pt x="1586" y="884"/>
                  </a:lnTo>
                  <a:lnTo>
                    <a:pt x="1586" y="884"/>
                  </a:lnTo>
                  <a:lnTo>
                    <a:pt x="1586" y="884"/>
                  </a:lnTo>
                  <a:lnTo>
                    <a:pt x="1586" y="884"/>
                  </a:lnTo>
                  <a:lnTo>
                    <a:pt x="1586" y="887"/>
                  </a:lnTo>
                  <a:lnTo>
                    <a:pt x="1586" y="887"/>
                  </a:lnTo>
                  <a:lnTo>
                    <a:pt x="1588" y="887"/>
                  </a:lnTo>
                  <a:lnTo>
                    <a:pt x="1588" y="887"/>
                  </a:lnTo>
                  <a:lnTo>
                    <a:pt x="1588" y="889"/>
                  </a:lnTo>
                  <a:lnTo>
                    <a:pt x="1590" y="891"/>
                  </a:lnTo>
                  <a:lnTo>
                    <a:pt x="1590" y="891"/>
                  </a:lnTo>
                  <a:lnTo>
                    <a:pt x="1590" y="891"/>
                  </a:lnTo>
                  <a:lnTo>
                    <a:pt x="1590" y="891"/>
                  </a:lnTo>
                  <a:lnTo>
                    <a:pt x="1590" y="891"/>
                  </a:lnTo>
                  <a:lnTo>
                    <a:pt x="1588" y="891"/>
                  </a:lnTo>
                  <a:lnTo>
                    <a:pt x="1588" y="891"/>
                  </a:lnTo>
                  <a:lnTo>
                    <a:pt x="1588" y="894"/>
                  </a:lnTo>
                  <a:lnTo>
                    <a:pt x="1588" y="896"/>
                  </a:lnTo>
                  <a:lnTo>
                    <a:pt x="1588" y="896"/>
                  </a:lnTo>
                  <a:lnTo>
                    <a:pt x="1588" y="896"/>
                  </a:lnTo>
                  <a:lnTo>
                    <a:pt x="1588" y="899"/>
                  </a:lnTo>
                  <a:lnTo>
                    <a:pt x="1588" y="899"/>
                  </a:lnTo>
                  <a:lnTo>
                    <a:pt x="1588" y="899"/>
                  </a:lnTo>
                  <a:lnTo>
                    <a:pt x="1588" y="901"/>
                  </a:lnTo>
                  <a:lnTo>
                    <a:pt x="1590" y="901"/>
                  </a:lnTo>
                  <a:lnTo>
                    <a:pt x="1590" y="903"/>
                  </a:lnTo>
                  <a:lnTo>
                    <a:pt x="1590" y="903"/>
                  </a:lnTo>
                  <a:lnTo>
                    <a:pt x="1590" y="903"/>
                  </a:lnTo>
                  <a:lnTo>
                    <a:pt x="1590" y="903"/>
                  </a:lnTo>
                  <a:lnTo>
                    <a:pt x="1590" y="906"/>
                  </a:lnTo>
                  <a:lnTo>
                    <a:pt x="1590" y="906"/>
                  </a:lnTo>
                  <a:lnTo>
                    <a:pt x="1590" y="906"/>
                  </a:lnTo>
                  <a:lnTo>
                    <a:pt x="1593" y="908"/>
                  </a:lnTo>
                  <a:lnTo>
                    <a:pt x="1593" y="908"/>
                  </a:lnTo>
                  <a:lnTo>
                    <a:pt x="1593" y="908"/>
                  </a:lnTo>
                  <a:lnTo>
                    <a:pt x="1597" y="908"/>
                  </a:lnTo>
                  <a:lnTo>
                    <a:pt x="1600" y="908"/>
                  </a:lnTo>
                  <a:lnTo>
                    <a:pt x="1602" y="908"/>
                  </a:lnTo>
                  <a:lnTo>
                    <a:pt x="1605" y="908"/>
                  </a:lnTo>
                  <a:lnTo>
                    <a:pt x="1605" y="908"/>
                  </a:lnTo>
                  <a:lnTo>
                    <a:pt x="1607" y="908"/>
                  </a:lnTo>
                  <a:lnTo>
                    <a:pt x="1607" y="908"/>
                  </a:lnTo>
                  <a:lnTo>
                    <a:pt x="1607" y="910"/>
                  </a:lnTo>
                  <a:lnTo>
                    <a:pt x="1607" y="913"/>
                  </a:lnTo>
                  <a:lnTo>
                    <a:pt x="1607" y="913"/>
                  </a:lnTo>
                  <a:lnTo>
                    <a:pt x="1607" y="913"/>
                  </a:lnTo>
                  <a:lnTo>
                    <a:pt x="1607" y="913"/>
                  </a:lnTo>
                  <a:lnTo>
                    <a:pt x="1607" y="913"/>
                  </a:lnTo>
                  <a:lnTo>
                    <a:pt x="1607" y="915"/>
                  </a:lnTo>
                  <a:lnTo>
                    <a:pt x="1607" y="915"/>
                  </a:lnTo>
                  <a:lnTo>
                    <a:pt x="1607" y="915"/>
                  </a:lnTo>
                  <a:lnTo>
                    <a:pt x="1607" y="915"/>
                  </a:lnTo>
                  <a:lnTo>
                    <a:pt x="1609" y="917"/>
                  </a:lnTo>
                  <a:lnTo>
                    <a:pt x="1609" y="917"/>
                  </a:lnTo>
                  <a:lnTo>
                    <a:pt x="1609" y="922"/>
                  </a:lnTo>
                  <a:lnTo>
                    <a:pt x="1609" y="922"/>
                  </a:lnTo>
                  <a:lnTo>
                    <a:pt x="1609" y="922"/>
                  </a:lnTo>
                  <a:lnTo>
                    <a:pt x="1609" y="925"/>
                  </a:lnTo>
                  <a:lnTo>
                    <a:pt x="1609" y="927"/>
                  </a:lnTo>
                  <a:lnTo>
                    <a:pt x="1612" y="927"/>
                  </a:lnTo>
                  <a:lnTo>
                    <a:pt x="1612" y="929"/>
                  </a:lnTo>
                  <a:lnTo>
                    <a:pt x="1612" y="929"/>
                  </a:lnTo>
                  <a:lnTo>
                    <a:pt x="1612" y="929"/>
                  </a:lnTo>
                  <a:lnTo>
                    <a:pt x="1614" y="932"/>
                  </a:lnTo>
                  <a:lnTo>
                    <a:pt x="1614" y="932"/>
                  </a:lnTo>
                  <a:lnTo>
                    <a:pt x="1614" y="934"/>
                  </a:lnTo>
                  <a:lnTo>
                    <a:pt x="1614" y="936"/>
                  </a:lnTo>
                  <a:lnTo>
                    <a:pt x="1616" y="936"/>
                  </a:lnTo>
                  <a:lnTo>
                    <a:pt x="1619" y="936"/>
                  </a:lnTo>
                  <a:lnTo>
                    <a:pt x="1626" y="941"/>
                  </a:lnTo>
                  <a:lnTo>
                    <a:pt x="1628" y="941"/>
                  </a:lnTo>
                  <a:lnTo>
                    <a:pt x="1633" y="939"/>
                  </a:lnTo>
                  <a:lnTo>
                    <a:pt x="1638" y="936"/>
                  </a:lnTo>
                  <a:lnTo>
                    <a:pt x="1640" y="934"/>
                  </a:lnTo>
                  <a:lnTo>
                    <a:pt x="1642" y="932"/>
                  </a:lnTo>
                  <a:lnTo>
                    <a:pt x="1645" y="929"/>
                  </a:lnTo>
                  <a:lnTo>
                    <a:pt x="1654" y="925"/>
                  </a:lnTo>
                  <a:lnTo>
                    <a:pt x="1654" y="925"/>
                  </a:lnTo>
                  <a:lnTo>
                    <a:pt x="1657" y="925"/>
                  </a:lnTo>
                  <a:lnTo>
                    <a:pt x="1664" y="925"/>
                  </a:lnTo>
                  <a:lnTo>
                    <a:pt x="1671" y="922"/>
                  </a:lnTo>
                  <a:lnTo>
                    <a:pt x="1673" y="925"/>
                  </a:lnTo>
                  <a:lnTo>
                    <a:pt x="1678" y="925"/>
                  </a:lnTo>
                  <a:lnTo>
                    <a:pt x="1683" y="925"/>
                  </a:lnTo>
                  <a:lnTo>
                    <a:pt x="1685" y="922"/>
                  </a:lnTo>
                  <a:lnTo>
                    <a:pt x="1685" y="922"/>
                  </a:lnTo>
                  <a:lnTo>
                    <a:pt x="1687" y="922"/>
                  </a:lnTo>
                  <a:lnTo>
                    <a:pt x="1694" y="922"/>
                  </a:lnTo>
                  <a:lnTo>
                    <a:pt x="1697" y="920"/>
                  </a:lnTo>
                  <a:lnTo>
                    <a:pt x="1699" y="920"/>
                  </a:lnTo>
                  <a:lnTo>
                    <a:pt x="1699" y="917"/>
                  </a:lnTo>
                  <a:lnTo>
                    <a:pt x="1697" y="917"/>
                  </a:lnTo>
                  <a:lnTo>
                    <a:pt x="1697" y="915"/>
                  </a:lnTo>
                  <a:lnTo>
                    <a:pt x="1699" y="915"/>
                  </a:lnTo>
                  <a:lnTo>
                    <a:pt x="1699" y="915"/>
                  </a:lnTo>
                  <a:lnTo>
                    <a:pt x="1697" y="913"/>
                  </a:lnTo>
                  <a:lnTo>
                    <a:pt x="1694" y="913"/>
                  </a:lnTo>
                  <a:lnTo>
                    <a:pt x="1692" y="910"/>
                  </a:lnTo>
                  <a:lnTo>
                    <a:pt x="1692" y="910"/>
                  </a:lnTo>
                  <a:lnTo>
                    <a:pt x="1692" y="908"/>
                  </a:lnTo>
                  <a:lnTo>
                    <a:pt x="1692" y="908"/>
                  </a:lnTo>
                  <a:lnTo>
                    <a:pt x="1692" y="908"/>
                  </a:lnTo>
                  <a:lnTo>
                    <a:pt x="1690" y="906"/>
                  </a:lnTo>
                  <a:lnTo>
                    <a:pt x="1692" y="906"/>
                  </a:lnTo>
                  <a:lnTo>
                    <a:pt x="1692" y="906"/>
                  </a:lnTo>
                  <a:lnTo>
                    <a:pt x="1692" y="906"/>
                  </a:lnTo>
                  <a:lnTo>
                    <a:pt x="1692" y="906"/>
                  </a:lnTo>
                  <a:lnTo>
                    <a:pt x="1692" y="906"/>
                  </a:lnTo>
                  <a:lnTo>
                    <a:pt x="1690" y="906"/>
                  </a:lnTo>
                  <a:lnTo>
                    <a:pt x="1690" y="906"/>
                  </a:lnTo>
                  <a:lnTo>
                    <a:pt x="1690" y="903"/>
                  </a:lnTo>
                  <a:lnTo>
                    <a:pt x="1692" y="903"/>
                  </a:lnTo>
                  <a:lnTo>
                    <a:pt x="1692" y="901"/>
                  </a:lnTo>
                  <a:lnTo>
                    <a:pt x="1690" y="901"/>
                  </a:lnTo>
                  <a:lnTo>
                    <a:pt x="1687" y="901"/>
                  </a:lnTo>
                  <a:lnTo>
                    <a:pt x="1687" y="901"/>
                  </a:lnTo>
                  <a:lnTo>
                    <a:pt x="1685" y="901"/>
                  </a:lnTo>
                  <a:lnTo>
                    <a:pt x="1685" y="901"/>
                  </a:lnTo>
                  <a:lnTo>
                    <a:pt x="1683" y="899"/>
                  </a:lnTo>
                  <a:lnTo>
                    <a:pt x="1683" y="899"/>
                  </a:lnTo>
                  <a:lnTo>
                    <a:pt x="1683" y="896"/>
                  </a:lnTo>
                  <a:lnTo>
                    <a:pt x="1683" y="894"/>
                  </a:lnTo>
                  <a:lnTo>
                    <a:pt x="1680" y="894"/>
                  </a:lnTo>
                  <a:lnTo>
                    <a:pt x="1680" y="891"/>
                  </a:lnTo>
                  <a:lnTo>
                    <a:pt x="1678" y="891"/>
                  </a:lnTo>
                  <a:lnTo>
                    <a:pt x="1678" y="889"/>
                  </a:lnTo>
                  <a:lnTo>
                    <a:pt x="1678" y="889"/>
                  </a:lnTo>
                  <a:lnTo>
                    <a:pt x="1678" y="887"/>
                  </a:lnTo>
                  <a:lnTo>
                    <a:pt x="1678" y="887"/>
                  </a:lnTo>
                  <a:lnTo>
                    <a:pt x="1678" y="887"/>
                  </a:lnTo>
                  <a:lnTo>
                    <a:pt x="1678" y="887"/>
                  </a:lnTo>
                  <a:lnTo>
                    <a:pt x="1678" y="887"/>
                  </a:lnTo>
                  <a:lnTo>
                    <a:pt x="1678" y="887"/>
                  </a:lnTo>
                  <a:lnTo>
                    <a:pt x="1678" y="887"/>
                  </a:lnTo>
                  <a:lnTo>
                    <a:pt x="1676" y="887"/>
                  </a:lnTo>
                  <a:lnTo>
                    <a:pt x="1676" y="887"/>
                  </a:lnTo>
                  <a:lnTo>
                    <a:pt x="1673" y="887"/>
                  </a:lnTo>
                  <a:lnTo>
                    <a:pt x="1671" y="887"/>
                  </a:lnTo>
                  <a:lnTo>
                    <a:pt x="1671" y="884"/>
                  </a:lnTo>
                  <a:lnTo>
                    <a:pt x="1671" y="884"/>
                  </a:lnTo>
                  <a:lnTo>
                    <a:pt x="1671" y="884"/>
                  </a:lnTo>
                  <a:lnTo>
                    <a:pt x="1671" y="882"/>
                  </a:lnTo>
                  <a:lnTo>
                    <a:pt x="1668" y="882"/>
                  </a:lnTo>
                  <a:lnTo>
                    <a:pt x="1666" y="880"/>
                  </a:lnTo>
                  <a:lnTo>
                    <a:pt x="1666" y="877"/>
                  </a:lnTo>
                  <a:lnTo>
                    <a:pt x="1666" y="877"/>
                  </a:lnTo>
                  <a:lnTo>
                    <a:pt x="1666" y="877"/>
                  </a:lnTo>
                  <a:lnTo>
                    <a:pt x="1666" y="877"/>
                  </a:lnTo>
                  <a:lnTo>
                    <a:pt x="1666" y="877"/>
                  </a:lnTo>
                  <a:lnTo>
                    <a:pt x="1666" y="877"/>
                  </a:lnTo>
                  <a:lnTo>
                    <a:pt x="1664" y="875"/>
                  </a:lnTo>
                  <a:lnTo>
                    <a:pt x="1664" y="875"/>
                  </a:lnTo>
                  <a:lnTo>
                    <a:pt x="1661" y="875"/>
                  </a:lnTo>
                  <a:lnTo>
                    <a:pt x="1661" y="875"/>
                  </a:lnTo>
                  <a:lnTo>
                    <a:pt x="1659" y="873"/>
                  </a:lnTo>
                  <a:lnTo>
                    <a:pt x="1659" y="873"/>
                  </a:lnTo>
                  <a:lnTo>
                    <a:pt x="1650" y="870"/>
                  </a:lnTo>
                  <a:lnTo>
                    <a:pt x="1647" y="870"/>
                  </a:lnTo>
                  <a:lnTo>
                    <a:pt x="1645" y="868"/>
                  </a:lnTo>
                  <a:lnTo>
                    <a:pt x="1642" y="868"/>
                  </a:lnTo>
                  <a:lnTo>
                    <a:pt x="1642" y="868"/>
                  </a:lnTo>
                  <a:lnTo>
                    <a:pt x="1635" y="870"/>
                  </a:lnTo>
                  <a:lnTo>
                    <a:pt x="1631" y="873"/>
                  </a:lnTo>
                  <a:lnTo>
                    <a:pt x="1628" y="870"/>
                  </a:lnTo>
                  <a:lnTo>
                    <a:pt x="1628" y="870"/>
                  </a:lnTo>
                  <a:lnTo>
                    <a:pt x="1626" y="873"/>
                  </a:lnTo>
                  <a:lnTo>
                    <a:pt x="1626" y="873"/>
                  </a:lnTo>
                  <a:lnTo>
                    <a:pt x="1626" y="875"/>
                  </a:lnTo>
                  <a:lnTo>
                    <a:pt x="1616" y="875"/>
                  </a:lnTo>
                  <a:lnTo>
                    <a:pt x="1612" y="875"/>
                  </a:lnTo>
                  <a:close/>
                  <a:moveTo>
                    <a:pt x="977" y="1339"/>
                  </a:moveTo>
                  <a:lnTo>
                    <a:pt x="977" y="1336"/>
                  </a:lnTo>
                  <a:lnTo>
                    <a:pt x="977" y="1336"/>
                  </a:lnTo>
                  <a:lnTo>
                    <a:pt x="977" y="1336"/>
                  </a:lnTo>
                  <a:lnTo>
                    <a:pt x="977" y="1331"/>
                  </a:lnTo>
                  <a:lnTo>
                    <a:pt x="977" y="1331"/>
                  </a:lnTo>
                  <a:lnTo>
                    <a:pt x="975" y="1331"/>
                  </a:lnTo>
                  <a:lnTo>
                    <a:pt x="975" y="1331"/>
                  </a:lnTo>
                  <a:lnTo>
                    <a:pt x="973" y="1331"/>
                  </a:lnTo>
                  <a:lnTo>
                    <a:pt x="973" y="1331"/>
                  </a:lnTo>
                  <a:lnTo>
                    <a:pt x="973" y="1331"/>
                  </a:lnTo>
                  <a:lnTo>
                    <a:pt x="973" y="1334"/>
                  </a:lnTo>
                  <a:lnTo>
                    <a:pt x="973" y="1334"/>
                  </a:lnTo>
                  <a:lnTo>
                    <a:pt x="973" y="1336"/>
                  </a:lnTo>
                  <a:lnTo>
                    <a:pt x="973" y="1336"/>
                  </a:lnTo>
                  <a:lnTo>
                    <a:pt x="973" y="1336"/>
                  </a:lnTo>
                  <a:lnTo>
                    <a:pt x="975" y="1339"/>
                  </a:lnTo>
                  <a:lnTo>
                    <a:pt x="973" y="1339"/>
                  </a:lnTo>
                  <a:lnTo>
                    <a:pt x="973" y="1339"/>
                  </a:lnTo>
                  <a:lnTo>
                    <a:pt x="973" y="1339"/>
                  </a:lnTo>
                  <a:lnTo>
                    <a:pt x="973" y="1341"/>
                  </a:lnTo>
                  <a:lnTo>
                    <a:pt x="973" y="1341"/>
                  </a:lnTo>
                  <a:lnTo>
                    <a:pt x="973" y="1341"/>
                  </a:lnTo>
                  <a:lnTo>
                    <a:pt x="973" y="1341"/>
                  </a:lnTo>
                  <a:lnTo>
                    <a:pt x="973" y="1343"/>
                  </a:lnTo>
                  <a:lnTo>
                    <a:pt x="973" y="1343"/>
                  </a:lnTo>
                  <a:lnTo>
                    <a:pt x="973" y="1343"/>
                  </a:lnTo>
                  <a:lnTo>
                    <a:pt x="975" y="1343"/>
                  </a:lnTo>
                  <a:lnTo>
                    <a:pt x="975" y="1341"/>
                  </a:lnTo>
                  <a:lnTo>
                    <a:pt x="975" y="1341"/>
                  </a:lnTo>
                  <a:lnTo>
                    <a:pt x="975" y="1341"/>
                  </a:lnTo>
                  <a:lnTo>
                    <a:pt x="975" y="1341"/>
                  </a:lnTo>
                  <a:lnTo>
                    <a:pt x="975" y="1341"/>
                  </a:lnTo>
                  <a:lnTo>
                    <a:pt x="975" y="1341"/>
                  </a:lnTo>
                  <a:lnTo>
                    <a:pt x="975" y="1339"/>
                  </a:lnTo>
                  <a:lnTo>
                    <a:pt x="975" y="1339"/>
                  </a:lnTo>
                  <a:lnTo>
                    <a:pt x="975" y="1339"/>
                  </a:lnTo>
                  <a:lnTo>
                    <a:pt x="977" y="1339"/>
                  </a:lnTo>
                  <a:lnTo>
                    <a:pt x="977" y="1339"/>
                  </a:lnTo>
                  <a:lnTo>
                    <a:pt x="977" y="1341"/>
                  </a:lnTo>
                  <a:lnTo>
                    <a:pt x="977" y="1341"/>
                  </a:lnTo>
                  <a:lnTo>
                    <a:pt x="977" y="1339"/>
                  </a:lnTo>
                  <a:lnTo>
                    <a:pt x="977" y="1339"/>
                  </a:lnTo>
                  <a:lnTo>
                    <a:pt x="977" y="1339"/>
                  </a:lnTo>
                  <a:close/>
                  <a:moveTo>
                    <a:pt x="826" y="1301"/>
                  </a:moveTo>
                  <a:lnTo>
                    <a:pt x="824" y="1301"/>
                  </a:lnTo>
                  <a:lnTo>
                    <a:pt x="824" y="1301"/>
                  </a:lnTo>
                  <a:lnTo>
                    <a:pt x="821" y="1298"/>
                  </a:lnTo>
                  <a:lnTo>
                    <a:pt x="821" y="1301"/>
                  </a:lnTo>
                  <a:lnTo>
                    <a:pt x="821" y="1301"/>
                  </a:lnTo>
                  <a:lnTo>
                    <a:pt x="821" y="1301"/>
                  </a:lnTo>
                  <a:lnTo>
                    <a:pt x="821" y="1301"/>
                  </a:lnTo>
                  <a:lnTo>
                    <a:pt x="821" y="1301"/>
                  </a:lnTo>
                  <a:lnTo>
                    <a:pt x="828" y="1303"/>
                  </a:lnTo>
                  <a:lnTo>
                    <a:pt x="828" y="1303"/>
                  </a:lnTo>
                  <a:lnTo>
                    <a:pt x="828" y="1303"/>
                  </a:lnTo>
                  <a:lnTo>
                    <a:pt x="828" y="1303"/>
                  </a:lnTo>
                  <a:lnTo>
                    <a:pt x="828" y="1301"/>
                  </a:lnTo>
                  <a:lnTo>
                    <a:pt x="826" y="1301"/>
                  </a:lnTo>
                  <a:close/>
                  <a:moveTo>
                    <a:pt x="973" y="1379"/>
                  </a:moveTo>
                  <a:lnTo>
                    <a:pt x="973" y="1379"/>
                  </a:lnTo>
                  <a:lnTo>
                    <a:pt x="973" y="1379"/>
                  </a:lnTo>
                  <a:lnTo>
                    <a:pt x="973" y="1379"/>
                  </a:lnTo>
                  <a:lnTo>
                    <a:pt x="975" y="1379"/>
                  </a:lnTo>
                  <a:lnTo>
                    <a:pt x="975" y="1379"/>
                  </a:lnTo>
                  <a:lnTo>
                    <a:pt x="975" y="1379"/>
                  </a:lnTo>
                  <a:lnTo>
                    <a:pt x="973" y="1379"/>
                  </a:lnTo>
                  <a:lnTo>
                    <a:pt x="973" y="1376"/>
                  </a:lnTo>
                  <a:lnTo>
                    <a:pt x="973" y="1376"/>
                  </a:lnTo>
                  <a:lnTo>
                    <a:pt x="973" y="1374"/>
                  </a:lnTo>
                  <a:lnTo>
                    <a:pt x="970" y="1374"/>
                  </a:lnTo>
                  <a:lnTo>
                    <a:pt x="970" y="1374"/>
                  </a:lnTo>
                  <a:lnTo>
                    <a:pt x="970" y="1372"/>
                  </a:lnTo>
                  <a:lnTo>
                    <a:pt x="970" y="1374"/>
                  </a:lnTo>
                  <a:lnTo>
                    <a:pt x="970" y="1374"/>
                  </a:lnTo>
                  <a:lnTo>
                    <a:pt x="970" y="1376"/>
                  </a:lnTo>
                  <a:lnTo>
                    <a:pt x="970" y="1376"/>
                  </a:lnTo>
                  <a:lnTo>
                    <a:pt x="973" y="1379"/>
                  </a:lnTo>
                  <a:lnTo>
                    <a:pt x="973" y="1381"/>
                  </a:lnTo>
                  <a:lnTo>
                    <a:pt x="973" y="1381"/>
                  </a:lnTo>
                  <a:lnTo>
                    <a:pt x="973" y="1381"/>
                  </a:lnTo>
                  <a:lnTo>
                    <a:pt x="973" y="1381"/>
                  </a:lnTo>
                  <a:lnTo>
                    <a:pt x="973" y="1381"/>
                  </a:lnTo>
                  <a:lnTo>
                    <a:pt x="973" y="1381"/>
                  </a:lnTo>
                  <a:lnTo>
                    <a:pt x="973" y="1379"/>
                  </a:lnTo>
                  <a:lnTo>
                    <a:pt x="973" y="1379"/>
                  </a:lnTo>
                  <a:close/>
                  <a:moveTo>
                    <a:pt x="218" y="1977"/>
                  </a:moveTo>
                  <a:lnTo>
                    <a:pt x="218" y="1975"/>
                  </a:lnTo>
                  <a:lnTo>
                    <a:pt x="218" y="1975"/>
                  </a:lnTo>
                  <a:lnTo>
                    <a:pt x="220" y="1975"/>
                  </a:lnTo>
                  <a:lnTo>
                    <a:pt x="220" y="1972"/>
                  </a:lnTo>
                  <a:lnTo>
                    <a:pt x="220" y="1972"/>
                  </a:lnTo>
                  <a:lnTo>
                    <a:pt x="220" y="1970"/>
                  </a:lnTo>
                  <a:lnTo>
                    <a:pt x="220" y="1970"/>
                  </a:lnTo>
                  <a:lnTo>
                    <a:pt x="220" y="1970"/>
                  </a:lnTo>
                  <a:lnTo>
                    <a:pt x="218" y="1972"/>
                  </a:lnTo>
                  <a:lnTo>
                    <a:pt x="211" y="1977"/>
                  </a:lnTo>
                  <a:lnTo>
                    <a:pt x="208" y="1977"/>
                  </a:lnTo>
                  <a:lnTo>
                    <a:pt x="208" y="1980"/>
                  </a:lnTo>
                  <a:lnTo>
                    <a:pt x="208" y="1980"/>
                  </a:lnTo>
                  <a:lnTo>
                    <a:pt x="208" y="1980"/>
                  </a:lnTo>
                  <a:lnTo>
                    <a:pt x="208" y="1980"/>
                  </a:lnTo>
                  <a:lnTo>
                    <a:pt x="208" y="1982"/>
                  </a:lnTo>
                  <a:lnTo>
                    <a:pt x="208" y="1982"/>
                  </a:lnTo>
                  <a:lnTo>
                    <a:pt x="208" y="1982"/>
                  </a:lnTo>
                  <a:lnTo>
                    <a:pt x="211" y="1982"/>
                  </a:lnTo>
                  <a:lnTo>
                    <a:pt x="213" y="1980"/>
                  </a:lnTo>
                  <a:lnTo>
                    <a:pt x="213" y="1980"/>
                  </a:lnTo>
                  <a:lnTo>
                    <a:pt x="213" y="1980"/>
                  </a:lnTo>
                  <a:lnTo>
                    <a:pt x="215" y="1980"/>
                  </a:lnTo>
                  <a:lnTo>
                    <a:pt x="215" y="1977"/>
                  </a:lnTo>
                  <a:lnTo>
                    <a:pt x="218" y="1977"/>
                  </a:lnTo>
                  <a:close/>
                  <a:moveTo>
                    <a:pt x="977" y="1343"/>
                  </a:moveTo>
                  <a:lnTo>
                    <a:pt x="977" y="1343"/>
                  </a:lnTo>
                  <a:lnTo>
                    <a:pt x="977" y="1343"/>
                  </a:lnTo>
                  <a:lnTo>
                    <a:pt x="977" y="1343"/>
                  </a:lnTo>
                  <a:lnTo>
                    <a:pt x="975" y="1346"/>
                  </a:lnTo>
                  <a:lnTo>
                    <a:pt x="975" y="1346"/>
                  </a:lnTo>
                  <a:lnTo>
                    <a:pt x="973" y="1348"/>
                  </a:lnTo>
                  <a:lnTo>
                    <a:pt x="975" y="1348"/>
                  </a:lnTo>
                  <a:lnTo>
                    <a:pt x="975" y="1348"/>
                  </a:lnTo>
                  <a:lnTo>
                    <a:pt x="975" y="1348"/>
                  </a:lnTo>
                  <a:lnTo>
                    <a:pt x="975" y="1348"/>
                  </a:lnTo>
                  <a:lnTo>
                    <a:pt x="975" y="1350"/>
                  </a:lnTo>
                  <a:lnTo>
                    <a:pt x="973" y="1348"/>
                  </a:lnTo>
                  <a:lnTo>
                    <a:pt x="973" y="1348"/>
                  </a:lnTo>
                  <a:lnTo>
                    <a:pt x="973" y="1348"/>
                  </a:lnTo>
                  <a:lnTo>
                    <a:pt x="973" y="1348"/>
                  </a:lnTo>
                  <a:lnTo>
                    <a:pt x="973" y="1348"/>
                  </a:lnTo>
                  <a:lnTo>
                    <a:pt x="973" y="1348"/>
                  </a:lnTo>
                  <a:lnTo>
                    <a:pt x="973" y="1350"/>
                  </a:lnTo>
                  <a:lnTo>
                    <a:pt x="975" y="1350"/>
                  </a:lnTo>
                  <a:lnTo>
                    <a:pt x="975" y="1350"/>
                  </a:lnTo>
                  <a:lnTo>
                    <a:pt x="975" y="1350"/>
                  </a:lnTo>
                  <a:lnTo>
                    <a:pt x="975" y="1350"/>
                  </a:lnTo>
                  <a:lnTo>
                    <a:pt x="975" y="1350"/>
                  </a:lnTo>
                  <a:lnTo>
                    <a:pt x="975" y="1350"/>
                  </a:lnTo>
                  <a:lnTo>
                    <a:pt x="975" y="1355"/>
                  </a:lnTo>
                  <a:lnTo>
                    <a:pt x="977" y="1355"/>
                  </a:lnTo>
                  <a:lnTo>
                    <a:pt x="977" y="1355"/>
                  </a:lnTo>
                  <a:lnTo>
                    <a:pt x="977" y="1353"/>
                  </a:lnTo>
                  <a:lnTo>
                    <a:pt x="977" y="1353"/>
                  </a:lnTo>
                  <a:lnTo>
                    <a:pt x="977" y="1353"/>
                  </a:lnTo>
                  <a:lnTo>
                    <a:pt x="977" y="1350"/>
                  </a:lnTo>
                  <a:lnTo>
                    <a:pt x="977" y="1350"/>
                  </a:lnTo>
                  <a:lnTo>
                    <a:pt x="977" y="1348"/>
                  </a:lnTo>
                  <a:lnTo>
                    <a:pt x="977" y="1348"/>
                  </a:lnTo>
                  <a:lnTo>
                    <a:pt x="977" y="1346"/>
                  </a:lnTo>
                  <a:lnTo>
                    <a:pt x="977" y="1346"/>
                  </a:lnTo>
                  <a:lnTo>
                    <a:pt x="977" y="1343"/>
                  </a:lnTo>
                  <a:lnTo>
                    <a:pt x="977" y="1343"/>
                  </a:lnTo>
                  <a:close/>
                  <a:moveTo>
                    <a:pt x="975" y="1383"/>
                  </a:moveTo>
                  <a:lnTo>
                    <a:pt x="977" y="1383"/>
                  </a:lnTo>
                  <a:lnTo>
                    <a:pt x="977" y="1381"/>
                  </a:lnTo>
                  <a:lnTo>
                    <a:pt x="977" y="1381"/>
                  </a:lnTo>
                  <a:lnTo>
                    <a:pt x="977" y="1376"/>
                  </a:lnTo>
                  <a:lnTo>
                    <a:pt x="980" y="1376"/>
                  </a:lnTo>
                  <a:lnTo>
                    <a:pt x="977" y="1374"/>
                  </a:lnTo>
                  <a:lnTo>
                    <a:pt x="977" y="1376"/>
                  </a:lnTo>
                  <a:lnTo>
                    <a:pt x="977" y="1376"/>
                  </a:lnTo>
                  <a:lnTo>
                    <a:pt x="977" y="1379"/>
                  </a:lnTo>
                  <a:lnTo>
                    <a:pt x="975" y="1381"/>
                  </a:lnTo>
                  <a:lnTo>
                    <a:pt x="975" y="1381"/>
                  </a:lnTo>
                  <a:lnTo>
                    <a:pt x="975" y="1383"/>
                  </a:lnTo>
                  <a:lnTo>
                    <a:pt x="975" y="1383"/>
                  </a:lnTo>
                  <a:lnTo>
                    <a:pt x="975" y="1383"/>
                  </a:lnTo>
                  <a:close/>
                  <a:moveTo>
                    <a:pt x="963" y="1339"/>
                  </a:moveTo>
                  <a:lnTo>
                    <a:pt x="963" y="1339"/>
                  </a:lnTo>
                  <a:lnTo>
                    <a:pt x="963" y="1339"/>
                  </a:lnTo>
                  <a:lnTo>
                    <a:pt x="963" y="1341"/>
                  </a:lnTo>
                  <a:lnTo>
                    <a:pt x="963" y="1341"/>
                  </a:lnTo>
                  <a:lnTo>
                    <a:pt x="966" y="1343"/>
                  </a:lnTo>
                  <a:lnTo>
                    <a:pt x="966" y="1343"/>
                  </a:lnTo>
                  <a:lnTo>
                    <a:pt x="968" y="1343"/>
                  </a:lnTo>
                  <a:lnTo>
                    <a:pt x="968" y="1341"/>
                  </a:lnTo>
                  <a:lnTo>
                    <a:pt x="968" y="1341"/>
                  </a:lnTo>
                  <a:lnTo>
                    <a:pt x="968" y="1341"/>
                  </a:lnTo>
                  <a:lnTo>
                    <a:pt x="968" y="1341"/>
                  </a:lnTo>
                  <a:lnTo>
                    <a:pt x="968" y="1339"/>
                  </a:lnTo>
                  <a:lnTo>
                    <a:pt x="968" y="1339"/>
                  </a:lnTo>
                  <a:lnTo>
                    <a:pt x="968" y="1339"/>
                  </a:lnTo>
                  <a:lnTo>
                    <a:pt x="968" y="1339"/>
                  </a:lnTo>
                  <a:lnTo>
                    <a:pt x="968" y="1339"/>
                  </a:lnTo>
                  <a:lnTo>
                    <a:pt x="968" y="1336"/>
                  </a:lnTo>
                  <a:lnTo>
                    <a:pt x="968" y="1339"/>
                  </a:lnTo>
                  <a:lnTo>
                    <a:pt x="968" y="1339"/>
                  </a:lnTo>
                  <a:lnTo>
                    <a:pt x="968" y="1339"/>
                  </a:lnTo>
                  <a:lnTo>
                    <a:pt x="966" y="1339"/>
                  </a:lnTo>
                  <a:lnTo>
                    <a:pt x="966" y="1336"/>
                  </a:lnTo>
                  <a:lnTo>
                    <a:pt x="966" y="1336"/>
                  </a:lnTo>
                  <a:lnTo>
                    <a:pt x="963" y="1336"/>
                  </a:lnTo>
                  <a:lnTo>
                    <a:pt x="963" y="1339"/>
                  </a:lnTo>
                  <a:lnTo>
                    <a:pt x="963" y="1339"/>
                  </a:lnTo>
                  <a:lnTo>
                    <a:pt x="963" y="1339"/>
                  </a:lnTo>
                  <a:lnTo>
                    <a:pt x="963" y="1339"/>
                  </a:lnTo>
                  <a:close/>
                  <a:moveTo>
                    <a:pt x="1907" y="2557"/>
                  </a:moveTo>
                  <a:lnTo>
                    <a:pt x="1907" y="2559"/>
                  </a:lnTo>
                  <a:lnTo>
                    <a:pt x="1907" y="2559"/>
                  </a:lnTo>
                  <a:lnTo>
                    <a:pt x="1907" y="2559"/>
                  </a:lnTo>
                  <a:lnTo>
                    <a:pt x="1907" y="2559"/>
                  </a:lnTo>
                  <a:lnTo>
                    <a:pt x="1907" y="2559"/>
                  </a:lnTo>
                  <a:lnTo>
                    <a:pt x="1905" y="2559"/>
                  </a:lnTo>
                  <a:lnTo>
                    <a:pt x="1905" y="2559"/>
                  </a:lnTo>
                  <a:lnTo>
                    <a:pt x="1905" y="2562"/>
                  </a:lnTo>
                  <a:lnTo>
                    <a:pt x="1905" y="2562"/>
                  </a:lnTo>
                  <a:lnTo>
                    <a:pt x="1905" y="2562"/>
                  </a:lnTo>
                  <a:lnTo>
                    <a:pt x="1905" y="2564"/>
                  </a:lnTo>
                  <a:lnTo>
                    <a:pt x="1905" y="2564"/>
                  </a:lnTo>
                  <a:lnTo>
                    <a:pt x="1905" y="2564"/>
                  </a:lnTo>
                  <a:lnTo>
                    <a:pt x="1907" y="2564"/>
                  </a:lnTo>
                  <a:lnTo>
                    <a:pt x="1907" y="2564"/>
                  </a:lnTo>
                  <a:lnTo>
                    <a:pt x="1907" y="2562"/>
                  </a:lnTo>
                  <a:lnTo>
                    <a:pt x="1907" y="2562"/>
                  </a:lnTo>
                  <a:lnTo>
                    <a:pt x="1907" y="2562"/>
                  </a:lnTo>
                  <a:lnTo>
                    <a:pt x="1910" y="2562"/>
                  </a:lnTo>
                  <a:lnTo>
                    <a:pt x="1910" y="2559"/>
                  </a:lnTo>
                  <a:lnTo>
                    <a:pt x="1910" y="2559"/>
                  </a:lnTo>
                  <a:lnTo>
                    <a:pt x="1910" y="2559"/>
                  </a:lnTo>
                  <a:lnTo>
                    <a:pt x="1910" y="2559"/>
                  </a:lnTo>
                  <a:lnTo>
                    <a:pt x="1910" y="2559"/>
                  </a:lnTo>
                  <a:lnTo>
                    <a:pt x="1910" y="2559"/>
                  </a:lnTo>
                  <a:lnTo>
                    <a:pt x="1910" y="2557"/>
                  </a:lnTo>
                  <a:lnTo>
                    <a:pt x="1910" y="2557"/>
                  </a:lnTo>
                  <a:lnTo>
                    <a:pt x="1910" y="2557"/>
                  </a:lnTo>
                  <a:lnTo>
                    <a:pt x="1910" y="2557"/>
                  </a:lnTo>
                  <a:lnTo>
                    <a:pt x="1907" y="2557"/>
                  </a:lnTo>
                  <a:close/>
                  <a:moveTo>
                    <a:pt x="1910" y="2583"/>
                  </a:moveTo>
                  <a:lnTo>
                    <a:pt x="1912" y="2583"/>
                  </a:lnTo>
                  <a:lnTo>
                    <a:pt x="1910" y="2583"/>
                  </a:lnTo>
                  <a:lnTo>
                    <a:pt x="1907" y="2583"/>
                  </a:lnTo>
                  <a:lnTo>
                    <a:pt x="1907" y="2583"/>
                  </a:lnTo>
                  <a:lnTo>
                    <a:pt x="1907" y="2583"/>
                  </a:lnTo>
                  <a:lnTo>
                    <a:pt x="1907" y="2585"/>
                  </a:lnTo>
                  <a:lnTo>
                    <a:pt x="1910" y="2585"/>
                  </a:lnTo>
                  <a:lnTo>
                    <a:pt x="1910" y="2588"/>
                  </a:lnTo>
                  <a:lnTo>
                    <a:pt x="1910" y="2588"/>
                  </a:lnTo>
                  <a:lnTo>
                    <a:pt x="1910" y="2585"/>
                  </a:lnTo>
                  <a:lnTo>
                    <a:pt x="1910" y="2585"/>
                  </a:lnTo>
                  <a:lnTo>
                    <a:pt x="1910" y="2583"/>
                  </a:lnTo>
                  <a:close/>
                  <a:moveTo>
                    <a:pt x="2589" y="2375"/>
                  </a:moveTo>
                  <a:lnTo>
                    <a:pt x="2589" y="2375"/>
                  </a:lnTo>
                  <a:lnTo>
                    <a:pt x="2589" y="2372"/>
                  </a:lnTo>
                  <a:lnTo>
                    <a:pt x="2587" y="2372"/>
                  </a:lnTo>
                  <a:lnTo>
                    <a:pt x="2584" y="2375"/>
                  </a:lnTo>
                  <a:lnTo>
                    <a:pt x="2582" y="2375"/>
                  </a:lnTo>
                  <a:lnTo>
                    <a:pt x="2582" y="2375"/>
                  </a:lnTo>
                  <a:lnTo>
                    <a:pt x="2572" y="2377"/>
                  </a:lnTo>
                  <a:lnTo>
                    <a:pt x="2570" y="2377"/>
                  </a:lnTo>
                  <a:lnTo>
                    <a:pt x="2570" y="2377"/>
                  </a:lnTo>
                  <a:lnTo>
                    <a:pt x="2572" y="2375"/>
                  </a:lnTo>
                  <a:lnTo>
                    <a:pt x="2572" y="2375"/>
                  </a:lnTo>
                  <a:lnTo>
                    <a:pt x="2572" y="2375"/>
                  </a:lnTo>
                  <a:lnTo>
                    <a:pt x="2572" y="2375"/>
                  </a:lnTo>
                  <a:lnTo>
                    <a:pt x="2572" y="2372"/>
                  </a:lnTo>
                  <a:lnTo>
                    <a:pt x="2572" y="2375"/>
                  </a:lnTo>
                  <a:lnTo>
                    <a:pt x="2572" y="2372"/>
                  </a:lnTo>
                  <a:lnTo>
                    <a:pt x="2575" y="2370"/>
                  </a:lnTo>
                  <a:lnTo>
                    <a:pt x="2577" y="2370"/>
                  </a:lnTo>
                  <a:lnTo>
                    <a:pt x="2577" y="2370"/>
                  </a:lnTo>
                  <a:lnTo>
                    <a:pt x="2577" y="2368"/>
                  </a:lnTo>
                  <a:lnTo>
                    <a:pt x="2575" y="2368"/>
                  </a:lnTo>
                  <a:lnTo>
                    <a:pt x="2575" y="2368"/>
                  </a:lnTo>
                  <a:lnTo>
                    <a:pt x="2575" y="2368"/>
                  </a:lnTo>
                  <a:lnTo>
                    <a:pt x="2575" y="2368"/>
                  </a:lnTo>
                  <a:lnTo>
                    <a:pt x="2572" y="2368"/>
                  </a:lnTo>
                  <a:lnTo>
                    <a:pt x="2572" y="2368"/>
                  </a:lnTo>
                  <a:lnTo>
                    <a:pt x="2570" y="2365"/>
                  </a:lnTo>
                  <a:lnTo>
                    <a:pt x="2570" y="2365"/>
                  </a:lnTo>
                  <a:lnTo>
                    <a:pt x="2570" y="2365"/>
                  </a:lnTo>
                  <a:lnTo>
                    <a:pt x="2570" y="2365"/>
                  </a:lnTo>
                  <a:lnTo>
                    <a:pt x="2568" y="2363"/>
                  </a:lnTo>
                  <a:lnTo>
                    <a:pt x="2568" y="2363"/>
                  </a:lnTo>
                  <a:lnTo>
                    <a:pt x="2565" y="2363"/>
                  </a:lnTo>
                  <a:lnTo>
                    <a:pt x="2565" y="2363"/>
                  </a:lnTo>
                  <a:lnTo>
                    <a:pt x="2563" y="2360"/>
                  </a:lnTo>
                  <a:lnTo>
                    <a:pt x="2563" y="2363"/>
                  </a:lnTo>
                  <a:lnTo>
                    <a:pt x="2561" y="2363"/>
                  </a:lnTo>
                  <a:lnTo>
                    <a:pt x="2561" y="2363"/>
                  </a:lnTo>
                  <a:lnTo>
                    <a:pt x="2561" y="2365"/>
                  </a:lnTo>
                  <a:lnTo>
                    <a:pt x="2561" y="2365"/>
                  </a:lnTo>
                  <a:lnTo>
                    <a:pt x="2561" y="2365"/>
                  </a:lnTo>
                  <a:lnTo>
                    <a:pt x="2561" y="2365"/>
                  </a:lnTo>
                  <a:lnTo>
                    <a:pt x="2561" y="2365"/>
                  </a:lnTo>
                  <a:lnTo>
                    <a:pt x="2561" y="2365"/>
                  </a:lnTo>
                  <a:lnTo>
                    <a:pt x="2561" y="2368"/>
                  </a:lnTo>
                  <a:lnTo>
                    <a:pt x="2561" y="2368"/>
                  </a:lnTo>
                  <a:lnTo>
                    <a:pt x="2561" y="2368"/>
                  </a:lnTo>
                  <a:lnTo>
                    <a:pt x="2561" y="2368"/>
                  </a:lnTo>
                  <a:lnTo>
                    <a:pt x="2558" y="2365"/>
                  </a:lnTo>
                  <a:lnTo>
                    <a:pt x="2561" y="2365"/>
                  </a:lnTo>
                  <a:lnTo>
                    <a:pt x="2561" y="2365"/>
                  </a:lnTo>
                  <a:lnTo>
                    <a:pt x="2561" y="2365"/>
                  </a:lnTo>
                  <a:lnTo>
                    <a:pt x="2558" y="2365"/>
                  </a:lnTo>
                  <a:lnTo>
                    <a:pt x="2558" y="2368"/>
                  </a:lnTo>
                  <a:lnTo>
                    <a:pt x="2558" y="2368"/>
                  </a:lnTo>
                  <a:lnTo>
                    <a:pt x="2558" y="2368"/>
                  </a:lnTo>
                  <a:lnTo>
                    <a:pt x="2556" y="2368"/>
                  </a:lnTo>
                  <a:lnTo>
                    <a:pt x="2553" y="2368"/>
                  </a:lnTo>
                  <a:lnTo>
                    <a:pt x="2553" y="2368"/>
                  </a:lnTo>
                  <a:lnTo>
                    <a:pt x="2553" y="2368"/>
                  </a:lnTo>
                  <a:lnTo>
                    <a:pt x="2551" y="2365"/>
                  </a:lnTo>
                  <a:lnTo>
                    <a:pt x="2551" y="2365"/>
                  </a:lnTo>
                  <a:lnTo>
                    <a:pt x="2549" y="2365"/>
                  </a:lnTo>
                  <a:lnTo>
                    <a:pt x="2549" y="2365"/>
                  </a:lnTo>
                  <a:lnTo>
                    <a:pt x="2549" y="2365"/>
                  </a:lnTo>
                  <a:lnTo>
                    <a:pt x="2549" y="2363"/>
                  </a:lnTo>
                  <a:lnTo>
                    <a:pt x="2546" y="2360"/>
                  </a:lnTo>
                  <a:lnTo>
                    <a:pt x="2546" y="2358"/>
                  </a:lnTo>
                  <a:lnTo>
                    <a:pt x="2546" y="2358"/>
                  </a:lnTo>
                  <a:lnTo>
                    <a:pt x="2546" y="2358"/>
                  </a:lnTo>
                  <a:lnTo>
                    <a:pt x="2546" y="2358"/>
                  </a:lnTo>
                  <a:lnTo>
                    <a:pt x="2546" y="2358"/>
                  </a:lnTo>
                  <a:lnTo>
                    <a:pt x="2546" y="2358"/>
                  </a:lnTo>
                  <a:lnTo>
                    <a:pt x="2546" y="2358"/>
                  </a:lnTo>
                  <a:lnTo>
                    <a:pt x="2544" y="2358"/>
                  </a:lnTo>
                  <a:lnTo>
                    <a:pt x="2544" y="2360"/>
                  </a:lnTo>
                  <a:lnTo>
                    <a:pt x="2542" y="2363"/>
                  </a:lnTo>
                  <a:lnTo>
                    <a:pt x="2537" y="2370"/>
                  </a:lnTo>
                  <a:lnTo>
                    <a:pt x="2532" y="2375"/>
                  </a:lnTo>
                  <a:lnTo>
                    <a:pt x="2532" y="2375"/>
                  </a:lnTo>
                  <a:lnTo>
                    <a:pt x="2532" y="2375"/>
                  </a:lnTo>
                  <a:lnTo>
                    <a:pt x="2532" y="2372"/>
                  </a:lnTo>
                  <a:lnTo>
                    <a:pt x="2535" y="2372"/>
                  </a:lnTo>
                  <a:lnTo>
                    <a:pt x="2535" y="2372"/>
                  </a:lnTo>
                  <a:lnTo>
                    <a:pt x="2535" y="2375"/>
                  </a:lnTo>
                  <a:lnTo>
                    <a:pt x="2532" y="2375"/>
                  </a:lnTo>
                  <a:lnTo>
                    <a:pt x="2532" y="2375"/>
                  </a:lnTo>
                  <a:lnTo>
                    <a:pt x="2532" y="2375"/>
                  </a:lnTo>
                  <a:lnTo>
                    <a:pt x="2532" y="2377"/>
                  </a:lnTo>
                  <a:lnTo>
                    <a:pt x="2530" y="2377"/>
                  </a:lnTo>
                  <a:lnTo>
                    <a:pt x="2530" y="2377"/>
                  </a:lnTo>
                  <a:lnTo>
                    <a:pt x="2530" y="2377"/>
                  </a:lnTo>
                  <a:lnTo>
                    <a:pt x="2530" y="2375"/>
                  </a:lnTo>
                  <a:lnTo>
                    <a:pt x="2530" y="2375"/>
                  </a:lnTo>
                  <a:lnTo>
                    <a:pt x="2530" y="2375"/>
                  </a:lnTo>
                  <a:lnTo>
                    <a:pt x="2527" y="2377"/>
                  </a:lnTo>
                  <a:lnTo>
                    <a:pt x="2527" y="2377"/>
                  </a:lnTo>
                  <a:lnTo>
                    <a:pt x="2527" y="2377"/>
                  </a:lnTo>
                  <a:lnTo>
                    <a:pt x="2527" y="2375"/>
                  </a:lnTo>
                  <a:lnTo>
                    <a:pt x="2527" y="2375"/>
                  </a:lnTo>
                  <a:lnTo>
                    <a:pt x="2527" y="2375"/>
                  </a:lnTo>
                  <a:lnTo>
                    <a:pt x="2525" y="2375"/>
                  </a:lnTo>
                  <a:lnTo>
                    <a:pt x="2525" y="2375"/>
                  </a:lnTo>
                  <a:lnTo>
                    <a:pt x="2525" y="2377"/>
                  </a:lnTo>
                  <a:lnTo>
                    <a:pt x="2525" y="2377"/>
                  </a:lnTo>
                  <a:lnTo>
                    <a:pt x="2523" y="2377"/>
                  </a:lnTo>
                  <a:lnTo>
                    <a:pt x="2523" y="2377"/>
                  </a:lnTo>
                  <a:lnTo>
                    <a:pt x="2523" y="2377"/>
                  </a:lnTo>
                  <a:lnTo>
                    <a:pt x="2523" y="2377"/>
                  </a:lnTo>
                  <a:lnTo>
                    <a:pt x="2525" y="2379"/>
                  </a:lnTo>
                  <a:lnTo>
                    <a:pt x="2525" y="2379"/>
                  </a:lnTo>
                  <a:lnTo>
                    <a:pt x="2525" y="2379"/>
                  </a:lnTo>
                  <a:lnTo>
                    <a:pt x="2525" y="2379"/>
                  </a:lnTo>
                  <a:lnTo>
                    <a:pt x="2523" y="2379"/>
                  </a:lnTo>
                  <a:lnTo>
                    <a:pt x="2523" y="2379"/>
                  </a:lnTo>
                  <a:lnTo>
                    <a:pt x="2523" y="2379"/>
                  </a:lnTo>
                  <a:lnTo>
                    <a:pt x="2523" y="2382"/>
                  </a:lnTo>
                  <a:lnTo>
                    <a:pt x="2523" y="2382"/>
                  </a:lnTo>
                  <a:lnTo>
                    <a:pt x="2520" y="2379"/>
                  </a:lnTo>
                  <a:lnTo>
                    <a:pt x="2520" y="2379"/>
                  </a:lnTo>
                  <a:lnTo>
                    <a:pt x="2520" y="2379"/>
                  </a:lnTo>
                  <a:lnTo>
                    <a:pt x="2520" y="2379"/>
                  </a:lnTo>
                  <a:lnTo>
                    <a:pt x="2520" y="2379"/>
                  </a:lnTo>
                  <a:lnTo>
                    <a:pt x="2520" y="2379"/>
                  </a:lnTo>
                  <a:lnTo>
                    <a:pt x="2520" y="2379"/>
                  </a:lnTo>
                  <a:lnTo>
                    <a:pt x="2520" y="2377"/>
                  </a:lnTo>
                  <a:lnTo>
                    <a:pt x="2520" y="2377"/>
                  </a:lnTo>
                  <a:lnTo>
                    <a:pt x="2523" y="2377"/>
                  </a:lnTo>
                  <a:lnTo>
                    <a:pt x="2523" y="2375"/>
                  </a:lnTo>
                  <a:lnTo>
                    <a:pt x="2523" y="2375"/>
                  </a:lnTo>
                  <a:lnTo>
                    <a:pt x="2523" y="2375"/>
                  </a:lnTo>
                  <a:lnTo>
                    <a:pt x="2523" y="2375"/>
                  </a:lnTo>
                  <a:lnTo>
                    <a:pt x="2520" y="2375"/>
                  </a:lnTo>
                  <a:lnTo>
                    <a:pt x="2520" y="2375"/>
                  </a:lnTo>
                  <a:lnTo>
                    <a:pt x="2520" y="2375"/>
                  </a:lnTo>
                  <a:lnTo>
                    <a:pt x="2518" y="2375"/>
                  </a:lnTo>
                  <a:lnTo>
                    <a:pt x="2520" y="2372"/>
                  </a:lnTo>
                  <a:lnTo>
                    <a:pt x="2520" y="2372"/>
                  </a:lnTo>
                  <a:lnTo>
                    <a:pt x="2520" y="2372"/>
                  </a:lnTo>
                  <a:lnTo>
                    <a:pt x="2520" y="2372"/>
                  </a:lnTo>
                  <a:lnTo>
                    <a:pt x="2520" y="2372"/>
                  </a:lnTo>
                  <a:lnTo>
                    <a:pt x="2518" y="2372"/>
                  </a:lnTo>
                  <a:lnTo>
                    <a:pt x="2518" y="2375"/>
                  </a:lnTo>
                  <a:lnTo>
                    <a:pt x="2513" y="2375"/>
                  </a:lnTo>
                  <a:lnTo>
                    <a:pt x="2511" y="2375"/>
                  </a:lnTo>
                  <a:lnTo>
                    <a:pt x="2506" y="2375"/>
                  </a:lnTo>
                  <a:lnTo>
                    <a:pt x="2506" y="2377"/>
                  </a:lnTo>
                  <a:lnTo>
                    <a:pt x="2506" y="2377"/>
                  </a:lnTo>
                  <a:lnTo>
                    <a:pt x="2509" y="2377"/>
                  </a:lnTo>
                  <a:lnTo>
                    <a:pt x="2509" y="2377"/>
                  </a:lnTo>
                  <a:lnTo>
                    <a:pt x="2509" y="2377"/>
                  </a:lnTo>
                  <a:lnTo>
                    <a:pt x="2506" y="2377"/>
                  </a:lnTo>
                  <a:lnTo>
                    <a:pt x="2506" y="2377"/>
                  </a:lnTo>
                  <a:lnTo>
                    <a:pt x="2506" y="2379"/>
                  </a:lnTo>
                  <a:lnTo>
                    <a:pt x="2504" y="2379"/>
                  </a:lnTo>
                  <a:lnTo>
                    <a:pt x="2504" y="2379"/>
                  </a:lnTo>
                  <a:lnTo>
                    <a:pt x="2504" y="2379"/>
                  </a:lnTo>
                  <a:lnTo>
                    <a:pt x="2504" y="2379"/>
                  </a:lnTo>
                  <a:lnTo>
                    <a:pt x="2504" y="2379"/>
                  </a:lnTo>
                  <a:lnTo>
                    <a:pt x="2504" y="2379"/>
                  </a:lnTo>
                  <a:lnTo>
                    <a:pt x="2504" y="2379"/>
                  </a:lnTo>
                  <a:lnTo>
                    <a:pt x="2504" y="2377"/>
                  </a:lnTo>
                  <a:lnTo>
                    <a:pt x="2504" y="2377"/>
                  </a:lnTo>
                  <a:lnTo>
                    <a:pt x="2504" y="2377"/>
                  </a:lnTo>
                  <a:lnTo>
                    <a:pt x="2504" y="2379"/>
                  </a:lnTo>
                  <a:lnTo>
                    <a:pt x="2504" y="2379"/>
                  </a:lnTo>
                  <a:lnTo>
                    <a:pt x="2504" y="2379"/>
                  </a:lnTo>
                  <a:lnTo>
                    <a:pt x="2504" y="2379"/>
                  </a:lnTo>
                  <a:lnTo>
                    <a:pt x="2501" y="2382"/>
                  </a:lnTo>
                  <a:lnTo>
                    <a:pt x="2501" y="2382"/>
                  </a:lnTo>
                  <a:lnTo>
                    <a:pt x="2501" y="2379"/>
                  </a:lnTo>
                  <a:lnTo>
                    <a:pt x="2501" y="2379"/>
                  </a:lnTo>
                  <a:lnTo>
                    <a:pt x="2501" y="2382"/>
                  </a:lnTo>
                  <a:lnTo>
                    <a:pt x="2501" y="2382"/>
                  </a:lnTo>
                  <a:lnTo>
                    <a:pt x="2501" y="2382"/>
                  </a:lnTo>
                  <a:lnTo>
                    <a:pt x="2501" y="2382"/>
                  </a:lnTo>
                  <a:lnTo>
                    <a:pt x="2501" y="2382"/>
                  </a:lnTo>
                  <a:lnTo>
                    <a:pt x="2501" y="2382"/>
                  </a:lnTo>
                  <a:lnTo>
                    <a:pt x="2499" y="2382"/>
                  </a:lnTo>
                  <a:lnTo>
                    <a:pt x="2499" y="2382"/>
                  </a:lnTo>
                  <a:lnTo>
                    <a:pt x="2497" y="2382"/>
                  </a:lnTo>
                  <a:lnTo>
                    <a:pt x="2497" y="2382"/>
                  </a:lnTo>
                  <a:lnTo>
                    <a:pt x="2499" y="2382"/>
                  </a:lnTo>
                  <a:lnTo>
                    <a:pt x="2499" y="2379"/>
                  </a:lnTo>
                  <a:lnTo>
                    <a:pt x="2501" y="2379"/>
                  </a:lnTo>
                  <a:lnTo>
                    <a:pt x="2501" y="2377"/>
                  </a:lnTo>
                  <a:lnTo>
                    <a:pt x="2501" y="2377"/>
                  </a:lnTo>
                  <a:lnTo>
                    <a:pt x="2499" y="2377"/>
                  </a:lnTo>
                  <a:lnTo>
                    <a:pt x="2499" y="2379"/>
                  </a:lnTo>
                  <a:lnTo>
                    <a:pt x="2497" y="2379"/>
                  </a:lnTo>
                  <a:lnTo>
                    <a:pt x="2497" y="2379"/>
                  </a:lnTo>
                  <a:lnTo>
                    <a:pt x="2497" y="2379"/>
                  </a:lnTo>
                  <a:lnTo>
                    <a:pt x="2494" y="2379"/>
                  </a:lnTo>
                  <a:lnTo>
                    <a:pt x="2494" y="2379"/>
                  </a:lnTo>
                  <a:lnTo>
                    <a:pt x="2494" y="2379"/>
                  </a:lnTo>
                  <a:lnTo>
                    <a:pt x="2494" y="2379"/>
                  </a:lnTo>
                  <a:lnTo>
                    <a:pt x="2494" y="2379"/>
                  </a:lnTo>
                  <a:lnTo>
                    <a:pt x="2494" y="2379"/>
                  </a:lnTo>
                  <a:lnTo>
                    <a:pt x="2494" y="2379"/>
                  </a:lnTo>
                  <a:lnTo>
                    <a:pt x="2494" y="2379"/>
                  </a:lnTo>
                  <a:lnTo>
                    <a:pt x="2494" y="2379"/>
                  </a:lnTo>
                  <a:lnTo>
                    <a:pt x="2494" y="2379"/>
                  </a:lnTo>
                  <a:lnTo>
                    <a:pt x="2492" y="2379"/>
                  </a:lnTo>
                  <a:lnTo>
                    <a:pt x="2492" y="2379"/>
                  </a:lnTo>
                  <a:lnTo>
                    <a:pt x="2492" y="2379"/>
                  </a:lnTo>
                  <a:lnTo>
                    <a:pt x="2492" y="2379"/>
                  </a:lnTo>
                  <a:lnTo>
                    <a:pt x="2492" y="2379"/>
                  </a:lnTo>
                  <a:lnTo>
                    <a:pt x="2492" y="2379"/>
                  </a:lnTo>
                  <a:lnTo>
                    <a:pt x="2494" y="2379"/>
                  </a:lnTo>
                  <a:lnTo>
                    <a:pt x="2494" y="2379"/>
                  </a:lnTo>
                  <a:lnTo>
                    <a:pt x="2494" y="2377"/>
                  </a:lnTo>
                  <a:lnTo>
                    <a:pt x="2492" y="2377"/>
                  </a:lnTo>
                  <a:lnTo>
                    <a:pt x="2492" y="2377"/>
                  </a:lnTo>
                  <a:lnTo>
                    <a:pt x="2492" y="2377"/>
                  </a:lnTo>
                  <a:lnTo>
                    <a:pt x="2494" y="2377"/>
                  </a:lnTo>
                  <a:lnTo>
                    <a:pt x="2494" y="2377"/>
                  </a:lnTo>
                  <a:lnTo>
                    <a:pt x="2494" y="2377"/>
                  </a:lnTo>
                  <a:lnTo>
                    <a:pt x="2492" y="2377"/>
                  </a:lnTo>
                  <a:lnTo>
                    <a:pt x="2487" y="2377"/>
                  </a:lnTo>
                  <a:lnTo>
                    <a:pt x="2487" y="2379"/>
                  </a:lnTo>
                  <a:lnTo>
                    <a:pt x="2487" y="2379"/>
                  </a:lnTo>
                  <a:lnTo>
                    <a:pt x="2487" y="2379"/>
                  </a:lnTo>
                  <a:lnTo>
                    <a:pt x="2485" y="2379"/>
                  </a:lnTo>
                  <a:lnTo>
                    <a:pt x="2485" y="2379"/>
                  </a:lnTo>
                  <a:lnTo>
                    <a:pt x="2485" y="2379"/>
                  </a:lnTo>
                  <a:lnTo>
                    <a:pt x="2485" y="2379"/>
                  </a:lnTo>
                  <a:lnTo>
                    <a:pt x="2487" y="2379"/>
                  </a:lnTo>
                  <a:lnTo>
                    <a:pt x="2487" y="2382"/>
                  </a:lnTo>
                  <a:lnTo>
                    <a:pt x="2487" y="2382"/>
                  </a:lnTo>
                  <a:lnTo>
                    <a:pt x="2487" y="2382"/>
                  </a:lnTo>
                  <a:lnTo>
                    <a:pt x="2485" y="2382"/>
                  </a:lnTo>
                  <a:lnTo>
                    <a:pt x="2485" y="2382"/>
                  </a:lnTo>
                  <a:lnTo>
                    <a:pt x="2485" y="2379"/>
                  </a:lnTo>
                  <a:lnTo>
                    <a:pt x="2485" y="2379"/>
                  </a:lnTo>
                  <a:lnTo>
                    <a:pt x="2482" y="2382"/>
                  </a:lnTo>
                  <a:lnTo>
                    <a:pt x="2482" y="2382"/>
                  </a:lnTo>
                  <a:lnTo>
                    <a:pt x="2482" y="2382"/>
                  </a:lnTo>
                  <a:lnTo>
                    <a:pt x="2482" y="2379"/>
                  </a:lnTo>
                  <a:lnTo>
                    <a:pt x="2485" y="2379"/>
                  </a:lnTo>
                  <a:lnTo>
                    <a:pt x="2482" y="2379"/>
                  </a:lnTo>
                  <a:lnTo>
                    <a:pt x="2482" y="2379"/>
                  </a:lnTo>
                  <a:lnTo>
                    <a:pt x="2480" y="2379"/>
                  </a:lnTo>
                  <a:lnTo>
                    <a:pt x="2480" y="2379"/>
                  </a:lnTo>
                  <a:lnTo>
                    <a:pt x="2480" y="2379"/>
                  </a:lnTo>
                  <a:lnTo>
                    <a:pt x="2480" y="2379"/>
                  </a:lnTo>
                  <a:lnTo>
                    <a:pt x="2478" y="2377"/>
                  </a:lnTo>
                  <a:lnTo>
                    <a:pt x="2478" y="2379"/>
                  </a:lnTo>
                  <a:lnTo>
                    <a:pt x="2478" y="2377"/>
                  </a:lnTo>
                  <a:lnTo>
                    <a:pt x="2475" y="2377"/>
                  </a:lnTo>
                  <a:lnTo>
                    <a:pt x="2471" y="2377"/>
                  </a:lnTo>
                  <a:lnTo>
                    <a:pt x="2471" y="2377"/>
                  </a:lnTo>
                  <a:lnTo>
                    <a:pt x="2471" y="2377"/>
                  </a:lnTo>
                  <a:lnTo>
                    <a:pt x="2471" y="2377"/>
                  </a:lnTo>
                  <a:lnTo>
                    <a:pt x="2471" y="2377"/>
                  </a:lnTo>
                  <a:lnTo>
                    <a:pt x="2471" y="2377"/>
                  </a:lnTo>
                  <a:lnTo>
                    <a:pt x="2471" y="2377"/>
                  </a:lnTo>
                  <a:lnTo>
                    <a:pt x="2468" y="2377"/>
                  </a:lnTo>
                  <a:lnTo>
                    <a:pt x="2468" y="2377"/>
                  </a:lnTo>
                  <a:lnTo>
                    <a:pt x="2468" y="2375"/>
                  </a:lnTo>
                  <a:lnTo>
                    <a:pt x="2468" y="2375"/>
                  </a:lnTo>
                  <a:lnTo>
                    <a:pt x="2468" y="2375"/>
                  </a:lnTo>
                  <a:lnTo>
                    <a:pt x="2468" y="2375"/>
                  </a:lnTo>
                  <a:lnTo>
                    <a:pt x="2468" y="2375"/>
                  </a:lnTo>
                  <a:lnTo>
                    <a:pt x="2473" y="2372"/>
                  </a:lnTo>
                  <a:lnTo>
                    <a:pt x="2475" y="2372"/>
                  </a:lnTo>
                  <a:lnTo>
                    <a:pt x="2475" y="2372"/>
                  </a:lnTo>
                  <a:lnTo>
                    <a:pt x="2475" y="2370"/>
                  </a:lnTo>
                  <a:lnTo>
                    <a:pt x="2475" y="2370"/>
                  </a:lnTo>
                  <a:lnTo>
                    <a:pt x="2475" y="2370"/>
                  </a:lnTo>
                  <a:lnTo>
                    <a:pt x="2478" y="2370"/>
                  </a:lnTo>
                  <a:lnTo>
                    <a:pt x="2478" y="2368"/>
                  </a:lnTo>
                  <a:lnTo>
                    <a:pt x="2478" y="2368"/>
                  </a:lnTo>
                  <a:lnTo>
                    <a:pt x="2475" y="2368"/>
                  </a:lnTo>
                  <a:lnTo>
                    <a:pt x="2473" y="2368"/>
                  </a:lnTo>
                  <a:lnTo>
                    <a:pt x="2471" y="2368"/>
                  </a:lnTo>
                  <a:lnTo>
                    <a:pt x="2471" y="2368"/>
                  </a:lnTo>
                  <a:lnTo>
                    <a:pt x="2468" y="2368"/>
                  </a:lnTo>
                  <a:lnTo>
                    <a:pt x="2468" y="2368"/>
                  </a:lnTo>
                  <a:lnTo>
                    <a:pt x="2466" y="2368"/>
                  </a:lnTo>
                  <a:lnTo>
                    <a:pt x="2466" y="2370"/>
                  </a:lnTo>
                  <a:lnTo>
                    <a:pt x="2466" y="2370"/>
                  </a:lnTo>
                  <a:lnTo>
                    <a:pt x="2466" y="2370"/>
                  </a:lnTo>
                  <a:lnTo>
                    <a:pt x="2466" y="2370"/>
                  </a:lnTo>
                  <a:lnTo>
                    <a:pt x="2464" y="2368"/>
                  </a:lnTo>
                  <a:lnTo>
                    <a:pt x="2464" y="2370"/>
                  </a:lnTo>
                  <a:lnTo>
                    <a:pt x="2464" y="2370"/>
                  </a:lnTo>
                  <a:lnTo>
                    <a:pt x="2464" y="2370"/>
                  </a:lnTo>
                  <a:lnTo>
                    <a:pt x="2464" y="2370"/>
                  </a:lnTo>
                  <a:lnTo>
                    <a:pt x="2464" y="2370"/>
                  </a:lnTo>
                  <a:lnTo>
                    <a:pt x="2464" y="2370"/>
                  </a:lnTo>
                  <a:lnTo>
                    <a:pt x="2464" y="2370"/>
                  </a:lnTo>
                  <a:lnTo>
                    <a:pt x="2461" y="2368"/>
                  </a:lnTo>
                  <a:lnTo>
                    <a:pt x="2459" y="2368"/>
                  </a:lnTo>
                  <a:lnTo>
                    <a:pt x="2459" y="2368"/>
                  </a:lnTo>
                  <a:lnTo>
                    <a:pt x="2456" y="2370"/>
                  </a:lnTo>
                  <a:lnTo>
                    <a:pt x="2456" y="2370"/>
                  </a:lnTo>
                  <a:lnTo>
                    <a:pt x="2456" y="2370"/>
                  </a:lnTo>
                  <a:lnTo>
                    <a:pt x="2454" y="2370"/>
                  </a:lnTo>
                  <a:lnTo>
                    <a:pt x="2454" y="2370"/>
                  </a:lnTo>
                  <a:lnTo>
                    <a:pt x="2454" y="2370"/>
                  </a:lnTo>
                  <a:lnTo>
                    <a:pt x="2454" y="2370"/>
                  </a:lnTo>
                  <a:lnTo>
                    <a:pt x="2454" y="2370"/>
                  </a:lnTo>
                  <a:lnTo>
                    <a:pt x="2449" y="2370"/>
                  </a:lnTo>
                  <a:lnTo>
                    <a:pt x="2449" y="2372"/>
                  </a:lnTo>
                  <a:lnTo>
                    <a:pt x="2449" y="2372"/>
                  </a:lnTo>
                  <a:lnTo>
                    <a:pt x="2447" y="2370"/>
                  </a:lnTo>
                  <a:lnTo>
                    <a:pt x="2447" y="2368"/>
                  </a:lnTo>
                  <a:lnTo>
                    <a:pt x="2449" y="2368"/>
                  </a:lnTo>
                  <a:lnTo>
                    <a:pt x="2449" y="2368"/>
                  </a:lnTo>
                  <a:lnTo>
                    <a:pt x="2447" y="2365"/>
                  </a:lnTo>
                  <a:lnTo>
                    <a:pt x="2447" y="2365"/>
                  </a:lnTo>
                  <a:lnTo>
                    <a:pt x="2445" y="2365"/>
                  </a:lnTo>
                  <a:lnTo>
                    <a:pt x="2447" y="2368"/>
                  </a:lnTo>
                  <a:lnTo>
                    <a:pt x="2445" y="2368"/>
                  </a:lnTo>
                  <a:lnTo>
                    <a:pt x="2445" y="2368"/>
                  </a:lnTo>
                  <a:lnTo>
                    <a:pt x="2445" y="2368"/>
                  </a:lnTo>
                  <a:lnTo>
                    <a:pt x="2445" y="2368"/>
                  </a:lnTo>
                  <a:lnTo>
                    <a:pt x="2442" y="2368"/>
                  </a:lnTo>
                  <a:lnTo>
                    <a:pt x="2442" y="2368"/>
                  </a:lnTo>
                  <a:lnTo>
                    <a:pt x="2442" y="2368"/>
                  </a:lnTo>
                  <a:lnTo>
                    <a:pt x="2442" y="2368"/>
                  </a:lnTo>
                  <a:lnTo>
                    <a:pt x="2442" y="2368"/>
                  </a:lnTo>
                  <a:lnTo>
                    <a:pt x="2442" y="2368"/>
                  </a:lnTo>
                  <a:lnTo>
                    <a:pt x="2445" y="2368"/>
                  </a:lnTo>
                  <a:lnTo>
                    <a:pt x="2445" y="2365"/>
                  </a:lnTo>
                  <a:lnTo>
                    <a:pt x="2445" y="2365"/>
                  </a:lnTo>
                  <a:lnTo>
                    <a:pt x="2445" y="2365"/>
                  </a:lnTo>
                  <a:lnTo>
                    <a:pt x="2445" y="2363"/>
                  </a:lnTo>
                  <a:lnTo>
                    <a:pt x="2442" y="2363"/>
                  </a:lnTo>
                  <a:lnTo>
                    <a:pt x="2442" y="2360"/>
                  </a:lnTo>
                  <a:lnTo>
                    <a:pt x="2442" y="2360"/>
                  </a:lnTo>
                  <a:lnTo>
                    <a:pt x="2440" y="2360"/>
                  </a:lnTo>
                  <a:lnTo>
                    <a:pt x="2440" y="2360"/>
                  </a:lnTo>
                  <a:lnTo>
                    <a:pt x="2440" y="2360"/>
                  </a:lnTo>
                  <a:lnTo>
                    <a:pt x="2440" y="2360"/>
                  </a:lnTo>
                  <a:lnTo>
                    <a:pt x="2440" y="2360"/>
                  </a:lnTo>
                  <a:lnTo>
                    <a:pt x="2440" y="2360"/>
                  </a:lnTo>
                  <a:lnTo>
                    <a:pt x="2440" y="2360"/>
                  </a:lnTo>
                  <a:lnTo>
                    <a:pt x="2440" y="2360"/>
                  </a:lnTo>
                  <a:lnTo>
                    <a:pt x="2440" y="2360"/>
                  </a:lnTo>
                  <a:lnTo>
                    <a:pt x="2440" y="2360"/>
                  </a:lnTo>
                  <a:lnTo>
                    <a:pt x="2440" y="2360"/>
                  </a:lnTo>
                  <a:lnTo>
                    <a:pt x="2440" y="2360"/>
                  </a:lnTo>
                  <a:lnTo>
                    <a:pt x="2440" y="2360"/>
                  </a:lnTo>
                  <a:lnTo>
                    <a:pt x="2440" y="2358"/>
                  </a:lnTo>
                  <a:lnTo>
                    <a:pt x="2440" y="2358"/>
                  </a:lnTo>
                  <a:lnTo>
                    <a:pt x="2438" y="2358"/>
                  </a:lnTo>
                  <a:lnTo>
                    <a:pt x="2438" y="2358"/>
                  </a:lnTo>
                  <a:lnTo>
                    <a:pt x="2438" y="2356"/>
                  </a:lnTo>
                  <a:lnTo>
                    <a:pt x="2438" y="2353"/>
                  </a:lnTo>
                  <a:lnTo>
                    <a:pt x="2438" y="2353"/>
                  </a:lnTo>
                  <a:lnTo>
                    <a:pt x="2435" y="2351"/>
                  </a:lnTo>
                  <a:lnTo>
                    <a:pt x="2435" y="2351"/>
                  </a:lnTo>
                  <a:lnTo>
                    <a:pt x="2435" y="2351"/>
                  </a:lnTo>
                  <a:lnTo>
                    <a:pt x="2435" y="2351"/>
                  </a:lnTo>
                  <a:lnTo>
                    <a:pt x="2435" y="2351"/>
                  </a:lnTo>
                  <a:lnTo>
                    <a:pt x="2435" y="2351"/>
                  </a:lnTo>
                  <a:lnTo>
                    <a:pt x="2433" y="2351"/>
                  </a:lnTo>
                  <a:lnTo>
                    <a:pt x="2430" y="2351"/>
                  </a:lnTo>
                  <a:lnTo>
                    <a:pt x="2430" y="2353"/>
                  </a:lnTo>
                  <a:lnTo>
                    <a:pt x="2430" y="2353"/>
                  </a:lnTo>
                  <a:lnTo>
                    <a:pt x="2430" y="2351"/>
                  </a:lnTo>
                  <a:lnTo>
                    <a:pt x="2430" y="2351"/>
                  </a:lnTo>
                  <a:lnTo>
                    <a:pt x="2430" y="2351"/>
                  </a:lnTo>
                  <a:lnTo>
                    <a:pt x="2433" y="2349"/>
                  </a:lnTo>
                  <a:lnTo>
                    <a:pt x="2430" y="2349"/>
                  </a:lnTo>
                  <a:lnTo>
                    <a:pt x="2428" y="2349"/>
                  </a:lnTo>
                  <a:lnTo>
                    <a:pt x="2428" y="2346"/>
                  </a:lnTo>
                  <a:lnTo>
                    <a:pt x="2428" y="2346"/>
                  </a:lnTo>
                  <a:lnTo>
                    <a:pt x="2426" y="2344"/>
                  </a:lnTo>
                  <a:lnTo>
                    <a:pt x="2426" y="2344"/>
                  </a:lnTo>
                  <a:lnTo>
                    <a:pt x="2426" y="2342"/>
                  </a:lnTo>
                  <a:lnTo>
                    <a:pt x="2426" y="2339"/>
                  </a:lnTo>
                  <a:lnTo>
                    <a:pt x="2428" y="2337"/>
                  </a:lnTo>
                  <a:lnTo>
                    <a:pt x="2428" y="2337"/>
                  </a:lnTo>
                  <a:lnTo>
                    <a:pt x="2428" y="2334"/>
                  </a:lnTo>
                  <a:lnTo>
                    <a:pt x="2426" y="2334"/>
                  </a:lnTo>
                  <a:lnTo>
                    <a:pt x="2426" y="2332"/>
                  </a:lnTo>
                  <a:lnTo>
                    <a:pt x="2426" y="2332"/>
                  </a:lnTo>
                  <a:lnTo>
                    <a:pt x="2426" y="2332"/>
                  </a:lnTo>
                  <a:lnTo>
                    <a:pt x="2423" y="2332"/>
                  </a:lnTo>
                  <a:lnTo>
                    <a:pt x="2421" y="2332"/>
                  </a:lnTo>
                  <a:lnTo>
                    <a:pt x="2421" y="2334"/>
                  </a:lnTo>
                  <a:lnTo>
                    <a:pt x="2421" y="2334"/>
                  </a:lnTo>
                  <a:lnTo>
                    <a:pt x="2421" y="2334"/>
                  </a:lnTo>
                  <a:lnTo>
                    <a:pt x="2421" y="2334"/>
                  </a:lnTo>
                  <a:lnTo>
                    <a:pt x="2419" y="2334"/>
                  </a:lnTo>
                  <a:lnTo>
                    <a:pt x="2419" y="2334"/>
                  </a:lnTo>
                  <a:lnTo>
                    <a:pt x="2419" y="2334"/>
                  </a:lnTo>
                  <a:lnTo>
                    <a:pt x="2416" y="2334"/>
                  </a:lnTo>
                  <a:lnTo>
                    <a:pt x="2414" y="2337"/>
                  </a:lnTo>
                  <a:lnTo>
                    <a:pt x="2414" y="2339"/>
                  </a:lnTo>
                  <a:lnTo>
                    <a:pt x="2411" y="2339"/>
                  </a:lnTo>
                  <a:lnTo>
                    <a:pt x="2411" y="2337"/>
                  </a:lnTo>
                  <a:lnTo>
                    <a:pt x="2411" y="2337"/>
                  </a:lnTo>
                  <a:lnTo>
                    <a:pt x="2411" y="2337"/>
                  </a:lnTo>
                  <a:lnTo>
                    <a:pt x="2411" y="2337"/>
                  </a:lnTo>
                  <a:lnTo>
                    <a:pt x="2409" y="2337"/>
                  </a:lnTo>
                  <a:lnTo>
                    <a:pt x="2407" y="2339"/>
                  </a:lnTo>
                  <a:lnTo>
                    <a:pt x="2407" y="2337"/>
                  </a:lnTo>
                  <a:lnTo>
                    <a:pt x="2407" y="2337"/>
                  </a:lnTo>
                  <a:lnTo>
                    <a:pt x="2414" y="2330"/>
                  </a:lnTo>
                  <a:lnTo>
                    <a:pt x="2414" y="2327"/>
                  </a:lnTo>
                  <a:lnTo>
                    <a:pt x="2414" y="2327"/>
                  </a:lnTo>
                  <a:lnTo>
                    <a:pt x="2414" y="2327"/>
                  </a:lnTo>
                  <a:lnTo>
                    <a:pt x="2414" y="2325"/>
                  </a:lnTo>
                  <a:lnTo>
                    <a:pt x="2416" y="2325"/>
                  </a:lnTo>
                  <a:lnTo>
                    <a:pt x="2416" y="2323"/>
                  </a:lnTo>
                  <a:lnTo>
                    <a:pt x="2416" y="2323"/>
                  </a:lnTo>
                  <a:lnTo>
                    <a:pt x="2416" y="2323"/>
                  </a:lnTo>
                  <a:lnTo>
                    <a:pt x="2416" y="2320"/>
                  </a:lnTo>
                  <a:lnTo>
                    <a:pt x="2416" y="2320"/>
                  </a:lnTo>
                  <a:lnTo>
                    <a:pt x="2416" y="2320"/>
                  </a:lnTo>
                  <a:lnTo>
                    <a:pt x="2416" y="2318"/>
                  </a:lnTo>
                  <a:lnTo>
                    <a:pt x="2416" y="2318"/>
                  </a:lnTo>
                  <a:lnTo>
                    <a:pt x="2416" y="2318"/>
                  </a:lnTo>
                  <a:lnTo>
                    <a:pt x="2416" y="2318"/>
                  </a:lnTo>
                  <a:lnTo>
                    <a:pt x="2416" y="2318"/>
                  </a:lnTo>
                  <a:lnTo>
                    <a:pt x="2416" y="2318"/>
                  </a:lnTo>
                  <a:lnTo>
                    <a:pt x="2419" y="2318"/>
                  </a:lnTo>
                  <a:lnTo>
                    <a:pt x="2419" y="2320"/>
                  </a:lnTo>
                  <a:lnTo>
                    <a:pt x="2416" y="2315"/>
                  </a:lnTo>
                  <a:lnTo>
                    <a:pt x="2416" y="2313"/>
                  </a:lnTo>
                  <a:lnTo>
                    <a:pt x="2416" y="2313"/>
                  </a:lnTo>
                  <a:lnTo>
                    <a:pt x="2416" y="2313"/>
                  </a:lnTo>
                  <a:lnTo>
                    <a:pt x="2416" y="2313"/>
                  </a:lnTo>
                  <a:lnTo>
                    <a:pt x="2416" y="2315"/>
                  </a:lnTo>
                  <a:lnTo>
                    <a:pt x="2416" y="2313"/>
                  </a:lnTo>
                  <a:lnTo>
                    <a:pt x="2416" y="2313"/>
                  </a:lnTo>
                  <a:lnTo>
                    <a:pt x="2416" y="2311"/>
                  </a:lnTo>
                  <a:lnTo>
                    <a:pt x="2416" y="2311"/>
                  </a:lnTo>
                  <a:lnTo>
                    <a:pt x="2416" y="2311"/>
                  </a:lnTo>
                  <a:lnTo>
                    <a:pt x="2416" y="2311"/>
                  </a:lnTo>
                  <a:lnTo>
                    <a:pt x="2416" y="2308"/>
                  </a:lnTo>
                  <a:lnTo>
                    <a:pt x="2414" y="2308"/>
                  </a:lnTo>
                  <a:lnTo>
                    <a:pt x="2416" y="2308"/>
                  </a:lnTo>
                  <a:lnTo>
                    <a:pt x="2416" y="2308"/>
                  </a:lnTo>
                  <a:lnTo>
                    <a:pt x="2416" y="2308"/>
                  </a:lnTo>
                  <a:lnTo>
                    <a:pt x="2416" y="2306"/>
                  </a:lnTo>
                  <a:lnTo>
                    <a:pt x="2416" y="2306"/>
                  </a:lnTo>
                  <a:lnTo>
                    <a:pt x="2416" y="2304"/>
                  </a:lnTo>
                  <a:lnTo>
                    <a:pt x="2416" y="2304"/>
                  </a:lnTo>
                  <a:lnTo>
                    <a:pt x="2416" y="2304"/>
                  </a:lnTo>
                  <a:lnTo>
                    <a:pt x="2416" y="2304"/>
                  </a:lnTo>
                  <a:lnTo>
                    <a:pt x="2416" y="2304"/>
                  </a:lnTo>
                  <a:lnTo>
                    <a:pt x="2416" y="2301"/>
                  </a:lnTo>
                  <a:lnTo>
                    <a:pt x="2416" y="2301"/>
                  </a:lnTo>
                  <a:lnTo>
                    <a:pt x="2416" y="2301"/>
                  </a:lnTo>
                  <a:lnTo>
                    <a:pt x="2416" y="2301"/>
                  </a:lnTo>
                  <a:lnTo>
                    <a:pt x="2419" y="2301"/>
                  </a:lnTo>
                  <a:lnTo>
                    <a:pt x="2419" y="2301"/>
                  </a:lnTo>
                  <a:lnTo>
                    <a:pt x="2419" y="2301"/>
                  </a:lnTo>
                  <a:lnTo>
                    <a:pt x="2419" y="2299"/>
                  </a:lnTo>
                  <a:lnTo>
                    <a:pt x="2419" y="2299"/>
                  </a:lnTo>
                  <a:lnTo>
                    <a:pt x="2419" y="2297"/>
                  </a:lnTo>
                  <a:lnTo>
                    <a:pt x="2419" y="2297"/>
                  </a:lnTo>
                  <a:lnTo>
                    <a:pt x="2416" y="2297"/>
                  </a:lnTo>
                  <a:lnTo>
                    <a:pt x="2416" y="2297"/>
                  </a:lnTo>
                  <a:lnTo>
                    <a:pt x="2416" y="2297"/>
                  </a:lnTo>
                  <a:lnTo>
                    <a:pt x="2416" y="2299"/>
                  </a:lnTo>
                  <a:lnTo>
                    <a:pt x="2416" y="2299"/>
                  </a:lnTo>
                  <a:lnTo>
                    <a:pt x="2416" y="2299"/>
                  </a:lnTo>
                  <a:lnTo>
                    <a:pt x="2416" y="2299"/>
                  </a:lnTo>
                  <a:lnTo>
                    <a:pt x="2416" y="2299"/>
                  </a:lnTo>
                  <a:lnTo>
                    <a:pt x="2416" y="2299"/>
                  </a:lnTo>
                  <a:lnTo>
                    <a:pt x="2416" y="2299"/>
                  </a:lnTo>
                  <a:lnTo>
                    <a:pt x="2416" y="2299"/>
                  </a:lnTo>
                  <a:lnTo>
                    <a:pt x="2416" y="2299"/>
                  </a:lnTo>
                  <a:lnTo>
                    <a:pt x="2416" y="2299"/>
                  </a:lnTo>
                  <a:lnTo>
                    <a:pt x="2416" y="2299"/>
                  </a:lnTo>
                  <a:lnTo>
                    <a:pt x="2414" y="2299"/>
                  </a:lnTo>
                  <a:lnTo>
                    <a:pt x="2414" y="2299"/>
                  </a:lnTo>
                  <a:lnTo>
                    <a:pt x="2414" y="2299"/>
                  </a:lnTo>
                  <a:lnTo>
                    <a:pt x="2414" y="2299"/>
                  </a:lnTo>
                  <a:lnTo>
                    <a:pt x="2414" y="2299"/>
                  </a:lnTo>
                  <a:lnTo>
                    <a:pt x="2414" y="2297"/>
                  </a:lnTo>
                  <a:lnTo>
                    <a:pt x="2414" y="2297"/>
                  </a:lnTo>
                  <a:lnTo>
                    <a:pt x="2414" y="2297"/>
                  </a:lnTo>
                  <a:lnTo>
                    <a:pt x="2414" y="2294"/>
                  </a:lnTo>
                  <a:lnTo>
                    <a:pt x="2411" y="2297"/>
                  </a:lnTo>
                  <a:lnTo>
                    <a:pt x="2411" y="2297"/>
                  </a:lnTo>
                  <a:lnTo>
                    <a:pt x="2407" y="2299"/>
                  </a:lnTo>
                  <a:lnTo>
                    <a:pt x="2407" y="2299"/>
                  </a:lnTo>
                  <a:lnTo>
                    <a:pt x="2407" y="2299"/>
                  </a:lnTo>
                  <a:lnTo>
                    <a:pt x="2404" y="2299"/>
                  </a:lnTo>
                  <a:lnTo>
                    <a:pt x="2404" y="2299"/>
                  </a:lnTo>
                  <a:lnTo>
                    <a:pt x="2407" y="2297"/>
                  </a:lnTo>
                  <a:lnTo>
                    <a:pt x="2407" y="2297"/>
                  </a:lnTo>
                  <a:lnTo>
                    <a:pt x="2400" y="2299"/>
                  </a:lnTo>
                  <a:lnTo>
                    <a:pt x="2397" y="2301"/>
                  </a:lnTo>
                  <a:lnTo>
                    <a:pt x="2395" y="2304"/>
                  </a:lnTo>
                  <a:lnTo>
                    <a:pt x="2395" y="2308"/>
                  </a:lnTo>
                  <a:lnTo>
                    <a:pt x="2393" y="2308"/>
                  </a:lnTo>
                  <a:lnTo>
                    <a:pt x="2393" y="2311"/>
                  </a:lnTo>
                  <a:lnTo>
                    <a:pt x="2390" y="2311"/>
                  </a:lnTo>
                  <a:lnTo>
                    <a:pt x="2390" y="2311"/>
                  </a:lnTo>
                  <a:lnTo>
                    <a:pt x="2390" y="2313"/>
                  </a:lnTo>
                  <a:lnTo>
                    <a:pt x="2388" y="2313"/>
                  </a:lnTo>
                  <a:lnTo>
                    <a:pt x="2388" y="2313"/>
                  </a:lnTo>
                  <a:lnTo>
                    <a:pt x="2388" y="2313"/>
                  </a:lnTo>
                  <a:lnTo>
                    <a:pt x="2388" y="2313"/>
                  </a:lnTo>
                  <a:lnTo>
                    <a:pt x="2388" y="2313"/>
                  </a:lnTo>
                  <a:lnTo>
                    <a:pt x="2388" y="2313"/>
                  </a:lnTo>
                  <a:lnTo>
                    <a:pt x="2388" y="2311"/>
                  </a:lnTo>
                  <a:lnTo>
                    <a:pt x="2385" y="2311"/>
                  </a:lnTo>
                  <a:lnTo>
                    <a:pt x="2385" y="2311"/>
                  </a:lnTo>
                  <a:lnTo>
                    <a:pt x="2385" y="2308"/>
                  </a:lnTo>
                  <a:lnTo>
                    <a:pt x="2381" y="2304"/>
                  </a:lnTo>
                  <a:lnTo>
                    <a:pt x="2381" y="2301"/>
                  </a:lnTo>
                  <a:lnTo>
                    <a:pt x="2378" y="2301"/>
                  </a:lnTo>
                  <a:lnTo>
                    <a:pt x="2376" y="2301"/>
                  </a:lnTo>
                  <a:lnTo>
                    <a:pt x="2371" y="2304"/>
                  </a:lnTo>
                  <a:lnTo>
                    <a:pt x="2364" y="2301"/>
                  </a:lnTo>
                  <a:lnTo>
                    <a:pt x="2364" y="2301"/>
                  </a:lnTo>
                  <a:lnTo>
                    <a:pt x="2362" y="2301"/>
                  </a:lnTo>
                  <a:lnTo>
                    <a:pt x="2362" y="2301"/>
                  </a:lnTo>
                  <a:lnTo>
                    <a:pt x="2362" y="2301"/>
                  </a:lnTo>
                  <a:lnTo>
                    <a:pt x="2362" y="2301"/>
                  </a:lnTo>
                  <a:lnTo>
                    <a:pt x="2362" y="2301"/>
                  </a:lnTo>
                  <a:lnTo>
                    <a:pt x="2359" y="2301"/>
                  </a:lnTo>
                  <a:lnTo>
                    <a:pt x="2359" y="2301"/>
                  </a:lnTo>
                  <a:lnTo>
                    <a:pt x="2357" y="2301"/>
                  </a:lnTo>
                  <a:lnTo>
                    <a:pt x="2357" y="2301"/>
                  </a:lnTo>
                  <a:lnTo>
                    <a:pt x="2357" y="2299"/>
                  </a:lnTo>
                  <a:lnTo>
                    <a:pt x="2355" y="2299"/>
                  </a:lnTo>
                  <a:lnTo>
                    <a:pt x="2350" y="2304"/>
                  </a:lnTo>
                  <a:lnTo>
                    <a:pt x="2350" y="2304"/>
                  </a:lnTo>
                  <a:lnTo>
                    <a:pt x="2350" y="2306"/>
                  </a:lnTo>
                  <a:lnTo>
                    <a:pt x="2348" y="2306"/>
                  </a:lnTo>
                  <a:lnTo>
                    <a:pt x="2345" y="2308"/>
                  </a:lnTo>
                  <a:lnTo>
                    <a:pt x="2345" y="2308"/>
                  </a:lnTo>
                  <a:lnTo>
                    <a:pt x="2343" y="2308"/>
                  </a:lnTo>
                  <a:lnTo>
                    <a:pt x="2343" y="2308"/>
                  </a:lnTo>
                  <a:lnTo>
                    <a:pt x="2343" y="2308"/>
                  </a:lnTo>
                  <a:lnTo>
                    <a:pt x="2341" y="2308"/>
                  </a:lnTo>
                  <a:lnTo>
                    <a:pt x="2341" y="2308"/>
                  </a:lnTo>
                  <a:lnTo>
                    <a:pt x="2343" y="2308"/>
                  </a:lnTo>
                  <a:lnTo>
                    <a:pt x="2343" y="2308"/>
                  </a:lnTo>
                  <a:lnTo>
                    <a:pt x="2343" y="2306"/>
                  </a:lnTo>
                  <a:lnTo>
                    <a:pt x="2343" y="2306"/>
                  </a:lnTo>
                  <a:lnTo>
                    <a:pt x="2345" y="2306"/>
                  </a:lnTo>
                  <a:lnTo>
                    <a:pt x="2345" y="2306"/>
                  </a:lnTo>
                  <a:lnTo>
                    <a:pt x="2348" y="2304"/>
                  </a:lnTo>
                  <a:lnTo>
                    <a:pt x="2348" y="2304"/>
                  </a:lnTo>
                  <a:lnTo>
                    <a:pt x="2348" y="2304"/>
                  </a:lnTo>
                  <a:lnTo>
                    <a:pt x="2348" y="2304"/>
                  </a:lnTo>
                  <a:lnTo>
                    <a:pt x="2348" y="2304"/>
                  </a:lnTo>
                  <a:lnTo>
                    <a:pt x="2348" y="2304"/>
                  </a:lnTo>
                  <a:lnTo>
                    <a:pt x="2350" y="2304"/>
                  </a:lnTo>
                  <a:lnTo>
                    <a:pt x="2350" y="2301"/>
                  </a:lnTo>
                  <a:lnTo>
                    <a:pt x="2350" y="2301"/>
                  </a:lnTo>
                  <a:lnTo>
                    <a:pt x="2350" y="2301"/>
                  </a:lnTo>
                  <a:lnTo>
                    <a:pt x="2350" y="2299"/>
                  </a:lnTo>
                  <a:lnTo>
                    <a:pt x="2352" y="2299"/>
                  </a:lnTo>
                  <a:lnTo>
                    <a:pt x="2355" y="2297"/>
                  </a:lnTo>
                  <a:lnTo>
                    <a:pt x="2357" y="2297"/>
                  </a:lnTo>
                  <a:lnTo>
                    <a:pt x="2357" y="2297"/>
                  </a:lnTo>
                  <a:lnTo>
                    <a:pt x="2357" y="2297"/>
                  </a:lnTo>
                  <a:lnTo>
                    <a:pt x="2357" y="2299"/>
                  </a:lnTo>
                  <a:lnTo>
                    <a:pt x="2357" y="2299"/>
                  </a:lnTo>
                  <a:lnTo>
                    <a:pt x="2357" y="2299"/>
                  </a:lnTo>
                  <a:lnTo>
                    <a:pt x="2357" y="2299"/>
                  </a:lnTo>
                  <a:lnTo>
                    <a:pt x="2357" y="2299"/>
                  </a:lnTo>
                  <a:lnTo>
                    <a:pt x="2359" y="2299"/>
                  </a:lnTo>
                  <a:lnTo>
                    <a:pt x="2359" y="2299"/>
                  </a:lnTo>
                  <a:lnTo>
                    <a:pt x="2359" y="2299"/>
                  </a:lnTo>
                  <a:lnTo>
                    <a:pt x="2359" y="2299"/>
                  </a:lnTo>
                  <a:lnTo>
                    <a:pt x="2359" y="2299"/>
                  </a:lnTo>
                  <a:lnTo>
                    <a:pt x="2359" y="2299"/>
                  </a:lnTo>
                  <a:lnTo>
                    <a:pt x="2359" y="2297"/>
                  </a:lnTo>
                  <a:lnTo>
                    <a:pt x="2359" y="2297"/>
                  </a:lnTo>
                  <a:lnTo>
                    <a:pt x="2359" y="2297"/>
                  </a:lnTo>
                  <a:lnTo>
                    <a:pt x="2359" y="2297"/>
                  </a:lnTo>
                  <a:lnTo>
                    <a:pt x="2359" y="2297"/>
                  </a:lnTo>
                  <a:lnTo>
                    <a:pt x="2359" y="2297"/>
                  </a:lnTo>
                  <a:lnTo>
                    <a:pt x="2362" y="2294"/>
                  </a:lnTo>
                  <a:lnTo>
                    <a:pt x="2367" y="2294"/>
                  </a:lnTo>
                  <a:lnTo>
                    <a:pt x="2367" y="2294"/>
                  </a:lnTo>
                  <a:lnTo>
                    <a:pt x="2367" y="2294"/>
                  </a:lnTo>
                  <a:lnTo>
                    <a:pt x="2369" y="2289"/>
                  </a:lnTo>
                  <a:lnTo>
                    <a:pt x="2369" y="2289"/>
                  </a:lnTo>
                  <a:lnTo>
                    <a:pt x="2369" y="2289"/>
                  </a:lnTo>
                  <a:lnTo>
                    <a:pt x="2369" y="2287"/>
                  </a:lnTo>
                  <a:lnTo>
                    <a:pt x="2369" y="2287"/>
                  </a:lnTo>
                  <a:lnTo>
                    <a:pt x="2369" y="2287"/>
                  </a:lnTo>
                  <a:lnTo>
                    <a:pt x="2369" y="2287"/>
                  </a:lnTo>
                  <a:lnTo>
                    <a:pt x="2371" y="2287"/>
                  </a:lnTo>
                  <a:lnTo>
                    <a:pt x="2371" y="2289"/>
                  </a:lnTo>
                  <a:lnTo>
                    <a:pt x="2371" y="2289"/>
                  </a:lnTo>
                  <a:lnTo>
                    <a:pt x="2371" y="2289"/>
                  </a:lnTo>
                  <a:lnTo>
                    <a:pt x="2374" y="2289"/>
                  </a:lnTo>
                  <a:lnTo>
                    <a:pt x="2376" y="2292"/>
                  </a:lnTo>
                  <a:lnTo>
                    <a:pt x="2381" y="2289"/>
                  </a:lnTo>
                  <a:lnTo>
                    <a:pt x="2383" y="2292"/>
                  </a:lnTo>
                  <a:lnTo>
                    <a:pt x="2385" y="2292"/>
                  </a:lnTo>
                  <a:lnTo>
                    <a:pt x="2385" y="2292"/>
                  </a:lnTo>
                  <a:lnTo>
                    <a:pt x="2385" y="2292"/>
                  </a:lnTo>
                  <a:lnTo>
                    <a:pt x="2388" y="2292"/>
                  </a:lnTo>
                  <a:lnTo>
                    <a:pt x="2388" y="2292"/>
                  </a:lnTo>
                  <a:lnTo>
                    <a:pt x="2388" y="2292"/>
                  </a:lnTo>
                  <a:lnTo>
                    <a:pt x="2388" y="2292"/>
                  </a:lnTo>
                  <a:lnTo>
                    <a:pt x="2390" y="2292"/>
                  </a:lnTo>
                  <a:lnTo>
                    <a:pt x="2390" y="2292"/>
                  </a:lnTo>
                  <a:lnTo>
                    <a:pt x="2390" y="2292"/>
                  </a:lnTo>
                  <a:lnTo>
                    <a:pt x="2395" y="2289"/>
                  </a:lnTo>
                  <a:lnTo>
                    <a:pt x="2397" y="2287"/>
                  </a:lnTo>
                  <a:lnTo>
                    <a:pt x="2400" y="2282"/>
                  </a:lnTo>
                  <a:lnTo>
                    <a:pt x="2402" y="2282"/>
                  </a:lnTo>
                  <a:lnTo>
                    <a:pt x="2404" y="2280"/>
                  </a:lnTo>
                  <a:lnTo>
                    <a:pt x="2402" y="2280"/>
                  </a:lnTo>
                  <a:lnTo>
                    <a:pt x="2402" y="2278"/>
                  </a:lnTo>
                  <a:lnTo>
                    <a:pt x="2402" y="2278"/>
                  </a:lnTo>
                  <a:lnTo>
                    <a:pt x="2402" y="2278"/>
                  </a:lnTo>
                  <a:lnTo>
                    <a:pt x="2402" y="2278"/>
                  </a:lnTo>
                  <a:lnTo>
                    <a:pt x="2402" y="2278"/>
                  </a:lnTo>
                  <a:lnTo>
                    <a:pt x="2404" y="2278"/>
                  </a:lnTo>
                  <a:lnTo>
                    <a:pt x="2404" y="2278"/>
                  </a:lnTo>
                  <a:lnTo>
                    <a:pt x="2409" y="2275"/>
                  </a:lnTo>
                  <a:lnTo>
                    <a:pt x="2409" y="2275"/>
                  </a:lnTo>
                  <a:lnTo>
                    <a:pt x="2409" y="2273"/>
                  </a:lnTo>
                  <a:lnTo>
                    <a:pt x="2409" y="2271"/>
                  </a:lnTo>
                  <a:lnTo>
                    <a:pt x="2409" y="2271"/>
                  </a:lnTo>
                  <a:lnTo>
                    <a:pt x="2409" y="2271"/>
                  </a:lnTo>
                  <a:lnTo>
                    <a:pt x="2409" y="2271"/>
                  </a:lnTo>
                  <a:lnTo>
                    <a:pt x="2409" y="2271"/>
                  </a:lnTo>
                  <a:lnTo>
                    <a:pt x="2409" y="2271"/>
                  </a:lnTo>
                  <a:lnTo>
                    <a:pt x="2409" y="2268"/>
                  </a:lnTo>
                  <a:lnTo>
                    <a:pt x="2409" y="2268"/>
                  </a:lnTo>
                  <a:lnTo>
                    <a:pt x="2409" y="2268"/>
                  </a:lnTo>
                  <a:lnTo>
                    <a:pt x="2409" y="2268"/>
                  </a:lnTo>
                  <a:lnTo>
                    <a:pt x="2407" y="2268"/>
                  </a:lnTo>
                  <a:lnTo>
                    <a:pt x="2409" y="2268"/>
                  </a:lnTo>
                  <a:lnTo>
                    <a:pt x="2409" y="2268"/>
                  </a:lnTo>
                  <a:lnTo>
                    <a:pt x="2409" y="2266"/>
                  </a:lnTo>
                  <a:lnTo>
                    <a:pt x="2414" y="2263"/>
                  </a:lnTo>
                  <a:lnTo>
                    <a:pt x="2414" y="2263"/>
                  </a:lnTo>
                  <a:lnTo>
                    <a:pt x="2416" y="2261"/>
                  </a:lnTo>
                  <a:lnTo>
                    <a:pt x="2419" y="2261"/>
                  </a:lnTo>
                  <a:lnTo>
                    <a:pt x="2419" y="2259"/>
                  </a:lnTo>
                  <a:lnTo>
                    <a:pt x="2421" y="2259"/>
                  </a:lnTo>
                  <a:lnTo>
                    <a:pt x="2419" y="2259"/>
                  </a:lnTo>
                  <a:lnTo>
                    <a:pt x="2419" y="2256"/>
                  </a:lnTo>
                  <a:lnTo>
                    <a:pt x="2419" y="2256"/>
                  </a:lnTo>
                  <a:lnTo>
                    <a:pt x="2421" y="2256"/>
                  </a:lnTo>
                  <a:lnTo>
                    <a:pt x="2421" y="2256"/>
                  </a:lnTo>
                  <a:lnTo>
                    <a:pt x="2421" y="2254"/>
                  </a:lnTo>
                  <a:lnTo>
                    <a:pt x="2421" y="2254"/>
                  </a:lnTo>
                  <a:lnTo>
                    <a:pt x="2421" y="2254"/>
                  </a:lnTo>
                  <a:lnTo>
                    <a:pt x="2423" y="2254"/>
                  </a:lnTo>
                  <a:lnTo>
                    <a:pt x="2423" y="2252"/>
                  </a:lnTo>
                  <a:lnTo>
                    <a:pt x="2423" y="2252"/>
                  </a:lnTo>
                  <a:lnTo>
                    <a:pt x="2421" y="2252"/>
                  </a:lnTo>
                  <a:lnTo>
                    <a:pt x="2421" y="2252"/>
                  </a:lnTo>
                  <a:lnTo>
                    <a:pt x="2421" y="2252"/>
                  </a:lnTo>
                  <a:lnTo>
                    <a:pt x="2419" y="2252"/>
                  </a:lnTo>
                  <a:lnTo>
                    <a:pt x="2419" y="2252"/>
                  </a:lnTo>
                  <a:lnTo>
                    <a:pt x="2419" y="2249"/>
                  </a:lnTo>
                  <a:lnTo>
                    <a:pt x="2419" y="2249"/>
                  </a:lnTo>
                  <a:lnTo>
                    <a:pt x="2419" y="2247"/>
                  </a:lnTo>
                  <a:lnTo>
                    <a:pt x="2421" y="2247"/>
                  </a:lnTo>
                  <a:lnTo>
                    <a:pt x="2421" y="2247"/>
                  </a:lnTo>
                  <a:lnTo>
                    <a:pt x="2421" y="2247"/>
                  </a:lnTo>
                  <a:lnTo>
                    <a:pt x="2421" y="2247"/>
                  </a:lnTo>
                  <a:lnTo>
                    <a:pt x="2419" y="2245"/>
                  </a:lnTo>
                  <a:lnTo>
                    <a:pt x="2419" y="2245"/>
                  </a:lnTo>
                  <a:lnTo>
                    <a:pt x="2419" y="2245"/>
                  </a:lnTo>
                  <a:lnTo>
                    <a:pt x="2416" y="2242"/>
                  </a:lnTo>
                  <a:lnTo>
                    <a:pt x="2414" y="2242"/>
                  </a:lnTo>
                  <a:lnTo>
                    <a:pt x="2414" y="2242"/>
                  </a:lnTo>
                  <a:lnTo>
                    <a:pt x="2411" y="2242"/>
                  </a:lnTo>
                  <a:lnTo>
                    <a:pt x="2411" y="2242"/>
                  </a:lnTo>
                  <a:lnTo>
                    <a:pt x="2411" y="2242"/>
                  </a:lnTo>
                  <a:lnTo>
                    <a:pt x="2411" y="2242"/>
                  </a:lnTo>
                  <a:lnTo>
                    <a:pt x="2411" y="2242"/>
                  </a:lnTo>
                  <a:lnTo>
                    <a:pt x="2409" y="2242"/>
                  </a:lnTo>
                  <a:lnTo>
                    <a:pt x="2411" y="2242"/>
                  </a:lnTo>
                  <a:lnTo>
                    <a:pt x="2411" y="2242"/>
                  </a:lnTo>
                  <a:lnTo>
                    <a:pt x="2411" y="2242"/>
                  </a:lnTo>
                  <a:lnTo>
                    <a:pt x="2411" y="2242"/>
                  </a:lnTo>
                  <a:lnTo>
                    <a:pt x="2411" y="2240"/>
                  </a:lnTo>
                  <a:lnTo>
                    <a:pt x="2411" y="2240"/>
                  </a:lnTo>
                  <a:lnTo>
                    <a:pt x="2411" y="2240"/>
                  </a:lnTo>
                  <a:lnTo>
                    <a:pt x="2411" y="2240"/>
                  </a:lnTo>
                  <a:lnTo>
                    <a:pt x="2409" y="2240"/>
                  </a:lnTo>
                  <a:lnTo>
                    <a:pt x="2409" y="2240"/>
                  </a:lnTo>
                  <a:lnTo>
                    <a:pt x="2407" y="2242"/>
                  </a:lnTo>
                  <a:lnTo>
                    <a:pt x="2407" y="2242"/>
                  </a:lnTo>
                  <a:lnTo>
                    <a:pt x="2407" y="2242"/>
                  </a:lnTo>
                  <a:lnTo>
                    <a:pt x="2407" y="2240"/>
                  </a:lnTo>
                  <a:lnTo>
                    <a:pt x="2407" y="2240"/>
                  </a:lnTo>
                  <a:lnTo>
                    <a:pt x="2404" y="2240"/>
                  </a:lnTo>
                  <a:lnTo>
                    <a:pt x="2404" y="2237"/>
                  </a:lnTo>
                  <a:lnTo>
                    <a:pt x="2404" y="2237"/>
                  </a:lnTo>
                  <a:lnTo>
                    <a:pt x="2414" y="2237"/>
                  </a:lnTo>
                  <a:lnTo>
                    <a:pt x="2416" y="2240"/>
                  </a:lnTo>
                  <a:lnTo>
                    <a:pt x="2416" y="2240"/>
                  </a:lnTo>
                  <a:lnTo>
                    <a:pt x="2416" y="2240"/>
                  </a:lnTo>
                  <a:lnTo>
                    <a:pt x="2419" y="2240"/>
                  </a:lnTo>
                  <a:lnTo>
                    <a:pt x="2419" y="2240"/>
                  </a:lnTo>
                  <a:lnTo>
                    <a:pt x="2419" y="2240"/>
                  </a:lnTo>
                  <a:lnTo>
                    <a:pt x="2419" y="2240"/>
                  </a:lnTo>
                  <a:lnTo>
                    <a:pt x="2419" y="2240"/>
                  </a:lnTo>
                  <a:lnTo>
                    <a:pt x="2416" y="2237"/>
                  </a:lnTo>
                  <a:lnTo>
                    <a:pt x="2416" y="2235"/>
                  </a:lnTo>
                  <a:lnTo>
                    <a:pt x="2416" y="2235"/>
                  </a:lnTo>
                  <a:lnTo>
                    <a:pt x="2411" y="2233"/>
                  </a:lnTo>
                  <a:lnTo>
                    <a:pt x="2411" y="2233"/>
                  </a:lnTo>
                  <a:lnTo>
                    <a:pt x="2411" y="2233"/>
                  </a:lnTo>
                  <a:lnTo>
                    <a:pt x="2411" y="2233"/>
                  </a:lnTo>
                  <a:lnTo>
                    <a:pt x="2411" y="2233"/>
                  </a:lnTo>
                  <a:lnTo>
                    <a:pt x="2409" y="2233"/>
                  </a:lnTo>
                  <a:lnTo>
                    <a:pt x="2409" y="2230"/>
                  </a:lnTo>
                  <a:lnTo>
                    <a:pt x="2409" y="2230"/>
                  </a:lnTo>
                  <a:lnTo>
                    <a:pt x="2407" y="2230"/>
                  </a:lnTo>
                  <a:lnTo>
                    <a:pt x="2407" y="2230"/>
                  </a:lnTo>
                  <a:lnTo>
                    <a:pt x="2404" y="2230"/>
                  </a:lnTo>
                  <a:lnTo>
                    <a:pt x="2404" y="2228"/>
                  </a:lnTo>
                  <a:lnTo>
                    <a:pt x="2404" y="2228"/>
                  </a:lnTo>
                  <a:lnTo>
                    <a:pt x="2404" y="2228"/>
                  </a:lnTo>
                  <a:lnTo>
                    <a:pt x="2402" y="2228"/>
                  </a:lnTo>
                  <a:lnTo>
                    <a:pt x="2400" y="2228"/>
                  </a:lnTo>
                  <a:lnTo>
                    <a:pt x="2400" y="2228"/>
                  </a:lnTo>
                  <a:lnTo>
                    <a:pt x="2400" y="2228"/>
                  </a:lnTo>
                  <a:lnTo>
                    <a:pt x="2397" y="2228"/>
                  </a:lnTo>
                  <a:lnTo>
                    <a:pt x="2395" y="2228"/>
                  </a:lnTo>
                  <a:lnTo>
                    <a:pt x="2395" y="2228"/>
                  </a:lnTo>
                  <a:lnTo>
                    <a:pt x="2393" y="2228"/>
                  </a:lnTo>
                  <a:lnTo>
                    <a:pt x="2390" y="2226"/>
                  </a:lnTo>
                  <a:lnTo>
                    <a:pt x="2390" y="2226"/>
                  </a:lnTo>
                  <a:lnTo>
                    <a:pt x="2388" y="2226"/>
                  </a:lnTo>
                  <a:lnTo>
                    <a:pt x="2385" y="2226"/>
                  </a:lnTo>
                  <a:lnTo>
                    <a:pt x="2376" y="2228"/>
                  </a:lnTo>
                  <a:lnTo>
                    <a:pt x="2374" y="2228"/>
                  </a:lnTo>
                  <a:lnTo>
                    <a:pt x="2369" y="2228"/>
                  </a:lnTo>
                  <a:lnTo>
                    <a:pt x="2364" y="2230"/>
                  </a:lnTo>
                  <a:lnTo>
                    <a:pt x="2362" y="2230"/>
                  </a:lnTo>
                  <a:lnTo>
                    <a:pt x="2362" y="2233"/>
                  </a:lnTo>
                  <a:lnTo>
                    <a:pt x="2355" y="2235"/>
                  </a:lnTo>
                  <a:lnTo>
                    <a:pt x="2348" y="2237"/>
                  </a:lnTo>
                  <a:lnTo>
                    <a:pt x="2343" y="2240"/>
                  </a:lnTo>
                  <a:lnTo>
                    <a:pt x="2333" y="2247"/>
                  </a:lnTo>
                  <a:lnTo>
                    <a:pt x="2331" y="2249"/>
                  </a:lnTo>
                  <a:lnTo>
                    <a:pt x="2324" y="2254"/>
                  </a:lnTo>
                  <a:lnTo>
                    <a:pt x="2317" y="2261"/>
                  </a:lnTo>
                  <a:lnTo>
                    <a:pt x="2312" y="2266"/>
                  </a:lnTo>
                  <a:lnTo>
                    <a:pt x="2310" y="2268"/>
                  </a:lnTo>
                  <a:lnTo>
                    <a:pt x="2307" y="2271"/>
                  </a:lnTo>
                  <a:lnTo>
                    <a:pt x="2305" y="2271"/>
                  </a:lnTo>
                  <a:lnTo>
                    <a:pt x="2303" y="2273"/>
                  </a:lnTo>
                  <a:lnTo>
                    <a:pt x="2300" y="2275"/>
                  </a:lnTo>
                  <a:lnTo>
                    <a:pt x="2300" y="2275"/>
                  </a:lnTo>
                  <a:lnTo>
                    <a:pt x="2300" y="2275"/>
                  </a:lnTo>
                  <a:lnTo>
                    <a:pt x="2300" y="2278"/>
                  </a:lnTo>
                  <a:lnTo>
                    <a:pt x="2293" y="2285"/>
                  </a:lnTo>
                  <a:lnTo>
                    <a:pt x="2293" y="2285"/>
                  </a:lnTo>
                  <a:lnTo>
                    <a:pt x="2291" y="2285"/>
                  </a:lnTo>
                  <a:lnTo>
                    <a:pt x="2288" y="2285"/>
                  </a:lnTo>
                  <a:lnTo>
                    <a:pt x="2288" y="2285"/>
                  </a:lnTo>
                  <a:lnTo>
                    <a:pt x="2288" y="2287"/>
                  </a:lnTo>
                  <a:lnTo>
                    <a:pt x="2288" y="2287"/>
                  </a:lnTo>
                  <a:lnTo>
                    <a:pt x="2286" y="2289"/>
                  </a:lnTo>
                  <a:lnTo>
                    <a:pt x="2286" y="2289"/>
                  </a:lnTo>
                  <a:lnTo>
                    <a:pt x="2284" y="2294"/>
                  </a:lnTo>
                  <a:lnTo>
                    <a:pt x="2281" y="2294"/>
                  </a:lnTo>
                  <a:lnTo>
                    <a:pt x="2281" y="2297"/>
                  </a:lnTo>
                  <a:lnTo>
                    <a:pt x="2279" y="2297"/>
                  </a:lnTo>
                  <a:lnTo>
                    <a:pt x="2279" y="2297"/>
                  </a:lnTo>
                  <a:lnTo>
                    <a:pt x="2277" y="2301"/>
                  </a:lnTo>
                  <a:lnTo>
                    <a:pt x="2277" y="2304"/>
                  </a:lnTo>
                  <a:lnTo>
                    <a:pt x="2274" y="2304"/>
                  </a:lnTo>
                  <a:lnTo>
                    <a:pt x="2274" y="2306"/>
                  </a:lnTo>
                  <a:lnTo>
                    <a:pt x="2274" y="2306"/>
                  </a:lnTo>
                  <a:lnTo>
                    <a:pt x="2272" y="2308"/>
                  </a:lnTo>
                  <a:lnTo>
                    <a:pt x="2272" y="2308"/>
                  </a:lnTo>
                  <a:lnTo>
                    <a:pt x="2270" y="2308"/>
                  </a:lnTo>
                  <a:lnTo>
                    <a:pt x="2270" y="2308"/>
                  </a:lnTo>
                  <a:lnTo>
                    <a:pt x="2267" y="2311"/>
                  </a:lnTo>
                  <a:lnTo>
                    <a:pt x="2265" y="2315"/>
                  </a:lnTo>
                  <a:lnTo>
                    <a:pt x="2262" y="2318"/>
                  </a:lnTo>
                  <a:lnTo>
                    <a:pt x="2260" y="2325"/>
                  </a:lnTo>
                  <a:lnTo>
                    <a:pt x="2258" y="2327"/>
                  </a:lnTo>
                  <a:lnTo>
                    <a:pt x="2255" y="2332"/>
                  </a:lnTo>
                  <a:lnTo>
                    <a:pt x="2255" y="2332"/>
                  </a:lnTo>
                  <a:lnTo>
                    <a:pt x="2255" y="2332"/>
                  </a:lnTo>
                  <a:lnTo>
                    <a:pt x="2253" y="2334"/>
                  </a:lnTo>
                  <a:lnTo>
                    <a:pt x="2253" y="2334"/>
                  </a:lnTo>
                  <a:lnTo>
                    <a:pt x="2253" y="2334"/>
                  </a:lnTo>
                  <a:lnTo>
                    <a:pt x="2251" y="2342"/>
                  </a:lnTo>
                  <a:lnTo>
                    <a:pt x="2251" y="2342"/>
                  </a:lnTo>
                  <a:lnTo>
                    <a:pt x="2251" y="2342"/>
                  </a:lnTo>
                  <a:lnTo>
                    <a:pt x="2251" y="2344"/>
                  </a:lnTo>
                  <a:lnTo>
                    <a:pt x="2251" y="2344"/>
                  </a:lnTo>
                  <a:lnTo>
                    <a:pt x="2251" y="2344"/>
                  </a:lnTo>
                  <a:lnTo>
                    <a:pt x="2251" y="2344"/>
                  </a:lnTo>
                  <a:lnTo>
                    <a:pt x="2251" y="2346"/>
                  </a:lnTo>
                  <a:lnTo>
                    <a:pt x="2248" y="2351"/>
                  </a:lnTo>
                  <a:lnTo>
                    <a:pt x="2246" y="2358"/>
                  </a:lnTo>
                  <a:lnTo>
                    <a:pt x="2243" y="2363"/>
                  </a:lnTo>
                  <a:lnTo>
                    <a:pt x="2243" y="2363"/>
                  </a:lnTo>
                  <a:lnTo>
                    <a:pt x="2243" y="2363"/>
                  </a:lnTo>
                  <a:lnTo>
                    <a:pt x="2241" y="2363"/>
                  </a:lnTo>
                  <a:lnTo>
                    <a:pt x="2241" y="2365"/>
                  </a:lnTo>
                  <a:lnTo>
                    <a:pt x="2241" y="2365"/>
                  </a:lnTo>
                  <a:lnTo>
                    <a:pt x="2241" y="2365"/>
                  </a:lnTo>
                  <a:lnTo>
                    <a:pt x="2241" y="2365"/>
                  </a:lnTo>
                  <a:lnTo>
                    <a:pt x="2241" y="2368"/>
                  </a:lnTo>
                  <a:lnTo>
                    <a:pt x="2241" y="2370"/>
                  </a:lnTo>
                  <a:lnTo>
                    <a:pt x="2241" y="2372"/>
                  </a:lnTo>
                  <a:lnTo>
                    <a:pt x="2236" y="2377"/>
                  </a:lnTo>
                  <a:lnTo>
                    <a:pt x="2236" y="2379"/>
                  </a:lnTo>
                  <a:lnTo>
                    <a:pt x="2234" y="2382"/>
                  </a:lnTo>
                  <a:lnTo>
                    <a:pt x="2232" y="2389"/>
                  </a:lnTo>
                  <a:lnTo>
                    <a:pt x="2229" y="2396"/>
                  </a:lnTo>
                  <a:lnTo>
                    <a:pt x="2229" y="2396"/>
                  </a:lnTo>
                  <a:lnTo>
                    <a:pt x="2227" y="2396"/>
                  </a:lnTo>
                  <a:lnTo>
                    <a:pt x="2222" y="2401"/>
                  </a:lnTo>
                  <a:lnTo>
                    <a:pt x="2222" y="2401"/>
                  </a:lnTo>
                  <a:lnTo>
                    <a:pt x="2222" y="2403"/>
                  </a:lnTo>
                  <a:lnTo>
                    <a:pt x="2222" y="2403"/>
                  </a:lnTo>
                  <a:lnTo>
                    <a:pt x="2222" y="2403"/>
                  </a:lnTo>
                  <a:lnTo>
                    <a:pt x="2220" y="2403"/>
                  </a:lnTo>
                  <a:lnTo>
                    <a:pt x="2220" y="2403"/>
                  </a:lnTo>
                  <a:lnTo>
                    <a:pt x="2220" y="2403"/>
                  </a:lnTo>
                  <a:lnTo>
                    <a:pt x="2220" y="2403"/>
                  </a:lnTo>
                  <a:lnTo>
                    <a:pt x="2220" y="2403"/>
                  </a:lnTo>
                  <a:lnTo>
                    <a:pt x="2220" y="2403"/>
                  </a:lnTo>
                  <a:lnTo>
                    <a:pt x="2217" y="2403"/>
                  </a:lnTo>
                  <a:lnTo>
                    <a:pt x="2217" y="2403"/>
                  </a:lnTo>
                  <a:lnTo>
                    <a:pt x="2217" y="2405"/>
                  </a:lnTo>
                  <a:lnTo>
                    <a:pt x="2215" y="2408"/>
                  </a:lnTo>
                  <a:lnTo>
                    <a:pt x="2215" y="2408"/>
                  </a:lnTo>
                  <a:lnTo>
                    <a:pt x="2210" y="2408"/>
                  </a:lnTo>
                  <a:lnTo>
                    <a:pt x="2210" y="2410"/>
                  </a:lnTo>
                  <a:lnTo>
                    <a:pt x="2210" y="2410"/>
                  </a:lnTo>
                  <a:lnTo>
                    <a:pt x="2208" y="2412"/>
                  </a:lnTo>
                  <a:lnTo>
                    <a:pt x="2208" y="2412"/>
                  </a:lnTo>
                  <a:lnTo>
                    <a:pt x="2208" y="2415"/>
                  </a:lnTo>
                  <a:lnTo>
                    <a:pt x="2206" y="2415"/>
                  </a:lnTo>
                  <a:lnTo>
                    <a:pt x="2206" y="2415"/>
                  </a:lnTo>
                  <a:lnTo>
                    <a:pt x="2206" y="2415"/>
                  </a:lnTo>
                  <a:lnTo>
                    <a:pt x="2194" y="2427"/>
                  </a:lnTo>
                  <a:lnTo>
                    <a:pt x="2191" y="2427"/>
                  </a:lnTo>
                  <a:lnTo>
                    <a:pt x="2189" y="2424"/>
                  </a:lnTo>
                  <a:lnTo>
                    <a:pt x="2189" y="2424"/>
                  </a:lnTo>
                  <a:lnTo>
                    <a:pt x="2189" y="2424"/>
                  </a:lnTo>
                  <a:lnTo>
                    <a:pt x="2187" y="2424"/>
                  </a:lnTo>
                  <a:lnTo>
                    <a:pt x="2187" y="2427"/>
                  </a:lnTo>
                  <a:lnTo>
                    <a:pt x="2184" y="2429"/>
                  </a:lnTo>
                  <a:lnTo>
                    <a:pt x="2184" y="2429"/>
                  </a:lnTo>
                  <a:lnTo>
                    <a:pt x="2184" y="2431"/>
                  </a:lnTo>
                  <a:lnTo>
                    <a:pt x="2184" y="2431"/>
                  </a:lnTo>
                  <a:lnTo>
                    <a:pt x="2182" y="2431"/>
                  </a:lnTo>
                  <a:lnTo>
                    <a:pt x="2182" y="2431"/>
                  </a:lnTo>
                  <a:lnTo>
                    <a:pt x="2180" y="2434"/>
                  </a:lnTo>
                  <a:lnTo>
                    <a:pt x="2177" y="2436"/>
                  </a:lnTo>
                  <a:lnTo>
                    <a:pt x="2177" y="2436"/>
                  </a:lnTo>
                  <a:lnTo>
                    <a:pt x="2177" y="2436"/>
                  </a:lnTo>
                  <a:lnTo>
                    <a:pt x="2177" y="2438"/>
                  </a:lnTo>
                  <a:lnTo>
                    <a:pt x="2177" y="2441"/>
                  </a:lnTo>
                  <a:lnTo>
                    <a:pt x="2177" y="2441"/>
                  </a:lnTo>
                  <a:lnTo>
                    <a:pt x="2172" y="2443"/>
                  </a:lnTo>
                  <a:lnTo>
                    <a:pt x="2170" y="2446"/>
                  </a:lnTo>
                  <a:lnTo>
                    <a:pt x="2170" y="2446"/>
                  </a:lnTo>
                  <a:lnTo>
                    <a:pt x="2170" y="2446"/>
                  </a:lnTo>
                  <a:lnTo>
                    <a:pt x="2168" y="2450"/>
                  </a:lnTo>
                  <a:lnTo>
                    <a:pt x="2165" y="2453"/>
                  </a:lnTo>
                  <a:lnTo>
                    <a:pt x="2165" y="2453"/>
                  </a:lnTo>
                  <a:lnTo>
                    <a:pt x="2165" y="2453"/>
                  </a:lnTo>
                  <a:lnTo>
                    <a:pt x="2165" y="2455"/>
                  </a:lnTo>
                  <a:lnTo>
                    <a:pt x="2165" y="2455"/>
                  </a:lnTo>
                  <a:lnTo>
                    <a:pt x="2163" y="2457"/>
                  </a:lnTo>
                  <a:lnTo>
                    <a:pt x="2163" y="2457"/>
                  </a:lnTo>
                  <a:lnTo>
                    <a:pt x="2161" y="2460"/>
                  </a:lnTo>
                  <a:lnTo>
                    <a:pt x="2158" y="2462"/>
                  </a:lnTo>
                  <a:lnTo>
                    <a:pt x="2158" y="2462"/>
                  </a:lnTo>
                  <a:lnTo>
                    <a:pt x="2156" y="2462"/>
                  </a:lnTo>
                  <a:lnTo>
                    <a:pt x="2156" y="2462"/>
                  </a:lnTo>
                  <a:lnTo>
                    <a:pt x="2156" y="2462"/>
                  </a:lnTo>
                  <a:lnTo>
                    <a:pt x="2154" y="2465"/>
                  </a:lnTo>
                  <a:lnTo>
                    <a:pt x="2154" y="2465"/>
                  </a:lnTo>
                  <a:lnTo>
                    <a:pt x="2154" y="2465"/>
                  </a:lnTo>
                  <a:lnTo>
                    <a:pt x="2154" y="2467"/>
                  </a:lnTo>
                  <a:lnTo>
                    <a:pt x="2151" y="2467"/>
                  </a:lnTo>
                  <a:lnTo>
                    <a:pt x="2149" y="2469"/>
                  </a:lnTo>
                  <a:lnTo>
                    <a:pt x="2149" y="2469"/>
                  </a:lnTo>
                  <a:lnTo>
                    <a:pt x="2149" y="2469"/>
                  </a:lnTo>
                  <a:lnTo>
                    <a:pt x="2149" y="2469"/>
                  </a:lnTo>
                  <a:lnTo>
                    <a:pt x="2149" y="2469"/>
                  </a:lnTo>
                  <a:lnTo>
                    <a:pt x="2149" y="2472"/>
                  </a:lnTo>
                  <a:lnTo>
                    <a:pt x="2149" y="2472"/>
                  </a:lnTo>
                  <a:lnTo>
                    <a:pt x="2149" y="2472"/>
                  </a:lnTo>
                  <a:lnTo>
                    <a:pt x="2149" y="2474"/>
                  </a:lnTo>
                  <a:lnTo>
                    <a:pt x="2149" y="2474"/>
                  </a:lnTo>
                  <a:lnTo>
                    <a:pt x="2149" y="2476"/>
                  </a:lnTo>
                  <a:lnTo>
                    <a:pt x="2149" y="2476"/>
                  </a:lnTo>
                  <a:lnTo>
                    <a:pt x="2149" y="2479"/>
                  </a:lnTo>
                  <a:lnTo>
                    <a:pt x="2144" y="2486"/>
                  </a:lnTo>
                  <a:lnTo>
                    <a:pt x="2144" y="2486"/>
                  </a:lnTo>
                  <a:lnTo>
                    <a:pt x="2144" y="2488"/>
                  </a:lnTo>
                  <a:lnTo>
                    <a:pt x="2144" y="2491"/>
                  </a:lnTo>
                  <a:lnTo>
                    <a:pt x="2144" y="2491"/>
                  </a:lnTo>
                  <a:lnTo>
                    <a:pt x="2144" y="2493"/>
                  </a:lnTo>
                  <a:lnTo>
                    <a:pt x="2144" y="2493"/>
                  </a:lnTo>
                  <a:lnTo>
                    <a:pt x="2144" y="2493"/>
                  </a:lnTo>
                  <a:lnTo>
                    <a:pt x="2144" y="2493"/>
                  </a:lnTo>
                  <a:lnTo>
                    <a:pt x="2144" y="2495"/>
                  </a:lnTo>
                  <a:lnTo>
                    <a:pt x="2144" y="2498"/>
                  </a:lnTo>
                  <a:lnTo>
                    <a:pt x="2144" y="2498"/>
                  </a:lnTo>
                  <a:lnTo>
                    <a:pt x="2144" y="2498"/>
                  </a:lnTo>
                  <a:lnTo>
                    <a:pt x="2144" y="2500"/>
                  </a:lnTo>
                  <a:lnTo>
                    <a:pt x="2144" y="2500"/>
                  </a:lnTo>
                  <a:lnTo>
                    <a:pt x="2144" y="2502"/>
                  </a:lnTo>
                  <a:lnTo>
                    <a:pt x="2144" y="2502"/>
                  </a:lnTo>
                  <a:lnTo>
                    <a:pt x="2144" y="2502"/>
                  </a:lnTo>
                  <a:lnTo>
                    <a:pt x="2144" y="2505"/>
                  </a:lnTo>
                  <a:lnTo>
                    <a:pt x="2144" y="2505"/>
                  </a:lnTo>
                  <a:lnTo>
                    <a:pt x="2144" y="2505"/>
                  </a:lnTo>
                  <a:lnTo>
                    <a:pt x="2142" y="2502"/>
                  </a:lnTo>
                  <a:lnTo>
                    <a:pt x="2142" y="2502"/>
                  </a:lnTo>
                  <a:lnTo>
                    <a:pt x="2142" y="2505"/>
                  </a:lnTo>
                  <a:lnTo>
                    <a:pt x="2139" y="2505"/>
                  </a:lnTo>
                  <a:lnTo>
                    <a:pt x="2137" y="2505"/>
                  </a:lnTo>
                  <a:lnTo>
                    <a:pt x="2137" y="2505"/>
                  </a:lnTo>
                  <a:lnTo>
                    <a:pt x="2137" y="2505"/>
                  </a:lnTo>
                  <a:lnTo>
                    <a:pt x="2137" y="2505"/>
                  </a:lnTo>
                  <a:lnTo>
                    <a:pt x="2137" y="2507"/>
                  </a:lnTo>
                  <a:lnTo>
                    <a:pt x="2137" y="2507"/>
                  </a:lnTo>
                  <a:lnTo>
                    <a:pt x="2135" y="2509"/>
                  </a:lnTo>
                  <a:lnTo>
                    <a:pt x="2135" y="2509"/>
                  </a:lnTo>
                  <a:lnTo>
                    <a:pt x="2135" y="2509"/>
                  </a:lnTo>
                  <a:lnTo>
                    <a:pt x="2132" y="2509"/>
                  </a:lnTo>
                  <a:lnTo>
                    <a:pt x="2132" y="2512"/>
                  </a:lnTo>
                  <a:lnTo>
                    <a:pt x="2130" y="2514"/>
                  </a:lnTo>
                  <a:lnTo>
                    <a:pt x="2130" y="2517"/>
                  </a:lnTo>
                  <a:lnTo>
                    <a:pt x="2128" y="2517"/>
                  </a:lnTo>
                  <a:lnTo>
                    <a:pt x="2125" y="2519"/>
                  </a:lnTo>
                  <a:lnTo>
                    <a:pt x="2123" y="2519"/>
                  </a:lnTo>
                  <a:lnTo>
                    <a:pt x="2123" y="2521"/>
                  </a:lnTo>
                  <a:lnTo>
                    <a:pt x="2123" y="2521"/>
                  </a:lnTo>
                  <a:lnTo>
                    <a:pt x="2120" y="2521"/>
                  </a:lnTo>
                  <a:lnTo>
                    <a:pt x="2118" y="2524"/>
                  </a:lnTo>
                  <a:lnTo>
                    <a:pt x="2118" y="2524"/>
                  </a:lnTo>
                  <a:lnTo>
                    <a:pt x="2118" y="2524"/>
                  </a:lnTo>
                  <a:lnTo>
                    <a:pt x="2118" y="2524"/>
                  </a:lnTo>
                  <a:lnTo>
                    <a:pt x="2116" y="2524"/>
                  </a:lnTo>
                  <a:lnTo>
                    <a:pt x="2116" y="2526"/>
                  </a:lnTo>
                  <a:lnTo>
                    <a:pt x="2116" y="2526"/>
                  </a:lnTo>
                  <a:lnTo>
                    <a:pt x="2116" y="2526"/>
                  </a:lnTo>
                  <a:lnTo>
                    <a:pt x="2116" y="2526"/>
                  </a:lnTo>
                  <a:lnTo>
                    <a:pt x="2116" y="2528"/>
                  </a:lnTo>
                  <a:lnTo>
                    <a:pt x="2116" y="2528"/>
                  </a:lnTo>
                  <a:lnTo>
                    <a:pt x="2109" y="2533"/>
                  </a:lnTo>
                  <a:lnTo>
                    <a:pt x="2106" y="2535"/>
                  </a:lnTo>
                  <a:lnTo>
                    <a:pt x="2109" y="2535"/>
                  </a:lnTo>
                  <a:lnTo>
                    <a:pt x="2111" y="2533"/>
                  </a:lnTo>
                  <a:lnTo>
                    <a:pt x="2116" y="2533"/>
                  </a:lnTo>
                  <a:lnTo>
                    <a:pt x="2118" y="2533"/>
                  </a:lnTo>
                  <a:lnTo>
                    <a:pt x="2123" y="2531"/>
                  </a:lnTo>
                  <a:lnTo>
                    <a:pt x="2125" y="2531"/>
                  </a:lnTo>
                  <a:lnTo>
                    <a:pt x="2130" y="2531"/>
                  </a:lnTo>
                  <a:lnTo>
                    <a:pt x="2132" y="2528"/>
                  </a:lnTo>
                  <a:lnTo>
                    <a:pt x="2137" y="2528"/>
                  </a:lnTo>
                  <a:lnTo>
                    <a:pt x="2139" y="2526"/>
                  </a:lnTo>
                  <a:lnTo>
                    <a:pt x="2144" y="2526"/>
                  </a:lnTo>
                  <a:lnTo>
                    <a:pt x="2146" y="2526"/>
                  </a:lnTo>
                  <a:lnTo>
                    <a:pt x="2151" y="2524"/>
                  </a:lnTo>
                  <a:lnTo>
                    <a:pt x="2154" y="2524"/>
                  </a:lnTo>
                  <a:lnTo>
                    <a:pt x="2156" y="2524"/>
                  </a:lnTo>
                  <a:lnTo>
                    <a:pt x="2158" y="2524"/>
                  </a:lnTo>
                  <a:lnTo>
                    <a:pt x="2161" y="2521"/>
                  </a:lnTo>
                  <a:lnTo>
                    <a:pt x="2165" y="2521"/>
                  </a:lnTo>
                  <a:lnTo>
                    <a:pt x="2168" y="2519"/>
                  </a:lnTo>
                  <a:lnTo>
                    <a:pt x="2172" y="2519"/>
                  </a:lnTo>
                  <a:lnTo>
                    <a:pt x="2175" y="2519"/>
                  </a:lnTo>
                  <a:lnTo>
                    <a:pt x="2180" y="2517"/>
                  </a:lnTo>
                  <a:lnTo>
                    <a:pt x="2182" y="2517"/>
                  </a:lnTo>
                  <a:lnTo>
                    <a:pt x="2187" y="2514"/>
                  </a:lnTo>
                  <a:lnTo>
                    <a:pt x="2189" y="2514"/>
                  </a:lnTo>
                  <a:lnTo>
                    <a:pt x="2194" y="2514"/>
                  </a:lnTo>
                  <a:lnTo>
                    <a:pt x="2196" y="2512"/>
                  </a:lnTo>
                  <a:lnTo>
                    <a:pt x="2201" y="2512"/>
                  </a:lnTo>
                  <a:lnTo>
                    <a:pt x="2203" y="2509"/>
                  </a:lnTo>
                  <a:lnTo>
                    <a:pt x="2208" y="2509"/>
                  </a:lnTo>
                  <a:lnTo>
                    <a:pt x="2210" y="2509"/>
                  </a:lnTo>
                  <a:lnTo>
                    <a:pt x="2215" y="2507"/>
                  </a:lnTo>
                  <a:lnTo>
                    <a:pt x="2217" y="2507"/>
                  </a:lnTo>
                  <a:lnTo>
                    <a:pt x="2222" y="2505"/>
                  </a:lnTo>
                  <a:lnTo>
                    <a:pt x="2222" y="2505"/>
                  </a:lnTo>
                  <a:lnTo>
                    <a:pt x="2222" y="2505"/>
                  </a:lnTo>
                  <a:lnTo>
                    <a:pt x="2222" y="2505"/>
                  </a:lnTo>
                  <a:lnTo>
                    <a:pt x="2222" y="2502"/>
                  </a:lnTo>
                  <a:lnTo>
                    <a:pt x="2222" y="2500"/>
                  </a:lnTo>
                  <a:lnTo>
                    <a:pt x="2222" y="2500"/>
                  </a:lnTo>
                  <a:lnTo>
                    <a:pt x="2222" y="2498"/>
                  </a:lnTo>
                  <a:lnTo>
                    <a:pt x="2222" y="2498"/>
                  </a:lnTo>
                  <a:lnTo>
                    <a:pt x="2222" y="2495"/>
                  </a:lnTo>
                  <a:lnTo>
                    <a:pt x="2222" y="2495"/>
                  </a:lnTo>
                  <a:lnTo>
                    <a:pt x="2222" y="2495"/>
                  </a:lnTo>
                  <a:lnTo>
                    <a:pt x="2222" y="2495"/>
                  </a:lnTo>
                  <a:lnTo>
                    <a:pt x="2222" y="2493"/>
                  </a:lnTo>
                  <a:lnTo>
                    <a:pt x="2222" y="2493"/>
                  </a:lnTo>
                  <a:lnTo>
                    <a:pt x="2222" y="2493"/>
                  </a:lnTo>
                  <a:lnTo>
                    <a:pt x="2225" y="2491"/>
                  </a:lnTo>
                  <a:lnTo>
                    <a:pt x="2225" y="2491"/>
                  </a:lnTo>
                  <a:lnTo>
                    <a:pt x="2225" y="2491"/>
                  </a:lnTo>
                  <a:lnTo>
                    <a:pt x="2227" y="2491"/>
                  </a:lnTo>
                  <a:lnTo>
                    <a:pt x="2229" y="2491"/>
                  </a:lnTo>
                  <a:lnTo>
                    <a:pt x="2229" y="2491"/>
                  </a:lnTo>
                  <a:lnTo>
                    <a:pt x="2232" y="2491"/>
                  </a:lnTo>
                  <a:lnTo>
                    <a:pt x="2232" y="2491"/>
                  </a:lnTo>
                  <a:lnTo>
                    <a:pt x="2232" y="2488"/>
                  </a:lnTo>
                  <a:lnTo>
                    <a:pt x="2232" y="2488"/>
                  </a:lnTo>
                  <a:lnTo>
                    <a:pt x="2234" y="2486"/>
                  </a:lnTo>
                  <a:lnTo>
                    <a:pt x="2234" y="2486"/>
                  </a:lnTo>
                  <a:lnTo>
                    <a:pt x="2234" y="2486"/>
                  </a:lnTo>
                  <a:lnTo>
                    <a:pt x="2234" y="2486"/>
                  </a:lnTo>
                  <a:lnTo>
                    <a:pt x="2234" y="2486"/>
                  </a:lnTo>
                  <a:lnTo>
                    <a:pt x="2234" y="2486"/>
                  </a:lnTo>
                  <a:lnTo>
                    <a:pt x="2234" y="2483"/>
                  </a:lnTo>
                  <a:lnTo>
                    <a:pt x="2236" y="2483"/>
                  </a:lnTo>
                  <a:lnTo>
                    <a:pt x="2236" y="2483"/>
                  </a:lnTo>
                  <a:lnTo>
                    <a:pt x="2236" y="2483"/>
                  </a:lnTo>
                  <a:lnTo>
                    <a:pt x="2241" y="2488"/>
                  </a:lnTo>
                  <a:lnTo>
                    <a:pt x="2241" y="2488"/>
                  </a:lnTo>
                  <a:lnTo>
                    <a:pt x="2241" y="2488"/>
                  </a:lnTo>
                  <a:lnTo>
                    <a:pt x="2241" y="2488"/>
                  </a:lnTo>
                  <a:lnTo>
                    <a:pt x="2241" y="2486"/>
                  </a:lnTo>
                  <a:lnTo>
                    <a:pt x="2241" y="2486"/>
                  </a:lnTo>
                  <a:lnTo>
                    <a:pt x="2241" y="2486"/>
                  </a:lnTo>
                  <a:lnTo>
                    <a:pt x="2241" y="2486"/>
                  </a:lnTo>
                  <a:lnTo>
                    <a:pt x="2241" y="2483"/>
                  </a:lnTo>
                  <a:lnTo>
                    <a:pt x="2241" y="2483"/>
                  </a:lnTo>
                  <a:lnTo>
                    <a:pt x="2241" y="2481"/>
                  </a:lnTo>
                  <a:lnTo>
                    <a:pt x="2241" y="2481"/>
                  </a:lnTo>
                  <a:lnTo>
                    <a:pt x="2241" y="2479"/>
                  </a:lnTo>
                  <a:lnTo>
                    <a:pt x="2241" y="2479"/>
                  </a:lnTo>
                  <a:lnTo>
                    <a:pt x="2241" y="2479"/>
                  </a:lnTo>
                  <a:lnTo>
                    <a:pt x="2243" y="2479"/>
                  </a:lnTo>
                  <a:lnTo>
                    <a:pt x="2243" y="2479"/>
                  </a:lnTo>
                  <a:lnTo>
                    <a:pt x="2246" y="2479"/>
                  </a:lnTo>
                  <a:lnTo>
                    <a:pt x="2246" y="2479"/>
                  </a:lnTo>
                  <a:lnTo>
                    <a:pt x="2246" y="2479"/>
                  </a:lnTo>
                  <a:lnTo>
                    <a:pt x="2248" y="2479"/>
                  </a:lnTo>
                  <a:lnTo>
                    <a:pt x="2248" y="2476"/>
                  </a:lnTo>
                  <a:lnTo>
                    <a:pt x="2246" y="2476"/>
                  </a:lnTo>
                  <a:lnTo>
                    <a:pt x="2246" y="2476"/>
                  </a:lnTo>
                  <a:lnTo>
                    <a:pt x="2243" y="2476"/>
                  </a:lnTo>
                  <a:lnTo>
                    <a:pt x="2243" y="2474"/>
                  </a:lnTo>
                  <a:lnTo>
                    <a:pt x="2243" y="2474"/>
                  </a:lnTo>
                  <a:lnTo>
                    <a:pt x="2243" y="2474"/>
                  </a:lnTo>
                  <a:lnTo>
                    <a:pt x="2243" y="2469"/>
                  </a:lnTo>
                  <a:lnTo>
                    <a:pt x="2246" y="2465"/>
                  </a:lnTo>
                  <a:lnTo>
                    <a:pt x="2246" y="2465"/>
                  </a:lnTo>
                  <a:lnTo>
                    <a:pt x="2248" y="2462"/>
                  </a:lnTo>
                  <a:lnTo>
                    <a:pt x="2248" y="2462"/>
                  </a:lnTo>
                  <a:lnTo>
                    <a:pt x="2251" y="2460"/>
                  </a:lnTo>
                  <a:lnTo>
                    <a:pt x="2251" y="2460"/>
                  </a:lnTo>
                  <a:lnTo>
                    <a:pt x="2251" y="2460"/>
                  </a:lnTo>
                  <a:lnTo>
                    <a:pt x="2251" y="2460"/>
                  </a:lnTo>
                  <a:lnTo>
                    <a:pt x="2251" y="2460"/>
                  </a:lnTo>
                  <a:lnTo>
                    <a:pt x="2251" y="2457"/>
                  </a:lnTo>
                  <a:lnTo>
                    <a:pt x="2251" y="2457"/>
                  </a:lnTo>
                  <a:lnTo>
                    <a:pt x="2251" y="2457"/>
                  </a:lnTo>
                  <a:lnTo>
                    <a:pt x="2251" y="2455"/>
                  </a:lnTo>
                  <a:lnTo>
                    <a:pt x="2251" y="2455"/>
                  </a:lnTo>
                  <a:lnTo>
                    <a:pt x="2251" y="2455"/>
                  </a:lnTo>
                  <a:lnTo>
                    <a:pt x="2251" y="2455"/>
                  </a:lnTo>
                  <a:lnTo>
                    <a:pt x="2251" y="2455"/>
                  </a:lnTo>
                  <a:lnTo>
                    <a:pt x="2253" y="2450"/>
                  </a:lnTo>
                  <a:lnTo>
                    <a:pt x="2253" y="2450"/>
                  </a:lnTo>
                  <a:lnTo>
                    <a:pt x="2253" y="2448"/>
                  </a:lnTo>
                  <a:lnTo>
                    <a:pt x="2253" y="2446"/>
                  </a:lnTo>
                  <a:lnTo>
                    <a:pt x="2253" y="2446"/>
                  </a:lnTo>
                  <a:lnTo>
                    <a:pt x="2253" y="2446"/>
                  </a:lnTo>
                  <a:lnTo>
                    <a:pt x="2251" y="2446"/>
                  </a:lnTo>
                  <a:lnTo>
                    <a:pt x="2251" y="2446"/>
                  </a:lnTo>
                  <a:lnTo>
                    <a:pt x="2251" y="2446"/>
                  </a:lnTo>
                  <a:lnTo>
                    <a:pt x="2251" y="2443"/>
                  </a:lnTo>
                  <a:lnTo>
                    <a:pt x="2251" y="2443"/>
                  </a:lnTo>
                  <a:lnTo>
                    <a:pt x="2251" y="2441"/>
                  </a:lnTo>
                  <a:lnTo>
                    <a:pt x="2251" y="2441"/>
                  </a:lnTo>
                  <a:lnTo>
                    <a:pt x="2251" y="2441"/>
                  </a:lnTo>
                  <a:lnTo>
                    <a:pt x="2251" y="2441"/>
                  </a:lnTo>
                  <a:lnTo>
                    <a:pt x="2251" y="2441"/>
                  </a:lnTo>
                  <a:lnTo>
                    <a:pt x="2251" y="2441"/>
                  </a:lnTo>
                  <a:lnTo>
                    <a:pt x="2251" y="2441"/>
                  </a:lnTo>
                  <a:lnTo>
                    <a:pt x="2251" y="2441"/>
                  </a:lnTo>
                  <a:lnTo>
                    <a:pt x="2251" y="2441"/>
                  </a:lnTo>
                  <a:lnTo>
                    <a:pt x="2251" y="2438"/>
                  </a:lnTo>
                  <a:lnTo>
                    <a:pt x="2251" y="2438"/>
                  </a:lnTo>
                  <a:lnTo>
                    <a:pt x="2251" y="2436"/>
                  </a:lnTo>
                  <a:lnTo>
                    <a:pt x="2251" y="2436"/>
                  </a:lnTo>
                  <a:lnTo>
                    <a:pt x="2251" y="2434"/>
                  </a:lnTo>
                  <a:lnTo>
                    <a:pt x="2248" y="2434"/>
                  </a:lnTo>
                  <a:lnTo>
                    <a:pt x="2248" y="2434"/>
                  </a:lnTo>
                  <a:lnTo>
                    <a:pt x="2251" y="2431"/>
                  </a:lnTo>
                  <a:lnTo>
                    <a:pt x="2251" y="2429"/>
                  </a:lnTo>
                  <a:lnTo>
                    <a:pt x="2251" y="2429"/>
                  </a:lnTo>
                  <a:lnTo>
                    <a:pt x="2251" y="2427"/>
                  </a:lnTo>
                  <a:lnTo>
                    <a:pt x="2251" y="2427"/>
                  </a:lnTo>
                  <a:lnTo>
                    <a:pt x="2251" y="2427"/>
                  </a:lnTo>
                  <a:lnTo>
                    <a:pt x="2251" y="2424"/>
                  </a:lnTo>
                  <a:lnTo>
                    <a:pt x="2251" y="2424"/>
                  </a:lnTo>
                  <a:lnTo>
                    <a:pt x="2251" y="2424"/>
                  </a:lnTo>
                  <a:lnTo>
                    <a:pt x="2253" y="2422"/>
                  </a:lnTo>
                  <a:lnTo>
                    <a:pt x="2253" y="2420"/>
                  </a:lnTo>
                  <a:lnTo>
                    <a:pt x="2253" y="2415"/>
                  </a:lnTo>
                  <a:lnTo>
                    <a:pt x="2253" y="2410"/>
                  </a:lnTo>
                  <a:lnTo>
                    <a:pt x="2253" y="2408"/>
                  </a:lnTo>
                  <a:lnTo>
                    <a:pt x="2253" y="2405"/>
                  </a:lnTo>
                  <a:lnTo>
                    <a:pt x="2253" y="2405"/>
                  </a:lnTo>
                  <a:lnTo>
                    <a:pt x="2253" y="2398"/>
                  </a:lnTo>
                  <a:lnTo>
                    <a:pt x="2255" y="2394"/>
                  </a:lnTo>
                  <a:lnTo>
                    <a:pt x="2258" y="2389"/>
                  </a:lnTo>
                  <a:lnTo>
                    <a:pt x="2260" y="2384"/>
                  </a:lnTo>
                  <a:lnTo>
                    <a:pt x="2262" y="2377"/>
                  </a:lnTo>
                  <a:lnTo>
                    <a:pt x="2262" y="2372"/>
                  </a:lnTo>
                  <a:lnTo>
                    <a:pt x="2265" y="2368"/>
                  </a:lnTo>
                  <a:lnTo>
                    <a:pt x="2267" y="2360"/>
                  </a:lnTo>
                  <a:lnTo>
                    <a:pt x="2267" y="2360"/>
                  </a:lnTo>
                  <a:lnTo>
                    <a:pt x="2267" y="2360"/>
                  </a:lnTo>
                  <a:lnTo>
                    <a:pt x="2267" y="2360"/>
                  </a:lnTo>
                  <a:lnTo>
                    <a:pt x="2274" y="2360"/>
                  </a:lnTo>
                  <a:lnTo>
                    <a:pt x="2274" y="2360"/>
                  </a:lnTo>
                  <a:lnTo>
                    <a:pt x="2274" y="2360"/>
                  </a:lnTo>
                  <a:lnTo>
                    <a:pt x="2277" y="2365"/>
                  </a:lnTo>
                  <a:lnTo>
                    <a:pt x="2277" y="2368"/>
                  </a:lnTo>
                  <a:lnTo>
                    <a:pt x="2277" y="2368"/>
                  </a:lnTo>
                  <a:lnTo>
                    <a:pt x="2277" y="2368"/>
                  </a:lnTo>
                  <a:lnTo>
                    <a:pt x="2277" y="2368"/>
                  </a:lnTo>
                  <a:lnTo>
                    <a:pt x="2284" y="2370"/>
                  </a:lnTo>
                  <a:lnTo>
                    <a:pt x="2284" y="2370"/>
                  </a:lnTo>
                  <a:lnTo>
                    <a:pt x="2288" y="2368"/>
                  </a:lnTo>
                  <a:lnTo>
                    <a:pt x="2288" y="2365"/>
                  </a:lnTo>
                  <a:lnTo>
                    <a:pt x="2291" y="2365"/>
                  </a:lnTo>
                  <a:lnTo>
                    <a:pt x="2291" y="2365"/>
                  </a:lnTo>
                  <a:lnTo>
                    <a:pt x="2291" y="2365"/>
                  </a:lnTo>
                  <a:lnTo>
                    <a:pt x="2293" y="2363"/>
                  </a:lnTo>
                  <a:lnTo>
                    <a:pt x="2293" y="2363"/>
                  </a:lnTo>
                  <a:lnTo>
                    <a:pt x="2293" y="2360"/>
                  </a:lnTo>
                  <a:lnTo>
                    <a:pt x="2296" y="2360"/>
                  </a:lnTo>
                  <a:lnTo>
                    <a:pt x="2296" y="2360"/>
                  </a:lnTo>
                  <a:lnTo>
                    <a:pt x="2296" y="2360"/>
                  </a:lnTo>
                  <a:lnTo>
                    <a:pt x="2298" y="2360"/>
                  </a:lnTo>
                  <a:lnTo>
                    <a:pt x="2298" y="2360"/>
                  </a:lnTo>
                  <a:lnTo>
                    <a:pt x="2298" y="2360"/>
                  </a:lnTo>
                  <a:lnTo>
                    <a:pt x="2300" y="2360"/>
                  </a:lnTo>
                  <a:lnTo>
                    <a:pt x="2300" y="2358"/>
                  </a:lnTo>
                  <a:lnTo>
                    <a:pt x="2300" y="2358"/>
                  </a:lnTo>
                  <a:lnTo>
                    <a:pt x="2300" y="2358"/>
                  </a:lnTo>
                  <a:lnTo>
                    <a:pt x="2300" y="2356"/>
                  </a:lnTo>
                  <a:lnTo>
                    <a:pt x="2300" y="2356"/>
                  </a:lnTo>
                  <a:lnTo>
                    <a:pt x="2303" y="2356"/>
                  </a:lnTo>
                  <a:lnTo>
                    <a:pt x="2305" y="2356"/>
                  </a:lnTo>
                  <a:lnTo>
                    <a:pt x="2305" y="2356"/>
                  </a:lnTo>
                  <a:lnTo>
                    <a:pt x="2307" y="2356"/>
                  </a:lnTo>
                  <a:lnTo>
                    <a:pt x="2307" y="2356"/>
                  </a:lnTo>
                  <a:lnTo>
                    <a:pt x="2310" y="2358"/>
                  </a:lnTo>
                  <a:lnTo>
                    <a:pt x="2310" y="2358"/>
                  </a:lnTo>
                  <a:lnTo>
                    <a:pt x="2312" y="2358"/>
                  </a:lnTo>
                  <a:lnTo>
                    <a:pt x="2314" y="2360"/>
                  </a:lnTo>
                  <a:lnTo>
                    <a:pt x="2314" y="2360"/>
                  </a:lnTo>
                  <a:lnTo>
                    <a:pt x="2317" y="2360"/>
                  </a:lnTo>
                  <a:lnTo>
                    <a:pt x="2317" y="2360"/>
                  </a:lnTo>
                  <a:lnTo>
                    <a:pt x="2317" y="2363"/>
                  </a:lnTo>
                  <a:lnTo>
                    <a:pt x="2319" y="2363"/>
                  </a:lnTo>
                  <a:lnTo>
                    <a:pt x="2319" y="2363"/>
                  </a:lnTo>
                  <a:lnTo>
                    <a:pt x="2322" y="2365"/>
                  </a:lnTo>
                  <a:lnTo>
                    <a:pt x="2322" y="2365"/>
                  </a:lnTo>
                  <a:lnTo>
                    <a:pt x="2322" y="2365"/>
                  </a:lnTo>
                  <a:lnTo>
                    <a:pt x="2324" y="2368"/>
                  </a:lnTo>
                  <a:lnTo>
                    <a:pt x="2326" y="2375"/>
                  </a:lnTo>
                  <a:lnTo>
                    <a:pt x="2329" y="2379"/>
                  </a:lnTo>
                  <a:lnTo>
                    <a:pt x="2329" y="2386"/>
                  </a:lnTo>
                  <a:lnTo>
                    <a:pt x="2331" y="2394"/>
                  </a:lnTo>
                  <a:lnTo>
                    <a:pt x="2333" y="2401"/>
                  </a:lnTo>
                  <a:lnTo>
                    <a:pt x="2336" y="2408"/>
                  </a:lnTo>
                  <a:lnTo>
                    <a:pt x="2338" y="2415"/>
                  </a:lnTo>
                  <a:lnTo>
                    <a:pt x="2341" y="2422"/>
                  </a:lnTo>
                  <a:lnTo>
                    <a:pt x="2341" y="2422"/>
                  </a:lnTo>
                  <a:lnTo>
                    <a:pt x="2341" y="2422"/>
                  </a:lnTo>
                  <a:lnTo>
                    <a:pt x="2341" y="2422"/>
                  </a:lnTo>
                  <a:lnTo>
                    <a:pt x="2343" y="2422"/>
                  </a:lnTo>
                  <a:lnTo>
                    <a:pt x="2343" y="2422"/>
                  </a:lnTo>
                  <a:lnTo>
                    <a:pt x="2343" y="2424"/>
                  </a:lnTo>
                  <a:lnTo>
                    <a:pt x="2341" y="2424"/>
                  </a:lnTo>
                  <a:lnTo>
                    <a:pt x="2341" y="2424"/>
                  </a:lnTo>
                  <a:lnTo>
                    <a:pt x="2341" y="2427"/>
                  </a:lnTo>
                  <a:lnTo>
                    <a:pt x="2343" y="2427"/>
                  </a:lnTo>
                  <a:lnTo>
                    <a:pt x="2343" y="2427"/>
                  </a:lnTo>
                  <a:lnTo>
                    <a:pt x="2343" y="2429"/>
                  </a:lnTo>
                  <a:lnTo>
                    <a:pt x="2343" y="2429"/>
                  </a:lnTo>
                  <a:lnTo>
                    <a:pt x="2343" y="2429"/>
                  </a:lnTo>
                  <a:lnTo>
                    <a:pt x="2343" y="2431"/>
                  </a:lnTo>
                  <a:lnTo>
                    <a:pt x="2343" y="2434"/>
                  </a:lnTo>
                  <a:lnTo>
                    <a:pt x="2343" y="2434"/>
                  </a:lnTo>
                  <a:lnTo>
                    <a:pt x="2345" y="2434"/>
                  </a:lnTo>
                  <a:lnTo>
                    <a:pt x="2345" y="2434"/>
                  </a:lnTo>
                  <a:lnTo>
                    <a:pt x="2345" y="2434"/>
                  </a:lnTo>
                  <a:lnTo>
                    <a:pt x="2345" y="2434"/>
                  </a:lnTo>
                  <a:lnTo>
                    <a:pt x="2345" y="2434"/>
                  </a:lnTo>
                  <a:lnTo>
                    <a:pt x="2348" y="2434"/>
                  </a:lnTo>
                  <a:lnTo>
                    <a:pt x="2348" y="2434"/>
                  </a:lnTo>
                  <a:lnTo>
                    <a:pt x="2348" y="2434"/>
                  </a:lnTo>
                  <a:lnTo>
                    <a:pt x="2348" y="2434"/>
                  </a:lnTo>
                  <a:lnTo>
                    <a:pt x="2348" y="2436"/>
                  </a:lnTo>
                  <a:lnTo>
                    <a:pt x="2350" y="2436"/>
                  </a:lnTo>
                  <a:lnTo>
                    <a:pt x="2352" y="2436"/>
                  </a:lnTo>
                  <a:lnTo>
                    <a:pt x="2355" y="2436"/>
                  </a:lnTo>
                  <a:lnTo>
                    <a:pt x="2355" y="2436"/>
                  </a:lnTo>
                  <a:lnTo>
                    <a:pt x="2357" y="2434"/>
                  </a:lnTo>
                  <a:lnTo>
                    <a:pt x="2357" y="2434"/>
                  </a:lnTo>
                  <a:lnTo>
                    <a:pt x="2359" y="2436"/>
                  </a:lnTo>
                  <a:lnTo>
                    <a:pt x="2359" y="2436"/>
                  </a:lnTo>
                  <a:lnTo>
                    <a:pt x="2359" y="2438"/>
                  </a:lnTo>
                  <a:lnTo>
                    <a:pt x="2359" y="2438"/>
                  </a:lnTo>
                  <a:lnTo>
                    <a:pt x="2359" y="2441"/>
                  </a:lnTo>
                  <a:lnTo>
                    <a:pt x="2357" y="2441"/>
                  </a:lnTo>
                  <a:lnTo>
                    <a:pt x="2359" y="2443"/>
                  </a:lnTo>
                  <a:lnTo>
                    <a:pt x="2362" y="2446"/>
                  </a:lnTo>
                  <a:lnTo>
                    <a:pt x="2362" y="2448"/>
                  </a:lnTo>
                  <a:lnTo>
                    <a:pt x="2362" y="2450"/>
                  </a:lnTo>
                  <a:lnTo>
                    <a:pt x="2362" y="2450"/>
                  </a:lnTo>
                  <a:lnTo>
                    <a:pt x="2362" y="2450"/>
                  </a:lnTo>
                  <a:lnTo>
                    <a:pt x="2362" y="2453"/>
                  </a:lnTo>
                  <a:lnTo>
                    <a:pt x="2364" y="2453"/>
                  </a:lnTo>
                  <a:lnTo>
                    <a:pt x="2367" y="2455"/>
                  </a:lnTo>
                  <a:lnTo>
                    <a:pt x="2367" y="2455"/>
                  </a:lnTo>
                  <a:lnTo>
                    <a:pt x="2369" y="2455"/>
                  </a:lnTo>
                  <a:lnTo>
                    <a:pt x="2369" y="2455"/>
                  </a:lnTo>
                  <a:lnTo>
                    <a:pt x="2369" y="2455"/>
                  </a:lnTo>
                  <a:lnTo>
                    <a:pt x="2369" y="2455"/>
                  </a:lnTo>
                  <a:lnTo>
                    <a:pt x="2369" y="2453"/>
                  </a:lnTo>
                  <a:lnTo>
                    <a:pt x="2371" y="2453"/>
                  </a:lnTo>
                  <a:lnTo>
                    <a:pt x="2371" y="2453"/>
                  </a:lnTo>
                  <a:lnTo>
                    <a:pt x="2371" y="2453"/>
                  </a:lnTo>
                  <a:lnTo>
                    <a:pt x="2371" y="2453"/>
                  </a:lnTo>
                  <a:lnTo>
                    <a:pt x="2374" y="2453"/>
                  </a:lnTo>
                  <a:lnTo>
                    <a:pt x="2374" y="2453"/>
                  </a:lnTo>
                  <a:lnTo>
                    <a:pt x="2374" y="2453"/>
                  </a:lnTo>
                  <a:lnTo>
                    <a:pt x="2374" y="2453"/>
                  </a:lnTo>
                  <a:lnTo>
                    <a:pt x="2374" y="2453"/>
                  </a:lnTo>
                  <a:lnTo>
                    <a:pt x="2371" y="2450"/>
                  </a:lnTo>
                  <a:lnTo>
                    <a:pt x="2374" y="2450"/>
                  </a:lnTo>
                  <a:lnTo>
                    <a:pt x="2374" y="2450"/>
                  </a:lnTo>
                  <a:lnTo>
                    <a:pt x="2374" y="2453"/>
                  </a:lnTo>
                  <a:lnTo>
                    <a:pt x="2374" y="2453"/>
                  </a:lnTo>
                  <a:lnTo>
                    <a:pt x="2374" y="2453"/>
                  </a:lnTo>
                  <a:lnTo>
                    <a:pt x="2374" y="2453"/>
                  </a:lnTo>
                  <a:lnTo>
                    <a:pt x="2376" y="2453"/>
                  </a:lnTo>
                  <a:lnTo>
                    <a:pt x="2376" y="2453"/>
                  </a:lnTo>
                  <a:lnTo>
                    <a:pt x="2376" y="2455"/>
                  </a:lnTo>
                  <a:lnTo>
                    <a:pt x="2376" y="2455"/>
                  </a:lnTo>
                  <a:lnTo>
                    <a:pt x="2378" y="2457"/>
                  </a:lnTo>
                  <a:lnTo>
                    <a:pt x="2378" y="2457"/>
                  </a:lnTo>
                  <a:lnTo>
                    <a:pt x="2381" y="2457"/>
                  </a:lnTo>
                  <a:lnTo>
                    <a:pt x="2378" y="2455"/>
                  </a:lnTo>
                  <a:lnTo>
                    <a:pt x="2378" y="2455"/>
                  </a:lnTo>
                  <a:lnTo>
                    <a:pt x="2378" y="2455"/>
                  </a:lnTo>
                  <a:lnTo>
                    <a:pt x="2378" y="2453"/>
                  </a:lnTo>
                  <a:lnTo>
                    <a:pt x="2378" y="2453"/>
                  </a:lnTo>
                  <a:lnTo>
                    <a:pt x="2381" y="2453"/>
                  </a:lnTo>
                  <a:lnTo>
                    <a:pt x="2381" y="2453"/>
                  </a:lnTo>
                  <a:lnTo>
                    <a:pt x="2381" y="2453"/>
                  </a:lnTo>
                  <a:lnTo>
                    <a:pt x="2381" y="2453"/>
                  </a:lnTo>
                  <a:lnTo>
                    <a:pt x="2381" y="2450"/>
                  </a:lnTo>
                  <a:lnTo>
                    <a:pt x="2381" y="2450"/>
                  </a:lnTo>
                  <a:lnTo>
                    <a:pt x="2381" y="2450"/>
                  </a:lnTo>
                  <a:lnTo>
                    <a:pt x="2383" y="2450"/>
                  </a:lnTo>
                  <a:lnTo>
                    <a:pt x="2383" y="2450"/>
                  </a:lnTo>
                  <a:lnTo>
                    <a:pt x="2383" y="2453"/>
                  </a:lnTo>
                  <a:lnTo>
                    <a:pt x="2383" y="2453"/>
                  </a:lnTo>
                  <a:lnTo>
                    <a:pt x="2385" y="2453"/>
                  </a:lnTo>
                  <a:lnTo>
                    <a:pt x="2385" y="2453"/>
                  </a:lnTo>
                  <a:lnTo>
                    <a:pt x="2385" y="2453"/>
                  </a:lnTo>
                  <a:lnTo>
                    <a:pt x="2385" y="2453"/>
                  </a:lnTo>
                  <a:lnTo>
                    <a:pt x="2385" y="2453"/>
                  </a:lnTo>
                  <a:lnTo>
                    <a:pt x="2385" y="2453"/>
                  </a:lnTo>
                  <a:lnTo>
                    <a:pt x="2385" y="2453"/>
                  </a:lnTo>
                  <a:lnTo>
                    <a:pt x="2383" y="2453"/>
                  </a:lnTo>
                  <a:lnTo>
                    <a:pt x="2385" y="2455"/>
                  </a:lnTo>
                  <a:lnTo>
                    <a:pt x="2385" y="2455"/>
                  </a:lnTo>
                  <a:lnTo>
                    <a:pt x="2385" y="2455"/>
                  </a:lnTo>
                  <a:lnTo>
                    <a:pt x="2388" y="2455"/>
                  </a:lnTo>
                  <a:lnTo>
                    <a:pt x="2388" y="2455"/>
                  </a:lnTo>
                  <a:lnTo>
                    <a:pt x="2388" y="2455"/>
                  </a:lnTo>
                  <a:lnTo>
                    <a:pt x="2388" y="2453"/>
                  </a:lnTo>
                  <a:lnTo>
                    <a:pt x="2388" y="2453"/>
                  </a:lnTo>
                  <a:lnTo>
                    <a:pt x="2388" y="2453"/>
                  </a:lnTo>
                  <a:lnTo>
                    <a:pt x="2388" y="2455"/>
                  </a:lnTo>
                  <a:lnTo>
                    <a:pt x="2388" y="2455"/>
                  </a:lnTo>
                  <a:lnTo>
                    <a:pt x="2390" y="2455"/>
                  </a:lnTo>
                  <a:lnTo>
                    <a:pt x="2390" y="2455"/>
                  </a:lnTo>
                  <a:lnTo>
                    <a:pt x="2390" y="2455"/>
                  </a:lnTo>
                  <a:lnTo>
                    <a:pt x="2390" y="2453"/>
                  </a:lnTo>
                  <a:lnTo>
                    <a:pt x="2390" y="2453"/>
                  </a:lnTo>
                  <a:lnTo>
                    <a:pt x="2390" y="2453"/>
                  </a:lnTo>
                  <a:lnTo>
                    <a:pt x="2393" y="2453"/>
                  </a:lnTo>
                  <a:lnTo>
                    <a:pt x="2393" y="2453"/>
                  </a:lnTo>
                  <a:lnTo>
                    <a:pt x="2393" y="2453"/>
                  </a:lnTo>
                  <a:lnTo>
                    <a:pt x="2393" y="2453"/>
                  </a:lnTo>
                  <a:lnTo>
                    <a:pt x="2397" y="2448"/>
                  </a:lnTo>
                  <a:lnTo>
                    <a:pt x="2397" y="2448"/>
                  </a:lnTo>
                  <a:lnTo>
                    <a:pt x="2397" y="2448"/>
                  </a:lnTo>
                  <a:lnTo>
                    <a:pt x="2397" y="2448"/>
                  </a:lnTo>
                  <a:lnTo>
                    <a:pt x="2397" y="2448"/>
                  </a:lnTo>
                  <a:lnTo>
                    <a:pt x="2400" y="2448"/>
                  </a:lnTo>
                  <a:lnTo>
                    <a:pt x="2400" y="2448"/>
                  </a:lnTo>
                  <a:lnTo>
                    <a:pt x="2400" y="2450"/>
                  </a:lnTo>
                  <a:lnTo>
                    <a:pt x="2400" y="2450"/>
                  </a:lnTo>
                  <a:lnTo>
                    <a:pt x="2400" y="2450"/>
                  </a:lnTo>
                  <a:lnTo>
                    <a:pt x="2400" y="2450"/>
                  </a:lnTo>
                  <a:lnTo>
                    <a:pt x="2400" y="2450"/>
                  </a:lnTo>
                  <a:lnTo>
                    <a:pt x="2402" y="2450"/>
                  </a:lnTo>
                  <a:lnTo>
                    <a:pt x="2402" y="2450"/>
                  </a:lnTo>
                  <a:lnTo>
                    <a:pt x="2402" y="2450"/>
                  </a:lnTo>
                  <a:lnTo>
                    <a:pt x="2402" y="2448"/>
                  </a:lnTo>
                  <a:lnTo>
                    <a:pt x="2402" y="2448"/>
                  </a:lnTo>
                  <a:lnTo>
                    <a:pt x="2404" y="2448"/>
                  </a:lnTo>
                  <a:lnTo>
                    <a:pt x="2404" y="2448"/>
                  </a:lnTo>
                  <a:lnTo>
                    <a:pt x="2404" y="2446"/>
                  </a:lnTo>
                  <a:lnTo>
                    <a:pt x="2404" y="2446"/>
                  </a:lnTo>
                  <a:lnTo>
                    <a:pt x="2407" y="2446"/>
                  </a:lnTo>
                  <a:lnTo>
                    <a:pt x="2407" y="2443"/>
                  </a:lnTo>
                  <a:lnTo>
                    <a:pt x="2407" y="2443"/>
                  </a:lnTo>
                  <a:lnTo>
                    <a:pt x="2404" y="2443"/>
                  </a:lnTo>
                  <a:lnTo>
                    <a:pt x="2404" y="2443"/>
                  </a:lnTo>
                  <a:lnTo>
                    <a:pt x="2404" y="2443"/>
                  </a:lnTo>
                  <a:lnTo>
                    <a:pt x="2404" y="2443"/>
                  </a:lnTo>
                  <a:lnTo>
                    <a:pt x="2404" y="2443"/>
                  </a:lnTo>
                  <a:lnTo>
                    <a:pt x="2407" y="2441"/>
                  </a:lnTo>
                  <a:lnTo>
                    <a:pt x="2407" y="2443"/>
                  </a:lnTo>
                  <a:lnTo>
                    <a:pt x="2407" y="2443"/>
                  </a:lnTo>
                  <a:lnTo>
                    <a:pt x="2409" y="2443"/>
                  </a:lnTo>
                  <a:lnTo>
                    <a:pt x="2409" y="2443"/>
                  </a:lnTo>
                  <a:lnTo>
                    <a:pt x="2409" y="2443"/>
                  </a:lnTo>
                  <a:lnTo>
                    <a:pt x="2409" y="2441"/>
                  </a:lnTo>
                  <a:lnTo>
                    <a:pt x="2409" y="2441"/>
                  </a:lnTo>
                  <a:lnTo>
                    <a:pt x="2409" y="2438"/>
                  </a:lnTo>
                  <a:lnTo>
                    <a:pt x="2411" y="2438"/>
                  </a:lnTo>
                  <a:lnTo>
                    <a:pt x="2411" y="2436"/>
                  </a:lnTo>
                  <a:lnTo>
                    <a:pt x="2411" y="2436"/>
                  </a:lnTo>
                  <a:lnTo>
                    <a:pt x="2411" y="2436"/>
                  </a:lnTo>
                  <a:lnTo>
                    <a:pt x="2409" y="2436"/>
                  </a:lnTo>
                  <a:lnTo>
                    <a:pt x="2409" y="2436"/>
                  </a:lnTo>
                  <a:lnTo>
                    <a:pt x="2409" y="2436"/>
                  </a:lnTo>
                  <a:lnTo>
                    <a:pt x="2409" y="2436"/>
                  </a:lnTo>
                  <a:lnTo>
                    <a:pt x="2407" y="2436"/>
                  </a:lnTo>
                  <a:lnTo>
                    <a:pt x="2407" y="2436"/>
                  </a:lnTo>
                  <a:lnTo>
                    <a:pt x="2407" y="2436"/>
                  </a:lnTo>
                  <a:lnTo>
                    <a:pt x="2407" y="2434"/>
                  </a:lnTo>
                  <a:lnTo>
                    <a:pt x="2407" y="2434"/>
                  </a:lnTo>
                  <a:lnTo>
                    <a:pt x="2407" y="2434"/>
                  </a:lnTo>
                  <a:lnTo>
                    <a:pt x="2409" y="2434"/>
                  </a:lnTo>
                  <a:lnTo>
                    <a:pt x="2409" y="2434"/>
                  </a:lnTo>
                  <a:lnTo>
                    <a:pt x="2409" y="2434"/>
                  </a:lnTo>
                  <a:lnTo>
                    <a:pt x="2409" y="2434"/>
                  </a:lnTo>
                  <a:lnTo>
                    <a:pt x="2409" y="2431"/>
                  </a:lnTo>
                  <a:lnTo>
                    <a:pt x="2409" y="2431"/>
                  </a:lnTo>
                  <a:lnTo>
                    <a:pt x="2409" y="2431"/>
                  </a:lnTo>
                  <a:lnTo>
                    <a:pt x="2409" y="2431"/>
                  </a:lnTo>
                  <a:lnTo>
                    <a:pt x="2409" y="2429"/>
                  </a:lnTo>
                  <a:lnTo>
                    <a:pt x="2409" y="2429"/>
                  </a:lnTo>
                  <a:lnTo>
                    <a:pt x="2409" y="2427"/>
                  </a:lnTo>
                  <a:lnTo>
                    <a:pt x="2411" y="2427"/>
                  </a:lnTo>
                  <a:lnTo>
                    <a:pt x="2411" y="2427"/>
                  </a:lnTo>
                  <a:lnTo>
                    <a:pt x="2411" y="2427"/>
                  </a:lnTo>
                  <a:lnTo>
                    <a:pt x="2411" y="2427"/>
                  </a:lnTo>
                  <a:lnTo>
                    <a:pt x="2411" y="2427"/>
                  </a:lnTo>
                  <a:lnTo>
                    <a:pt x="2411" y="2429"/>
                  </a:lnTo>
                  <a:lnTo>
                    <a:pt x="2411" y="2429"/>
                  </a:lnTo>
                  <a:lnTo>
                    <a:pt x="2411" y="2429"/>
                  </a:lnTo>
                  <a:lnTo>
                    <a:pt x="2411" y="2431"/>
                  </a:lnTo>
                  <a:lnTo>
                    <a:pt x="2409" y="2436"/>
                  </a:lnTo>
                  <a:lnTo>
                    <a:pt x="2411" y="2436"/>
                  </a:lnTo>
                  <a:lnTo>
                    <a:pt x="2414" y="2436"/>
                  </a:lnTo>
                  <a:lnTo>
                    <a:pt x="2414" y="2436"/>
                  </a:lnTo>
                  <a:lnTo>
                    <a:pt x="2414" y="2438"/>
                  </a:lnTo>
                  <a:lnTo>
                    <a:pt x="2416" y="2438"/>
                  </a:lnTo>
                  <a:lnTo>
                    <a:pt x="2416" y="2438"/>
                  </a:lnTo>
                  <a:lnTo>
                    <a:pt x="2416" y="2438"/>
                  </a:lnTo>
                  <a:lnTo>
                    <a:pt x="2419" y="2438"/>
                  </a:lnTo>
                  <a:lnTo>
                    <a:pt x="2419" y="2438"/>
                  </a:lnTo>
                  <a:lnTo>
                    <a:pt x="2419" y="2436"/>
                  </a:lnTo>
                  <a:lnTo>
                    <a:pt x="2421" y="2436"/>
                  </a:lnTo>
                  <a:lnTo>
                    <a:pt x="2421" y="2434"/>
                  </a:lnTo>
                  <a:lnTo>
                    <a:pt x="2421" y="2434"/>
                  </a:lnTo>
                  <a:lnTo>
                    <a:pt x="2421" y="2434"/>
                  </a:lnTo>
                  <a:lnTo>
                    <a:pt x="2423" y="2434"/>
                  </a:lnTo>
                  <a:lnTo>
                    <a:pt x="2423" y="2434"/>
                  </a:lnTo>
                  <a:lnTo>
                    <a:pt x="2423" y="2434"/>
                  </a:lnTo>
                  <a:lnTo>
                    <a:pt x="2423" y="2431"/>
                  </a:lnTo>
                  <a:lnTo>
                    <a:pt x="2426" y="2431"/>
                  </a:lnTo>
                  <a:lnTo>
                    <a:pt x="2426" y="2429"/>
                  </a:lnTo>
                  <a:lnTo>
                    <a:pt x="2426" y="2429"/>
                  </a:lnTo>
                  <a:lnTo>
                    <a:pt x="2428" y="2429"/>
                  </a:lnTo>
                  <a:lnTo>
                    <a:pt x="2428" y="2427"/>
                  </a:lnTo>
                  <a:lnTo>
                    <a:pt x="2428" y="2427"/>
                  </a:lnTo>
                  <a:lnTo>
                    <a:pt x="2428" y="2427"/>
                  </a:lnTo>
                  <a:lnTo>
                    <a:pt x="2428" y="2427"/>
                  </a:lnTo>
                  <a:lnTo>
                    <a:pt x="2428" y="2427"/>
                  </a:lnTo>
                  <a:lnTo>
                    <a:pt x="2430" y="2424"/>
                  </a:lnTo>
                  <a:lnTo>
                    <a:pt x="2435" y="2420"/>
                  </a:lnTo>
                  <a:lnTo>
                    <a:pt x="2438" y="2415"/>
                  </a:lnTo>
                  <a:lnTo>
                    <a:pt x="2442" y="2410"/>
                  </a:lnTo>
                  <a:lnTo>
                    <a:pt x="2445" y="2410"/>
                  </a:lnTo>
                  <a:lnTo>
                    <a:pt x="2445" y="2410"/>
                  </a:lnTo>
                  <a:lnTo>
                    <a:pt x="2445" y="2408"/>
                  </a:lnTo>
                  <a:lnTo>
                    <a:pt x="2447" y="2405"/>
                  </a:lnTo>
                  <a:lnTo>
                    <a:pt x="2447" y="2405"/>
                  </a:lnTo>
                  <a:lnTo>
                    <a:pt x="2447" y="2405"/>
                  </a:lnTo>
                  <a:lnTo>
                    <a:pt x="2449" y="2405"/>
                  </a:lnTo>
                  <a:lnTo>
                    <a:pt x="2449" y="2403"/>
                  </a:lnTo>
                  <a:lnTo>
                    <a:pt x="2449" y="2405"/>
                  </a:lnTo>
                  <a:lnTo>
                    <a:pt x="2449" y="2405"/>
                  </a:lnTo>
                  <a:lnTo>
                    <a:pt x="2452" y="2405"/>
                  </a:lnTo>
                  <a:lnTo>
                    <a:pt x="2452" y="2405"/>
                  </a:lnTo>
                  <a:lnTo>
                    <a:pt x="2452" y="2403"/>
                  </a:lnTo>
                  <a:lnTo>
                    <a:pt x="2452" y="2401"/>
                  </a:lnTo>
                  <a:lnTo>
                    <a:pt x="2452" y="2401"/>
                  </a:lnTo>
                  <a:lnTo>
                    <a:pt x="2452" y="2401"/>
                  </a:lnTo>
                  <a:lnTo>
                    <a:pt x="2452" y="2398"/>
                  </a:lnTo>
                  <a:lnTo>
                    <a:pt x="2452" y="2398"/>
                  </a:lnTo>
                  <a:lnTo>
                    <a:pt x="2452" y="2398"/>
                  </a:lnTo>
                  <a:lnTo>
                    <a:pt x="2454" y="2398"/>
                  </a:lnTo>
                  <a:lnTo>
                    <a:pt x="2454" y="2398"/>
                  </a:lnTo>
                  <a:lnTo>
                    <a:pt x="2454" y="2398"/>
                  </a:lnTo>
                  <a:lnTo>
                    <a:pt x="2452" y="2396"/>
                  </a:lnTo>
                  <a:lnTo>
                    <a:pt x="2452" y="2396"/>
                  </a:lnTo>
                  <a:lnTo>
                    <a:pt x="2454" y="2396"/>
                  </a:lnTo>
                  <a:lnTo>
                    <a:pt x="2454" y="2394"/>
                  </a:lnTo>
                  <a:lnTo>
                    <a:pt x="2454" y="2391"/>
                  </a:lnTo>
                  <a:lnTo>
                    <a:pt x="2454" y="2391"/>
                  </a:lnTo>
                  <a:lnTo>
                    <a:pt x="2454" y="2389"/>
                  </a:lnTo>
                  <a:lnTo>
                    <a:pt x="2452" y="2389"/>
                  </a:lnTo>
                  <a:lnTo>
                    <a:pt x="2452" y="2389"/>
                  </a:lnTo>
                  <a:lnTo>
                    <a:pt x="2452" y="2386"/>
                  </a:lnTo>
                  <a:lnTo>
                    <a:pt x="2449" y="2386"/>
                  </a:lnTo>
                  <a:lnTo>
                    <a:pt x="2449" y="2386"/>
                  </a:lnTo>
                  <a:lnTo>
                    <a:pt x="2449" y="2386"/>
                  </a:lnTo>
                  <a:lnTo>
                    <a:pt x="2449" y="2386"/>
                  </a:lnTo>
                  <a:lnTo>
                    <a:pt x="2449" y="2386"/>
                  </a:lnTo>
                  <a:lnTo>
                    <a:pt x="2447" y="2386"/>
                  </a:lnTo>
                  <a:lnTo>
                    <a:pt x="2447" y="2384"/>
                  </a:lnTo>
                  <a:lnTo>
                    <a:pt x="2447" y="2384"/>
                  </a:lnTo>
                  <a:lnTo>
                    <a:pt x="2447" y="2384"/>
                  </a:lnTo>
                  <a:lnTo>
                    <a:pt x="2447" y="2384"/>
                  </a:lnTo>
                  <a:lnTo>
                    <a:pt x="2447" y="2382"/>
                  </a:lnTo>
                  <a:lnTo>
                    <a:pt x="2445" y="2382"/>
                  </a:lnTo>
                  <a:lnTo>
                    <a:pt x="2445" y="2382"/>
                  </a:lnTo>
                  <a:lnTo>
                    <a:pt x="2445" y="2382"/>
                  </a:lnTo>
                  <a:lnTo>
                    <a:pt x="2447" y="2382"/>
                  </a:lnTo>
                  <a:lnTo>
                    <a:pt x="2447" y="2382"/>
                  </a:lnTo>
                  <a:lnTo>
                    <a:pt x="2447" y="2382"/>
                  </a:lnTo>
                  <a:lnTo>
                    <a:pt x="2447" y="2384"/>
                  </a:lnTo>
                  <a:lnTo>
                    <a:pt x="2447" y="2384"/>
                  </a:lnTo>
                  <a:lnTo>
                    <a:pt x="2449" y="2384"/>
                  </a:lnTo>
                  <a:lnTo>
                    <a:pt x="2449" y="2386"/>
                  </a:lnTo>
                  <a:lnTo>
                    <a:pt x="2449" y="2386"/>
                  </a:lnTo>
                  <a:lnTo>
                    <a:pt x="2452" y="2386"/>
                  </a:lnTo>
                  <a:lnTo>
                    <a:pt x="2454" y="2389"/>
                  </a:lnTo>
                  <a:lnTo>
                    <a:pt x="2454" y="2389"/>
                  </a:lnTo>
                  <a:lnTo>
                    <a:pt x="2454" y="2389"/>
                  </a:lnTo>
                  <a:lnTo>
                    <a:pt x="2454" y="2389"/>
                  </a:lnTo>
                  <a:lnTo>
                    <a:pt x="2454" y="2389"/>
                  </a:lnTo>
                  <a:lnTo>
                    <a:pt x="2456" y="2389"/>
                  </a:lnTo>
                  <a:lnTo>
                    <a:pt x="2456" y="2391"/>
                  </a:lnTo>
                  <a:lnTo>
                    <a:pt x="2456" y="2391"/>
                  </a:lnTo>
                  <a:lnTo>
                    <a:pt x="2456" y="2391"/>
                  </a:lnTo>
                  <a:lnTo>
                    <a:pt x="2459" y="2391"/>
                  </a:lnTo>
                  <a:lnTo>
                    <a:pt x="2459" y="2394"/>
                  </a:lnTo>
                  <a:lnTo>
                    <a:pt x="2459" y="2394"/>
                  </a:lnTo>
                  <a:lnTo>
                    <a:pt x="2459" y="2396"/>
                  </a:lnTo>
                  <a:lnTo>
                    <a:pt x="2456" y="2396"/>
                  </a:lnTo>
                  <a:lnTo>
                    <a:pt x="2459" y="2396"/>
                  </a:lnTo>
                  <a:lnTo>
                    <a:pt x="2459" y="2396"/>
                  </a:lnTo>
                  <a:lnTo>
                    <a:pt x="2459" y="2396"/>
                  </a:lnTo>
                  <a:lnTo>
                    <a:pt x="2459" y="2396"/>
                  </a:lnTo>
                  <a:lnTo>
                    <a:pt x="2459" y="2396"/>
                  </a:lnTo>
                  <a:lnTo>
                    <a:pt x="2459" y="2394"/>
                  </a:lnTo>
                  <a:lnTo>
                    <a:pt x="2459" y="2394"/>
                  </a:lnTo>
                  <a:lnTo>
                    <a:pt x="2459" y="2394"/>
                  </a:lnTo>
                  <a:lnTo>
                    <a:pt x="2461" y="2391"/>
                  </a:lnTo>
                  <a:lnTo>
                    <a:pt x="2461" y="2389"/>
                  </a:lnTo>
                  <a:lnTo>
                    <a:pt x="2461" y="2386"/>
                  </a:lnTo>
                  <a:lnTo>
                    <a:pt x="2461" y="2386"/>
                  </a:lnTo>
                  <a:lnTo>
                    <a:pt x="2461" y="2386"/>
                  </a:lnTo>
                  <a:lnTo>
                    <a:pt x="2461" y="2386"/>
                  </a:lnTo>
                  <a:lnTo>
                    <a:pt x="2461" y="2386"/>
                  </a:lnTo>
                  <a:lnTo>
                    <a:pt x="2461" y="2386"/>
                  </a:lnTo>
                  <a:lnTo>
                    <a:pt x="2461" y="2386"/>
                  </a:lnTo>
                  <a:lnTo>
                    <a:pt x="2464" y="2386"/>
                  </a:lnTo>
                  <a:lnTo>
                    <a:pt x="2464" y="2389"/>
                  </a:lnTo>
                  <a:lnTo>
                    <a:pt x="2466" y="2389"/>
                  </a:lnTo>
                  <a:lnTo>
                    <a:pt x="2466" y="2389"/>
                  </a:lnTo>
                  <a:lnTo>
                    <a:pt x="2466" y="2389"/>
                  </a:lnTo>
                  <a:lnTo>
                    <a:pt x="2466" y="2391"/>
                  </a:lnTo>
                  <a:lnTo>
                    <a:pt x="2466" y="2391"/>
                  </a:lnTo>
                  <a:lnTo>
                    <a:pt x="2466" y="2391"/>
                  </a:lnTo>
                  <a:lnTo>
                    <a:pt x="2466" y="2391"/>
                  </a:lnTo>
                  <a:lnTo>
                    <a:pt x="2466" y="2391"/>
                  </a:lnTo>
                  <a:lnTo>
                    <a:pt x="2466" y="2391"/>
                  </a:lnTo>
                  <a:lnTo>
                    <a:pt x="2466" y="2391"/>
                  </a:lnTo>
                  <a:lnTo>
                    <a:pt x="2466" y="2391"/>
                  </a:lnTo>
                  <a:lnTo>
                    <a:pt x="2466" y="2391"/>
                  </a:lnTo>
                  <a:lnTo>
                    <a:pt x="2466" y="2394"/>
                  </a:lnTo>
                  <a:lnTo>
                    <a:pt x="2464" y="2394"/>
                  </a:lnTo>
                  <a:lnTo>
                    <a:pt x="2464" y="2394"/>
                  </a:lnTo>
                  <a:lnTo>
                    <a:pt x="2464" y="2394"/>
                  </a:lnTo>
                  <a:lnTo>
                    <a:pt x="2464" y="2391"/>
                  </a:lnTo>
                  <a:lnTo>
                    <a:pt x="2464" y="2391"/>
                  </a:lnTo>
                  <a:lnTo>
                    <a:pt x="2464" y="2391"/>
                  </a:lnTo>
                  <a:lnTo>
                    <a:pt x="2464" y="2391"/>
                  </a:lnTo>
                  <a:lnTo>
                    <a:pt x="2464" y="2391"/>
                  </a:lnTo>
                  <a:lnTo>
                    <a:pt x="2464" y="2391"/>
                  </a:lnTo>
                  <a:lnTo>
                    <a:pt x="2464" y="2389"/>
                  </a:lnTo>
                  <a:lnTo>
                    <a:pt x="2464" y="2389"/>
                  </a:lnTo>
                  <a:lnTo>
                    <a:pt x="2464" y="2389"/>
                  </a:lnTo>
                  <a:lnTo>
                    <a:pt x="2461" y="2391"/>
                  </a:lnTo>
                  <a:lnTo>
                    <a:pt x="2461" y="2391"/>
                  </a:lnTo>
                  <a:lnTo>
                    <a:pt x="2461" y="2394"/>
                  </a:lnTo>
                  <a:lnTo>
                    <a:pt x="2461" y="2394"/>
                  </a:lnTo>
                  <a:lnTo>
                    <a:pt x="2461" y="2394"/>
                  </a:lnTo>
                  <a:lnTo>
                    <a:pt x="2461" y="2394"/>
                  </a:lnTo>
                  <a:lnTo>
                    <a:pt x="2461" y="2396"/>
                  </a:lnTo>
                  <a:lnTo>
                    <a:pt x="2461" y="2396"/>
                  </a:lnTo>
                  <a:lnTo>
                    <a:pt x="2461" y="2396"/>
                  </a:lnTo>
                  <a:lnTo>
                    <a:pt x="2461" y="2396"/>
                  </a:lnTo>
                  <a:lnTo>
                    <a:pt x="2461" y="2398"/>
                  </a:lnTo>
                  <a:lnTo>
                    <a:pt x="2461" y="2398"/>
                  </a:lnTo>
                  <a:lnTo>
                    <a:pt x="2461" y="2398"/>
                  </a:lnTo>
                  <a:lnTo>
                    <a:pt x="2461" y="2398"/>
                  </a:lnTo>
                  <a:lnTo>
                    <a:pt x="2461" y="2398"/>
                  </a:lnTo>
                  <a:lnTo>
                    <a:pt x="2459" y="2401"/>
                  </a:lnTo>
                  <a:lnTo>
                    <a:pt x="2459" y="2401"/>
                  </a:lnTo>
                  <a:lnTo>
                    <a:pt x="2459" y="2403"/>
                  </a:lnTo>
                  <a:lnTo>
                    <a:pt x="2456" y="2403"/>
                  </a:lnTo>
                  <a:lnTo>
                    <a:pt x="2456" y="2405"/>
                  </a:lnTo>
                  <a:lnTo>
                    <a:pt x="2456" y="2405"/>
                  </a:lnTo>
                  <a:lnTo>
                    <a:pt x="2456" y="2405"/>
                  </a:lnTo>
                  <a:lnTo>
                    <a:pt x="2456" y="2408"/>
                  </a:lnTo>
                  <a:lnTo>
                    <a:pt x="2454" y="2408"/>
                  </a:lnTo>
                  <a:lnTo>
                    <a:pt x="2452" y="2412"/>
                  </a:lnTo>
                  <a:lnTo>
                    <a:pt x="2452" y="2412"/>
                  </a:lnTo>
                  <a:lnTo>
                    <a:pt x="2452" y="2412"/>
                  </a:lnTo>
                  <a:lnTo>
                    <a:pt x="2452" y="2412"/>
                  </a:lnTo>
                  <a:lnTo>
                    <a:pt x="2452" y="2412"/>
                  </a:lnTo>
                  <a:lnTo>
                    <a:pt x="2449" y="2415"/>
                  </a:lnTo>
                  <a:lnTo>
                    <a:pt x="2449" y="2417"/>
                  </a:lnTo>
                  <a:lnTo>
                    <a:pt x="2449" y="2417"/>
                  </a:lnTo>
                  <a:lnTo>
                    <a:pt x="2449" y="2420"/>
                  </a:lnTo>
                  <a:lnTo>
                    <a:pt x="2449" y="2422"/>
                  </a:lnTo>
                  <a:lnTo>
                    <a:pt x="2452" y="2420"/>
                  </a:lnTo>
                  <a:lnTo>
                    <a:pt x="2452" y="2420"/>
                  </a:lnTo>
                  <a:lnTo>
                    <a:pt x="2454" y="2420"/>
                  </a:lnTo>
                  <a:lnTo>
                    <a:pt x="2454" y="2420"/>
                  </a:lnTo>
                  <a:lnTo>
                    <a:pt x="2456" y="2420"/>
                  </a:lnTo>
                  <a:lnTo>
                    <a:pt x="2456" y="2420"/>
                  </a:lnTo>
                  <a:lnTo>
                    <a:pt x="2456" y="2420"/>
                  </a:lnTo>
                  <a:lnTo>
                    <a:pt x="2456" y="2420"/>
                  </a:lnTo>
                  <a:lnTo>
                    <a:pt x="2456" y="2420"/>
                  </a:lnTo>
                  <a:lnTo>
                    <a:pt x="2456" y="2420"/>
                  </a:lnTo>
                  <a:lnTo>
                    <a:pt x="2456" y="2420"/>
                  </a:lnTo>
                  <a:lnTo>
                    <a:pt x="2456" y="2420"/>
                  </a:lnTo>
                  <a:lnTo>
                    <a:pt x="2456" y="2420"/>
                  </a:lnTo>
                  <a:lnTo>
                    <a:pt x="2456" y="2420"/>
                  </a:lnTo>
                  <a:lnTo>
                    <a:pt x="2456" y="2420"/>
                  </a:lnTo>
                  <a:lnTo>
                    <a:pt x="2456" y="2420"/>
                  </a:lnTo>
                  <a:lnTo>
                    <a:pt x="2459" y="2420"/>
                  </a:lnTo>
                  <a:lnTo>
                    <a:pt x="2459" y="2417"/>
                  </a:lnTo>
                  <a:lnTo>
                    <a:pt x="2459" y="2417"/>
                  </a:lnTo>
                  <a:lnTo>
                    <a:pt x="2459" y="2415"/>
                  </a:lnTo>
                  <a:lnTo>
                    <a:pt x="2459" y="2412"/>
                  </a:lnTo>
                  <a:lnTo>
                    <a:pt x="2461" y="2412"/>
                  </a:lnTo>
                  <a:lnTo>
                    <a:pt x="2466" y="2412"/>
                  </a:lnTo>
                  <a:lnTo>
                    <a:pt x="2466" y="2412"/>
                  </a:lnTo>
                  <a:lnTo>
                    <a:pt x="2466" y="2412"/>
                  </a:lnTo>
                  <a:lnTo>
                    <a:pt x="2466" y="2412"/>
                  </a:lnTo>
                  <a:lnTo>
                    <a:pt x="2468" y="2412"/>
                  </a:lnTo>
                  <a:lnTo>
                    <a:pt x="2468" y="2412"/>
                  </a:lnTo>
                  <a:lnTo>
                    <a:pt x="2468" y="2412"/>
                  </a:lnTo>
                  <a:lnTo>
                    <a:pt x="2468" y="2412"/>
                  </a:lnTo>
                  <a:lnTo>
                    <a:pt x="2468" y="2412"/>
                  </a:lnTo>
                  <a:lnTo>
                    <a:pt x="2471" y="2410"/>
                  </a:lnTo>
                  <a:lnTo>
                    <a:pt x="2471" y="2410"/>
                  </a:lnTo>
                  <a:lnTo>
                    <a:pt x="2471" y="2410"/>
                  </a:lnTo>
                  <a:lnTo>
                    <a:pt x="2471" y="2410"/>
                  </a:lnTo>
                  <a:lnTo>
                    <a:pt x="2471" y="2410"/>
                  </a:lnTo>
                  <a:lnTo>
                    <a:pt x="2473" y="2410"/>
                  </a:lnTo>
                  <a:lnTo>
                    <a:pt x="2473" y="2410"/>
                  </a:lnTo>
                  <a:lnTo>
                    <a:pt x="2475" y="2408"/>
                  </a:lnTo>
                  <a:lnTo>
                    <a:pt x="2478" y="2408"/>
                  </a:lnTo>
                  <a:lnTo>
                    <a:pt x="2480" y="2408"/>
                  </a:lnTo>
                  <a:lnTo>
                    <a:pt x="2480" y="2408"/>
                  </a:lnTo>
                  <a:lnTo>
                    <a:pt x="2480" y="2408"/>
                  </a:lnTo>
                  <a:lnTo>
                    <a:pt x="2480" y="2408"/>
                  </a:lnTo>
                  <a:lnTo>
                    <a:pt x="2482" y="2408"/>
                  </a:lnTo>
                  <a:lnTo>
                    <a:pt x="2485" y="2405"/>
                  </a:lnTo>
                  <a:lnTo>
                    <a:pt x="2485" y="2405"/>
                  </a:lnTo>
                  <a:lnTo>
                    <a:pt x="2485" y="2408"/>
                  </a:lnTo>
                  <a:lnTo>
                    <a:pt x="2485" y="2408"/>
                  </a:lnTo>
                  <a:lnTo>
                    <a:pt x="2485" y="2408"/>
                  </a:lnTo>
                  <a:lnTo>
                    <a:pt x="2485" y="2408"/>
                  </a:lnTo>
                  <a:lnTo>
                    <a:pt x="2487" y="2408"/>
                  </a:lnTo>
                  <a:lnTo>
                    <a:pt x="2487" y="2408"/>
                  </a:lnTo>
                  <a:lnTo>
                    <a:pt x="2487" y="2408"/>
                  </a:lnTo>
                  <a:lnTo>
                    <a:pt x="2487" y="2408"/>
                  </a:lnTo>
                  <a:lnTo>
                    <a:pt x="2487" y="2405"/>
                  </a:lnTo>
                  <a:lnTo>
                    <a:pt x="2487" y="2405"/>
                  </a:lnTo>
                  <a:lnTo>
                    <a:pt x="2487" y="2405"/>
                  </a:lnTo>
                  <a:lnTo>
                    <a:pt x="2497" y="2403"/>
                  </a:lnTo>
                  <a:lnTo>
                    <a:pt x="2497" y="2401"/>
                  </a:lnTo>
                  <a:lnTo>
                    <a:pt x="2499" y="2403"/>
                  </a:lnTo>
                  <a:lnTo>
                    <a:pt x="2499" y="2403"/>
                  </a:lnTo>
                  <a:lnTo>
                    <a:pt x="2504" y="2401"/>
                  </a:lnTo>
                  <a:lnTo>
                    <a:pt x="2504" y="2401"/>
                  </a:lnTo>
                  <a:lnTo>
                    <a:pt x="2504" y="2401"/>
                  </a:lnTo>
                  <a:lnTo>
                    <a:pt x="2501" y="2403"/>
                  </a:lnTo>
                  <a:lnTo>
                    <a:pt x="2501" y="2403"/>
                  </a:lnTo>
                  <a:lnTo>
                    <a:pt x="2501" y="2405"/>
                  </a:lnTo>
                  <a:lnTo>
                    <a:pt x="2501" y="2405"/>
                  </a:lnTo>
                  <a:lnTo>
                    <a:pt x="2501" y="2405"/>
                  </a:lnTo>
                  <a:lnTo>
                    <a:pt x="2499" y="2403"/>
                  </a:lnTo>
                  <a:lnTo>
                    <a:pt x="2499" y="2403"/>
                  </a:lnTo>
                  <a:lnTo>
                    <a:pt x="2499" y="2405"/>
                  </a:lnTo>
                  <a:lnTo>
                    <a:pt x="2497" y="2405"/>
                  </a:lnTo>
                  <a:lnTo>
                    <a:pt x="2494" y="2405"/>
                  </a:lnTo>
                  <a:lnTo>
                    <a:pt x="2494" y="2408"/>
                  </a:lnTo>
                  <a:lnTo>
                    <a:pt x="2492" y="2408"/>
                  </a:lnTo>
                  <a:lnTo>
                    <a:pt x="2492" y="2408"/>
                  </a:lnTo>
                  <a:lnTo>
                    <a:pt x="2492" y="2408"/>
                  </a:lnTo>
                  <a:lnTo>
                    <a:pt x="2492" y="2408"/>
                  </a:lnTo>
                  <a:lnTo>
                    <a:pt x="2492" y="2408"/>
                  </a:lnTo>
                  <a:lnTo>
                    <a:pt x="2492" y="2408"/>
                  </a:lnTo>
                  <a:lnTo>
                    <a:pt x="2490" y="2408"/>
                  </a:lnTo>
                  <a:lnTo>
                    <a:pt x="2490" y="2408"/>
                  </a:lnTo>
                  <a:lnTo>
                    <a:pt x="2490" y="2408"/>
                  </a:lnTo>
                  <a:lnTo>
                    <a:pt x="2490" y="2410"/>
                  </a:lnTo>
                  <a:lnTo>
                    <a:pt x="2490" y="2410"/>
                  </a:lnTo>
                  <a:lnTo>
                    <a:pt x="2490" y="2410"/>
                  </a:lnTo>
                  <a:lnTo>
                    <a:pt x="2490" y="2410"/>
                  </a:lnTo>
                  <a:lnTo>
                    <a:pt x="2487" y="2410"/>
                  </a:lnTo>
                  <a:lnTo>
                    <a:pt x="2487" y="2412"/>
                  </a:lnTo>
                  <a:lnTo>
                    <a:pt x="2485" y="2412"/>
                  </a:lnTo>
                  <a:lnTo>
                    <a:pt x="2482" y="2415"/>
                  </a:lnTo>
                  <a:lnTo>
                    <a:pt x="2480" y="2417"/>
                  </a:lnTo>
                  <a:lnTo>
                    <a:pt x="2480" y="2417"/>
                  </a:lnTo>
                  <a:lnTo>
                    <a:pt x="2480" y="2417"/>
                  </a:lnTo>
                  <a:lnTo>
                    <a:pt x="2480" y="2420"/>
                  </a:lnTo>
                  <a:lnTo>
                    <a:pt x="2480" y="2420"/>
                  </a:lnTo>
                  <a:lnTo>
                    <a:pt x="2480" y="2420"/>
                  </a:lnTo>
                  <a:lnTo>
                    <a:pt x="2480" y="2420"/>
                  </a:lnTo>
                  <a:lnTo>
                    <a:pt x="2480" y="2420"/>
                  </a:lnTo>
                  <a:lnTo>
                    <a:pt x="2480" y="2422"/>
                  </a:lnTo>
                  <a:lnTo>
                    <a:pt x="2480" y="2422"/>
                  </a:lnTo>
                  <a:lnTo>
                    <a:pt x="2480" y="2422"/>
                  </a:lnTo>
                  <a:lnTo>
                    <a:pt x="2482" y="2424"/>
                  </a:lnTo>
                  <a:lnTo>
                    <a:pt x="2482" y="2424"/>
                  </a:lnTo>
                  <a:lnTo>
                    <a:pt x="2485" y="2424"/>
                  </a:lnTo>
                  <a:lnTo>
                    <a:pt x="2485" y="2424"/>
                  </a:lnTo>
                  <a:lnTo>
                    <a:pt x="2482" y="2424"/>
                  </a:lnTo>
                  <a:lnTo>
                    <a:pt x="2485" y="2427"/>
                  </a:lnTo>
                  <a:lnTo>
                    <a:pt x="2485" y="2427"/>
                  </a:lnTo>
                  <a:lnTo>
                    <a:pt x="2485" y="2427"/>
                  </a:lnTo>
                  <a:lnTo>
                    <a:pt x="2485" y="2427"/>
                  </a:lnTo>
                  <a:lnTo>
                    <a:pt x="2482" y="2427"/>
                  </a:lnTo>
                  <a:lnTo>
                    <a:pt x="2482" y="2429"/>
                  </a:lnTo>
                  <a:lnTo>
                    <a:pt x="2482" y="2429"/>
                  </a:lnTo>
                  <a:lnTo>
                    <a:pt x="2482" y="2427"/>
                  </a:lnTo>
                  <a:lnTo>
                    <a:pt x="2482" y="2427"/>
                  </a:lnTo>
                  <a:lnTo>
                    <a:pt x="2478" y="2424"/>
                  </a:lnTo>
                  <a:lnTo>
                    <a:pt x="2475" y="2422"/>
                  </a:lnTo>
                  <a:lnTo>
                    <a:pt x="2475" y="2422"/>
                  </a:lnTo>
                  <a:lnTo>
                    <a:pt x="2475" y="2422"/>
                  </a:lnTo>
                  <a:lnTo>
                    <a:pt x="2475" y="2424"/>
                  </a:lnTo>
                  <a:lnTo>
                    <a:pt x="2475" y="2424"/>
                  </a:lnTo>
                  <a:lnTo>
                    <a:pt x="2475" y="2424"/>
                  </a:lnTo>
                  <a:lnTo>
                    <a:pt x="2475" y="2424"/>
                  </a:lnTo>
                  <a:lnTo>
                    <a:pt x="2473" y="2424"/>
                  </a:lnTo>
                  <a:lnTo>
                    <a:pt x="2473" y="2424"/>
                  </a:lnTo>
                  <a:lnTo>
                    <a:pt x="2473" y="2424"/>
                  </a:lnTo>
                  <a:lnTo>
                    <a:pt x="2473" y="2424"/>
                  </a:lnTo>
                  <a:lnTo>
                    <a:pt x="2473" y="2424"/>
                  </a:lnTo>
                  <a:lnTo>
                    <a:pt x="2473" y="2422"/>
                  </a:lnTo>
                  <a:lnTo>
                    <a:pt x="2473" y="2422"/>
                  </a:lnTo>
                  <a:lnTo>
                    <a:pt x="2473" y="2422"/>
                  </a:lnTo>
                  <a:lnTo>
                    <a:pt x="2473" y="2422"/>
                  </a:lnTo>
                  <a:lnTo>
                    <a:pt x="2473" y="2420"/>
                  </a:lnTo>
                  <a:lnTo>
                    <a:pt x="2473" y="2417"/>
                  </a:lnTo>
                  <a:lnTo>
                    <a:pt x="2473" y="2417"/>
                  </a:lnTo>
                  <a:lnTo>
                    <a:pt x="2473" y="2417"/>
                  </a:lnTo>
                  <a:lnTo>
                    <a:pt x="2473" y="2417"/>
                  </a:lnTo>
                  <a:lnTo>
                    <a:pt x="2473" y="2415"/>
                  </a:lnTo>
                  <a:lnTo>
                    <a:pt x="2471" y="2415"/>
                  </a:lnTo>
                  <a:lnTo>
                    <a:pt x="2471" y="2415"/>
                  </a:lnTo>
                  <a:lnTo>
                    <a:pt x="2468" y="2415"/>
                  </a:lnTo>
                  <a:lnTo>
                    <a:pt x="2466" y="2415"/>
                  </a:lnTo>
                  <a:lnTo>
                    <a:pt x="2466" y="2415"/>
                  </a:lnTo>
                  <a:lnTo>
                    <a:pt x="2466" y="2415"/>
                  </a:lnTo>
                  <a:lnTo>
                    <a:pt x="2466" y="2415"/>
                  </a:lnTo>
                  <a:lnTo>
                    <a:pt x="2468" y="2415"/>
                  </a:lnTo>
                  <a:lnTo>
                    <a:pt x="2471" y="2415"/>
                  </a:lnTo>
                  <a:lnTo>
                    <a:pt x="2468" y="2417"/>
                  </a:lnTo>
                  <a:lnTo>
                    <a:pt x="2468" y="2420"/>
                  </a:lnTo>
                  <a:lnTo>
                    <a:pt x="2468" y="2420"/>
                  </a:lnTo>
                  <a:lnTo>
                    <a:pt x="2466" y="2422"/>
                  </a:lnTo>
                  <a:lnTo>
                    <a:pt x="2464" y="2422"/>
                  </a:lnTo>
                  <a:lnTo>
                    <a:pt x="2464" y="2424"/>
                  </a:lnTo>
                  <a:lnTo>
                    <a:pt x="2461" y="2424"/>
                  </a:lnTo>
                  <a:lnTo>
                    <a:pt x="2456" y="2429"/>
                  </a:lnTo>
                  <a:lnTo>
                    <a:pt x="2452" y="2436"/>
                  </a:lnTo>
                  <a:lnTo>
                    <a:pt x="2447" y="2441"/>
                  </a:lnTo>
                  <a:lnTo>
                    <a:pt x="2447" y="2443"/>
                  </a:lnTo>
                  <a:lnTo>
                    <a:pt x="2447" y="2443"/>
                  </a:lnTo>
                  <a:lnTo>
                    <a:pt x="2442" y="2448"/>
                  </a:lnTo>
                  <a:lnTo>
                    <a:pt x="2442" y="2448"/>
                  </a:lnTo>
                  <a:lnTo>
                    <a:pt x="2440" y="2448"/>
                  </a:lnTo>
                  <a:lnTo>
                    <a:pt x="2440" y="2450"/>
                  </a:lnTo>
                  <a:lnTo>
                    <a:pt x="2435" y="2455"/>
                  </a:lnTo>
                  <a:lnTo>
                    <a:pt x="2433" y="2460"/>
                  </a:lnTo>
                  <a:lnTo>
                    <a:pt x="2433" y="2462"/>
                  </a:lnTo>
                  <a:lnTo>
                    <a:pt x="2433" y="2462"/>
                  </a:lnTo>
                  <a:lnTo>
                    <a:pt x="2433" y="2462"/>
                  </a:lnTo>
                  <a:lnTo>
                    <a:pt x="2435" y="2460"/>
                  </a:lnTo>
                  <a:lnTo>
                    <a:pt x="2435" y="2460"/>
                  </a:lnTo>
                  <a:lnTo>
                    <a:pt x="2435" y="2460"/>
                  </a:lnTo>
                  <a:lnTo>
                    <a:pt x="2438" y="2457"/>
                  </a:lnTo>
                  <a:lnTo>
                    <a:pt x="2440" y="2455"/>
                  </a:lnTo>
                  <a:lnTo>
                    <a:pt x="2440" y="2455"/>
                  </a:lnTo>
                  <a:lnTo>
                    <a:pt x="2442" y="2455"/>
                  </a:lnTo>
                  <a:lnTo>
                    <a:pt x="2442" y="2455"/>
                  </a:lnTo>
                  <a:lnTo>
                    <a:pt x="2440" y="2455"/>
                  </a:lnTo>
                  <a:lnTo>
                    <a:pt x="2440" y="2457"/>
                  </a:lnTo>
                  <a:lnTo>
                    <a:pt x="2438" y="2457"/>
                  </a:lnTo>
                  <a:lnTo>
                    <a:pt x="2438" y="2460"/>
                  </a:lnTo>
                  <a:lnTo>
                    <a:pt x="2438" y="2460"/>
                  </a:lnTo>
                  <a:lnTo>
                    <a:pt x="2438" y="2462"/>
                  </a:lnTo>
                  <a:lnTo>
                    <a:pt x="2438" y="2462"/>
                  </a:lnTo>
                  <a:lnTo>
                    <a:pt x="2435" y="2462"/>
                  </a:lnTo>
                  <a:lnTo>
                    <a:pt x="2435" y="2465"/>
                  </a:lnTo>
                  <a:lnTo>
                    <a:pt x="2435" y="2465"/>
                  </a:lnTo>
                  <a:lnTo>
                    <a:pt x="2435" y="2465"/>
                  </a:lnTo>
                  <a:lnTo>
                    <a:pt x="2433" y="2467"/>
                  </a:lnTo>
                  <a:lnTo>
                    <a:pt x="2433" y="2467"/>
                  </a:lnTo>
                  <a:lnTo>
                    <a:pt x="2433" y="2467"/>
                  </a:lnTo>
                  <a:lnTo>
                    <a:pt x="2433" y="2465"/>
                  </a:lnTo>
                  <a:lnTo>
                    <a:pt x="2433" y="2465"/>
                  </a:lnTo>
                  <a:lnTo>
                    <a:pt x="2433" y="2465"/>
                  </a:lnTo>
                  <a:lnTo>
                    <a:pt x="2433" y="2465"/>
                  </a:lnTo>
                  <a:lnTo>
                    <a:pt x="2433" y="2462"/>
                  </a:lnTo>
                  <a:lnTo>
                    <a:pt x="2430" y="2462"/>
                  </a:lnTo>
                  <a:lnTo>
                    <a:pt x="2430" y="2462"/>
                  </a:lnTo>
                  <a:lnTo>
                    <a:pt x="2428" y="2465"/>
                  </a:lnTo>
                  <a:lnTo>
                    <a:pt x="2428" y="2467"/>
                  </a:lnTo>
                  <a:lnTo>
                    <a:pt x="2426" y="2469"/>
                  </a:lnTo>
                  <a:lnTo>
                    <a:pt x="2421" y="2479"/>
                  </a:lnTo>
                  <a:lnTo>
                    <a:pt x="2421" y="2481"/>
                  </a:lnTo>
                  <a:lnTo>
                    <a:pt x="2421" y="2481"/>
                  </a:lnTo>
                  <a:lnTo>
                    <a:pt x="2421" y="2481"/>
                  </a:lnTo>
                  <a:lnTo>
                    <a:pt x="2426" y="2474"/>
                  </a:lnTo>
                  <a:lnTo>
                    <a:pt x="2426" y="2469"/>
                  </a:lnTo>
                  <a:lnTo>
                    <a:pt x="2428" y="2469"/>
                  </a:lnTo>
                  <a:lnTo>
                    <a:pt x="2428" y="2469"/>
                  </a:lnTo>
                  <a:lnTo>
                    <a:pt x="2428" y="2469"/>
                  </a:lnTo>
                  <a:lnTo>
                    <a:pt x="2428" y="2469"/>
                  </a:lnTo>
                  <a:lnTo>
                    <a:pt x="2430" y="2469"/>
                  </a:lnTo>
                  <a:lnTo>
                    <a:pt x="2430" y="2469"/>
                  </a:lnTo>
                  <a:lnTo>
                    <a:pt x="2430" y="2469"/>
                  </a:lnTo>
                  <a:lnTo>
                    <a:pt x="2430" y="2472"/>
                  </a:lnTo>
                  <a:lnTo>
                    <a:pt x="2430" y="2472"/>
                  </a:lnTo>
                  <a:lnTo>
                    <a:pt x="2428" y="2474"/>
                  </a:lnTo>
                  <a:lnTo>
                    <a:pt x="2428" y="2474"/>
                  </a:lnTo>
                  <a:lnTo>
                    <a:pt x="2426" y="2479"/>
                  </a:lnTo>
                  <a:lnTo>
                    <a:pt x="2426" y="2479"/>
                  </a:lnTo>
                  <a:lnTo>
                    <a:pt x="2426" y="2479"/>
                  </a:lnTo>
                  <a:lnTo>
                    <a:pt x="2426" y="2481"/>
                  </a:lnTo>
                  <a:lnTo>
                    <a:pt x="2426" y="2481"/>
                  </a:lnTo>
                  <a:lnTo>
                    <a:pt x="2423" y="2483"/>
                  </a:lnTo>
                  <a:lnTo>
                    <a:pt x="2426" y="2488"/>
                  </a:lnTo>
                  <a:lnTo>
                    <a:pt x="2426" y="2491"/>
                  </a:lnTo>
                  <a:lnTo>
                    <a:pt x="2426" y="2491"/>
                  </a:lnTo>
                  <a:lnTo>
                    <a:pt x="2423" y="2493"/>
                  </a:lnTo>
                  <a:lnTo>
                    <a:pt x="2423" y="2493"/>
                  </a:lnTo>
                  <a:lnTo>
                    <a:pt x="2426" y="2495"/>
                  </a:lnTo>
                  <a:lnTo>
                    <a:pt x="2426" y="2495"/>
                  </a:lnTo>
                  <a:lnTo>
                    <a:pt x="2426" y="2498"/>
                  </a:lnTo>
                  <a:lnTo>
                    <a:pt x="2426" y="2498"/>
                  </a:lnTo>
                  <a:lnTo>
                    <a:pt x="2426" y="2498"/>
                  </a:lnTo>
                  <a:lnTo>
                    <a:pt x="2428" y="2500"/>
                  </a:lnTo>
                  <a:lnTo>
                    <a:pt x="2428" y="2500"/>
                  </a:lnTo>
                  <a:lnTo>
                    <a:pt x="2428" y="2500"/>
                  </a:lnTo>
                  <a:lnTo>
                    <a:pt x="2428" y="2500"/>
                  </a:lnTo>
                  <a:lnTo>
                    <a:pt x="2428" y="2502"/>
                  </a:lnTo>
                  <a:lnTo>
                    <a:pt x="2428" y="2502"/>
                  </a:lnTo>
                  <a:lnTo>
                    <a:pt x="2428" y="2502"/>
                  </a:lnTo>
                  <a:lnTo>
                    <a:pt x="2430" y="2505"/>
                  </a:lnTo>
                  <a:lnTo>
                    <a:pt x="2430" y="2505"/>
                  </a:lnTo>
                  <a:lnTo>
                    <a:pt x="2430" y="2505"/>
                  </a:lnTo>
                  <a:lnTo>
                    <a:pt x="2430" y="2507"/>
                  </a:lnTo>
                  <a:lnTo>
                    <a:pt x="2430" y="2507"/>
                  </a:lnTo>
                  <a:lnTo>
                    <a:pt x="2430" y="2507"/>
                  </a:lnTo>
                  <a:lnTo>
                    <a:pt x="2430" y="2507"/>
                  </a:lnTo>
                  <a:lnTo>
                    <a:pt x="2430" y="2507"/>
                  </a:lnTo>
                  <a:lnTo>
                    <a:pt x="2430" y="2507"/>
                  </a:lnTo>
                  <a:lnTo>
                    <a:pt x="2430" y="2507"/>
                  </a:lnTo>
                  <a:lnTo>
                    <a:pt x="2430" y="2509"/>
                  </a:lnTo>
                  <a:lnTo>
                    <a:pt x="2430" y="2509"/>
                  </a:lnTo>
                  <a:lnTo>
                    <a:pt x="2430" y="2509"/>
                  </a:lnTo>
                  <a:lnTo>
                    <a:pt x="2430" y="2509"/>
                  </a:lnTo>
                  <a:lnTo>
                    <a:pt x="2430" y="2507"/>
                  </a:lnTo>
                  <a:lnTo>
                    <a:pt x="2433" y="2507"/>
                  </a:lnTo>
                  <a:lnTo>
                    <a:pt x="2433" y="2507"/>
                  </a:lnTo>
                  <a:lnTo>
                    <a:pt x="2433" y="2509"/>
                  </a:lnTo>
                  <a:lnTo>
                    <a:pt x="2433" y="2509"/>
                  </a:lnTo>
                  <a:lnTo>
                    <a:pt x="2433" y="2509"/>
                  </a:lnTo>
                  <a:lnTo>
                    <a:pt x="2433" y="2514"/>
                  </a:lnTo>
                  <a:lnTo>
                    <a:pt x="2433" y="2512"/>
                  </a:lnTo>
                  <a:lnTo>
                    <a:pt x="2433" y="2512"/>
                  </a:lnTo>
                  <a:lnTo>
                    <a:pt x="2435" y="2512"/>
                  </a:lnTo>
                  <a:lnTo>
                    <a:pt x="2435" y="2512"/>
                  </a:lnTo>
                  <a:lnTo>
                    <a:pt x="2435" y="2512"/>
                  </a:lnTo>
                  <a:lnTo>
                    <a:pt x="2435" y="2512"/>
                  </a:lnTo>
                  <a:lnTo>
                    <a:pt x="2435" y="2514"/>
                  </a:lnTo>
                  <a:lnTo>
                    <a:pt x="2435" y="2514"/>
                  </a:lnTo>
                  <a:lnTo>
                    <a:pt x="2435" y="2512"/>
                  </a:lnTo>
                  <a:lnTo>
                    <a:pt x="2435" y="2512"/>
                  </a:lnTo>
                  <a:lnTo>
                    <a:pt x="2438" y="2512"/>
                  </a:lnTo>
                  <a:lnTo>
                    <a:pt x="2438" y="2514"/>
                  </a:lnTo>
                  <a:lnTo>
                    <a:pt x="2438" y="2514"/>
                  </a:lnTo>
                  <a:lnTo>
                    <a:pt x="2438" y="2514"/>
                  </a:lnTo>
                  <a:lnTo>
                    <a:pt x="2438" y="2514"/>
                  </a:lnTo>
                  <a:lnTo>
                    <a:pt x="2438" y="2514"/>
                  </a:lnTo>
                  <a:lnTo>
                    <a:pt x="2438" y="2514"/>
                  </a:lnTo>
                  <a:lnTo>
                    <a:pt x="2438" y="2514"/>
                  </a:lnTo>
                  <a:lnTo>
                    <a:pt x="2438" y="2514"/>
                  </a:lnTo>
                  <a:lnTo>
                    <a:pt x="2438" y="2514"/>
                  </a:lnTo>
                  <a:lnTo>
                    <a:pt x="2438" y="2512"/>
                  </a:lnTo>
                  <a:lnTo>
                    <a:pt x="2438" y="2512"/>
                  </a:lnTo>
                  <a:lnTo>
                    <a:pt x="2438" y="2512"/>
                  </a:lnTo>
                  <a:lnTo>
                    <a:pt x="2440" y="2512"/>
                  </a:lnTo>
                  <a:lnTo>
                    <a:pt x="2440" y="2514"/>
                  </a:lnTo>
                  <a:lnTo>
                    <a:pt x="2440" y="2514"/>
                  </a:lnTo>
                  <a:lnTo>
                    <a:pt x="2440" y="2512"/>
                  </a:lnTo>
                  <a:lnTo>
                    <a:pt x="2440" y="2512"/>
                  </a:lnTo>
                  <a:lnTo>
                    <a:pt x="2438" y="2512"/>
                  </a:lnTo>
                  <a:lnTo>
                    <a:pt x="2438" y="2509"/>
                  </a:lnTo>
                  <a:lnTo>
                    <a:pt x="2438" y="2509"/>
                  </a:lnTo>
                  <a:lnTo>
                    <a:pt x="2438" y="2507"/>
                  </a:lnTo>
                  <a:lnTo>
                    <a:pt x="2438" y="2507"/>
                  </a:lnTo>
                  <a:lnTo>
                    <a:pt x="2435" y="2507"/>
                  </a:lnTo>
                  <a:lnTo>
                    <a:pt x="2435" y="2507"/>
                  </a:lnTo>
                  <a:lnTo>
                    <a:pt x="2435" y="2507"/>
                  </a:lnTo>
                  <a:lnTo>
                    <a:pt x="2438" y="2507"/>
                  </a:lnTo>
                  <a:lnTo>
                    <a:pt x="2438" y="2507"/>
                  </a:lnTo>
                  <a:lnTo>
                    <a:pt x="2438" y="2507"/>
                  </a:lnTo>
                  <a:lnTo>
                    <a:pt x="2438" y="2509"/>
                  </a:lnTo>
                  <a:lnTo>
                    <a:pt x="2438" y="2509"/>
                  </a:lnTo>
                  <a:lnTo>
                    <a:pt x="2438" y="2509"/>
                  </a:lnTo>
                  <a:lnTo>
                    <a:pt x="2440" y="2509"/>
                  </a:lnTo>
                  <a:lnTo>
                    <a:pt x="2440" y="2507"/>
                  </a:lnTo>
                  <a:lnTo>
                    <a:pt x="2440" y="2507"/>
                  </a:lnTo>
                  <a:lnTo>
                    <a:pt x="2440" y="2507"/>
                  </a:lnTo>
                  <a:lnTo>
                    <a:pt x="2440" y="2507"/>
                  </a:lnTo>
                  <a:lnTo>
                    <a:pt x="2440" y="2507"/>
                  </a:lnTo>
                  <a:lnTo>
                    <a:pt x="2440" y="2507"/>
                  </a:lnTo>
                  <a:lnTo>
                    <a:pt x="2440" y="2507"/>
                  </a:lnTo>
                  <a:lnTo>
                    <a:pt x="2442" y="2509"/>
                  </a:lnTo>
                  <a:lnTo>
                    <a:pt x="2442" y="2509"/>
                  </a:lnTo>
                  <a:lnTo>
                    <a:pt x="2442" y="2509"/>
                  </a:lnTo>
                  <a:lnTo>
                    <a:pt x="2442" y="2509"/>
                  </a:lnTo>
                  <a:lnTo>
                    <a:pt x="2442" y="2507"/>
                  </a:lnTo>
                  <a:lnTo>
                    <a:pt x="2442" y="2507"/>
                  </a:lnTo>
                  <a:lnTo>
                    <a:pt x="2442" y="2507"/>
                  </a:lnTo>
                  <a:lnTo>
                    <a:pt x="2442" y="2509"/>
                  </a:lnTo>
                  <a:lnTo>
                    <a:pt x="2442" y="2509"/>
                  </a:lnTo>
                  <a:lnTo>
                    <a:pt x="2445" y="2509"/>
                  </a:lnTo>
                  <a:lnTo>
                    <a:pt x="2445" y="2512"/>
                  </a:lnTo>
                  <a:lnTo>
                    <a:pt x="2445" y="2512"/>
                  </a:lnTo>
                  <a:lnTo>
                    <a:pt x="2445" y="2512"/>
                  </a:lnTo>
                  <a:lnTo>
                    <a:pt x="2445" y="2514"/>
                  </a:lnTo>
                  <a:lnTo>
                    <a:pt x="2447" y="2514"/>
                  </a:lnTo>
                  <a:lnTo>
                    <a:pt x="2447" y="2517"/>
                  </a:lnTo>
                  <a:lnTo>
                    <a:pt x="2447" y="2517"/>
                  </a:lnTo>
                  <a:lnTo>
                    <a:pt x="2447" y="2514"/>
                  </a:lnTo>
                  <a:lnTo>
                    <a:pt x="2447" y="2514"/>
                  </a:lnTo>
                  <a:lnTo>
                    <a:pt x="2447" y="2514"/>
                  </a:lnTo>
                  <a:lnTo>
                    <a:pt x="2447" y="2514"/>
                  </a:lnTo>
                  <a:lnTo>
                    <a:pt x="2447" y="2512"/>
                  </a:lnTo>
                  <a:lnTo>
                    <a:pt x="2447" y="2512"/>
                  </a:lnTo>
                  <a:lnTo>
                    <a:pt x="2447" y="2512"/>
                  </a:lnTo>
                  <a:lnTo>
                    <a:pt x="2447" y="2512"/>
                  </a:lnTo>
                  <a:lnTo>
                    <a:pt x="2447" y="2512"/>
                  </a:lnTo>
                  <a:lnTo>
                    <a:pt x="2447" y="2514"/>
                  </a:lnTo>
                  <a:lnTo>
                    <a:pt x="2447" y="2517"/>
                  </a:lnTo>
                  <a:lnTo>
                    <a:pt x="2449" y="2519"/>
                  </a:lnTo>
                  <a:lnTo>
                    <a:pt x="2449" y="2519"/>
                  </a:lnTo>
                  <a:lnTo>
                    <a:pt x="2449" y="2519"/>
                  </a:lnTo>
                  <a:lnTo>
                    <a:pt x="2449" y="2519"/>
                  </a:lnTo>
                  <a:lnTo>
                    <a:pt x="2449" y="2519"/>
                  </a:lnTo>
                  <a:lnTo>
                    <a:pt x="2449" y="2519"/>
                  </a:lnTo>
                  <a:lnTo>
                    <a:pt x="2449" y="2517"/>
                  </a:lnTo>
                  <a:lnTo>
                    <a:pt x="2449" y="2517"/>
                  </a:lnTo>
                  <a:lnTo>
                    <a:pt x="2449" y="2517"/>
                  </a:lnTo>
                  <a:lnTo>
                    <a:pt x="2449" y="2517"/>
                  </a:lnTo>
                  <a:lnTo>
                    <a:pt x="2449" y="2517"/>
                  </a:lnTo>
                  <a:lnTo>
                    <a:pt x="2449" y="2517"/>
                  </a:lnTo>
                  <a:lnTo>
                    <a:pt x="2452" y="2519"/>
                  </a:lnTo>
                  <a:lnTo>
                    <a:pt x="2452" y="2519"/>
                  </a:lnTo>
                  <a:lnTo>
                    <a:pt x="2452" y="2519"/>
                  </a:lnTo>
                  <a:lnTo>
                    <a:pt x="2452" y="2519"/>
                  </a:lnTo>
                  <a:lnTo>
                    <a:pt x="2452" y="2519"/>
                  </a:lnTo>
                  <a:lnTo>
                    <a:pt x="2454" y="2519"/>
                  </a:lnTo>
                  <a:lnTo>
                    <a:pt x="2454" y="2519"/>
                  </a:lnTo>
                  <a:lnTo>
                    <a:pt x="2454" y="2519"/>
                  </a:lnTo>
                  <a:lnTo>
                    <a:pt x="2454" y="2519"/>
                  </a:lnTo>
                  <a:lnTo>
                    <a:pt x="2454" y="2519"/>
                  </a:lnTo>
                  <a:lnTo>
                    <a:pt x="2454" y="2519"/>
                  </a:lnTo>
                  <a:lnTo>
                    <a:pt x="2454" y="2519"/>
                  </a:lnTo>
                  <a:lnTo>
                    <a:pt x="2454" y="2517"/>
                  </a:lnTo>
                  <a:lnTo>
                    <a:pt x="2456" y="2517"/>
                  </a:lnTo>
                  <a:lnTo>
                    <a:pt x="2456" y="2514"/>
                  </a:lnTo>
                  <a:lnTo>
                    <a:pt x="2456" y="2514"/>
                  </a:lnTo>
                  <a:lnTo>
                    <a:pt x="2456" y="2514"/>
                  </a:lnTo>
                  <a:lnTo>
                    <a:pt x="2456" y="2517"/>
                  </a:lnTo>
                  <a:lnTo>
                    <a:pt x="2456" y="2517"/>
                  </a:lnTo>
                  <a:lnTo>
                    <a:pt x="2456" y="2517"/>
                  </a:lnTo>
                  <a:lnTo>
                    <a:pt x="2456" y="2517"/>
                  </a:lnTo>
                  <a:lnTo>
                    <a:pt x="2456" y="2517"/>
                  </a:lnTo>
                  <a:lnTo>
                    <a:pt x="2459" y="2517"/>
                  </a:lnTo>
                  <a:lnTo>
                    <a:pt x="2459" y="2519"/>
                  </a:lnTo>
                  <a:lnTo>
                    <a:pt x="2459" y="2519"/>
                  </a:lnTo>
                  <a:lnTo>
                    <a:pt x="2461" y="2519"/>
                  </a:lnTo>
                  <a:lnTo>
                    <a:pt x="2461" y="2519"/>
                  </a:lnTo>
                  <a:lnTo>
                    <a:pt x="2461" y="2519"/>
                  </a:lnTo>
                  <a:lnTo>
                    <a:pt x="2461" y="2519"/>
                  </a:lnTo>
                  <a:lnTo>
                    <a:pt x="2461" y="2519"/>
                  </a:lnTo>
                  <a:lnTo>
                    <a:pt x="2461" y="2517"/>
                  </a:lnTo>
                  <a:lnTo>
                    <a:pt x="2459" y="2517"/>
                  </a:lnTo>
                  <a:lnTo>
                    <a:pt x="2461" y="2517"/>
                  </a:lnTo>
                  <a:lnTo>
                    <a:pt x="2461" y="2517"/>
                  </a:lnTo>
                  <a:lnTo>
                    <a:pt x="2461" y="2517"/>
                  </a:lnTo>
                  <a:lnTo>
                    <a:pt x="2461" y="2514"/>
                  </a:lnTo>
                  <a:lnTo>
                    <a:pt x="2461" y="2514"/>
                  </a:lnTo>
                  <a:lnTo>
                    <a:pt x="2461" y="2514"/>
                  </a:lnTo>
                  <a:lnTo>
                    <a:pt x="2461" y="2514"/>
                  </a:lnTo>
                  <a:lnTo>
                    <a:pt x="2461" y="2514"/>
                  </a:lnTo>
                  <a:lnTo>
                    <a:pt x="2461" y="2517"/>
                  </a:lnTo>
                  <a:lnTo>
                    <a:pt x="2464" y="2517"/>
                  </a:lnTo>
                  <a:lnTo>
                    <a:pt x="2464" y="2517"/>
                  </a:lnTo>
                  <a:lnTo>
                    <a:pt x="2464" y="2517"/>
                  </a:lnTo>
                  <a:lnTo>
                    <a:pt x="2464" y="2517"/>
                  </a:lnTo>
                  <a:lnTo>
                    <a:pt x="2461" y="2514"/>
                  </a:lnTo>
                  <a:lnTo>
                    <a:pt x="2459" y="2512"/>
                  </a:lnTo>
                  <a:lnTo>
                    <a:pt x="2459" y="2512"/>
                  </a:lnTo>
                  <a:lnTo>
                    <a:pt x="2461" y="2512"/>
                  </a:lnTo>
                  <a:lnTo>
                    <a:pt x="2461" y="2514"/>
                  </a:lnTo>
                  <a:lnTo>
                    <a:pt x="2461" y="2514"/>
                  </a:lnTo>
                  <a:lnTo>
                    <a:pt x="2464" y="2514"/>
                  </a:lnTo>
                  <a:lnTo>
                    <a:pt x="2464" y="2512"/>
                  </a:lnTo>
                  <a:lnTo>
                    <a:pt x="2464" y="2512"/>
                  </a:lnTo>
                  <a:lnTo>
                    <a:pt x="2464" y="2512"/>
                  </a:lnTo>
                  <a:lnTo>
                    <a:pt x="2464" y="2514"/>
                  </a:lnTo>
                  <a:lnTo>
                    <a:pt x="2464" y="2512"/>
                  </a:lnTo>
                  <a:lnTo>
                    <a:pt x="2464" y="2512"/>
                  </a:lnTo>
                  <a:lnTo>
                    <a:pt x="2464" y="2512"/>
                  </a:lnTo>
                  <a:lnTo>
                    <a:pt x="2464" y="2512"/>
                  </a:lnTo>
                  <a:lnTo>
                    <a:pt x="2464" y="2512"/>
                  </a:lnTo>
                  <a:lnTo>
                    <a:pt x="2464" y="2509"/>
                  </a:lnTo>
                  <a:lnTo>
                    <a:pt x="2464" y="2509"/>
                  </a:lnTo>
                  <a:lnTo>
                    <a:pt x="2464" y="2509"/>
                  </a:lnTo>
                  <a:lnTo>
                    <a:pt x="2464" y="2509"/>
                  </a:lnTo>
                  <a:lnTo>
                    <a:pt x="2464" y="2509"/>
                  </a:lnTo>
                  <a:lnTo>
                    <a:pt x="2464" y="2507"/>
                  </a:lnTo>
                  <a:lnTo>
                    <a:pt x="2461" y="2507"/>
                  </a:lnTo>
                  <a:lnTo>
                    <a:pt x="2461" y="2505"/>
                  </a:lnTo>
                  <a:lnTo>
                    <a:pt x="2461" y="2505"/>
                  </a:lnTo>
                  <a:lnTo>
                    <a:pt x="2461" y="2505"/>
                  </a:lnTo>
                  <a:lnTo>
                    <a:pt x="2461" y="2505"/>
                  </a:lnTo>
                  <a:lnTo>
                    <a:pt x="2461" y="2505"/>
                  </a:lnTo>
                  <a:lnTo>
                    <a:pt x="2461" y="2502"/>
                  </a:lnTo>
                  <a:lnTo>
                    <a:pt x="2461" y="2502"/>
                  </a:lnTo>
                  <a:lnTo>
                    <a:pt x="2461" y="2502"/>
                  </a:lnTo>
                  <a:lnTo>
                    <a:pt x="2461" y="2502"/>
                  </a:lnTo>
                  <a:lnTo>
                    <a:pt x="2464" y="2505"/>
                  </a:lnTo>
                  <a:lnTo>
                    <a:pt x="2464" y="2505"/>
                  </a:lnTo>
                  <a:lnTo>
                    <a:pt x="2464" y="2505"/>
                  </a:lnTo>
                  <a:lnTo>
                    <a:pt x="2464" y="2507"/>
                  </a:lnTo>
                  <a:lnTo>
                    <a:pt x="2464" y="2507"/>
                  </a:lnTo>
                  <a:lnTo>
                    <a:pt x="2466" y="2507"/>
                  </a:lnTo>
                  <a:lnTo>
                    <a:pt x="2466" y="2507"/>
                  </a:lnTo>
                  <a:lnTo>
                    <a:pt x="2466" y="2505"/>
                  </a:lnTo>
                  <a:lnTo>
                    <a:pt x="2466" y="2505"/>
                  </a:lnTo>
                  <a:lnTo>
                    <a:pt x="2464" y="2502"/>
                  </a:lnTo>
                  <a:lnTo>
                    <a:pt x="2464" y="2502"/>
                  </a:lnTo>
                  <a:lnTo>
                    <a:pt x="2464" y="2500"/>
                  </a:lnTo>
                  <a:lnTo>
                    <a:pt x="2464" y="2500"/>
                  </a:lnTo>
                  <a:lnTo>
                    <a:pt x="2464" y="2500"/>
                  </a:lnTo>
                  <a:lnTo>
                    <a:pt x="2464" y="2500"/>
                  </a:lnTo>
                  <a:lnTo>
                    <a:pt x="2464" y="2500"/>
                  </a:lnTo>
                  <a:lnTo>
                    <a:pt x="2466" y="2500"/>
                  </a:lnTo>
                  <a:lnTo>
                    <a:pt x="2466" y="2500"/>
                  </a:lnTo>
                  <a:lnTo>
                    <a:pt x="2466" y="2502"/>
                  </a:lnTo>
                  <a:lnTo>
                    <a:pt x="2466" y="2502"/>
                  </a:lnTo>
                  <a:lnTo>
                    <a:pt x="2468" y="2505"/>
                  </a:lnTo>
                  <a:lnTo>
                    <a:pt x="2468" y="2505"/>
                  </a:lnTo>
                  <a:lnTo>
                    <a:pt x="2468" y="2505"/>
                  </a:lnTo>
                  <a:lnTo>
                    <a:pt x="2468" y="2502"/>
                  </a:lnTo>
                  <a:lnTo>
                    <a:pt x="2468" y="2502"/>
                  </a:lnTo>
                  <a:lnTo>
                    <a:pt x="2468" y="2502"/>
                  </a:lnTo>
                  <a:lnTo>
                    <a:pt x="2468" y="2505"/>
                  </a:lnTo>
                  <a:lnTo>
                    <a:pt x="2468" y="2505"/>
                  </a:lnTo>
                  <a:lnTo>
                    <a:pt x="2471" y="2505"/>
                  </a:lnTo>
                  <a:lnTo>
                    <a:pt x="2471" y="2505"/>
                  </a:lnTo>
                  <a:lnTo>
                    <a:pt x="2471" y="2502"/>
                  </a:lnTo>
                  <a:lnTo>
                    <a:pt x="2471" y="2500"/>
                  </a:lnTo>
                  <a:lnTo>
                    <a:pt x="2471" y="2500"/>
                  </a:lnTo>
                  <a:lnTo>
                    <a:pt x="2471" y="2502"/>
                  </a:lnTo>
                  <a:lnTo>
                    <a:pt x="2473" y="2502"/>
                  </a:lnTo>
                  <a:lnTo>
                    <a:pt x="2473" y="2502"/>
                  </a:lnTo>
                  <a:lnTo>
                    <a:pt x="2473" y="2502"/>
                  </a:lnTo>
                  <a:lnTo>
                    <a:pt x="2473" y="2502"/>
                  </a:lnTo>
                  <a:lnTo>
                    <a:pt x="2473" y="2502"/>
                  </a:lnTo>
                  <a:lnTo>
                    <a:pt x="2473" y="2502"/>
                  </a:lnTo>
                  <a:lnTo>
                    <a:pt x="2473" y="2502"/>
                  </a:lnTo>
                  <a:lnTo>
                    <a:pt x="2473" y="2502"/>
                  </a:lnTo>
                  <a:lnTo>
                    <a:pt x="2473" y="2502"/>
                  </a:lnTo>
                  <a:lnTo>
                    <a:pt x="2473" y="2500"/>
                  </a:lnTo>
                  <a:lnTo>
                    <a:pt x="2473" y="2500"/>
                  </a:lnTo>
                  <a:lnTo>
                    <a:pt x="2473" y="2500"/>
                  </a:lnTo>
                  <a:lnTo>
                    <a:pt x="2473" y="2500"/>
                  </a:lnTo>
                  <a:lnTo>
                    <a:pt x="2471" y="2498"/>
                  </a:lnTo>
                  <a:lnTo>
                    <a:pt x="2471" y="2495"/>
                  </a:lnTo>
                  <a:lnTo>
                    <a:pt x="2471" y="2498"/>
                  </a:lnTo>
                  <a:lnTo>
                    <a:pt x="2473" y="2498"/>
                  </a:lnTo>
                  <a:lnTo>
                    <a:pt x="2473" y="2500"/>
                  </a:lnTo>
                  <a:lnTo>
                    <a:pt x="2475" y="2500"/>
                  </a:lnTo>
                  <a:lnTo>
                    <a:pt x="2475" y="2498"/>
                  </a:lnTo>
                  <a:lnTo>
                    <a:pt x="2475" y="2498"/>
                  </a:lnTo>
                  <a:lnTo>
                    <a:pt x="2475" y="2498"/>
                  </a:lnTo>
                  <a:lnTo>
                    <a:pt x="2475" y="2495"/>
                  </a:lnTo>
                  <a:lnTo>
                    <a:pt x="2475" y="2495"/>
                  </a:lnTo>
                  <a:lnTo>
                    <a:pt x="2473" y="2493"/>
                  </a:lnTo>
                  <a:lnTo>
                    <a:pt x="2473" y="2493"/>
                  </a:lnTo>
                  <a:lnTo>
                    <a:pt x="2473" y="2493"/>
                  </a:lnTo>
                  <a:lnTo>
                    <a:pt x="2475" y="2495"/>
                  </a:lnTo>
                  <a:lnTo>
                    <a:pt x="2475" y="2495"/>
                  </a:lnTo>
                  <a:lnTo>
                    <a:pt x="2475" y="2495"/>
                  </a:lnTo>
                  <a:lnTo>
                    <a:pt x="2478" y="2495"/>
                  </a:lnTo>
                  <a:lnTo>
                    <a:pt x="2475" y="2495"/>
                  </a:lnTo>
                  <a:lnTo>
                    <a:pt x="2475" y="2493"/>
                  </a:lnTo>
                  <a:lnTo>
                    <a:pt x="2475" y="2493"/>
                  </a:lnTo>
                  <a:lnTo>
                    <a:pt x="2475" y="2493"/>
                  </a:lnTo>
                  <a:lnTo>
                    <a:pt x="2475" y="2493"/>
                  </a:lnTo>
                  <a:lnTo>
                    <a:pt x="2475" y="2493"/>
                  </a:lnTo>
                  <a:lnTo>
                    <a:pt x="2475" y="2493"/>
                  </a:lnTo>
                  <a:lnTo>
                    <a:pt x="2475" y="2493"/>
                  </a:lnTo>
                  <a:lnTo>
                    <a:pt x="2475" y="2493"/>
                  </a:lnTo>
                  <a:lnTo>
                    <a:pt x="2475" y="2493"/>
                  </a:lnTo>
                  <a:lnTo>
                    <a:pt x="2475" y="2493"/>
                  </a:lnTo>
                  <a:lnTo>
                    <a:pt x="2478" y="2493"/>
                  </a:lnTo>
                  <a:lnTo>
                    <a:pt x="2478" y="2493"/>
                  </a:lnTo>
                  <a:lnTo>
                    <a:pt x="2478" y="2493"/>
                  </a:lnTo>
                  <a:lnTo>
                    <a:pt x="2478" y="2493"/>
                  </a:lnTo>
                  <a:lnTo>
                    <a:pt x="2478" y="2493"/>
                  </a:lnTo>
                  <a:lnTo>
                    <a:pt x="2478" y="2493"/>
                  </a:lnTo>
                  <a:lnTo>
                    <a:pt x="2478" y="2493"/>
                  </a:lnTo>
                  <a:lnTo>
                    <a:pt x="2478" y="2491"/>
                  </a:lnTo>
                  <a:lnTo>
                    <a:pt x="2478" y="2491"/>
                  </a:lnTo>
                  <a:lnTo>
                    <a:pt x="2480" y="2491"/>
                  </a:lnTo>
                  <a:lnTo>
                    <a:pt x="2478" y="2491"/>
                  </a:lnTo>
                  <a:lnTo>
                    <a:pt x="2478" y="2491"/>
                  </a:lnTo>
                  <a:lnTo>
                    <a:pt x="2475" y="2488"/>
                  </a:lnTo>
                  <a:lnTo>
                    <a:pt x="2475" y="2488"/>
                  </a:lnTo>
                  <a:lnTo>
                    <a:pt x="2478" y="2488"/>
                  </a:lnTo>
                  <a:lnTo>
                    <a:pt x="2478" y="2488"/>
                  </a:lnTo>
                  <a:lnTo>
                    <a:pt x="2478" y="2488"/>
                  </a:lnTo>
                  <a:lnTo>
                    <a:pt x="2478" y="2488"/>
                  </a:lnTo>
                  <a:lnTo>
                    <a:pt x="2478" y="2488"/>
                  </a:lnTo>
                  <a:lnTo>
                    <a:pt x="2480" y="2486"/>
                  </a:lnTo>
                  <a:lnTo>
                    <a:pt x="2480" y="2486"/>
                  </a:lnTo>
                  <a:lnTo>
                    <a:pt x="2480" y="2486"/>
                  </a:lnTo>
                  <a:lnTo>
                    <a:pt x="2480" y="2483"/>
                  </a:lnTo>
                  <a:lnTo>
                    <a:pt x="2480" y="2483"/>
                  </a:lnTo>
                  <a:lnTo>
                    <a:pt x="2482" y="2483"/>
                  </a:lnTo>
                  <a:lnTo>
                    <a:pt x="2482" y="2483"/>
                  </a:lnTo>
                  <a:lnTo>
                    <a:pt x="2480" y="2481"/>
                  </a:lnTo>
                  <a:lnTo>
                    <a:pt x="2480" y="2481"/>
                  </a:lnTo>
                  <a:lnTo>
                    <a:pt x="2480" y="2481"/>
                  </a:lnTo>
                  <a:lnTo>
                    <a:pt x="2478" y="2481"/>
                  </a:lnTo>
                  <a:lnTo>
                    <a:pt x="2480" y="2481"/>
                  </a:lnTo>
                  <a:lnTo>
                    <a:pt x="2482" y="2479"/>
                  </a:lnTo>
                  <a:lnTo>
                    <a:pt x="2482" y="2479"/>
                  </a:lnTo>
                  <a:lnTo>
                    <a:pt x="2482" y="2479"/>
                  </a:lnTo>
                  <a:lnTo>
                    <a:pt x="2485" y="2479"/>
                  </a:lnTo>
                  <a:lnTo>
                    <a:pt x="2485" y="2476"/>
                  </a:lnTo>
                  <a:lnTo>
                    <a:pt x="2485" y="2476"/>
                  </a:lnTo>
                  <a:lnTo>
                    <a:pt x="2482" y="2476"/>
                  </a:lnTo>
                  <a:lnTo>
                    <a:pt x="2482" y="2476"/>
                  </a:lnTo>
                  <a:lnTo>
                    <a:pt x="2482" y="2476"/>
                  </a:lnTo>
                  <a:lnTo>
                    <a:pt x="2480" y="2476"/>
                  </a:lnTo>
                  <a:lnTo>
                    <a:pt x="2480" y="2476"/>
                  </a:lnTo>
                  <a:lnTo>
                    <a:pt x="2480" y="2476"/>
                  </a:lnTo>
                  <a:lnTo>
                    <a:pt x="2480" y="2476"/>
                  </a:lnTo>
                  <a:lnTo>
                    <a:pt x="2482" y="2476"/>
                  </a:lnTo>
                  <a:lnTo>
                    <a:pt x="2480" y="2474"/>
                  </a:lnTo>
                  <a:lnTo>
                    <a:pt x="2482" y="2474"/>
                  </a:lnTo>
                  <a:lnTo>
                    <a:pt x="2482" y="2474"/>
                  </a:lnTo>
                  <a:lnTo>
                    <a:pt x="2482" y="2474"/>
                  </a:lnTo>
                  <a:lnTo>
                    <a:pt x="2482" y="2474"/>
                  </a:lnTo>
                  <a:lnTo>
                    <a:pt x="2482" y="2474"/>
                  </a:lnTo>
                  <a:lnTo>
                    <a:pt x="2482" y="2474"/>
                  </a:lnTo>
                  <a:lnTo>
                    <a:pt x="2482" y="2474"/>
                  </a:lnTo>
                  <a:lnTo>
                    <a:pt x="2485" y="2474"/>
                  </a:lnTo>
                  <a:lnTo>
                    <a:pt x="2485" y="2474"/>
                  </a:lnTo>
                  <a:lnTo>
                    <a:pt x="2485" y="2474"/>
                  </a:lnTo>
                  <a:lnTo>
                    <a:pt x="2485" y="2474"/>
                  </a:lnTo>
                  <a:lnTo>
                    <a:pt x="2485" y="2472"/>
                  </a:lnTo>
                  <a:lnTo>
                    <a:pt x="2485" y="2472"/>
                  </a:lnTo>
                  <a:lnTo>
                    <a:pt x="2485" y="2472"/>
                  </a:lnTo>
                  <a:lnTo>
                    <a:pt x="2485" y="2472"/>
                  </a:lnTo>
                  <a:lnTo>
                    <a:pt x="2487" y="2472"/>
                  </a:lnTo>
                  <a:lnTo>
                    <a:pt x="2487" y="2472"/>
                  </a:lnTo>
                  <a:lnTo>
                    <a:pt x="2487" y="2469"/>
                  </a:lnTo>
                  <a:lnTo>
                    <a:pt x="2487" y="2469"/>
                  </a:lnTo>
                  <a:lnTo>
                    <a:pt x="2487" y="2467"/>
                  </a:lnTo>
                  <a:lnTo>
                    <a:pt x="2487" y="2467"/>
                  </a:lnTo>
                  <a:lnTo>
                    <a:pt x="2487" y="2467"/>
                  </a:lnTo>
                  <a:lnTo>
                    <a:pt x="2487" y="2465"/>
                  </a:lnTo>
                  <a:lnTo>
                    <a:pt x="2487" y="2465"/>
                  </a:lnTo>
                  <a:lnTo>
                    <a:pt x="2487" y="2465"/>
                  </a:lnTo>
                  <a:lnTo>
                    <a:pt x="2487" y="2465"/>
                  </a:lnTo>
                  <a:lnTo>
                    <a:pt x="2485" y="2465"/>
                  </a:lnTo>
                  <a:lnTo>
                    <a:pt x="2485" y="2465"/>
                  </a:lnTo>
                  <a:lnTo>
                    <a:pt x="2485" y="2465"/>
                  </a:lnTo>
                  <a:lnTo>
                    <a:pt x="2485" y="2465"/>
                  </a:lnTo>
                  <a:lnTo>
                    <a:pt x="2487" y="2465"/>
                  </a:lnTo>
                  <a:lnTo>
                    <a:pt x="2487" y="2465"/>
                  </a:lnTo>
                  <a:lnTo>
                    <a:pt x="2487" y="2465"/>
                  </a:lnTo>
                  <a:lnTo>
                    <a:pt x="2487" y="2465"/>
                  </a:lnTo>
                  <a:lnTo>
                    <a:pt x="2490" y="2467"/>
                  </a:lnTo>
                  <a:lnTo>
                    <a:pt x="2490" y="2467"/>
                  </a:lnTo>
                  <a:lnTo>
                    <a:pt x="2490" y="2467"/>
                  </a:lnTo>
                  <a:lnTo>
                    <a:pt x="2490" y="2467"/>
                  </a:lnTo>
                  <a:lnTo>
                    <a:pt x="2492" y="2465"/>
                  </a:lnTo>
                  <a:lnTo>
                    <a:pt x="2492" y="2465"/>
                  </a:lnTo>
                  <a:lnTo>
                    <a:pt x="2490" y="2465"/>
                  </a:lnTo>
                  <a:lnTo>
                    <a:pt x="2490" y="2465"/>
                  </a:lnTo>
                  <a:lnTo>
                    <a:pt x="2490" y="2462"/>
                  </a:lnTo>
                  <a:lnTo>
                    <a:pt x="2490" y="2462"/>
                  </a:lnTo>
                  <a:lnTo>
                    <a:pt x="2490" y="2462"/>
                  </a:lnTo>
                  <a:lnTo>
                    <a:pt x="2490" y="2462"/>
                  </a:lnTo>
                  <a:lnTo>
                    <a:pt x="2490" y="2462"/>
                  </a:lnTo>
                  <a:lnTo>
                    <a:pt x="2490" y="2462"/>
                  </a:lnTo>
                  <a:lnTo>
                    <a:pt x="2490" y="2462"/>
                  </a:lnTo>
                  <a:lnTo>
                    <a:pt x="2490" y="2465"/>
                  </a:lnTo>
                  <a:lnTo>
                    <a:pt x="2490" y="2465"/>
                  </a:lnTo>
                  <a:lnTo>
                    <a:pt x="2487" y="2462"/>
                  </a:lnTo>
                  <a:lnTo>
                    <a:pt x="2487" y="2462"/>
                  </a:lnTo>
                  <a:lnTo>
                    <a:pt x="2487" y="2462"/>
                  </a:lnTo>
                  <a:lnTo>
                    <a:pt x="2487" y="2462"/>
                  </a:lnTo>
                  <a:lnTo>
                    <a:pt x="2487" y="2462"/>
                  </a:lnTo>
                  <a:lnTo>
                    <a:pt x="2487" y="2462"/>
                  </a:lnTo>
                  <a:lnTo>
                    <a:pt x="2487" y="2462"/>
                  </a:lnTo>
                  <a:lnTo>
                    <a:pt x="2490" y="2460"/>
                  </a:lnTo>
                  <a:lnTo>
                    <a:pt x="2490" y="2460"/>
                  </a:lnTo>
                  <a:lnTo>
                    <a:pt x="2492" y="2460"/>
                  </a:lnTo>
                  <a:lnTo>
                    <a:pt x="2492" y="2460"/>
                  </a:lnTo>
                  <a:lnTo>
                    <a:pt x="2490" y="2460"/>
                  </a:lnTo>
                  <a:lnTo>
                    <a:pt x="2490" y="2460"/>
                  </a:lnTo>
                  <a:lnTo>
                    <a:pt x="2487" y="2460"/>
                  </a:lnTo>
                  <a:lnTo>
                    <a:pt x="2487" y="2460"/>
                  </a:lnTo>
                  <a:lnTo>
                    <a:pt x="2487" y="2460"/>
                  </a:lnTo>
                  <a:lnTo>
                    <a:pt x="2487" y="2460"/>
                  </a:lnTo>
                  <a:lnTo>
                    <a:pt x="2490" y="2460"/>
                  </a:lnTo>
                  <a:lnTo>
                    <a:pt x="2490" y="2457"/>
                  </a:lnTo>
                  <a:lnTo>
                    <a:pt x="2490" y="2457"/>
                  </a:lnTo>
                  <a:lnTo>
                    <a:pt x="2487" y="2457"/>
                  </a:lnTo>
                  <a:lnTo>
                    <a:pt x="2487" y="2460"/>
                  </a:lnTo>
                  <a:lnTo>
                    <a:pt x="2487" y="2457"/>
                  </a:lnTo>
                  <a:lnTo>
                    <a:pt x="2485" y="2457"/>
                  </a:lnTo>
                  <a:lnTo>
                    <a:pt x="2485" y="2457"/>
                  </a:lnTo>
                  <a:lnTo>
                    <a:pt x="2485" y="2457"/>
                  </a:lnTo>
                  <a:lnTo>
                    <a:pt x="2487" y="2457"/>
                  </a:lnTo>
                  <a:lnTo>
                    <a:pt x="2487" y="2455"/>
                  </a:lnTo>
                  <a:lnTo>
                    <a:pt x="2485" y="2455"/>
                  </a:lnTo>
                  <a:lnTo>
                    <a:pt x="2485" y="2455"/>
                  </a:lnTo>
                  <a:lnTo>
                    <a:pt x="2485" y="2455"/>
                  </a:lnTo>
                  <a:lnTo>
                    <a:pt x="2487" y="2455"/>
                  </a:lnTo>
                  <a:lnTo>
                    <a:pt x="2487" y="2455"/>
                  </a:lnTo>
                  <a:lnTo>
                    <a:pt x="2485" y="2453"/>
                  </a:lnTo>
                  <a:lnTo>
                    <a:pt x="2485" y="2453"/>
                  </a:lnTo>
                  <a:lnTo>
                    <a:pt x="2485" y="2453"/>
                  </a:lnTo>
                  <a:lnTo>
                    <a:pt x="2485" y="2453"/>
                  </a:lnTo>
                  <a:lnTo>
                    <a:pt x="2485" y="2453"/>
                  </a:lnTo>
                  <a:lnTo>
                    <a:pt x="2485" y="2453"/>
                  </a:lnTo>
                  <a:lnTo>
                    <a:pt x="2485" y="2450"/>
                  </a:lnTo>
                  <a:lnTo>
                    <a:pt x="2485" y="2450"/>
                  </a:lnTo>
                  <a:lnTo>
                    <a:pt x="2487" y="2453"/>
                  </a:lnTo>
                  <a:lnTo>
                    <a:pt x="2487" y="2453"/>
                  </a:lnTo>
                  <a:lnTo>
                    <a:pt x="2490" y="2450"/>
                  </a:lnTo>
                  <a:lnTo>
                    <a:pt x="2487" y="2450"/>
                  </a:lnTo>
                  <a:lnTo>
                    <a:pt x="2490" y="2450"/>
                  </a:lnTo>
                  <a:lnTo>
                    <a:pt x="2490" y="2448"/>
                  </a:lnTo>
                  <a:lnTo>
                    <a:pt x="2490" y="2448"/>
                  </a:lnTo>
                  <a:lnTo>
                    <a:pt x="2490" y="2450"/>
                  </a:lnTo>
                  <a:lnTo>
                    <a:pt x="2492" y="2450"/>
                  </a:lnTo>
                  <a:lnTo>
                    <a:pt x="2492" y="2450"/>
                  </a:lnTo>
                  <a:lnTo>
                    <a:pt x="2492" y="2450"/>
                  </a:lnTo>
                  <a:lnTo>
                    <a:pt x="2492" y="2453"/>
                  </a:lnTo>
                  <a:lnTo>
                    <a:pt x="2492" y="2453"/>
                  </a:lnTo>
                  <a:lnTo>
                    <a:pt x="2494" y="2453"/>
                  </a:lnTo>
                  <a:lnTo>
                    <a:pt x="2494" y="2453"/>
                  </a:lnTo>
                  <a:lnTo>
                    <a:pt x="2494" y="2453"/>
                  </a:lnTo>
                  <a:lnTo>
                    <a:pt x="2494" y="2453"/>
                  </a:lnTo>
                  <a:lnTo>
                    <a:pt x="2494" y="2450"/>
                  </a:lnTo>
                  <a:lnTo>
                    <a:pt x="2494" y="2450"/>
                  </a:lnTo>
                  <a:lnTo>
                    <a:pt x="2497" y="2450"/>
                  </a:lnTo>
                  <a:lnTo>
                    <a:pt x="2494" y="2448"/>
                  </a:lnTo>
                  <a:lnTo>
                    <a:pt x="2494" y="2448"/>
                  </a:lnTo>
                  <a:lnTo>
                    <a:pt x="2494" y="2448"/>
                  </a:lnTo>
                  <a:lnTo>
                    <a:pt x="2494" y="2448"/>
                  </a:lnTo>
                  <a:lnTo>
                    <a:pt x="2492" y="2446"/>
                  </a:lnTo>
                  <a:lnTo>
                    <a:pt x="2492" y="2446"/>
                  </a:lnTo>
                  <a:lnTo>
                    <a:pt x="2492" y="2446"/>
                  </a:lnTo>
                  <a:lnTo>
                    <a:pt x="2494" y="2443"/>
                  </a:lnTo>
                  <a:lnTo>
                    <a:pt x="2494" y="2443"/>
                  </a:lnTo>
                  <a:lnTo>
                    <a:pt x="2497" y="2441"/>
                  </a:lnTo>
                  <a:lnTo>
                    <a:pt x="2497" y="2441"/>
                  </a:lnTo>
                  <a:lnTo>
                    <a:pt x="2497" y="2441"/>
                  </a:lnTo>
                  <a:lnTo>
                    <a:pt x="2497" y="2441"/>
                  </a:lnTo>
                  <a:lnTo>
                    <a:pt x="2497" y="2441"/>
                  </a:lnTo>
                  <a:lnTo>
                    <a:pt x="2497" y="2443"/>
                  </a:lnTo>
                  <a:lnTo>
                    <a:pt x="2497" y="2443"/>
                  </a:lnTo>
                  <a:lnTo>
                    <a:pt x="2497" y="2443"/>
                  </a:lnTo>
                  <a:lnTo>
                    <a:pt x="2497" y="2443"/>
                  </a:lnTo>
                  <a:lnTo>
                    <a:pt x="2497" y="2443"/>
                  </a:lnTo>
                  <a:lnTo>
                    <a:pt x="2497" y="2443"/>
                  </a:lnTo>
                  <a:lnTo>
                    <a:pt x="2497" y="2446"/>
                  </a:lnTo>
                  <a:lnTo>
                    <a:pt x="2499" y="2446"/>
                  </a:lnTo>
                  <a:lnTo>
                    <a:pt x="2499" y="2448"/>
                  </a:lnTo>
                  <a:lnTo>
                    <a:pt x="2499" y="2448"/>
                  </a:lnTo>
                  <a:lnTo>
                    <a:pt x="2499" y="2450"/>
                  </a:lnTo>
                  <a:lnTo>
                    <a:pt x="2499" y="2450"/>
                  </a:lnTo>
                  <a:lnTo>
                    <a:pt x="2499" y="2450"/>
                  </a:lnTo>
                  <a:lnTo>
                    <a:pt x="2501" y="2450"/>
                  </a:lnTo>
                  <a:lnTo>
                    <a:pt x="2501" y="2450"/>
                  </a:lnTo>
                  <a:lnTo>
                    <a:pt x="2501" y="2450"/>
                  </a:lnTo>
                  <a:lnTo>
                    <a:pt x="2501" y="2448"/>
                  </a:lnTo>
                  <a:lnTo>
                    <a:pt x="2501" y="2448"/>
                  </a:lnTo>
                  <a:lnTo>
                    <a:pt x="2501" y="2448"/>
                  </a:lnTo>
                  <a:lnTo>
                    <a:pt x="2501" y="2448"/>
                  </a:lnTo>
                  <a:lnTo>
                    <a:pt x="2501" y="2448"/>
                  </a:lnTo>
                  <a:lnTo>
                    <a:pt x="2501" y="2448"/>
                  </a:lnTo>
                  <a:lnTo>
                    <a:pt x="2504" y="2448"/>
                  </a:lnTo>
                  <a:lnTo>
                    <a:pt x="2504" y="2448"/>
                  </a:lnTo>
                  <a:lnTo>
                    <a:pt x="2504" y="2448"/>
                  </a:lnTo>
                  <a:lnTo>
                    <a:pt x="2504" y="2448"/>
                  </a:lnTo>
                  <a:lnTo>
                    <a:pt x="2504" y="2448"/>
                  </a:lnTo>
                  <a:lnTo>
                    <a:pt x="2504" y="2448"/>
                  </a:lnTo>
                  <a:lnTo>
                    <a:pt x="2504" y="2450"/>
                  </a:lnTo>
                  <a:lnTo>
                    <a:pt x="2504" y="2450"/>
                  </a:lnTo>
                  <a:lnTo>
                    <a:pt x="2504" y="2450"/>
                  </a:lnTo>
                  <a:lnTo>
                    <a:pt x="2504" y="2450"/>
                  </a:lnTo>
                  <a:lnTo>
                    <a:pt x="2504" y="2448"/>
                  </a:lnTo>
                  <a:lnTo>
                    <a:pt x="2506" y="2448"/>
                  </a:lnTo>
                  <a:lnTo>
                    <a:pt x="2506" y="2448"/>
                  </a:lnTo>
                  <a:lnTo>
                    <a:pt x="2506" y="2448"/>
                  </a:lnTo>
                  <a:lnTo>
                    <a:pt x="2506" y="2450"/>
                  </a:lnTo>
                  <a:lnTo>
                    <a:pt x="2506" y="2450"/>
                  </a:lnTo>
                  <a:lnTo>
                    <a:pt x="2506" y="2448"/>
                  </a:lnTo>
                  <a:lnTo>
                    <a:pt x="2506" y="2450"/>
                  </a:lnTo>
                  <a:lnTo>
                    <a:pt x="2506" y="2450"/>
                  </a:lnTo>
                  <a:lnTo>
                    <a:pt x="2509" y="2450"/>
                  </a:lnTo>
                  <a:lnTo>
                    <a:pt x="2509" y="2450"/>
                  </a:lnTo>
                  <a:lnTo>
                    <a:pt x="2509" y="2450"/>
                  </a:lnTo>
                  <a:lnTo>
                    <a:pt x="2509" y="2448"/>
                  </a:lnTo>
                  <a:lnTo>
                    <a:pt x="2509" y="2448"/>
                  </a:lnTo>
                  <a:lnTo>
                    <a:pt x="2509" y="2448"/>
                  </a:lnTo>
                  <a:lnTo>
                    <a:pt x="2511" y="2448"/>
                  </a:lnTo>
                  <a:lnTo>
                    <a:pt x="2511" y="2448"/>
                  </a:lnTo>
                  <a:lnTo>
                    <a:pt x="2511" y="2448"/>
                  </a:lnTo>
                  <a:lnTo>
                    <a:pt x="2511" y="2448"/>
                  </a:lnTo>
                  <a:lnTo>
                    <a:pt x="2511" y="2450"/>
                  </a:lnTo>
                  <a:lnTo>
                    <a:pt x="2511" y="2450"/>
                  </a:lnTo>
                  <a:lnTo>
                    <a:pt x="2511" y="2450"/>
                  </a:lnTo>
                  <a:lnTo>
                    <a:pt x="2511" y="2448"/>
                  </a:lnTo>
                  <a:lnTo>
                    <a:pt x="2511" y="2448"/>
                  </a:lnTo>
                  <a:lnTo>
                    <a:pt x="2511" y="2448"/>
                  </a:lnTo>
                  <a:lnTo>
                    <a:pt x="2511" y="2448"/>
                  </a:lnTo>
                  <a:lnTo>
                    <a:pt x="2511" y="2446"/>
                  </a:lnTo>
                  <a:lnTo>
                    <a:pt x="2511" y="2446"/>
                  </a:lnTo>
                  <a:lnTo>
                    <a:pt x="2511" y="2448"/>
                  </a:lnTo>
                  <a:lnTo>
                    <a:pt x="2511" y="2448"/>
                  </a:lnTo>
                  <a:lnTo>
                    <a:pt x="2511" y="2448"/>
                  </a:lnTo>
                  <a:lnTo>
                    <a:pt x="2513" y="2448"/>
                  </a:lnTo>
                  <a:lnTo>
                    <a:pt x="2513" y="2448"/>
                  </a:lnTo>
                  <a:lnTo>
                    <a:pt x="2513" y="2448"/>
                  </a:lnTo>
                  <a:lnTo>
                    <a:pt x="2513" y="2448"/>
                  </a:lnTo>
                  <a:lnTo>
                    <a:pt x="2513" y="2446"/>
                  </a:lnTo>
                  <a:lnTo>
                    <a:pt x="2513" y="2446"/>
                  </a:lnTo>
                  <a:lnTo>
                    <a:pt x="2513" y="2443"/>
                  </a:lnTo>
                  <a:lnTo>
                    <a:pt x="2511" y="2443"/>
                  </a:lnTo>
                  <a:lnTo>
                    <a:pt x="2511" y="2443"/>
                  </a:lnTo>
                  <a:lnTo>
                    <a:pt x="2511" y="2441"/>
                  </a:lnTo>
                  <a:lnTo>
                    <a:pt x="2511" y="2441"/>
                  </a:lnTo>
                  <a:lnTo>
                    <a:pt x="2511" y="2441"/>
                  </a:lnTo>
                  <a:lnTo>
                    <a:pt x="2511" y="2438"/>
                  </a:lnTo>
                  <a:lnTo>
                    <a:pt x="2509" y="2438"/>
                  </a:lnTo>
                  <a:lnTo>
                    <a:pt x="2509" y="2438"/>
                  </a:lnTo>
                  <a:lnTo>
                    <a:pt x="2509" y="2438"/>
                  </a:lnTo>
                  <a:lnTo>
                    <a:pt x="2509" y="2438"/>
                  </a:lnTo>
                  <a:lnTo>
                    <a:pt x="2509" y="2438"/>
                  </a:lnTo>
                  <a:lnTo>
                    <a:pt x="2506" y="2438"/>
                  </a:lnTo>
                  <a:lnTo>
                    <a:pt x="2506" y="2438"/>
                  </a:lnTo>
                  <a:lnTo>
                    <a:pt x="2506" y="2438"/>
                  </a:lnTo>
                  <a:lnTo>
                    <a:pt x="2506" y="2436"/>
                  </a:lnTo>
                  <a:lnTo>
                    <a:pt x="2506" y="2436"/>
                  </a:lnTo>
                  <a:lnTo>
                    <a:pt x="2506" y="2436"/>
                  </a:lnTo>
                  <a:lnTo>
                    <a:pt x="2509" y="2438"/>
                  </a:lnTo>
                  <a:lnTo>
                    <a:pt x="2511" y="2438"/>
                  </a:lnTo>
                  <a:lnTo>
                    <a:pt x="2511" y="2438"/>
                  </a:lnTo>
                  <a:lnTo>
                    <a:pt x="2513" y="2438"/>
                  </a:lnTo>
                  <a:lnTo>
                    <a:pt x="2513" y="2438"/>
                  </a:lnTo>
                  <a:lnTo>
                    <a:pt x="2516" y="2438"/>
                  </a:lnTo>
                  <a:lnTo>
                    <a:pt x="2516" y="2438"/>
                  </a:lnTo>
                  <a:lnTo>
                    <a:pt x="2516" y="2438"/>
                  </a:lnTo>
                  <a:lnTo>
                    <a:pt x="2516" y="2436"/>
                  </a:lnTo>
                  <a:lnTo>
                    <a:pt x="2513" y="2436"/>
                  </a:lnTo>
                  <a:lnTo>
                    <a:pt x="2513" y="2436"/>
                  </a:lnTo>
                  <a:lnTo>
                    <a:pt x="2513" y="2434"/>
                  </a:lnTo>
                  <a:lnTo>
                    <a:pt x="2516" y="2434"/>
                  </a:lnTo>
                  <a:lnTo>
                    <a:pt x="2516" y="2436"/>
                  </a:lnTo>
                  <a:lnTo>
                    <a:pt x="2516" y="2436"/>
                  </a:lnTo>
                  <a:lnTo>
                    <a:pt x="2516" y="2436"/>
                  </a:lnTo>
                  <a:lnTo>
                    <a:pt x="2516" y="2436"/>
                  </a:lnTo>
                  <a:lnTo>
                    <a:pt x="2516" y="2436"/>
                  </a:lnTo>
                  <a:lnTo>
                    <a:pt x="2518" y="2436"/>
                  </a:lnTo>
                  <a:lnTo>
                    <a:pt x="2520" y="2436"/>
                  </a:lnTo>
                  <a:lnTo>
                    <a:pt x="2520" y="2436"/>
                  </a:lnTo>
                  <a:lnTo>
                    <a:pt x="2520" y="2434"/>
                  </a:lnTo>
                  <a:lnTo>
                    <a:pt x="2520" y="2431"/>
                  </a:lnTo>
                  <a:lnTo>
                    <a:pt x="2520" y="2431"/>
                  </a:lnTo>
                  <a:lnTo>
                    <a:pt x="2520" y="2431"/>
                  </a:lnTo>
                  <a:lnTo>
                    <a:pt x="2520" y="2431"/>
                  </a:lnTo>
                  <a:lnTo>
                    <a:pt x="2520" y="2429"/>
                  </a:lnTo>
                  <a:lnTo>
                    <a:pt x="2520" y="2431"/>
                  </a:lnTo>
                  <a:lnTo>
                    <a:pt x="2520" y="2431"/>
                  </a:lnTo>
                  <a:lnTo>
                    <a:pt x="2520" y="2431"/>
                  </a:lnTo>
                  <a:lnTo>
                    <a:pt x="2520" y="2431"/>
                  </a:lnTo>
                  <a:lnTo>
                    <a:pt x="2520" y="2431"/>
                  </a:lnTo>
                  <a:lnTo>
                    <a:pt x="2523" y="2431"/>
                  </a:lnTo>
                  <a:lnTo>
                    <a:pt x="2523" y="2431"/>
                  </a:lnTo>
                  <a:lnTo>
                    <a:pt x="2523" y="2429"/>
                  </a:lnTo>
                  <a:lnTo>
                    <a:pt x="2523" y="2429"/>
                  </a:lnTo>
                  <a:lnTo>
                    <a:pt x="2523" y="2429"/>
                  </a:lnTo>
                  <a:lnTo>
                    <a:pt x="2523" y="2431"/>
                  </a:lnTo>
                  <a:lnTo>
                    <a:pt x="2523" y="2431"/>
                  </a:lnTo>
                  <a:lnTo>
                    <a:pt x="2523" y="2431"/>
                  </a:lnTo>
                  <a:lnTo>
                    <a:pt x="2523" y="2431"/>
                  </a:lnTo>
                  <a:lnTo>
                    <a:pt x="2523" y="2429"/>
                  </a:lnTo>
                  <a:lnTo>
                    <a:pt x="2523" y="2429"/>
                  </a:lnTo>
                  <a:lnTo>
                    <a:pt x="2523" y="2427"/>
                  </a:lnTo>
                  <a:lnTo>
                    <a:pt x="2523" y="2427"/>
                  </a:lnTo>
                  <a:lnTo>
                    <a:pt x="2523" y="2427"/>
                  </a:lnTo>
                  <a:lnTo>
                    <a:pt x="2523" y="2427"/>
                  </a:lnTo>
                  <a:lnTo>
                    <a:pt x="2523" y="2427"/>
                  </a:lnTo>
                  <a:lnTo>
                    <a:pt x="2523" y="2427"/>
                  </a:lnTo>
                  <a:lnTo>
                    <a:pt x="2525" y="2429"/>
                  </a:lnTo>
                  <a:lnTo>
                    <a:pt x="2525" y="2429"/>
                  </a:lnTo>
                  <a:lnTo>
                    <a:pt x="2525" y="2429"/>
                  </a:lnTo>
                  <a:lnTo>
                    <a:pt x="2525" y="2429"/>
                  </a:lnTo>
                  <a:lnTo>
                    <a:pt x="2527" y="2429"/>
                  </a:lnTo>
                  <a:lnTo>
                    <a:pt x="2527" y="2431"/>
                  </a:lnTo>
                  <a:lnTo>
                    <a:pt x="2527" y="2431"/>
                  </a:lnTo>
                  <a:lnTo>
                    <a:pt x="2527" y="2429"/>
                  </a:lnTo>
                  <a:lnTo>
                    <a:pt x="2527" y="2429"/>
                  </a:lnTo>
                  <a:lnTo>
                    <a:pt x="2527" y="2429"/>
                  </a:lnTo>
                  <a:lnTo>
                    <a:pt x="2525" y="2427"/>
                  </a:lnTo>
                  <a:lnTo>
                    <a:pt x="2525" y="2427"/>
                  </a:lnTo>
                  <a:lnTo>
                    <a:pt x="2525" y="2427"/>
                  </a:lnTo>
                  <a:lnTo>
                    <a:pt x="2525" y="2427"/>
                  </a:lnTo>
                  <a:lnTo>
                    <a:pt x="2527" y="2424"/>
                  </a:lnTo>
                  <a:lnTo>
                    <a:pt x="2527" y="2427"/>
                  </a:lnTo>
                  <a:lnTo>
                    <a:pt x="2527" y="2427"/>
                  </a:lnTo>
                  <a:lnTo>
                    <a:pt x="2527" y="2427"/>
                  </a:lnTo>
                  <a:lnTo>
                    <a:pt x="2527" y="2427"/>
                  </a:lnTo>
                  <a:lnTo>
                    <a:pt x="2527" y="2427"/>
                  </a:lnTo>
                  <a:lnTo>
                    <a:pt x="2527" y="2429"/>
                  </a:lnTo>
                  <a:lnTo>
                    <a:pt x="2527" y="2429"/>
                  </a:lnTo>
                  <a:lnTo>
                    <a:pt x="2530" y="2429"/>
                  </a:lnTo>
                  <a:lnTo>
                    <a:pt x="2530" y="2427"/>
                  </a:lnTo>
                  <a:lnTo>
                    <a:pt x="2530" y="2427"/>
                  </a:lnTo>
                  <a:lnTo>
                    <a:pt x="2530" y="2427"/>
                  </a:lnTo>
                  <a:lnTo>
                    <a:pt x="2532" y="2427"/>
                  </a:lnTo>
                  <a:lnTo>
                    <a:pt x="2532" y="2427"/>
                  </a:lnTo>
                  <a:lnTo>
                    <a:pt x="2532" y="2427"/>
                  </a:lnTo>
                  <a:lnTo>
                    <a:pt x="2532" y="2424"/>
                  </a:lnTo>
                  <a:lnTo>
                    <a:pt x="2532" y="2427"/>
                  </a:lnTo>
                  <a:lnTo>
                    <a:pt x="2535" y="2427"/>
                  </a:lnTo>
                  <a:lnTo>
                    <a:pt x="2535" y="2427"/>
                  </a:lnTo>
                  <a:lnTo>
                    <a:pt x="2535" y="2427"/>
                  </a:lnTo>
                  <a:lnTo>
                    <a:pt x="2535" y="2427"/>
                  </a:lnTo>
                  <a:lnTo>
                    <a:pt x="2535" y="2424"/>
                  </a:lnTo>
                  <a:lnTo>
                    <a:pt x="2535" y="2424"/>
                  </a:lnTo>
                  <a:lnTo>
                    <a:pt x="2535" y="2424"/>
                  </a:lnTo>
                  <a:lnTo>
                    <a:pt x="2535" y="2424"/>
                  </a:lnTo>
                  <a:lnTo>
                    <a:pt x="2535" y="2424"/>
                  </a:lnTo>
                  <a:lnTo>
                    <a:pt x="2535" y="2424"/>
                  </a:lnTo>
                  <a:lnTo>
                    <a:pt x="2535" y="2424"/>
                  </a:lnTo>
                  <a:lnTo>
                    <a:pt x="2535" y="2422"/>
                  </a:lnTo>
                  <a:lnTo>
                    <a:pt x="2535" y="2422"/>
                  </a:lnTo>
                  <a:lnTo>
                    <a:pt x="2537" y="2420"/>
                  </a:lnTo>
                  <a:lnTo>
                    <a:pt x="2539" y="2420"/>
                  </a:lnTo>
                  <a:lnTo>
                    <a:pt x="2539" y="2420"/>
                  </a:lnTo>
                  <a:lnTo>
                    <a:pt x="2539" y="2417"/>
                  </a:lnTo>
                  <a:lnTo>
                    <a:pt x="2539" y="2417"/>
                  </a:lnTo>
                  <a:lnTo>
                    <a:pt x="2542" y="2417"/>
                  </a:lnTo>
                  <a:lnTo>
                    <a:pt x="2542" y="2417"/>
                  </a:lnTo>
                  <a:lnTo>
                    <a:pt x="2542" y="2420"/>
                  </a:lnTo>
                  <a:lnTo>
                    <a:pt x="2544" y="2417"/>
                  </a:lnTo>
                  <a:lnTo>
                    <a:pt x="2542" y="2417"/>
                  </a:lnTo>
                  <a:lnTo>
                    <a:pt x="2542" y="2417"/>
                  </a:lnTo>
                  <a:lnTo>
                    <a:pt x="2542" y="2417"/>
                  </a:lnTo>
                  <a:lnTo>
                    <a:pt x="2542" y="2415"/>
                  </a:lnTo>
                  <a:lnTo>
                    <a:pt x="2542" y="2415"/>
                  </a:lnTo>
                  <a:lnTo>
                    <a:pt x="2544" y="2415"/>
                  </a:lnTo>
                  <a:lnTo>
                    <a:pt x="2544" y="2415"/>
                  </a:lnTo>
                  <a:lnTo>
                    <a:pt x="2544" y="2412"/>
                  </a:lnTo>
                  <a:lnTo>
                    <a:pt x="2544" y="2412"/>
                  </a:lnTo>
                  <a:lnTo>
                    <a:pt x="2544" y="2415"/>
                  </a:lnTo>
                  <a:lnTo>
                    <a:pt x="2544" y="2415"/>
                  </a:lnTo>
                  <a:lnTo>
                    <a:pt x="2546" y="2415"/>
                  </a:lnTo>
                  <a:lnTo>
                    <a:pt x="2546" y="2415"/>
                  </a:lnTo>
                  <a:lnTo>
                    <a:pt x="2546" y="2415"/>
                  </a:lnTo>
                  <a:lnTo>
                    <a:pt x="2546" y="2412"/>
                  </a:lnTo>
                  <a:lnTo>
                    <a:pt x="2546" y="2412"/>
                  </a:lnTo>
                  <a:lnTo>
                    <a:pt x="2546" y="2412"/>
                  </a:lnTo>
                  <a:lnTo>
                    <a:pt x="2546" y="2412"/>
                  </a:lnTo>
                  <a:lnTo>
                    <a:pt x="2546" y="2412"/>
                  </a:lnTo>
                  <a:lnTo>
                    <a:pt x="2546" y="2410"/>
                  </a:lnTo>
                  <a:lnTo>
                    <a:pt x="2546" y="2410"/>
                  </a:lnTo>
                  <a:lnTo>
                    <a:pt x="2546" y="2410"/>
                  </a:lnTo>
                  <a:lnTo>
                    <a:pt x="2549" y="2410"/>
                  </a:lnTo>
                  <a:lnTo>
                    <a:pt x="2549" y="2410"/>
                  </a:lnTo>
                  <a:lnTo>
                    <a:pt x="2549" y="2410"/>
                  </a:lnTo>
                  <a:lnTo>
                    <a:pt x="2549" y="2410"/>
                  </a:lnTo>
                  <a:lnTo>
                    <a:pt x="2549" y="2410"/>
                  </a:lnTo>
                  <a:lnTo>
                    <a:pt x="2549" y="2410"/>
                  </a:lnTo>
                  <a:lnTo>
                    <a:pt x="2549" y="2410"/>
                  </a:lnTo>
                  <a:lnTo>
                    <a:pt x="2549" y="2410"/>
                  </a:lnTo>
                  <a:lnTo>
                    <a:pt x="2549" y="2410"/>
                  </a:lnTo>
                  <a:lnTo>
                    <a:pt x="2549" y="2410"/>
                  </a:lnTo>
                  <a:lnTo>
                    <a:pt x="2549" y="2410"/>
                  </a:lnTo>
                  <a:lnTo>
                    <a:pt x="2549" y="2410"/>
                  </a:lnTo>
                  <a:lnTo>
                    <a:pt x="2549" y="2408"/>
                  </a:lnTo>
                  <a:lnTo>
                    <a:pt x="2551" y="2408"/>
                  </a:lnTo>
                  <a:lnTo>
                    <a:pt x="2551" y="2408"/>
                  </a:lnTo>
                  <a:lnTo>
                    <a:pt x="2551" y="2408"/>
                  </a:lnTo>
                  <a:lnTo>
                    <a:pt x="2553" y="2405"/>
                  </a:lnTo>
                  <a:lnTo>
                    <a:pt x="2553" y="2405"/>
                  </a:lnTo>
                  <a:lnTo>
                    <a:pt x="2553" y="2405"/>
                  </a:lnTo>
                  <a:lnTo>
                    <a:pt x="2553" y="2405"/>
                  </a:lnTo>
                  <a:lnTo>
                    <a:pt x="2553" y="2405"/>
                  </a:lnTo>
                  <a:lnTo>
                    <a:pt x="2556" y="2405"/>
                  </a:lnTo>
                  <a:lnTo>
                    <a:pt x="2556" y="2405"/>
                  </a:lnTo>
                  <a:lnTo>
                    <a:pt x="2556" y="2403"/>
                  </a:lnTo>
                  <a:lnTo>
                    <a:pt x="2556" y="2403"/>
                  </a:lnTo>
                  <a:lnTo>
                    <a:pt x="2556" y="2403"/>
                  </a:lnTo>
                  <a:lnTo>
                    <a:pt x="2558" y="2403"/>
                  </a:lnTo>
                  <a:lnTo>
                    <a:pt x="2558" y="2403"/>
                  </a:lnTo>
                  <a:lnTo>
                    <a:pt x="2558" y="2403"/>
                  </a:lnTo>
                  <a:lnTo>
                    <a:pt x="2558" y="2403"/>
                  </a:lnTo>
                  <a:lnTo>
                    <a:pt x="2558" y="2403"/>
                  </a:lnTo>
                  <a:lnTo>
                    <a:pt x="2561" y="2403"/>
                  </a:lnTo>
                  <a:lnTo>
                    <a:pt x="2558" y="2403"/>
                  </a:lnTo>
                  <a:lnTo>
                    <a:pt x="2556" y="2403"/>
                  </a:lnTo>
                  <a:lnTo>
                    <a:pt x="2556" y="2401"/>
                  </a:lnTo>
                  <a:lnTo>
                    <a:pt x="2558" y="2401"/>
                  </a:lnTo>
                  <a:lnTo>
                    <a:pt x="2558" y="2401"/>
                  </a:lnTo>
                  <a:lnTo>
                    <a:pt x="2558" y="2401"/>
                  </a:lnTo>
                  <a:lnTo>
                    <a:pt x="2558" y="2401"/>
                  </a:lnTo>
                  <a:lnTo>
                    <a:pt x="2558" y="2401"/>
                  </a:lnTo>
                  <a:lnTo>
                    <a:pt x="2558" y="2401"/>
                  </a:lnTo>
                  <a:lnTo>
                    <a:pt x="2558" y="2401"/>
                  </a:lnTo>
                  <a:lnTo>
                    <a:pt x="2558" y="2401"/>
                  </a:lnTo>
                  <a:lnTo>
                    <a:pt x="2558" y="2401"/>
                  </a:lnTo>
                  <a:lnTo>
                    <a:pt x="2558" y="2401"/>
                  </a:lnTo>
                  <a:lnTo>
                    <a:pt x="2561" y="2401"/>
                  </a:lnTo>
                  <a:lnTo>
                    <a:pt x="2561" y="2401"/>
                  </a:lnTo>
                  <a:lnTo>
                    <a:pt x="2561" y="2398"/>
                  </a:lnTo>
                  <a:lnTo>
                    <a:pt x="2561" y="2398"/>
                  </a:lnTo>
                  <a:lnTo>
                    <a:pt x="2561" y="2398"/>
                  </a:lnTo>
                  <a:lnTo>
                    <a:pt x="2563" y="2398"/>
                  </a:lnTo>
                  <a:lnTo>
                    <a:pt x="2561" y="2398"/>
                  </a:lnTo>
                  <a:lnTo>
                    <a:pt x="2561" y="2398"/>
                  </a:lnTo>
                  <a:lnTo>
                    <a:pt x="2563" y="2398"/>
                  </a:lnTo>
                  <a:lnTo>
                    <a:pt x="2563" y="2398"/>
                  </a:lnTo>
                  <a:lnTo>
                    <a:pt x="2563" y="2396"/>
                  </a:lnTo>
                  <a:lnTo>
                    <a:pt x="2563" y="2396"/>
                  </a:lnTo>
                  <a:lnTo>
                    <a:pt x="2563" y="2396"/>
                  </a:lnTo>
                  <a:lnTo>
                    <a:pt x="2563" y="2396"/>
                  </a:lnTo>
                  <a:lnTo>
                    <a:pt x="2563" y="2396"/>
                  </a:lnTo>
                  <a:lnTo>
                    <a:pt x="2563" y="2396"/>
                  </a:lnTo>
                  <a:lnTo>
                    <a:pt x="2563" y="2396"/>
                  </a:lnTo>
                  <a:lnTo>
                    <a:pt x="2563" y="2396"/>
                  </a:lnTo>
                  <a:lnTo>
                    <a:pt x="2563" y="2396"/>
                  </a:lnTo>
                  <a:lnTo>
                    <a:pt x="2563" y="2394"/>
                  </a:lnTo>
                  <a:lnTo>
                    <a:pt x="2565" y="2394"/>
                  </a:lnTo>
                  <a:lnTo>
                    <a:pt x="2565" y="2396"/>
                  </a:lnTo>
                  <a:lnTo>
                    <a:pt x="2565" y="2394"/>
                  </a:lnTo>
                  <a:lnTo>
                    <a:pt x="2565" y="2394"/>
                  </a:lnTo>
                  <a:lnTo>
                    <a:pt x="2565" y="2394"/>
                  </a:lnTo>
                  <a:lnTo>
                    <a:pt x="2565" y="2394"/>
                  </a:lnTo>
                  <a:lnTo>
                    <a:pt x="2568" y="2394"/>
                  </a:lnTo>
                  <a:lnTo>
                    <a:pt x="2568" y="2394"/>
                  </a:lnTo>
                  <a:lnTo>
                    <a:pt x="2568" y="2394"/>
                  </a:lnTo>
                  <a:lnTo>
                    <a:pt x="2568" y="2394"/>
                  </a:lnTo>
                  <a:lnTo>
                    <a:pt x="2568" y="2394"/>
                  </a:lnTo>
                  <a:lnTo>
                    <a:pt x="2568" y="2394"/>
                  </a:lnTo>
                  <a:lnTo>
                    <a:pt x="2570" y="2394"/>
                  </a:lnTo>
                  <a:lnTo>
                    <a:pt x="2570" y="2394"/>
                  </a:lnTo>
                  <a:lnTo>
                    <a:pt x="2568" y="2391"/>
                  </a:lnTo>
                  <a:lnTo>
                    <a:pt x="2568" y="2391"/>
                  </a:lnTo>
                  <a:lnTo>
                    <a:pt x="2568" y="2391"/>
                  </a:lnTo>
                  <a:lnTo>
                    <a:pt x="2568" y="2391"/>
                  </a:lnTo>
                  <a:lnTo>
                    <a:pt x="2568" y="2391"/>
                  </a:lnTo>
                  <a:lnTo>
                    <a:pt x="2568" y="2391"/>
                  </a:lnTo>
                  <a:lnTo>
                    <a:pt x="2565" y="2389"/>
                  </a:lnTo>
                  <a:lnTo>
                    <a:pt x="2565" y="2389"/>
                  </a:lnTo>
                  <a:lnTo>
                    <a:pt x="2565" y="2389"/>
                  </a:lnTo>
                  <a:lnTo>
                    <a:pt x="2568" y="2389"/>
                  </a:lnTo>
                  <a:lnTo>
                    <a:pt x="2568" y="2389"/>
                  </a:lnTo>
                  <a:lnTo>
                    <a:pt x="2568" y="2389"/>
                  </a:lnTo>
                  <a:lnTo>
                    <a:pt x="2570" y="2389"/>
                  </a:lnTo>
                  <a:lnTo>
                    <a:pt x="2570" y="2389"/>
                  </a:lnTo>
                  <a:lnTo>
                    <a:pt x="2577" y="2386"/>
                  </a:lnTo>
                  <a:lnTo>
                    <a:pt x="2577" y="2386"/>
                  </a:lnTo>
                  <a:lnTo>
                    <a:pt x="2577" y="2384"/>
                  </a:lnTo>
                  <a:lnTo>
                    <a:pt x="2577" y="2384"/>
                  </a:lnTo>
                  <a:lnTo>
                    <a:pt x="2577" y="2384"/>
                  </a:lnTo>
                  <a:lnTo>
                    <a:pt x="2577" y="2384"/>
                  </a:lnTo>
                  <a:lnTo>
                    <a:pt x="2577" y="2384"/>
                  </a:lnTo>
                  <a:lnTo>
                    <a:pt x="2577" y="2382"/>
                  </a:lnTo>
                  <a:lnTo>
                    <a:pt x="2580" y="2382"/>
                  </a:lnTo>
                  <a:lnTo>
                    <a:pt x="2580" y="2379"/>
                  </a:lnTo>
                  <a:lnTo>
                    <a:pt x="2580" y="2379"/>
                  </a:lnTo>
                  <a:lnTo>
                    <a:pt x="2580" y="2382"/>
                  </a:lnTo>
                  <a:lnTo>
                    <a:pt x="2580" y="2382"/>
                  </a:lnTo>
                  <a:lnTo>
                    <a:pt x="2582" y="2379"/>
                  </a:lnTo>
                  <a:lnTo>
                    <a:pt x="2582" y="2379"/>
                  </a:lnTo>
                  <a:lnTo>
                    <a:pt x="2582" y="2379"/>
                  </a:lnTo>
                  <a:lnTo>
                    <a:pt x="2582" y="2379"/>
                  </a:lnTo>
                  <a:lnTo>
                    <a:pt x="2582" y="2382"/>
                  </a:lnTo>
                  <a:lnTo>
                    <a:pt x="2582" y="2382"/>
                  </a:lnTo>
                  <a:lnTo>
                    <a:pt x="2584" y="2382"/>
                  </a:lnTo>
                  <a:lnTo>
                    <a:pt x="2584" y="2382"/>
                  </a:lnTo>
                  <a:lnTo>
                    <a:pt x="2584" y="2382"/>
                  </a:lnTo>
                  <a:lnTo>
                    <a:pt x="2582" y="2379"/>
                  </a:lnTo>
                  <a:lnTo>
                    <a:pt x="2582" y="2379"/>
                  </a:lnTo>
                  <a:lnTo>
                    <a:pt x="2582" y="2379"/>
                  </a:lnTo>
                  <a:lnTo>
                    <a:pt x="2584" y="2377"/>
                  </a:lnTo>
                  <a:lnTo>
                    <a:pt x="2584" y="2377"/>
                  </a:lnTo>
                  <a:lnTo>
                    <a:pt x="2584" y="2379"/>
                  </a:lnTo>
                  <a:lnTo>
                    <a:pt x="2584" y="2379"/>
                  </a:lnTo>
                  <a:lnTo>
                    <a:pt x="2584" y="2379"/>
                  </a:lnTo>
                  <a:lnTo>
                    <a:pt x="2584" y="2379"/>
                  </a:lnTo>
                  <a:lnTo>
                    <a:pt x="2584" y="2379"/>
                  </a:lnTo>
                  <a:lnTo>
                    <a:pt x="2587" y="2379"/>
                  </a:lnTo>
                  <a:lnTo>
                    <a:pt x="2587" y="2379"/>
                  </a:lnTo>
                  <a:lnTo>
                    <a:pt x="2587" y="2379"/>
                  </a:lnTo>
                  <a:lnTo>
                    <a:pt x="2587" y="2379"/>
                  </a:lnTo>
                  <a:lnTo>
                    <a:pt x="2587" y="2377"/>
                  </a:lnTo>
                  <a:lnTo>
                    <a:pt x="2587" y="2377"/>
                  </a:lnTo>
                  <a:lnTo>
                    <a:pt x="2587" y="2377"/>
                  </a:lnTo>
                  <a:lnTo>
                    <a:pt x="2587" y="2377"/>
                  </a:lnTo>
                  <a:lnTo>
                    <a:pt x="2587" y="2377"/>
                  </a:lnTo>
                  <a:lnTo>
                    <a:pt x="2587" y="2377"/>
                  </a:lnTo>
                  <a:lnTo>
                    <a:pt x="2587" y="2377"/>
                  </a:lnTo>
                  <a:lnTo>
                    <a:pt x="2587" y="2375"/>
                  </a:lnTo>
                  <a:lnTo>
                    <a:pt x="2587" y="2375"/>
                  </a:lnTo>
                  <a:lnTo>
                    <a:pt x="2587" y="2375"/>
                  </a:lnTo>
                  <a:lnTo>
                    <a:pt x="2587" y="2375"/>
                  </a:lnTo>
                  <a:lnTo>
                    <a:pt x="2587" y="2375"/>
                  </a:lnTo>
                  <a:lnTo>
                    <a:pt x="2589" y="2375"/>
                  </a:lnTo>
                  <a:lnTo>
                    <a:pt x="2589" y="2375"/>
                  </a:lnTo>
                  <a:lnTo>
                    <a:pt x="2589" y="2375"/>
                  </a:lnTo>
                  <a:lnTo>
                    <a:pt x="2589" y="2375"/>
                  </a:lnTo>
                  <a:lnTo>
                    <a:pt x="2589" y="2375"/>
                  </a:lnTo>
                  <a:lnTo>
                    <a:pt x="2589" y="2375"/>
                  </a:lnTo>
                  <a:lnTo>
                    <a:pt x="2589" y="2375"/>
                  </a:lnTo>
                  <a:close/>
                  <a:moveTo>
                    <a:pt x="2111" y="2528"/>
                  </a:moveTo>
                  <a:lnTo>
                    <a:pt x="2113" y="2528"/>
                  </a:lnTo>
                  <a:lnTo>
                    <a:pt x="2113" y="2528"/>
                  </a:lnTo>
                  <a:lnTo>
                    <a:pt x="2113" y="2526"/>
                  </a:lnTo>
                  <a:lnTo>
                    <a:pt x="2113" y="2526"/>
                  </a:lnTo>
                  <a:lnTo>
                    <a:pt x="2113" y="2524"/>
                  </a:lnTo>
                  <a:lnTo>
                    <a:pt x="2113" y="2524"/>
                  </a:lnTo>
                  <a:lnTo>
                    <a:pt x="2113" y="2524"/>
                  </a:lnTo>
                  <a:lnTo>
                    <a:pt x="2116" y="2524"/>
                  </a:lnTo>
                  <a:lnTo>
                    <a:pt x="2116" y="2524"/>
                  </a:lnTo>
                  <a:lnTo>
                    <a:pt x="2116" y="2521"/>
                  </a:lnTo>
                  <a:lnTo>
                    <a:pt x="2116" y="2521"/>
                  </a:lnTo>
                  <a:lnTo>
                    <a:pt x="2118" y="2521"/>
                  </a:lnTo>
                  <a:lnTo>
                    <a:pt x="2118" y="2521"/>
                  </a:lnTo>
                  <a:lnTo>
                    <a:pt x="2118" y="2521"/>
                  </a:lnTo>
                  <a:lnTo>
                    <a:pt x="2118" y="2521"/>
                  </a:lnTo>
                  <a:lnTo>
                    <a:pt x="2118" y="2519"/>
                  </a:lnTo>
                  <a:lnTo>
                    <a:pt x="2118" y="2519"/>
                  </a:lnTo>
                  <a:lnTo>
                    <a:pt x="2120" y="2517"/>
                  </a:lnTo>
                  <a:lnTo>
                    <a:pt x="2123" y="2517"/>
                  </a:lnTo>
                  <a:lnTo>
                    <a:pt x="2123" y="2517"/>
                  </a:lnTo>
                  <a:lnTo>
                    <a:pt x="2123" y="2514"/>
                  </a:lnTo>
                  <a:lnTo>
                    <a:pt x="2123" y="2514"/>
                  </a:lnTo>
                  <a:lnTo>
                    <a:pt x="2125" y="2514"/>
                  </a:lnTo>
                  <a:lnTo>
                    <a:pt x="2128" y="2512"/>
                  </a:lnTo>
                  <a:lnTo>
                    <a:pt x="2130" y="2512"/>
                  </a:lnTo>
                  <a:lnTo>
                    <a:pt x="2130" y="2512"/>
                  </a:lnTo>
                  <a:lnTo>
                    <a:pt x="2130" y="2512"/>
                  </a:lnTo>
                  <a:lnTo>
                    <a:pt x="2130" y="2509"/>
                  </a:lnTo>
                  <a:lnTo>
                    <a:pt x="2130" y="2509"/>
                  </a:lnTo>
                  <a:lnTo>
                    <a:pt x="2128" y="2509"/>
                  </a:lnTo>
                  <a:lnTo>
                    <a:pt x="2128" y="2507"/>
                  </a:lnTo>
                  <a:lnTo>
                    <a:pt x="2128" y="2507"/>
                  </a:lnTo>
                  <a:lnTo>
                    <a:pt x="2128" y="2507"/>
                  </a:lnTo>
                  <a:lnTo>
                    <a:pt x="2125" y="2507"/>
                  </a:lnTo>
                  <a:lnTo>
                    <a:pt x="2125" y="2507"/>
                  </a:lnTo>
                  <a:lnTo>
                    <a:pt x="2125" y="2507"/>
                  </a:lnTo>
                  <a:lnTo>
                    <a:pt x="2123" y="2507"/>
                  </a:lnTo>
                  <a:lnTo>
                    <a:pt x="2123" y="2507"/>
                  </a:lnTo>
                  <a:lnTo>
                    <a:pt x="2116" y="2505"/>
                  </a:lnTo>
                  <a:lnTo>
                    <a:pt x="2116" y="2505"/>
                  </a:lnTo>
                  <a:lnTo>
                    <a:pt x="2116" y="2505"/>
                  </a:lnTo>
                  <a:lnTo>
                    <a:pt x="2113" y="2505"/>
                  </a:lnTo>
                  <a:lnTo>
                    <a:pt x="2113" y="2505"/>
                  </a:lnTo>
                  <a:lnTo>
                    <a:pt x="2113" y="2505"/>
                  </a:lnTo>
                  <a:lnTo>
                    <a:pt x="2113" y="2505"/>
                  </a:lnTo>
                  <a:lnTo>
                    <a:pt x="2113" y="2502"/>
                  </a:lnTo>
                  <a:lnTo>
                    <a:pt x="2113" y="2505"/>
                  </a:lnTo>
                  <a:lnTo>
                    <a:pt x="2116" y="2505"/>
                  </a:lnTo>
                  <a:lnTo>
                    <a:pt x="2116" y="2505"/>
                  </a:lnTo>
                  <a:lnTo>
                    <a:pt x="2118" y="2505"/>
                  </a:lnTo>
                  <a:lnTo>
                    <a:pt x="2118" y="2505"/>
                  </a:lnTo>
                  <a:lnTo>
                    <a:pt x="2120" y="2505"/>
                  </a:lnTo>
                  <a:lnTo>
                    <a:pt x="2120" y="2505"/>
                  </a:lnTo>
                  <a:lnTo>
                    <a:pt x="2120" y="2505"/>
                  </a:lnTo>
                  <a:lnTo>
                    <a:pt x="2123" y="2505"/>
                  </a:lnTo>
                  <a:lnTo>
                    <a:pt x="2123" y="2505"/>
                  </a:lnTo>
                  <a:lnTo>
                    <a:pt x="2123" y="2505"/>
                  </a:lnTo>
                  <a:lnTo>
                    <a:pt x="2125" y="2505"/>
                  </a:lnTo>
                  <a:lnTo>
                    <a:pt x="2128" y="2505"/>
                  </a:lnTo>
                  <a:lnTo>
                    <a:pt x="2128" y="2502"/>
                  </a:lnTo>
                  <a:lnTo>
                    <a:pt x="2128" y="2502"/>
                  </a:lnTo>
                  <a:lnTo>
                    <a:pt x="2128" y="2502"/>
                  </a:lnTo>
                  <a:lnTo>
                    <a:pt x="2128" y="2502"/>
                  </a:lnTo>
                  <a:lnTo>
                    <a:pt x="2128" y="2502"/>
                  </a:lnTo>
                  <a:lnTo>
                    <a:pt x="2130" y="2500"/>
                  </a:lnTo>
                  <a:lnTo>
                    <a:pt x="2130" y="2500"/>
                  </a:lnTo>
                  <a:lnTo>
                    <a:pt x="2130" y="2500"/>
                  </a:lnTo>
                  <a:lnTo>
                    <a:pt x="2130" y="2498"/>
                  </a:lnTo>
                  <a:lnTo>
                    <a:pt x="2132" y="2493"/>
                  </a:lnTo>
                  <a:lnTo>
                    <a:pt x="2135" y="2491"/>
                  </a:lnTo>
                  <a:lnTo>
                    <a:pt x="2142" y="2488"/>
                  </a:lnTo>
                  <a:lnTo>
                    <a:pt x="2144" y="2486"/>
                  </a:lnTo>
                  <a:lnTo>
                    <a:pt x="2144" y="2481"/>
                  </a:lnTo>
                  <a:lnTo>
                    <a:pt x="2144" y="2481"/>
                  </a:lnTo>
                  <a:lnTo>
                    <a:pt x="2146" y="2479"/>
                  </a:lnTo>
                  <a:lnTo>
                    <a:pt x="2146" y="2479"/>
                  </a:lnTo>
                  <a:lnTo>
                    <a:pt x="2149" y="2476"/>
                  </a:lnTo>
                  <a:lnTo>
                    <a:pt x="2149" y="2472"/>
                  </a:lnTo>
                  <a:lnTo>
                    <a:pt x="2149" y="2469"/>
                  </a:lnTo>
                  <a:lnTo>
                    <a:pt x="2149" y="2469"/>
                  </a:lnTo>
                  <a:lnTo>
                    <a:pt x="2149" y="2469"/>
                  </a:lnTo>
                  <a:lnTo>
                    <a:pt x="2149" y="2467"/>
                  </a:lnTo>
                  <a:lnTo>
                    <a:pt x="2151" y="2467"/>
                  </a:lnTo>
                  <a:lnTo>
                    <a:pt x="2151" y="2465"/>
                  </a:lnTo>
                  <a:lnTo>
                    <a:pt x="2154" y="2465"/>
                  </a:lnTo>
                  <a:lnTo>
                    <a:pt x="2154" y="2462"/>
                  </a:lnTo>
                  <a:lnTo>
                    <a:pt x="2154" y="2460"/>
                  </a:lnTo>
                  <a:lnTo>
                    <a:pt x="2154" y="2457"/>
                  </a:lnTo>
                  <a:lnTo>
                    <a:pt x="2156" y="2455"/>
                  </a:lnTo>
                  <a:lnTo>
                    <a:pt x="2158" y="2455"/>
                  </a:lnTo>
                  <a:lnTo>
                    <a:pt x="2161" y="2453"/>
                  </a:lnTo>
                  <a:lnTo>
                    <a:pt x="2161" y="2453"/>
                  </a:lnTo>
                  <a:lnTo>
                    <a:pt x="2163" y="2453"/>
                  </a:lnTo>
                  <a:lnTo>
                    <a:pt x="2165" y="2453"/>
                  </a:lnTo>
                  <a:lnTo>
                    <a:pt x="2165" y="2450"/>
                  </a:lnTo>
                  <a:lnTo>
                    <a:pt x="2170" y="2443"/>
                  </a:lnTo>
                  <a:lnTo>
                    <a:pt x="2170" y="2443"/>
                  </a:lnTo>
                  <a:lnTo>
                    <a:pt x="2172" y="2443"/>
                  </a:lnTo>
                  <a:lnTo>
                    <a:pt x="2172" y="2441"/>
                  </a:lnTo>
                  <a:lnTo>
                    <a:pt x="2172" y="2441"/>
                  </a:lnTo>
                  <a:lnTo>
                    <a:pt x="2175" y="2441"/>
                  </a:lnTo>
                  <a:lnTo>
                    <a:pt x="2177" y="2438"/>
                  </a:lnTo>
                  <a:lnTo>
                    <a:pt x="2177" y="2438"/>
                  </a:lnTo>
                  <a:lnTo>
                    <a:pt x="2175" y="2436"/>
                  </a:lnTo>
                  <a:lnTo>
                    <a:pt x="2177" y="2434"/>
                  </a:lnTo>
                  <a:lnTo>
                    <a:pt x="2177" y="2434"/>
                  </a:lnTo>
                  <a:lnTo>
                    <a:pt x="2180" y="2431"/>
                  </a:lnTo>
                  <a:lnTo>
                    <a:pt x="2182" y="2431"/>
                  </a:lnTo>
                  <a:lnTo>
                    <a:pt x="2182" y="2429"/>
                  </a:lnTo>
                  <a:lnTo>
                    <a:pt x="2184" y="2429"/>
                  </a:lnTo>
                  <a:lnTo>
                    <a:pt x="2187" y="2424"/>
                  </a:lnTo>
                  <a:lnTo>
                    <a:pt x="2187" y="2424"/>
                  </a:lnTo>
                  <a:lnTo>
                    <a:pt x="2189" y="2424"/>
                  </a:lnTo>
                  <a:lnTo>
                    <a:pt x="2189" y="2424"/>
                  </a:lnTo>
                  <a:lnTo>
                    <a:pt x="2189" y="2424"/>
                  </a:lnTo>
                  <a:lnTo>
                    <a:pt x="2189" y="2424"/>
                  </a:lnTo>
                  <a:lnTo>
                    <a:pt x="2191" y="2424"/>
                  </a:lnTo>
                  <a:lnTo>
                    <a:pt x="2191" y="2424"/>
                  </a:lnTo>
                  <a:lnTo>
                    <a:pt x="2194" y="2424"/>
                  </a:lnTo>
                  <a:lnTo>
                    <a:pt x="2194" y="2422"/>
                  </a:lnTo>
                  <a:lnTo>
                    <a:pt x="2196" y="2422"/>
                  </a:lnTo>
                  <a:lnTo>
                    <a:pt x="2199" y="2420"/>
                  </a:lnTo>
                  <a:lnTo>
                    <a:pt x="2201" y="2417"/>
                  </a:lnTo>
                  <a:lnTo>
                    <a:pt x="2203" y="2417"/>
                  </a:lnTo>
                  <a:lnTo>
                    <a:pt x="2206" y="2417"/>
                  </a:lnTo>
                  <a:lnTo>
                    <a:pt x="2206" y="2415"/>
                  </a:lnTo>
                  <a:lnTo>
                    <a:pt x="2206" y="2415"/>
                  </a:lnTo>
                  <a:lnTo>
                    <a:pt x="2208" y="2412"/>
                  </a:lnTo>
                  <a:lnTo>
                    <a:pt x="2208" y="2412"/>
                  </a:lnTo>
                  <a:lnTo>
                    <a:pt x="2208" y="2412"/>
                  </a:lnTo>
                  <a:lnTo>
                    <a:pt x="2208" y="2412"/>
                  </a:lnTo>
                  <a:lnTo>
                    <a:pt x="2208" y="2410"/>
                  </a:lnTo>
                  <a:lnTo>
                    <a:pt x="2208" y="2410"/>
                  </a:lnTo>
                  <a:lnTo>
                    <a:pt x="2215" y="2398"/>
                  </a:lnTo>
                  <a:lnTo>
                    <a:pt x="2215" y="2398"/>
                  </a:lnTo>
                  <a:lnTo>
                    <a:pt x="2220" y="2394"/>
                  </a:lnTo>
                  <a:lnTo>
                    <a:pt x="2220" y="2394"/>
                  </a:lnTo>
                  <a:lnTo>
                    <a:pt x="2222" y="2391"/>
                  </a:lnTo>
                  <a:lnTo>
                    <a:pt x="2222" y="2389"/>
                  </a:lnTo>
                  <a:lnTo>
                    <a:pt x="2222" y="2386"/>
                  </a:lnTo>
                  <a:lnTo>
                    <a:pt x="2222" y="2384"/>
                  </a:lnTo>
                  <a:lnTo>
                    <a:pt x="2225" y="2384"/>
                  </a:lnTo>
                  <a:lnTo>
                    <a:pt x="2225" y="2382"/>
                  </a:lnTo>
                  <a:lnTo>
                    <a:pt x="2225" y="2379"/>
                  </a:lnTo>
                  <a:lnTo>
                    <a:pt x="2225" y="2377"/>
                  </a:lnTo>
                  <a:lnTo>
                    <a:pt x="2225" y="2377"/>
                  </a:lnTo>
                  <a:lnTo>
                    <a:pt x="2225" y="2377"/>
                  </a:lnTo>
                  <a:lnTo>
                    <a:pt x="2225" y="2375"/>
                  </a:lnTo>
                  <a:lnTo>
                    <a:pt x="2225" y="2372"/>
                  </a:lnTo>
                  <a:lnTo>
                    <a:pt x="2225" y="2372"/>
                  </a:lnTo>
                  <a:lnTo>
                    <a:pt x="2225" y="2372"/>
                  </a:lnTo>
                  <a:lnTo>
                    <a:pt x="2227" y="2372"/>
                  </a:lnTo>
                  <a:lnTo>
                    <a:pt x="2227" y="2372"/>
                  </a:lnTo>
                  <a:lnTo>
                    <a:pt x="2227" y="2372"/>
                  </a:lnTo>
                  <a:lnTo>
                    <a:pt x="2229" y="2370"/>
                  </a:lnTo>
                  <a:lnTo>
                    <a:pt x="2229" y="2370"/>
                  </a:lnTo>
                  <a:lnTo>
                    <a:pt x="2232" y="2370"/>
                  </a:lnTo>
                  <a:lnTo>
                    <a:pt x="2232" y="2370"/>
                  </a:lnTo>
                  <a:lnTo>
                    <a:pt x="2232" y="2368"/>
                  </a:lnTo>
                  <a:lnTo>
                    <a:pt x="2232" y="2368"/>
                  </a:lnTo>
                  <a:lnTo>
                    <a:pt x="2234" y="2368"/>
                  </a:lnTo>
                  <a:lnTo>
                    <a:pt x="2234" y="2365"/>
                  </a:lnTo>
                  <a:lnTo>
                    <a:pt x="2234" y="2365"/>
                  </a:lnTo>
                  <a:lnTo>
                    <a:pt x="2234" y="2365"/>
                  </a:lnTo>
                  <a:lnTo>
                    <a:pt x="2232" y="2363"/>
                  </a:lnTo>
                  <a:lnTo>
                    <a:pt x="2232" y="2363"/>
                  </a:lnTo>
                  <a:lnTo>
                    <a:pt x="2232" y="2363"/>
                  </a:lnTo>
                  <a:lnTo>
                    <a:pt x="2234" y="2360"/>
                  </a:lnTo>
                  <a:lnTo>
                    <a:pt x="2234" y="2360"/>
                  </a:lnTo>
                  <a:lnTo>
                    <a:pt x="2234" y="2358"/>
                  </a:lnTo>
                  <a:lnTo>
                    <a:pt x="2234" y="2358"/>
                  </a:lnTo>
                  <a:lnTo>
                    <a:pt x="2234" y="2358"/>
                  </a:lnTo>
                  <a:lnTo>
                    <a:pt x="2234" y="2358"/>
                  </a:lnTo>
                  <a:lnTo>
                    <a:pt x="2234" y="2358"/>
                  </a:lnTo>
                  <a:lnTo>
                    <a:pt x="2236" y="2358"/>
                  </a:lnTo>
                  <a:lnTo>
                    <a:pt x="2236" y="2356"/>
                  </a:lnTo>
                  <a:lnTo>
                    <a:pt x="2236" y="2356"/>
                  </a:lnTo>
                  <a:lnTo>
                    <a:pt x="2236" y="2356"/>
                  </a:lnTo>
                  <a:lnTo>
                    <a:pt x="2239" y="2353"/>
                  </a:lnTo>
                  <a:lnTo>
                    <a:pt x="2239" y="2351"/>
                  </a:lnTo>
                  <a:lnTo>
                    <a:pt x="2239" y="2351"/>
                  </a:lnTo>
                  <a:lnTo>
                    <a:pt x="2239" y="2351"/>
                  </a:lnTo>
                  <a:lnTo>
                    <a:pt x="2239" y="2349"/>
                  </a:lnTo>
                  <a:lnTo>
                    <a:pt x="2239" y="2346"/>
                  </a:lnTo>
                  <a:lnTo>
                    <a:pt x="2239" y="2346"/>
                  </a:lnTo>
                  <a:lnTo>
                    <a:pt x="2241" y="2344"/>
                  </a:lnTo>
                  <a:lnTo>
                    <a:pt x="2241" y="2342"/>
                  </a:lnTo>
                  <a:lnTo>
                    <a:pt x="2241" y="2342"/>
                  </a:lnTo>
                  <a:lnTo>
                    <a:pt x="2241" y="2342"/>
                  </a:lnTo>
                  <a:lnTo>
                    <a:pt x="2241" y="2339"/>
                  </a:lnTo>
                  <a:lnTo>
                    <a:pt x="2241" y="2339"/>
                  </a:lnTo>
                  <a:lnTo>
                    <a:pt x="2241" y="2339"/>
                  </a:lnTo>
                  <a:lnTo>
                    <a:pt x="2241" y="2339"/>
                  </a:lnTo>
                  <a:lnTo>
                    <a:pt x="2241" y="2339"/>
                  </a:lnTo>
                  <a:lnTo>
                    <a:pt x="2241" y="2337"/>
                  </a:lnTo>
                  <a:lnTo>
                    <a:pt x="2241" y="2334"/>
                  </a:lnTo>
                  <a:lnTo>
                    <a:pt x="2241" y="2334"/>
                  </a:lnTo>
                  <a:lnTo>
                    <a:pt x="2241" y="2332"/>
                  </a:lnTo>
                  <a:lnTo>
                    <a:pt x="2241" y="2332"/>
                  </a:lnTo>
                  <a:lnTo>
                    <a:pt x="2241" y="2330"/>
                  </a:lnTo>
                  <a:lnTo>
                    <a:pt x="2239" y="2332"/>
                  </a:lnTo>
                  <a:lnTo>
                    <a:pt x="2236" y="2332"/>
                  </a:lnTo>
                  <a:lnTo>
                    <a:pt x="2236" y="2330"/>
                  </a:lnTo>
                  <a:lnTo>
                    <a:pt x="2234" y="2327"/>
                  </a:lnTo>
                  <a:lnTo>
                    <a:pt x="2234" y="2327"/>
                  </a:lnTo>
                  <a:lnTo>
                    <a:pt x="2232" y="2327"/>
                  </a:lnTo>
                  <a:lnTo>
                    <a:pt x="2229" y="2327"/>
                  </a:lnTo>
                  <a:lnTo>
                    <a:pt x="2229" y="2327"/>
                  </a:lnTo>
                  <a:lnTo>
                    <a:pt x="2227" y="2330"/>
                  </a:lnTo>
                  <a:lnTo>
                    <a:pt x="2225" y="2330"/>
                  </a:lnTo>
                  <a:lnTo>
                    <a:pt x="2222" y="2327"/>
                  </a:lnTo>
                  <a:lnTo>
                    <a:pt x="2220" y="2327"/>
                  </a:lnTo>
                  <a:lnTo>
                    <a:pt x="2220" y="2327"/>
                  </a:lnTo>
                  <a:lnTo>
                    <a:pt x="2220" y="2327"/>
                  </a:lnTo>
                  <a:lnTo>
                    <a:pt x="2217" y="2327"/>
                  </a:lnTo>
                  <a:lnTo>
                    <a:pt x="2217" y="2327"/>
                  </a:lnTo>
                  <a:lnTo>
                    <a:pt x="2217" y="2327"/>
                  </a:lnTo>
                  <a:lnTo>
                    <a:pt x="2217" y="2327"/>
                  </a:lnTo>
                  <a:lnTo>
                    <a:pt x="2215" y="2325"/>
                  </a:lnTo>
                  <a:lnTo>
                    <a:pt x="2213" y="2327"/>
                  </a:lnTo>
                  <a:lnTo>
                    <a:pt x="2213" y="2325"/>
                  </a:lnTo>
                  <a:lnTo>
                    <a:pt x="2213" y="2325"/>
                  </a:lnTo>
                  <a:lnTo>
                    <a:pt x="2210" y="2327"/>
                  </a:lnTo>
                  <a:lnTo>
                    <a:pt x="2208" y="2327"/>
                  </a:lnTo>
                  <a:lnTo>
                    <a:pt x="2203" y="2327"/>
                  </a:lnTo>
                  <a:lnTo>
                    <a:pt x="2201" y="2330"/>
                  </a:lnTo>
                  <a:lnTo>
                    <a:pt x="2201" y="2330"/>
                  </a:lnTo>
                  <a:lnTo>
                    <a:pt x="2201" y="2332"/>
                  </a:lnTo>
                  <a:lnTo>
                    <a:pt x="2199" y="2332"/>
                  </a:lnTo>
                  <a:lnTo>
                    <a:pt x="2199" y="2330"/>
                  </a:lnTo>
                  <a:lnTo>
                    <a:pt x="2199" y="2330"/>
                  </a:lnTo>
                  <a:lnTo>
                    <a:pt x="2199" y="2330"/>
                  </a:lnTo>
                  <a:lnTo>
                    <a:pt x="2201" y="2330"/>
                  </a:lnTo>
                  <a:lnTo>
                    <a:pt x="2201" y="2327"/>
                  </a:lnTo>
                  <a:lnTo>
                    <a:pt x="2201" y="2327"/>
                  </a:lnTo>
                  <a:lnTo>
                    <a:pt x="2201" y="2327"/>
                  </a:lnTo>
                  <a:lnTo>
                    <a:pt x="2201" y="2327"/>
                  </a:lnTo>
                  <a:lnTo>
                    <a:pt x="2199" y="2327"/>
                  </a:lnTo>
                  <a:lnTo>
                    <a:pt x="2196" y="2327"/>
                  </a:lnTo>
                  <a:lnTo>
                    <a:pt x="2194" y="2325"/>
                  </a:lnTo>
                  <a:lnTo>
                    <a:pt x="2194" y="2325"/>
                  </a:lnTo>
                  <a:lnTo>
                    <a:pt x="2191" y="2327"/>
                  </a:lnTo>
                  <a:lnTo>
                    <a:pt x="2191" y="2327"/>
                  </a:lnTo>
                  <a:lnTo>
                    <a:pt x="2191" y="2325"/>
                  </a:lnTo>
                  <a:lnTo>
                    <a:pt x="2194" y="2325"/>
                  </a:lnTo>
                  <a:lnTo>
                    <a:pt x="2196" y="2325"/>
                  </a:lnTo>
                  <a:lnTo>
                    <a:pt x="2199" y="2325"/>
                  </a:lnTo>
                  <a:lnTo>
                    <a:pt x="2199" y="2325"/>
                  </a:lnTo>
                  <a:lnTo>
                    <a:pt x="2199" y="2325"/>
                  </a:lnTo>
                  <a:lnTo>
                    <a:pt x="2201" y="2325"/>
                  </a:lnTo>
                  <a:lnTo>
                    <a:pt x="2201" y="2325"/>
                  </a:lnTo>
                  <a:lnTo>
                    <a:pt x="2201" y="2325"/>
                  </a:lnTo>
                  <a:lnTo>
                    <a:pt x="2201" y="2325"/>
                  </a:lnTo>
                  <a:lnTo>
                    <a:pt x="2203" y="2325"/>
                  </a:lnTo>
                  <a:lnTo>
                    <a:pt x="2203" y="2325"/>
                  </a:lnTo>
                  <a:lnTo>
                    <a:pt x="2206" y="2325"/>
                  </a:lnTo>
                  <a:lnTo>
                    <a:pt x="2206" y="2325"/>
                  </a:lnTo>
                  <a:lnTo>
                    <a:pt x="2213" y="2325"/>
                  </a:lnTo>
                  <a:lnTo>
                    <a:pt x="2215" y="2325"/>
                  </a:lnTo>
                  <a:lnTo>
                    <a:pt x="2215" y="2325"/>
                  </a:lnTo>
                  <a:lnTo>
                    <a:pt x="2215" y="2325"/>
                  </a:lnTo>
                  <a:lnTo>
                    <a:pt x="2220" y="2325"/>
                  </a:lnTo>
                  <a:lnTo>
                    <a:pt x="2220" y="2325"/>
                  </a:lnTo>
                  <a:lnTo>
                    <a:pt x="2222" y="2325"/>
                  </a:lnTo>
                  <a:lnTo>
                    <a:pt x="2222" y="2325"/>
                  </a:lnTo>
                  <a:lnTo>
                    <a:pt x="2225" y="2327"/>
                  </a:lnTo>
                  <a:lnTo>
                    <a:pt x="2225" y="2327"/>
                  </a:lnTo>
                  <a:lnTo>
                    <a:pt x="2227" y="2327"/>
                  </a:lnTo>
                  <a:lnTo>
                    <a:pt x="2229" y="2325"/>
                  </a:lnTo>
                  <a:lnTo>
                    <a:pt x="2229" y="2325"/>
                  </a:lnTo>
                  <a:lnTo>
                    <a:pt x="2232" y="2325"/>
                  </a:lnTo>
                  <a:lnTo>
                    <a:pt x="2234" y="2327"/>
                  </a:lnTo>
                  <a:lnTo>
                    <a:pt x="2234" y="2327"/>
                  </a:lnTo>
                  <a:lnTo>
                    <a:pt x="2236" y="2327"/>
                  </a:lnTo>
                  <a:lnTo>
                    <a:pt x="2236" y="2330"/>
                  </a:lnTo>
                  <a:lnTo>
                    <a:pt x="2236" y="2330"/>
                  </a:lnTo>
                  <a:lnTo>
                    <a:pt x="2239" y="2330"/>
                  </a:lnTo>
                  <a:lnTo>
                    <a:pt x="2239" y="2330"/>
                  </a:lnTo>
                  <a:lnTo>
                    <a:pt x="2241" y="2330"/>
                  </a:lnTo>
                  <a:lnTo>
                    <a:pt x="2241" y="2330"/>
                  </a:lnTo>
                  <a:lnTo>
                    <a:pt x="2241" y="2330"/>
                  </a:lnTo>
                  <a:lnTo>
                    <a:pt x="2243" y="2330"/>
                  </a:lnTo>
                  <a:lnTo>
                    <a:pt x="2243" y="2327"/>
                  </a:lnTo>
                  <a:lnTo>
                    <a:pt x="2246" y="2325"/>
                  </a:lnTo>
                  <a:lnTo>
                    <a:pt x="2246" y="2325"/>
                  </a:lnTo>
                  <a:lnTo>
                    <a:pt x="2243" y="2323"/>
                  </a:lnTo>
                  <a:lnTo>
                    <a:pt x="2243" y="2323"/>
                  </a:lnTo>
                  <a:lnTo>
                    <a:pt x="2246" y="2323"/>
                  </a:lnTo>
                  <a:lnTo>
                    <a:pt x="2246" y="2323"/>
                  </a:lnTo>
                  <a:lnTo>
                    <a:pt x="2246" y="2323"/>
                  </a:lnTo>
                  <a:lnTo>
                    <a:pt x="2246" y="2323"/>
                  </a:lnTo>
                  <a:lnTo>
                    <a:pt x="2246" y="2323"/>
                  </a:lnTo>
                  <a:lnTo>
                    <a:pt x="2246" y="2320"/>
                  </a:lnTo>
                  <a:lnTo>
                    <a:pt x="2246" y="2320"/>
                  </a:lnTo>
                  <a:lnTo>
                    <a:pt x="2248" y="2320"/>
                  </a:lnTo>
                  <a:lnTo>
                    <a:pt x="2248" y="2320"/>
                  </a:lnTo>
                  <a:lnTo>
                    <a:pt x="2248" y="2318"/>
                  </a:lnTo>
                  <a:lnTo>
                    <a:pt x="2248" y="2315"/>
                  </a:lnTo>
                  <a:lnTo>
                    <a:pt x="2251" y="2311"/>
                  </a:lnTo>
                  <a:lnTo>
                    <a:pt x="2251" y="2308"/>
                  </a:lnTo>
                  <a:lnTo>
                    <a:pt x="2251" y="2308"/>
                  </a:lnTo>
                  <a:lnTo>
                    <a:pt x="2251" y="2306"/>
                  </a:lnTo>
                  <a:lnTo>
                    <a:pt x="2251" y="2304"/>
                  </a:lnTo>
                  <a:lnTo>
                    <a:pt x="2251" y="2301"/>
                  </a:lnTo>
                  <a:lnTo>
                    <a:pt x="2251" y="2301"/>
                  </a:lnTo>
                  <a:lnTo>
                    <a:pt x="2253" y="2301"/>
                  </a:lnTo>
                  <a:lnTo>
                    <a:pt x="2253" y="2301"/>
                  </a:lnTo>
                  <a:lnTo>
                    <a:pt x="2253" y="2301"/>
                  </a:lnTo>
                  <a:lnTo>
                    <a:pt x="2255" y="2301"/>
                  </a:lnTo>
                  <a:lnTo>
                    <a:pt x="2255" y="2299"/>
                  </a:lnTo>
                  <a:lnTo>
                    <a:pt x="2255" y="2292"/>
                  </a:lnTo>
                  <a:lnTo>
                    <a:pt x="2255" y="2292"/>
                  </a:lnTo>
                  <a:lnTo>
                    <a:pt x="2255" y="2289"/>
                  </a:lnTo>
                  <a:lnTo>
                    <a:pt x="2258" y="2289"/>
                  </a:lnTo>
                  <a:lnTo>
                    <a:pt x="2258" y="2289"/>
                  </a:lnTo>
                  <a:lnTo>
                    <a:pt x="2258" y="2289"/>
                  </a:lnTo>
                  <a:lnTo>
                    <a:pt x="2258" y="2287"/>
                  </a:lnTo>
                  <a:lnTo>
                    <a:pt x="2258" y="2287"/>
                  </a:lnTo>
                  <a:lnTo>
                    <a:pt x="2258" y="2287"/>
                  </a:lnTo>
                  <a:lnTo>
                    <a:pt x="2258" y="2287"/>
                  </a:lnTo>
                  <a:lnTo>
                    <a:pt x="2258" y="2287"/>
                  </a:lnTo>
                  <a:lnTo>
                    <a:pt x="2260" y="2285"/>
                  </a:lnTo>
                  <a:lnTo>
                    <a:pt x="2260" y="2282"/>
                  </a:lnTo>
                  <a:lnTo>
                    <a:pt x="2262" y="2282"/>
                  </a:lnTo>
                  <a:lnTo>
                    <a:pt x="2262" y="2282"/>
                  </a:lnTo>
                  <a:lnTo>
                    <a:pt x="2262" y="2282"/>
                  </a:lnTo>
                  <a:lnTo>
                    <a:pt x="2262" y="2282"/>
                  </a:lnTo>
                  <a:lnTo>
                    <a:pt x="2267" y="2280"/>
                  </a:lnTo>
                  <a:lnTo>
                    <a:pt x="2265" y="2280"/>
                  </a:lnTo>
                  <a:lnTo>
                    <a:pt x="2265" y="2280"/>
                  </a:lnTo>
                  <a:lnTo>
                    <a:pt x="2265" y="2278"/>
                  </a:lnTo>
                  <a:lnTo>
                    <a:pt x="2265" y="2278"/>
                  </a:lnTo>
                  <a:lnTo>
                    <a:pt x="2265" y="2275"/>
                  </a:lnTo>
                  <a:lnTo>
                    <a:pt x="2265" y="2275"/>
                  </a:lnTo>
                  <a:lnTo>
                    <a:pt x="2265" y="2273"/>
                  </a:lnTo>
                  <a:lnTo>
                    <a:pt x="2267" y="2273"/>
                  </a:lnTo>
                  <a:lnTo>
                    <a:pt x="2267" y="2271"/>
                  </a:lnTo>
                  <a:lnTo>
                    <a:pt x="2270" y="2271"/>
                  </a:lnTo>
                  <a:lnTo>
                    <a:pt x="2270" y="2271"/>
                  </a:lnTo>
                  <a:lnTo>
                    <a:pt x="2270" y="2271"/>
                  </a:lnTo>
                  <a:lnTo>
                    <a:pt x="2270" y="2268"/>
                  </a:lnTo>
                  <a:lnTo>
                    <a:pt x="2272" y="2266"/>
                  </a:lnTo>
                  <a:lnTo>
                    <a:pt x="2272" y="2266"/>
                  </a:lnTo>
                  <a:lnTo>
                    <a:pt x="2272" y="2266"/>
                  </a:lnTo>
                  <a:lnTo>
                    <a:pt x="2270" y="2266"/>
                  </a:lnTo>
                  <a:lnTo>
                    <a:pt x="2270" y="2263"/>
                  </a:lnTo>
                  <a:lnTo>
                    <a:pt x="2270" y="2263"/>
                  </a:lnTo>
                  <a:lnTo>
                    <a:pt x="2270" y="2263"/>
                  </a:lnTo>
                  <a:lnTo>
                    <a:pt x="2270" y="2263"/>
                  </a:lnTo>
                  <a:lnTo>
                    <a:pt x="2272" y="2263"/>
                  </a:lnTo>
                  <a:lnTo>
                    <a:pt x="2272" y="2266"/>
                  </a:lnTo>
                  <a:lnTo>
                    <a:pt x="2272" y="2266"/>
                  </a:lnTo>
                  <a:lnTo>
                    <a:pt x="2272" y="2268"/>
                  </a:lnTo>
                  <a:lnTo>
                    <a:pt x="2272" y="2271"/>
                  </a:lnTo>
                  <a:lnTo>
                    <a:pt x="2272" y="2271"/>
                  </a:lnTo>
                  <a:lnTo>
                    <a:pt x="2272" y="2271"/>
                  </a:lnTo>
                  <a:lnTo>
                    <a:pt x="2274" y="2268"/>
                  </a:lnTo>
                  <a:lnTo>
                    <a:pt x="2274" y="2268"/>
                  </a:lnTo>
                  <a:lnTo>
                    <a:pt x="2274" y="2268"/>
                  </a:lnTo>
                  <a:lnTo>
                    <a:pt x="2277" y="2266"/>
                  </a:lnTo>
                  <a:lnTo>
                    <a:pt x="2279" y="2263"/>
                  </a:lnTo>
                  <a:lnTo>
                    <a:pt x="2279" y="2263"/>
                  </a:lnTo>
                  <a:lnTo>
                    <a:pt x="2279" y="2263"/>
                  </a:lnTo>
                  <a:lnTo>
                    <a:pt x="2279" y="2263"/>
                  </a:lnTo>
                  <a:lnTo>
                    <a:pt x="2277" y="2261"/>
                  </a:lnTo>
                  <a:lnTo>
                    <a:pt x="2277" y="2263"/>
                  </a:lnTo>
                  <a:lnTo>
                    <a:pt x="2277" y="2263"/>
                  </a:lnTo>
                  <a:lnTo>
                    <a:pt x="2274" y="2261"/>
                  </a:lnTo>
                  <a:lnTo>
                    <a:pt x="2274" y="2261"/>
                  </a:lnTo>
                  <a:lnTo>
                    <a:pt x="2274" y="2261"/>
                  </a:lnTo>
                  <a:lnTo>
                    <a:pt x="2277" y="2261"/>
                  </a:lnTo>
                  <a:lnTo>
                    <a:pt x="2277" y="2261"/>
                  </a:lnTo>
                  <a:lnTo>
                    <a:pt x="2277" y="2261"/>
                  </a:lnTo>
                  <a:lnTo>
                    <a:pt x="2277" y="2261"/>
                  </a:lnTo>
                  <a:lnTo>
                    <a:pt x="2277" y="2261"/>
                  </a:lnTo>
                  <a:lnTo>
                    <a:pt x="2279" y="2261"/>
                  </a:lnTo>
                  <a:lnTo>
                    <a:pt x="2279" y="2261"/>
                  </a:lnTo>
                  <a:lnTo>
                    <a:pt x="2279" y="2259"/>
                  </a:lnTo>
                  <a:lnTo>
                    <a:pt x="2279" y="2256"/>
                  </a:lnTo>
                  <a:lnTo>
                    <a:pt x="2279" y="2256"/>
                  </a:lnTo>
                  <a:lnTo>
                    <a:pt x="2279" y="2256"/>
                  </a:lnTo>
                  <a:lnTo>
                    <a:pt x="2281" y="2256"/>
                  </a:lnTo>
                  <a:lnTo>
                    <a:pt x="2281" y="2254"/>
                  </a:lnTo>
                  <a:lnTo>
                    <a:pt x="2281" y="2254"/>
                  </a:lnTo>
                  <a:lnTo>
                    <a:pt x="2281" y="2254"/>
                  </a:lnTo>
                  <a:lnTo>
                    <a:pt x="2284" y="2254"/>
                  </a:lnTo>
                  <a:lnTo>
                    <a:pt x="2284" y="2254"/>
                  </a:lnTo>
                  <a:lnTo>
                    <a:pt x="2286" y="2254"/>
                  </a:lnTo>
                  <a:lnTo>
                    <a:pt x="2286" y="2254"/>
                  </a:lnTo>
                  <a:lnTo>
                    <a:pt x="2288" y="2252"/>
                  </a:lnTo>
                  <a:lnTo>
                    <a:pt x="2288" y="2252"/>
                  </a:lnTo>
                  <a:lnTo>
                    <a:pt x="2288" y="2252"/>
                  </a:lnTo>
                  <a:lnTo>
                    <a:pt x="2288" y="2252"/>
                  </a:lnTo>
                  <a:lnTo>
                    <a:pt x="2291" y="2252"/>
                  </a:lnTo>
                  <a:lnTo>
                    <a:pt x="2291" y="2249"/>
                  </a:lnTo>
                  <a:lnTo>
                    <a:pt x="2291" y="2249"/>
                  </a:lnTo>
                  <a:lnTo>
                    <a:pt x="2293" y="2249"/>
                  </a:lnTo>
                  <a:lnTo>
                    <a:pt x="2293" y="2249"/>
                  </a:lnTo>
                  <a:lnTo>
                    <a:pt x="2296" y="2249"/>
                  </a:lnTo>
                  <a:lnTo>
                    <a:pt x="2296" y="2249"/>
                  </a:lnTo>
                  <a:lnTo>
                    <a:pt x="2296" y="2247"/>
                  </a:lnTo>
                  <a:lnTo>
                    <a:pt x="2298" y="2247"/>
                  </a:lnTo>
                  <a:lnTo>
                    <a:pt x="2303" y="2247"/>
                  </a:lnTo>
                  <a:lnTo>
                    <a:pt x="2303" y="2245"/>
                  </a:lnTo>
                  <a:lnTo>
                    <a:pt x="2305" y="2240"/>
                  </a:lnTo>
                  <a:lnTo>
                    <a:pt x="2305" y="2237"/>
                  </a:lnTo>
                  <a:lnTo>
                    <a:pt x="2305" y="2237"/>
                  </a:lnTo>
                  <a:lnTo>
                    <a:pt x="2305" y="2235"/>
                  </a:lnTo>
                  <a:lnTo>
                    <a:pt x="2305" y="2233"/>
                  </a:lnTo>
                  <a:lnTo>
                    <a:pt x="2303" y="2233"/>
                  </a:lnTo>
                  <a:lnTo>
                    <a:pt x="2303" y="2230"/>
                  </a:lnTo>
                  <a:lnTo>
                    <a:pt x="2303" y="2230"/>
                  </a:lnTo>
                  <a:lnTo>
                    <a:pt x="2303" y="2228"/>
                  </a:lnTo>
                  <a:lnTo>
                    <a:pt x="2305" y="2226"/>
                  </a:lnTo>
                  <a:lnTo>
                    <a:pt x="2305" y="2226"/>
                  </a:lnTo>
                  <a:lnTo>
                    <a:pt x="2305" y="2226"/>
                  </a:lnTo>
                  <a:lnTo>
                    <a:pt x="2303" y="2223"/>
                  </a:lnTo>
                  <a:lnTo>
                    <a:pt x="2303" y="2223"/>
                  </a:lnTo>
                  <a:lnTo>
                    <a:pt x="2303" y="2223"/>
                  </a:lnTo>
                  <a:lnTo>
                    <a:pt x="2303" y="2221"/>
                  </a:lnTo>
                  <a:lnTo>
                    <a:pt x="2303" y="2221"/>
                  </a:lnTo>
                  <a:lnTo>
                    <a:pt x="2303" y="2221"/>
                  </a:lnTo>
                  <a:lnTo>
                    <a:pt x="2303" y="2219"/>
                  </a:lnTo>
                  <a:lnTo>
                    <a:pt x="2303" y="2219"/>
                  </a:lnTo>
                  <a:lnTo>
                    <a:pt x="2303" y="2216"/>
                  </a:lnTo>
                  <a:lnTo>
                    <a:pt x="2305" y="2216"/>
                  </a:lnTo>
                  <a:lnTo>
                    <a:pt x="2305" y="2216"/>
                  </a:lnTo>
                  <a:lnTo>
                    <a:pt x="2305" y="2216"/>
                  </a:lnTo>
                  <a:lnTo>
                    <a:pt x="2305" y="2216"/>
                  </a:lnTo>
                  <a:lnTo>
                    <a:pt x="2307" y="2216"/>
                  </a:lnTo>
                  <a:lnTo>
                    <a:pt x="2307" y="2214"/>
                  </a:lnTo>
                  <a:lnTo>
                    <a:pt x="2307" y="2214"/>
                  </a:lnTo>
                  <a:lnTo>
                    <a:pt x="2307" y="2211"/>
                  </a:lnTo>
                  <a:lnTo>
                    <a:pt x="2307" y="2211"/>
                  </a:lnTo>
                  <a:lnTo>
                    <a:pt x="2307" y="2211"/>
                  </a:lnTo>
                  <a:lnTo>
                    <a:pt x="2307" y="2211"/>
                  </a:lnTo>
                  <a:lnTo>
                    <a:pt x="2307" y="2209"/>
                  </a:lnTo>
                  <a:lnTo>
                    <a:pt x="2307" y="2209"/>
                  </a:lnTo>
                  <a:lnTo>
                    <a:pt x="2307" y="2209"/>
                  </a:lnTo>
                  <a:lnTo>
                    <a:pt x="2307" y="2207"/>
                  </a:lnTo>
                  <a:lnTo>
                    <a:pt x="2307" y="2207"/>
                  </a:lnTo>
                  <a:lnTo>
                    <a:pt x="2310" y="2204"/>
                  </a:lnTo>
                  <a:lnTo>
                    <a:pt x="2312" y="2202"/>
                  </a:lnTo>
                  <a:lnTo>
                    <a:pt x="2312" y="2202"/>
                  </a:lnTo>
                  <a:lnTo>
                    <a:pt x="2312" y="2200"/>
                  </a:lnTo>
                  <a:lnTo>
                    <a:pt x="2314" y="2197"/>
                  </a:lnTo>
                  <a:lnTo>
                    <a:pt x="2314" y="2197"/>
                  </a:lnTo>
                  <a:lnTo>
                    <a:pt x="2314" y="2195"/>
                  </a:lnTo>
                  <a:lnTo>
                    <a:pt x="2314" y="2195"/>
                  </a:lnTo>
                  <a:lnTo>
                    <a:pt x="2314" y="2195"/>
                  </a:lnTo>
                  <a:lnTo>
                    <a:pt x="2314" y="2195"/>
                  </a:lnTo>
                  <a:lnTo>
                    <a:pt x="2314" y="2195"/>
                  </a:lnTo>
                  <a:lnTo>
                    <a:pt x="2314" y="2195"/>
                  </a:lnTo>
                  <a:lnTo>
                    <a:pt x="2314" y="2195"/>
                  </a:lnTo>
                  <a:lnTo>
                    <a:pt x="2317" y="2195"/>
                  </a:lnTo>
                  <a:lnTo>
                    <a:pt x="2317" y="2195"/>
                  </a:lnTo>
                  <a:lnTo>
                    <a:pt x="2317" y="2195"/>
                  </a:lnTo>
                  <a:lnTo>
                    <a:pt x="2317" y="2195"/>
                  </a:lnTo>
                  <a:lnTo>
                    <a:pt x="2319" y="2195"/>
                  </a:lnTo>
                  <a:lnTo>
                    <a:pt x="2319" y="2195"/>
                  </a:lnTo>
                  <a:lnTo>
                    <a:pt x="2319" y="2195"/>
                  </a:lnTo>
                  <a:lnTo>
                    <a:pt x="2322" y="2195"/>
                  </a:lnTo>
                  <a:lnTo>
                    <a:pt x="2322" y="2195"/>
                  </a:lnTo>
                  <a:lnTo>
                    <a:pt x="2322" y="2192"/>
                  </a:lnTo>
                  <a:lnTo>
                    <a:pt x="2322" y="2192"/>
                  </a:lnTo>
                  <a:lnTo>
                    <a:pt x="2319" y="2192"/>
                  </a:lnTo>
                  <a:lnTo>
                    <a:pt x="2319" y="2192"/>
                  </a:lnTo>
                  <a:lnTo>
                    <a:pt x="2319" y="2195"/>
                  </a:lnTo>
                  <a:lnTo>
                    <a:pt x="2319" y="2195"/>
                  </a:lnTo>
                  <a:lnTo>
                    <a:pt x="2317" y="2192"/>
                  </a:lnTo>
                  <a:lnTo>
                    <a:pt x="2317" y="2192"/>
                  </a:lnTo>
                  <a:lnTo>
                    <a:pt x="2317" y="2192"/>
                  </a:lnTo>
                  <a:lnTo>
                    <a:pt x="2317" y="2190"/>
                  </a:lnTo>
                  <a:lnTo>
                    <a:pt x="2317" y="2190"/>
                  </a:lnTo>
                  <a:lnTo>
                    <a:pt x="2317" y="2188"/>
                  </a:lnTo>
                  <a:lnTo>
                    <a:pt x="2319" y="2188"/>
                  </a:lnTo>
                  <a:lnTo>
                    <a:pt x="2319" y="2188"/>
                  </a:lnTo>
                  <a:lnTo>
                    <a:pt x="2319" y="2188"/>
                  </a:lnTo>
                  <a:lnTo>
                    <a:pt x="2319" y="2188"/>
                  </a:lnTo>
                  <a:lnTo>
                    <a:pt x="2322" y="2188"/>
                  </a:lnTo>
                  <a:lnTo>
                    <a:pt x="2322" y="2190"/>
                  </a:lnTo>
                  <a:lnTo>
                    <a:pt x="2322" y="2190"/>
                  </a:lnTo>
                  <a:lnTo>
                    <a:pt x="2322" y="2190"/>
                  </a:lnTo>
                  <a:lnTo>
                    <a:pt x="2322" y="2190"/>
                  </a:lnTo>
                  <a:lnTo>
                    <a:pt x="2322" y="2190"/>
                  </a:lnTo>
                  <a:lnTo>
                    <a:pt x="2324" y="2190"/>
                  </a:lnTo>
                  <a:lnTo>
                    <a:pt x="2324" y="2190"/>
                  </a:lnTo>
                  <a:lnTo>
                    <a:pt x="2326" y="2188"/>
                  </a:lnTo>
                  <a:lnTo>
                    <a:pt x="2326" y="2188"/>
                  </a:lnTo>
                  <a:lnTo>
                    <a:pt x="2329" y="2188"/>
                  </a:lnTo>
                  <a:lnTo>
                    <a:pt x="2329" y="2188"/>
                  </a:lnTo>
                  <a:lnTo>
                    <a:pt x="2329" y="2188"/>
                  </a:lnTo>
                  <a:lnTo>
                    <a:pt x="2331" y="2188"/>
                  </a:lnTo>
                  <a:lnTo>
                    <a:pt x="2331" y="2188"/>
                  </a:lnTo>
                  <a:lnTo>
                    <a:pt x="2331" y="2188"/>
                  </a:lnTo>
                  <a:lnTo>
                    <a:pt x="2331" y="2188"/>
                  </a:lnTo>
                  <a:lnTo>
                    <a:pt x="2331" y="2185"/>
                  </a:lnTo>
                  <a:lnTo>
                    <a:pt x="2331" y="2185"/>
                  </a:lnTo>
                  <a:lnTo>
                    <a:pt x="2331" y="2185"/>
                  </a:lnTo>
                  <a:lnTo>
                    <a:pt x="2331" y="2188"/>
                  </a:lnTo>
                  <a:lnTo>
                    <a:pt x="2331" y="2185"/>
                  </a:lnTo>
                  <a:lnTo>
                    <a:pt x="2333" y="2185"/>
                  </a:lnTo>
                  <a:lnTo>
                    <a:pt x="2333" y="2185"/>
                  </a:lnTo>
                  <a:lnTo>
                    <a:pt x="2333" y="2183"/>
                  </a:lnTo>
                  <a:lnTo>
                    <a:pt x="2333" y="2181"/>
                  </a:lnTo>
                  <a:lnTo>
                    <a:pt x="2336" y="2181"/>
                  </a:lnTo>
                  <a:lnTo>
                    <a:pt x="2336" y="2181"/>
                  </a:lnTo>
                  <a:lnTo>
                    <a:pt x="2338" y="2183"/>
                  </a:lnTo>
                  <a:lnTo>
                    <a:pt x="2338" y="2183"/>
                  </a:lnTo>
                  <a:lnTo>
                    <a:pt x="2343" y="2181"/>
                  </a:lnTo>
                  <a:lnTo>
                    <a:pt x="2345" y="2178"/>
                  </a:lnTo>
                  <a:lnTo>
                    <a:pt x="2348" y="2178"/>
                  </a:lnTo>
                  <a:lnTo>
                    <a:pt x="2350" y="2176"/>
                  </a:lnTo>
                  <a:lnTo>
                    <a:pt x="2355" y="2174"/>
                  </a:lnTo>
                  <a:lnTo>
                    <a:pt x="2357" y="2174"/>
                  </a:lnTo>
                  <a:lnTo>
                    <a:pt x="2357" y="2174"/>
                  </a:lnTo>
                  <a:lnTo>
                    <a:pt x="2357" y="2174"/>
                  </a:lnTo>
                  <a:lnTo>
                    <a:pt x="2359" y="2174"/>
                  </a:lnTo>
                  <a:lnTo>
                    <a:pt x="2359" y="2174"/>
                  </a:lnTo>
                  <a:lnTo>
                    <a:pt x="2359" y="2174"/>
                  </a:lnTo>
                  <a:lnTo>
                    <a:pt x="2362" y="2174"/>
                  </a:lnTo>
                  <a:lnTo>
                    <a:pt x="2362" y="2174"/>
                  </a:lnTo>
                  <a:lnTo>
                    <a:pt x="2364" y="2174"/>
                  </a:lnTo>
                  <a:lnTo>
                    <a:pt x="2369" y="2171"/>
                  </a:lnTo>
                  <a:lnTo>
                    <a:pt x="2369" y="2171"/>
                  </a:lnTo>
                  <a:lnTo>
                    <a:pt x="2369" y="2171"/>
                  </a:lnTo>
                  <a:lnTo>
                    <a:pt x="2369" y="2171"/>
                  </a:lnTo>
                  <a:lnTo>
                    <a:pt x="2369" y="2171"/>
                  </a:lnTo>
                  <a:lnTo>
                    <a:pt x="2369" y="2171"/>
                  </a:lnTo>
                  <a:lnTo>
                    <a:pt x="2369" y="2171"/>
                  </a:lnTo>
                  <a:lnTo>
                    <a:pt x="2371" y="2171"/>
                  </a:lnTo>
                  <a:lnTo>
                    <a:pt x="2371" y="2171"/>
                  </a:lnTo>
                  <a:lnTo>
                    <a:pt x="2378" y="2169"/>
                  </a:lnTo>
                  <a:lnTo>
                    <a:pt x="2381" y="2166"/>
                  </a:lnTo>
                  <a:lnTo>
                    <a:pt x="2383" y="2164"/>
                  </a:lnTo>
                  <a:lnTo>
                    <a:pt x="2383" y="2164"/>
                  </a:lnTo>
                  <a:lnTo>
                    <a:pt x="2383" y="2164"/>
                  </a:lnTo>
                  <a:lnTo>
                    <a:pt x="2385" y="2164"/>
                  </a:lnTo>
                  <a:lnTo>
                    <a:pt x="2385" y="2164"/>
                  </a:lnTo>
                  <a:lnTo>
                    <a:pt x="2385" y="2164"/>
                  </a:lnTo>
                  <a:lnTo>
                    <a:pt x="2388" y="2164"/>
                  </a:lnTo>
                  <a:lnTo>
                    <a:pt x="2390" y="2164"/>
                  </a:lnTo>
                  <a:lnTo>
                    <a:pt x="2395" y="2164"/>
                  </a:lnTo>
                  <a:lnTo>
                    <a:pt x="2395" y="2164"/>
                  </a:lnTo>
                  <a:lnTo>
                    <a:pt x="2395" y="2162"/>
                  </a:lnTo>
                  <a:lnTo>
                    <a:pt x="2395" y="2162"/>
                  </a:lnTo>
                  <a:lnTo>
                    <a:pt x="2397" y="2162"/>
                  </a:lnTo>
                  <a:lnTo>
                    <a:pt x="2400" y="2159"/>
                  </a:lnTo>
                  <a:lnTo>
                    <a:pt x="2404" y="2157"/>
                  </a:lnTo>
                  <a:lnTo>
                    <a:pt x="2404" y="2157"/>
                  </a:lnTo>
                  <a:lnTo>
                    <a:pt x="2404" y="2157"/>
                  </a:lnTo>
                  <a:lnTo>
                    <a:pt x="2407" y="2157"/>
                  </a:lnTo>
                  <a:lnTo>
                    <a:pt x="2407" y="2157"/>
                  </a:lnTo>
                  <a:lnTo>
                    <a:pt x="2407" y="2157"/>
                  </a:lnTo>
                  <a:lnTo>
                    <a:pt x="2409" y="2157"/>
                  </a:lnTo>
                  <a:lnTo>
                    <a:pt x="2409" y="2157"/>
                  </a:lnTo>
                  <a:lnTo>
                    <a:pt x="2409" y="2157"/>
                  </a:lnTo>
                  <a:lnTo>
                    <a:pt x="2409" y="2159"/>
                  </a:lnTo>
                  <a:lnTo>
                    <a:pt x="2409" y="2157"/>
                  </a:lnTo>
                  <a:lnTo>
                    <a:pt x="2411" y="2157"/>
                  </a:lnTo>
                  <a:lnTo>
                    <a:pt x="2411" y="2157"/>
                  </a:lnTo>
                  <a:lnTo>
                    <a:pt x="2411" y="2157"/>
                  </a:lnTo>
                  <a:lnTo>
                    <a:pt x="2411" y="2159"/>
                  </a:lnTo>
                  <a:lnTo>
                    <a:pt x="2411" y="2159"/>
                  </a:lnTo>
                  <a:lnTo>
                    <a:pt x="2414" y="2157"/>
                  </a:lnTo>
                  <a:lnTo>
                    <a:pt x="2414" y="2157"/>
                  </a:lnTo>
                  <a:lnTo>
                    <a:pt x="2416" y="2157"/>
                  </a:lnTo>
                  <a:lnTo>
                    <a:pt x="2416" y="2157"/>
                  </a:lnTo>
                  <a:lnTo>
                    <a:pt x="2419" y="2157"/>
                  </a:lnTo>
                  <a:lnTo>
                    <a:pt x="2419" y="2157"/>
                  </a:lnTo>
                  <a:lnTo>
                    <a:pt x="2419" y="2157"/>
                  </a:lnTo>
                  <a:lnTo>
                    <a:pt x="2419" y="2157"/>
                  </a:lnTo>
                  <a:lnTo>
                    <a:pt x="2419" y="2157"/>
                  </a:lnTo>
                  <a:lnTo>
                    <a:pt x="2421" y="2157"/>
                  </a:lnTo>
                  <a:lnTo>
                    <a:pt x="2421" y="2157"/>
                  </a:lnTo>
                  <a:lnTo>
                    <a:pt x="2421" y="2157"/>
                  </a:lnTo>
                  <a:lnTo>
                    <a:pt x="2421" y="2155"/>
                  </a:lnTo>
                  <a:lnTo>
                    <a:pt x="2423" y="2155"/>
                  </a:lnTo>
                  <a:lnTo>
                    <a:pt x="2426" y="2155"/>
                  </a:lnTo>
                  <a:lnTo>
                    <a:pt x="2426" y="2155"/>
                  </a:lnTo>
                  <a:lnTo>
                    <a:pt x="2426" y="2152"/>
                  </a:lnTo>
                  <a:lnTo>
                    <a:pt x="2426" y="2152"/>
                  </a:lnTo>
                  <a:lnTo>
                    <a:pt x="2426" y="2152"/>
                  </a:lnTo>
                  <a:lnTo>
                    <a:pt x="2426" y="2152"/>
                  </a:lnTo>
                  <a:lnTo>
                    <a:pt x="2426" y="2152"/>
                  </a:lnTo>
                  <a:lnTo>
                    <a:pt x="2428" y="2150"/>
                  </a:lnTo>
                  <a:lnTo>
                    <a:pt x="2428" y="2150"/>
                  </a:lnTo>
                  <a:lnTo>
                    <a:pt x="2430" y="2150"/>
                  </a:lnTo>
                  <a:lnTo>
                    <a:pt x="2430" y="2150"/>
                  </a:lnTo>
                  <a:lnTo>
                    <a:pt x="2430" y="2150"/>
                  </a:lnTo>
                  <a:lnTo>
                    <a:pt x="2430" y="2148"/>
                  </a:lnTo>
                  <a:lnTo>
                    <a:pt x="2430" y="2148"/>
                  </a:lnTo>
                  <a:lnTo>
                    <a:pt x="2430" y="2148"/>
                  </a:lnTo>
                  <a:lnTo>
                    <a:pt x="2433" y="2150"/>
                  </a:lnTo>
                  <a:lnTo>
                    <a:pt x="2433" y="2150"/>
                  </a:lnTo>
                  <a:lnTo>
                    <a:pt x="2433" y="2150"/>
                  </a:lnTo>
                  <a:lnTo>
                    <a:pt x="2433" y="2150"/>
                  </a:lnTo>
                  <a:lnTo>
                    <a:pt x="2435" y="2148"/>
                  </a:lnTo>
                  <a:lnTo>
                    <a:pt x="2438" y="2148"/>
                  </a:lnTo>
                  <a:lnTo>
                    <a:pt x="2438" y="2148"/>
                  </a:lnTo>
                  <a:lnTo>
                    <a:pt x="2438" y="2148"/>
                  </a:lnTo>
                  <a:lnTo>
                    <a:pt x="2438" y="2145"/>
                  </a:lnTo>
                  <a:lnTo>
                    <a:pt x="2438" y="2148"/>
                  </a:lnTo>
                  <a:lnTo>
                    <a:pt x="2440" y="2145"/>
                  </a:lnTo>
                  <a:lnTo>
                    <a:pt x="2440" y="2145"/>
                  </a:lnTo>
                  <a:lnTo>
                    <a:pt x="2440" y="2145"/>
                  </a:lnTo>
                  <a:lnTo>
                    <a:pt x="2440" y="2148"/>
                  </a:lnTo>
                  <a:lnTo>
                    <a:pt x="2440" y="2148"/>
                  </a:lnTo>
                  <a:lnTo>
                    <a:pt x="2445" y="2145"/>
                  </a:lnTo>
                  <a:lnTo>
                    <a:pt x="2449" y="2145"/>
                  </a:lnTo>
                  <a:lnTo>
                    <a:pt x="2449" y="2145"/>
                  </a:lnTo>
                  <a:lnTo>
                    <a:pt x="2449" y="2145"/>
                  </a:lnTo>
                  <a:lnTo>
                    <a:pt x="2449" y="2145"/>
                  </a:lnTo>
                  <a:lnTo>
                    <a:pt x="2449" y="2145"/>
                  </a:lnTo>
                  <a:lnTo>
                    <a:pt x="2449" y="2143"/>
                  </a:lnTo>
                  <a:lnTo>
                    <a:pt x="2449" y="2143"/>
                  </a:lnTo>
                  <a:lnTo>
                    <a:pt x="2449" y="2143"/>
                  </a:lnTo>
                  <a:lnTo>
                    <a:pt x="2452" y="2143"/>
                  </a:lnTo>
                  <a:lnTo>
                    <a:pt x="2452" y="2143"/>
                  </a:lnTo>
                  <a:lnTo>
                    <a:pt x="2452" y="2143"/>
                  </a:lnTo>
                  <a:lnTo>
                    <a:pt x="2452" y="2143"/>
                  </a:lnTo>
                  <a:lnTo>
                    <a:pt x="2452" y="2143"/>
                  </a:lnTo>
                  <a:lnTo>
                    <a:pt x="2452" y="2143"/>
                  </a:lnTo>
                  <a:lnTo>
                    <a:pt x="2452" y="2143"/>
                  </a:lnTo>
                  <a:lnTo>
                    <a:pt x="2452" y="2143"/>
                  </a:lnTo>
                  <a:lnTo>
                    <a:pt x="2452" y="2143"/>
                  </a:lnTo>
                  <a:lnTo>
                    <a:pt x="2454" y="2143"/>
                  </a:lnTo>
                  <a:lnTo>
                    <a:pt x="2454" y="2143"/>
                  </a:lnTo>
                  <a:lnTo>
                    <a:pt x="2454" y="2143"/>
                  </a:lnTo>
                  <a:lnTo>
                    <a:pt x="2454" y="2143"/>
                  </a:lnTo>
                  <a:lnTo>
                    <a:pt x="2456" y="2143"/>
                  </a:lnTo>
                  <a:lnTo>
                    <a:pt x="2459" y="2143"/>
                  </a:lnTo>
                  <a:lnTo>
                    <a:pt x="2461" y="2143"/>
                  </a:lnTo>
                  <a:lnTo>
                    <a:pt x="2464" y="2143"/>
                  </a:lnTo>
                  <a:lnTo>
                    <a:pt x="2466" y="2140"/>
                  </a:lnTo>
                  <a:lnTo>
                    <a:pt x="2466" y="2140"/>
                  </a:lnTo>
                  <a:lnTo>
                    <a:pt x="2466" y="2140"/>
                  </a:lnTo>
                  <a:lnTo>
                    <a:pt x="2466" y="2140"/>
                  </a:lnTo>
                  <a:lnTo>
                    <a:pt x="2466" y="2140"/>
                  </a:lnTo>
                  <a:lnTo>
                    <a:pt x="2466" y="2140"/>
                  </a:lnTo>
                  <a:lnTo>
                    <a:pt x="2468" y="2140"/>
                  </a:lnTo>
                  <a:lnTo>
                    <a:pt x="2468" y="2140"/>
                  </a:lnTo>
                  <a:lnTo>
                    <a:pt x="2468" y="2140"/>
                  </a:lnTo>
                  <a:lnTo>
                    <a:pt x="2471" y="2140"/>
                  </a:lnTo>
                  <a:lnTo>
                    <a:pt x="2471" y="2140"/>
                  </a:lnTo>
                  <a:lnTo>
                    <a:pt x="2471" y="2140"/>
                  </a:lnTo>
                  <a:lnTo>
                    <a:pt x="2473" y="2143"/>
                  </a:lnTo>
                  <a:lnTo>
                    <a:pt x="2473" y="2143"/>
                  </a:lnTo>
                  <a:lnTo>
                    <a:pt x="2473" y="2143"/>
                  </a:lnTo>
                  <a:lnTo>
                    <a:pt x="2475" y="2143"/>
                  </a:lnTo>
                  <a:lnTo>
                    <a:pt x="2475" y="2140"/>
                  </a:lnTo>
                  <a:lnTo>
                    <a:pt x="2478" y="2140"/>
                  </a:lnTo>
                  <a:lnTo>
                    <a:pt x="2478" y="2140"/>
                  </a:lnTo>
                  <a:lnTo>
                    <a:pt x="2478" y="2138"/>
                  </a:lnTo>
                  <a:lnTo>
                    <a:pt x="2480" y="2138"/>
                  </a:lnTo>
                  <a:lnTo>
                    <a:pt x="2480" y="2138"/>
                  </a:lnTo>
                  <a:lnTo>
                    <a:pt x="2480" y="2140"/>
                  </a:lnTo>
                  <a:lnTo>
                    <a:pt x="2480" y="2140"/>
                  </a:lnTo>
                  <a:lnTo>
                    <a:pt x="2478" y="2140"/>
                  </a:lnTo>
                  <a:lnTo>
                    <a:pt x="2475" y="2143"/>
                  </a:lnTo>
                  <a:lnTo>
                    <a:pt x="2475" y="2143"/>
                  </a:lnTo>
                  <a:lnTo>
                    <a:pt x="2475" y="2143"/>
                  </a:lnTo>
                  <a:lnTo>
                    <a:pt x="2475" y="2145"/>
                  </a:lnTo>
                  <a:lnTo>
                    <a:pt x="2473" y="2145"/>
                  </a:lnTo>
                  <a:lnTo>
                    <a:pt x="2475" y="2145"/>
                  </a:lnTo>
                  <a:lnTo>
                    <a:pt x="2475" y="2145"/>
                  </a:lnTo>
                  <a:lnTo>
                    <a:pt x="2478" y="2145"/>
                  </a:lnTo>
                  <a:lnTo>
                    <a:pt x="2478" y="2143"/>
                  </a:lnTo>
                  <a:lnTo>
                    <a:pt x="2480" y="2140"/>
                  </a:lnTo>
                  <a:lnTo>
                    <a:pt x="2482" y="2138"/>
                  </a:lnTo>
                  <a:lnTo>
                    <a:pt x="2485" y="2138"/>
                  </a:lnTo>
                  <a:lnTo>
                    <a:pt x="2487" y="2136"/>
                  </a:lnTo>
                  <a:lnTo>
                    <a:pt x="2490" y="2133"/>
                  </a:lnTo>
                  <a:lnTo>
                    <a:pt x="2492" y="2133"/>
                  </a:lnTo>
                  <a:lnTo>
                    <a:pt x="2492" y="2133"/>
                  </a:lnTo>
                  <a:lnTo>
                    <a:pt x="2494" y="2133"/>
                  </a:lnTo>
                  <a:lnTo>
                    <a:pt x="2492" y="2133"/>
                  </a:lnTo>
                  <a:lnTo>
                    <a:pt x="2492" y="2133"/>
                  </a:lnTo>
                  <a:lnTo>
                    <a:pt x="2494" y="2133"/>
                  </a:lnTo>
                  <a:lnTo>
                    <a:pt x="2494" y="2133"/>
                  </a:lnTo>
                  <a:lnTo>
                    <a:pt x="2494" y="2133"/>
                  </a:lnTo>
                  <a:lnTo>
                    <a:pt x="2494" y="2131"/>
                  </a:lnTo>
                  <a:lnTo>
                    <a:pt x="2494" y="2131"/>
                  </a:lnTo>
                  <a:lnTo>
                    <a:pt x="2494" y="2131"/>
                  </a:lnTo>
                  <a:lnTo>
                    <a:pt x="2497" y="2131"/>
                  </a:lnTo>
                  <a:lnTo>
                    <a:pt x="2497" y="2131"/>
                  </a:lnTo>
                  <a:lnTo>
                    <a:pt x="2497" y="2131"/>
                  </a:lnTo>
                  <a:lnTo>
                    <a:pt x="2497" y="2131"/>
                  </a:lnTo>
                  <a:lnTo>
                    <a:pt x="2497" y="2131"/>
                  </a:lnTo>
                  <a:lnTo>
                    <a:pt x="2497" y="2131"/>
                  </a:lnTo>
                  <a:lnTo>
                    <a:pt x="2497" y="2131"/>
                  </a:lnTo>
                  <a:lnTo>
                    <a:pt x="2497" y="2131"/>
                  </a:lnTo>
                  <a:lnTo>
                    <a:pt x="2497" y="2131"/>
                  </a:lnTo>
                  <a:lnTo>
                    <a:pt x="2499" y="2131"/>
                  </a:lnTo>
                  <a:lnTo>
                    <a:pt x="2499" y="2131"/>
                  </a:lnTo>
                  <a:lnTo>
                    <a:pt x="2499" y="2129"/>
                  </a:lnTo>
                  <a:lnTo>
                    <a:pt x="2499" y="2129"/>
                  </a:lnTo>
                  <a:lnTo>
                    <a:pt x="2499" y="2129"/>
                  </a:lnTo>
                  <a:lnTo>
                    <a:pt x="2499" y="2129"/>
                  </a:lnTo>
                  <a:lnTo>
                    <a:pt x="2499" y="2129"/>
                  </a:lnTo>
                  <a:lnTo>
                    <a:pt x="2499" y="2129"/>
                  </a:lnTo>
                  <a:lnTo>
                    <a:pt x="2499" y="2131"/>
                  </a:lnTo>
                  <a:lnTo>
                    <a:pt x="2499" y="2131"/>
                  </a:lnTo>
                  <a:lnTo>
                    <a:pt x="2499" y="2131"/>
                  </a:lnTo>
                  <a:lnTo>
                    <a:pt x="2499" y="2131"/>
                  </a:lnTo>
                  <a:lnTo>
                    <a:pt x="2501" y="2126"/>
                  </a:lnTo>
                  <a:lnTo>
                    <a:pt x="2504" y="2126"/>
                  </a:lnTo>
                  <a:lnTo>
                    <a:pt x="2504" y="2126"/>
                  </a:lnTo>
                  <a:lnTo>
                    <a:pt x="2504" y="2126"/>
                  </a:lnTo>
                  <a:lnTo>
                    <a:pt x="2504" y="2126"/>
                  </a:lnTo>
                  <a:lnTo>
                    <a:pt x="2504" y="2126"/>
                  </a:lnTo>
                  <a:lnTo>
                    <a:pt x="2504" y="2129"/>
                  </a:lnTo>
                  <a:lnTo>
                    <a:pt x="2504" y="2129"/>
                  </a:lnTo>
                  <a:lnTo>
                    <a:pt x="2504" y="2129"/>
                  </a:lnTo>
                  <a:lnTo>
                    <a:pt x="2504" y="2129"/>
                  </a:lnTo>
                  <a:lnTo>
                    <a:pt x="2506" y="2126"/>
                  </a:lnTo>
                  <a:lnTo>
                    <a:pt x="2506" y="2126"/>
                  </a:lnTo>
                  <a:lnTo>
                    <a:pt x="2506" y="2126"/>
                  </a:lnTo>
                  <a:lnTo>
                    <a:pt x="2506" y="2126"/>
                  </a:lnTo>
                  <a:lnTo>
                    <a:pt x="2506" y="2126"/>
                  </a:lnTo>
                  <a:lnTo>
                    <a:pt x="2506" y="2126"/>
                  </a:lnTo>
                  <a:lnTo>
                    <a:pt x="2506" y="2126"/>
                  </a:lnTo>
                  <a:lnTo>
                    <a:pt x="2506" y="2126"/>
                  </a:lnTo>
                  <a:lnTo>
                    <a:pt x="2509" y="2126"/>
                  </a:lnTo>
                  <a:lnTo>
                    <a:pt x="2509" y="2126"/>
                  </a:lnTo>
                  <a:lnTo>
                    <a:pt x="2509" y="2124"/>
                  </a:lnTo>
                  <a:lnTo>
                    <a:pt x="2509" y="2124"/>
                  </a:lnTo>
                  <a:lnTo>
                    <a:pt x="2511" y="2126"/>
                  </a:lnTo>
                  <a:lnTo>
                    <a:pt x="2511" y="2126"/>
                  </a:lnTo>
                  <a:lnTo>
                    <a:pt x="2513" y="2124"/>
                  </a:lnTo>
                  <a:lnTo>
                    <a:pt x="2513" y="2124"/>
                  </a:lnTo>
                  <a:lnTo>
                    <a:pt x="2513" y="2122"/>
                  </a:lnTo>
                  <a:lnTo>
                    <a:pt x="2513" y="2122"/>
                  </a:lnTo>
                  <a:lnTo>
                    <a:pt x="2513" y="2122"/>
                  </a:lnTo>
                  <a:lnTo>
                    <a:pt x="2516" y="2122"/>
                  </a:lnTo>
                  <a:lnTo>
                    <a:pt x="2516" y="2122"/>
                  </a:lnTo>
                  <a:lnTo>
                    <a:pt x="2516" y="2122"/>
                  </a:lnTo>
                  <a:lnTo>
                    <a:pt x="2516" y="2122"/>
                  </a:lnTo>
                  <a:lnTo>
                    <a:pt x="2516" y="2122"/>
                  </a:lnTo>
                  <a:lnTo>
                    <a:pt x="2516" y="2122"/>
                  </a:lnTo>
                  <a:lnTo>
                    <a:pt x="2516" y="2122"/>
                  </a:lnTo>
                  <a:lnTo>
                    <a:pt x="2516" y="2122"/>
                  </a:lnTo>
                  <a:lnTo>
                    <a:pt x="2516" y="2122"/>
                  </a:lnTo>
                  <a:lnTo>
                    <a:pt x="2516" y="2122"/>
                  </a:lnTo>
                  <a:lnTo>
                    <a:pt x="2518" y="2122"/>
                  </a:lnTo>
                  <a:lnTo>
                    <a:pt x="2518" y="2122"/>
                  </a:lnTo>
                  <a:lnTo>
                    <a:pt x="2518" y="2122"/>
                  </a:lnTo>
                  <a:lnTo>
                    <a:pt x="2518" y="2122"/>
                  </a:lnTo>
                  <a:lnTo>
                    <a:pt x="2518" y="2122"/>
                  </a:lnTo>
                  <a:lnTo>
                    <a:pt x="2518" y="2122"/>
                  </a:lnTo>
                  <a:lnTo>
                    <a:pt x="2518" y="2122"/>
                  </a:lnTo>
                  <a:lnTo>
                    <a:pt x="2518" y="2122"/>
                  </a:lnTo>
                  <a:lnTo>
                    <a:pt x="2518" y="2119"/>
                  </a:lnTo>
                  <a:lnTo>
                    <a:pt x="2520" y="2119"/>
                  </a:lnTo>
                  <a:lnTo>
                    <a:pt x="2520" y="2119"/>
                  </a:lnTo>
                  <a:lnTo>
                    <a:pt x="2520" y="2119"/>
                  </a:lnTo>
                  <a:lnTo>
                    <a:pt x="2520" y="2117"/>
                  </a:lnTo>
                  <a:lnTo>
                    <a:pt x="2520" y="2119"/>
                  </a:lnTo>
                  <a:lnTo>
                    <a:pt x="2520" y="2119"/>
                  </a:lnTo>
                  <a:lnTo>
                    <a:pt x="2520" y="2119"/>
                  </a:lnTo>
                  <a:lnTo>
                    <a:pt x="2520" y="2117"/>
                  </a:lnTo>
                  <a:lnTo>
                    <a:pt x="2520" y="2119"/>
                  </a:lnTo>
                  <a:lnTo>
                    <a:pt x="2520" y="2119"/>
                  </a:lnTo>
                  <a:lnTo>
                    <a:pt x="2520" y="2119"/>
                  </a:lnTo>
                  <a:lnTo>
                    <a:pt x="2520" y="2119"/>
                  </a:lnTo>
                  <a:lnTo>
                    <a:pt x="2523" y="2119"/>
                  </a:lnTo>
                  <a:lnTo>
                    <a:pt x="2523" y="2119"/>
                  </a:lnTo>
                  <a:lnTo>
                    <a:pt x="2523" y="2117"/>
                  </a:lnTo>
                  <a:lnTo>
                    <a:pt x="2523" y="2117"/>
                  </a:lnTo>
                  <a:lnTo>
                    <a:pt x="2523" y="2117"/>
                  </a:lnTo>
                  <a:lnTo>
                    <a:pt x="2523" y="2117"/>
                  </a:lnTo>
                  <a:lnTo>
                    <a:pt x="2525" y="2117"/>
                  </a:lnTo>
                  <a:lnTo>
                    <a:pt x="2525" y="2119"/>
                  </a:lnTo>
                  <a:lnTo>
                    <a:pt x="2525" y="2119"/>
                  </a:lnTo>
                  <a:lnTo>
                    <a:pt x="2525" y="2119"/>
                  </a:lnTo>
                  <a:lnTo>
                    <a:pt x="2525" y="2119"/>
                  </a:lnTo>
                  <a:lnTo>
                    <a:pt x="2525" y="2119"/>
                  </a:lnTo>
                  <a:lnTo>
                    <a:pt x="2525" y="2119"/>
                  </a:lnTo>
                  <a:lnTo>
                    <a:pt x="2525" y="2119"/>
                  </a:lnTo>
                  <a:lnTo>
                    <a:pt x="2525" y="2119"/>
                  </a:lnTo>
                  <a:lnTo>
                    <a:pt x="2525" y="2119"/>
                  </a:lnTo>
                  <a:lnTo>
                    <a:pt x="2525" y="2119"/>
                  </a:lnTo>
                  <a:lnTo>
                    <a:pt x="2527" y="2119"/>
                  </a:lnTo>
                  <a:lnTo>
                    <a:pt x="2527" y="2117"/>
                  </a:lnTo>
                  <a:lnTo>
                    <a:pt x="2527" y="2117"/>
                  </a:lnTo>
                  <a:lnTo>
                    <a:pt x="2527" y="2117"/>
                  </a:lnTo>
                  <a:lnTo>
                    <a:pt x="2527" y="2117"/>
                  </a:lnTo>
                  <a:lnTo>
                    <a:pt x="2527" y="2117"/>
                  </a:lnTo>
                  <a:lnTo>
                    <a:pt x="2530" y="2117"/>
                  </a:lnTo>
                  <a:lnTo>
                    <a:pt x="2530" y="2117"/>
                  </a:lnTo>
                  <a:lnTo>
                    <a:pt x="2530" y="2114"/>
                  </a:lnTo>
                  <a:lnTo>
                    <a:pt x="2530" y="2114"/>
                  </a:lnTo>
                  <a:lnTo>
                    <a:pt x="2530" y="2114"/>
                  </a:lnTo>
                  <a:lnTo>
                    <a:pt x="2530" y="2114"/>
                  </a:lnTo>
                  <a:lnTo>
                    <a:pt x="2530" y="2114"/>
                  </a:lnTo>
                  <a:lnTo>
                    <a:pt x="2530" y="2114"/>
                  </a:lnTo>
                  <a:lnTo>
                    <a:pt x="2532" y="2114"/>
                  </a:lnTo>
                  <a:lnTo>
                    <a:pt x="2532" y="2112"/>
                  </a:lnTo>
                  <a:lnTo>
                    <a:pt x="2532" y="2112"/>
                  </a:lnTo>
                  <a:lnTo>
                    <a:pt x="2535" y="2110"/>
                  </a:lnTo>
                  <a:lnTo>
                    <a:pt x="2532" y="2110"/>
                  </a:lnTo>
                  <a:lnTo>
                    <a:pt x="2532" y="2110"/>
                  </a:lnTo>
                  <a:lnTo>
                    <a:pt x="2532" y="2110"/>
                  </a:lnTo>
                  <a:lnTo>
                    <a:pt x="2532" y="2110"/>
                  </a:lnTo>
                  <a:lnTo>
                    <a:pt x="2532" y="2110"/>
                  </a:lnTo>
                  <a:lnTo>
                    <a:pt x="2532" y="2110"/>
                  </a:lnTo>
                  <a:lnTo>
                    <a:pt x="2532" y="2110"/>
                  </a:lnTo>
                  <a:lnTo>
                    <a:pt x="2532" y="2110"/>
                  </a:lnTo>
                  <a:lnTo>
                    <a:pt x="2532" y="2110"/>
                  </a:lnTo>
                  <a:lnTo>
                    <a:pt x="2530" y="2110"/>
                  </a:lnTo>
                  <a:lnTo>
                    <a:pt x="2530" y="2110"/>
                  </a:lnTo>
                  <a:lnTo>
                    <a:pt x="2530" y="2107"/>
                  </a:lnTo>
                  <a:lnTo>
                    <a:pt x="2532" y="2107"/>
                  </a:lnTo>
                  <a:lnTo>
                    <a:pt x="2532" y="2105"/>
                  </a:lnTo>
                  <a:lnTo>
                    <a:pt x="2532" y="2105"/>
                  </a:lnTo>
                  <a:lnTo>
                    <a:pt x="2532" y="2105"/>
                  </a:lnTo>
                  <a:lnTo>
                    <a:pt x="2532" y="2103"/>
                  </a:lnTo>
                  <a:lnTo>
                    <a:pt x="2535" y="2105"/>
                  </a:lnTo>
                  <a:lnTo>
                    <a:pt x="2535" y="2103"/>
                  </a:lnTo>
                  <a:lnTo>
                    <a:pt x="2535" y="2103"/>
                  </a:lnTo>
                  <a:lnTo>
                    <a:pt x="2535" y="2103"/>
                  </a:lnTo>
                  <a:lnTo>
                    <a:pt x="2535" y="2103"/>
                  </a:lnTo>
                  <a:lnTo>
                    <a:pt x="2537" y="2100"/>
                  </a:lnTo>
                  <a:lnTo>
                    <a:pt x="2537" y="2100"/>
                  </a:lnTo>
                  <a:lnTo>
                    <a:pt x="2539" y="2100"/>
                  </a:lnTo>
                  <a:lnTo>
                    <a:pt x="2539" y="2098"/>
                  </a:lnTo>
                  <a:lnTo>
                    <a:pt x="2539" y="2098"/>
                  </a:lnTo>
                  <a:lnTo>
                    <a:pt x="2539" y="2098"/>
                  </a:lnTo>
                  <a:lnTo>
                    <a:pt x="2539" y="2098"/>
                  </a:lnTo>
                  <a:lnTo>
                    <a:pt x="2539" y="2095"/>
                  </a:lnTo>
                  <a:lnTo>
                    <a:pt x="2539" y="2095"/>
                  </a:lnTo>
                  <a:lnTo>
                    <a:pt x="2539" y="2095"/>
                  </a:lnTo>
                  <a:lnTo>
                    <a:pt x="2539" y="2095"/>
                  </a:lnTo>
                  <a:lnTo>
                    <a:pt x="2539" y="2095"/>
                  </a:lnTo>
                  <a:lnTo>
                    <a:pt x="2542" y="2095"/>
                  </a:lnTo>
                  <a:lnTo>
                    <a:pt x="2542" y="2095"/>
                  </a:lnTo>
                  <a:lnTo>
                    <a:pt x="2542" y="2093"/>
                  </a:lnTo>
                  <a:lnTo>
                    <a:pt x="2542" y="2093"/>
                  </a:lnTo>
                  <a:lnTo>
                    <a:pt x="2542" y="2093"/>
                  </a:lnTo>
                  <a:lnTo>
                    <a:pt x="2542" y="2093"/>
                  </a:lnTo>
                  <a:lnTo>
                    <a:pt x="2539" y="2093"/>
                  </a:lnTo>
                  <a:lnTo>
                    <a:pt x="2539" y="2091"/>
                  </a:lnTo>
                  <a:lnTo>
                    <a:pt x="2539" y="2091"/>
                  </a:lnTo>
                  <a:lnTo>
                    <a:pt x="2539" y="2091"/>
                  </a:lnTo>
                  <a:lnTo>
                    <a:pt x="2539" y="2091"/>
                  </a:lnTo>
                  <a:lnTo>
                    <a:pt x="2542" y="2091"/>
                  </a:lnTo>
                  <a:lnTo>
                    <a:pt x="2542" y="2088"/>
                  </a:lnTo>
                  <a:lnTo>
                    <a:pt x="2539" y="2088"/>
                  </a:lnTo>
                  <a:lnTo>
                    <a:pt x="2539" y="2088"/>
                  </a:lnTo>
                  <a:lnTo>
                    <a:pt x="2539" y="2088"/>
                  </a:lnTo>
                  <a:lnTo>
                    <a:pt x="2539" y="2088"/>
                  </a:lnTo>
                  <a:lnTo>
                    <a:pt x="2539" y="2088"/>
                  </a:lnTo>
                  <a:lnTo>
                    <a:pt x="2542" y="2088"/>
                  </a:lnTo>
                  <a:lnTo>
                    <a:pt x="2542" y="2088"/>
                  </a:lnTo>
                  <a:lnTo>
                    <a:pt x="2542" y="2086"/>
                  </a:lnTo>
                  <a:lnTo>
                    <a:pt x="2542" y="2086"/>
                  </a:lnTo>
                  <a:lnTo>
                    <a:pt x="2544" y="2084"/>
                  </a:lnTo>
                  <a:lnTo>
                    <a:pt x="2544" y="2084"/>
                  </a:lnTo>
                  <a:lnTo>
                    <a:pt x="2544" y="2084"/>
                  </a:lnTo>
                  <a:lnTo>
                    <a:pt x="2544" y="2084"/>
                  </a:lnTo>
                  <a:lnTo>
                    <a:pt x="2544" y="2084"/>
                  </a:lnTo>
                  <a:lnTo>
                    <a:pt x="2544" y="2084"/>
                  </a:lnTo>
                  <a:lnTo>
                    <a:pt x="2544" y="2081"/>
                  </a:lnTo>
                  <a:lnTo>
                    <a:pt x="2544" y="2081"/>
                  </a:lnTo>
                  <a:lnTo>
                    <a:pt x="2544" y="2081"/>
                  </a:lnTo>
                  <a:lnTo>
                    <a:pt x="2544" y="2081"/>
                  </a:lnTo>
                  <a:lnTo>
                    <a:pt x="2544" y="2081"/>
                  </a:lnTo>
                  <a:lnTo>
                    <a:pt x="2546" y="2081"/>
                  </a:lnTo>
                  <a:lnTo>
                    <a:pt x="2546" y="2081"/>
                  </a:lnTo>
                  <a:lnTo>
                    <a:pt x="2546" y="2081"/>
                  </a:lnTo>
                  <a:lnTo>
                    <a:pt x="2546" y="2077"/>
                  </a:lnTo>
                  <a:lnTo>
                    <a:pt x="2546" y="2077"/>
                  </a:lnTo>
                  <a:lnTo>
                    <a:pt x="2546" y="2074"/>
                  </a:lnTo>
                  <a:lnTo>
                    <a:pt x="2546" y="2072"/>
                  </a:lnTo>
                  <a:lnTo>
                    <a:pt x="2546" y="2072"/>
                  </a:lnTo>
                  <a:lnTo>
                    <a:pt x="2546" y="2072"/>
                  </a:lnTo>
                  <a:lnTo>
                    <a:pt x="2546" y="2074"/>
                  </a:lnTo>
                  <a:lnTo>
                    <a:pt x="2546" y="2074"/>
                  </a:lnTo>
                  <a:lnTo>
                    <a:pt x="2546" y="2074"/>
                  </a:lnTo>
                  <a:lnTo>
                    <a:pt x="2546" y="2077"/>
                  </a:lnTo>
                  <a:lnTo>
                    <a:pt x="2546" y="2077"/>
                  </a:lnTo>
                  <a:lnTo>
                    <a:pt x="2549" y="2079"/>
                  </a:lnTo>
                  <a:lnTo>
                    <a:pt x="2549" y="2079"/>
                  </a:lnTo>
                  <a:lnTo>
                    <a:pt x="2551" y="2079"/>
                  </a:lnTo>
                  <a:lnTo>
                    <a:pt x="2551" y="2079"/>
                  </a:lnTo>
                  <a:lnTo>
                    <a:pt x="2551" y="2079"/>
                  </a:lnTo>
                  <a:lnTo>
                    <a:pt x="2551" y="2079"/>
                  </a:lnTo>
                  <a:lnTo>
                    <a:pt x="2551" y="2079"/>
                  </a:lnTo>
                  <a:lnTo>
                    <a:pt x="2551" y="2077"/>
                  </a:lnTo>
                  <a:lnTo>
                    <a:pt x="2551" y="2077"/>
                  </a:lnTo>
                  <a:lnTo>
                    <a:pt x="2551" y="2077"/>
                  </a:lnTo>
                  <a:lnTo>
                    <a:pt x="2551" y="2077"/>
                  </a:lnTo>
                  <a:lnTo>
                    <a:pt x="2551" y="2077"/>
                  </a:lnTo>
                  <a:lnTo>
                    <a:pt x="2551" y="2074"/>
                  </a:lnTo>
                  <a:lnTo>
                    <a:pt x="2551" y="2074"/>
                  </a:lnTo>
                  <a:lnTo>
                    <a:pt x="2551" y="2074"/>
                  </a:lnTo>
                  <a:lnTo>
                    <a:pt x="2551" y="2074"/>
                  </a:lnTo>
                  <a:lnTo>
                    <a:pt x="2551" y="2072"/>
                  </a:lnTo>
                  <a:lnTo>
                    <a:pt x="2551" y="2072"/>
                  </a:lnTo>
                  <a:lnTo>
                    <a:pt x="2551" y="2072"/>
                  </a:lnTo>
                  <a:lnTo>
                    <a:pt x="2551" y="2072"/>
                  </a:lnTo>
                  <a:lnTo>
                    <a:pt x="2551" y="2072"/>
                  </a:lnTo>
                  <a:lnTo>
                    <a:pt x="2549" y="2072"/>
                  </a:lnTo>
                  <a:lnTo>
                    <a:pt x="2549" y="2069"/>
                  </a:lnTo>
                  <a:lnTo>
                    <a:pt x="2549" y="2069"/>
                  </a:lnTo>
                  <a:lnTo>
                    <a:pt x="2549" y="2069"/>
                  </a:lnTo>
                  <a:lnTo>
                    <a:pt x="2549" y="2069"/>
                  </a:lnTo>
                  <a:lnTo>
                    <a:pt x="2549" y="2069"/>
                  </a:lnTo>
                  <a:lnTo>
                    <a:pt x="2549" y="2069"/>
                  </a:lnTo>
                  <a:lnTo>
                    <a:pt x="2549" y="2067"/>
                  </a:lnTo>
                  <a:lnTo>
                    <a:pt x="2549" y="2067"/>
                  </a:lnTo>
                  <a:lnTo>
                    <a:pt x="2549" y="2067"/>
                  </a:lnTo>
                  <a:lnTo>
                    <a:pt x="2549" y="2067"/>
                  </a:lnTo>
                  <a:lnTo>
                    <a:pt x="2549" y="2067"/>
                  </a:lnTo>
                  <a:lnTo>
                    <a:pt x="2549" y="2065"/>
                  </a:lnTo>
                  <a:lnTo>
                    <a:pt x="2549" y="2065"/>
                  </a:lnTo>
                  <a:lnTo>
                    <a:pt x="2546" y="2065"/>
                  </a:lnTo>
                  <a:lnTo>
                    <a:pt x="2546" y="2065"/>
                  </a:lnTo>
                  <a:lnTo>
                    <a:pt x="2546" y="2067"/>
                  </a:lnTo>
                  <a:lnTo>
                    <a:pt x="2546" y="2065"/>
                  </a:lnTo>
                  <a:lnTo>
                    <a:pt x="2546" y="2065"/>
                  </a:lnTo>
                  <a:lnTo>
                    <a:pt x="2546" y="2065"/>
                  </a:lnTo>
                  <a:lnTo>
                    <a:pt x="2546" y="2065"/>
                  </a:lnTo>
                  <a:lnTo>
                    <a:pt x="2546" y="2065"/>
                  </a:lnTo>
                  <a:lnTo>
                    <a:pt x="2546" y="2065"/>
                  </a:lnTo>
                  <a:lnTo>
                    <a:pt x="2546" y="2065"/>
                  </a:lnTo>
                  <a:lnTo>
                    <a:pt x="2549" y="2062"/>
                  </a:lnTo>
                  <a:lnTo>
                    <a:pt x="2549" y="2062"/>
                  </a:lnTo>
                  <a:lnTo>
                    <a:pt x="2549" y="2062"/>
                  </a:lnTo>
                  <a:lnTo>
                    <a:pt x="2549" y="2062"/>
                  </a:lnTo>
                  <a:lnTo>
                    <a:pt x="2549" y="2062"/>
                  </a:lnTo>
                  <a:lnTo>
                    <a:pt x="2549" y="2065"/>
                  </a:lnTo>
                  <a:lnTo>
                    <a:pt x="2549" y="2065"/>
                  </a:lnTo>
                  <a:lnTo>
                    <a:pt x="2551" y="2065"/>
                  </a:lnTo>
                  <a:lnTo>
                    <a:pt x="2551" y="2065"/>
                  </a:lnTo>
                  <a:lnTo>
                    <a:pt x="2551" y="2062"/>
                  </a:lnTo>
                  <a:lnTo>
                    <a:pt x="2551" y="2062"/>
                  </a:lnTo>
                  <a:lnTo>
                    <a:pt x="2551" y="2062"/>
                  </a:lnTo>
                  <a:lnTo>
                    <a:pt x="2551" y="2062"/>
                  </a:lnTo>
                  <a:lnTo>
                    <a:pt x="2551" y="2062"/>
                  </a:lnTo>
                  <a:lnTo>
                    <a:pt x="2551" y="2062"/>
                  </a:lnTo>
                  <a:lnTo>
                    <a:pt x="2551" y="2062"/>
                  </a:lnTo>
                  <a:lnTo>
                    <a:pt x="2551" y="2060"/>
                  </a:lnTo>
                  <a:lnTo>
                    <a:pt x="2551" y="2060"/>
                  </a:lnTo>
                  <a:lnTo>
                    <a:pt x="2551" y="2060"/>
                  </a:lnTo>
                  <a:lnTo>
                    <a:pt x="2551" y="2060"/>
                  </a:lnTo>
                  <a:lnTo>
                    <a:pt x="2551" y="2060"/>
                  </a:lnTo>
                  <a:lnTo>
                    <a:pt x="2551" y="2060"/>
                  </a:lnTo>
                  <a:lnTo>
                    <a:pt x="2551" y="2058"/>
                  </a:lnTo>
                  <a:lnTo>
                    <a:pt x="2551" y="2058"/>
                  </a:lnTo>
                  <a:lnTo>
                    <a:pt x="2553" y="2058"/>
                  </a:lnTo>
                  <a:lnTo>
                    <a:pt x="2553" y="2058"/>
                  </a:lnTo>
                  <a:lnTo>
                    <a:pt x="2553" y="2055"/>
                  </a:lnTo>
                  <a:lnTo>
                    <a:pt x="2553" y="2055"/>
                  </a:lnTo>
                  <a:lnTo>
                    <a:pt x="2556" y="2055"/>
                  </a:lnTo>
                  <a:lnTo>
                    <a:pt x="2556" y="2053"/>
                  </a:lnTo>
                  <a:lnTo>
                    <a:pt x="2556" y="2053"/>
                  </a:lnTo>
                  <a:lnTo>
                    <a:pt x="2556" y="2053"/>
                  </a:lnTo>
                  <a:lnTo>
                    <a:pt x="2556" y="2053"/>
                  </a:lnTo>
                  <a:lnTo>
                    <a:pt x="2556" y="2051"/>
                  </a:lnTo>
                  <a:lnTo>
                    <a:pt x="2553" y="2051"/>
                  </a:lnTo>
                  <a:lnTo>
                    <a:pt x="2553" y="2051"/>
                  </a:lnTo>
                  <a:lnTo>
                    <a:pt x="2553" y="2051"/>
                  </a:lnTo>
                  <a:lnTo>
                    <a:pt x="2551" y="2051"/>
                  </a:lnTo>
                  <a:lnTo>
                    <a:pt x="2551" y="2048"/>
                  </a:lnTo>
                  <a:lnTo>
                    <a:pt x="2553" y="2048"/>
                  </a:lnTo>
                  <a:lnTo>
                    <a:pt x="2553" y="2051"/>
                  </a:lnTo>
                  <a:lnTo>
                    <a:pt x="2553" y="2051"/>
                  </a:lnTo>
                  <a:lnTo>
                    <a:pt x="2553" y="2051"/>
                  </a:lnTo>
                  <a:lnTo>
                    <a:pt x="2553" y="2051"/>
                  </a:lnTo>
                  <a:lnTo>
                    <a:pt x="2553" y="2051"/>
                  </a:lnTo>
                  <a:lnTo>
                    <a:pt x="2553" y="2048"/>
                  </a:lnTo>
                  <a:lnTo>
                    <a:pt x="2553" y="2048"/>
                  </a:lnTo>
                  <a:lnTo>
                    <a:pt x="2553" y="2048"/>
                  </a:lnTo>
                  <a:lnTo>
                    <a:pt x="2553" y="2048"/>
                  </a:lnTo>
                  <a:lnTo>
                    <a:pt x="2553" y="2048"/>
                  </a:lnTo>
                  <a:lnTo>
                    <a:pt x="2553" y="2048"/>
                  </a:lnTo>
                  <a:lnTo>
                    <a:pt x="2553" y="2048"/>
                  </a:lnTo>
                  <a:lnTo>
                    <a:pt x="2556" y="2048"/>
                  </a:lnTo>
                  <a:lnTo>
                    <a:pt x="2556" y="2048"/>
                  </a:lnTo>
                  <a:lnTo>
                    <a:pt x="2558" y="2043"/>
                  </a:lnTo>
                  <a:lnTo>
                    <a:pt x="2558" y="2043"/>
                  </a:lnTo>
                  <a:lnTo>
                    <a:pt x="2563" y="2043"/>
                  </a:lnTo>
                  <a:lnTo>
                    <a:pt x="2563" y="2043"/>
                  </a:lnTo>
                  <a:lnTo>
                    <a:pt x="2563" y="2043"/>
                  </a:lnTo>
                  <a:lnTo>
                    <a:pt x="2563" y="2041"/>
                  </a:lnTo>
                  <a:lnTo>
                    <a:pt x="2563" y="2041"/>
                  </a:lnTo>
                  <a:lnTo>
                    <a:pt x="2563" y="2041"/>
                  </a:lnTo>
                  <a:lnTo>
                    <a:pt x="2563" y="2041"/>
                  </a:lnTo>
                  <a:lnTo>
                    <a:pt x="2563" y="2041"/>
                  </a:lnTo>
                  <a:lnTo>
                    <a:pt x="2565" y="2041"/>
                  </a:lnTo>
                  <a:lnTo>
                    <a:pt x="2565" y="2043"/>
                  </a:lnTo>
                  <a:lnTo>
                    <a:pt x="2565" y="2043"/>
                  </a:lnTo>
                  <a:lnTo>
                    <a:pt x="2568" y="2041"/>
                  </a:lnTo>
                  <a:lnTo>
                    <a:pt x="2568" y="2041"/>
                  </a:lnTo>
                  <a:lnTo>
                    <a:pt x="2568" y="2041"/>
                  </a:lnTo>
                  <a:lnTo>
                    <a:pt x="2568" y="2041"/>
                  </a:lnTo>
                  <a:lnTo>
                    <a:pt x="2568" y="2041"/>
                  </a:lnTo>
                  <a:lnTo>
                    <a:pt x="2568" y="2041"/>
                  </a:lnTo>
                  <a:lnTo>
                    <a:pt x="2570" y="2039"/>
                  </a:lnTo>
                  <a:lnTo>
                    <a:pt x="2570" y="2039"/>
                  </a:lnTo>
                  <a:lnTo>
                    <a:pt x="2570" y="2039"/>
                  </a:lnTo>
                  <a:lnTo>
                    <a:pt x="2572" y="2036"/>
                  </a:lnTo>
                  <a:lnTo>
                    <a:pt x="2572" y="2036"/>
                  </a:lnTo>
                  <a:lnTo>
                    <a:pt x="2572" y="2034"/>
                  </a:lnTo>
                  <a:lnTo>
                    <a:pt x="2575" y="2032"/>
                  </a:lnTo>
                  <a:lnTo>
                    <a:pt x="2575" y="2032"/>
                  </a:lnTo>
                  <a:lnTo>
                    <a:pt x="2575" y="2029"/>
                  </a:lnTo>
                  <a:lnTo>
                    <a:pt x="2577" y="2029"/>
                  </a:lnTo>
                  <a:lnTo>
                    <a:pt x="2577" y="2029"/>
                  </a:lnTo>
                  <a:lnTo>
                    <a:pt x="2577" y="2029"/>
                  </a:lnTo>
                  <a:lnTo>
                    <a:pt x="2577" y="2032"/>
                  </a:lnTo>
                  <a:lnTo>
                    <a:pt x="2577" y="2032"/>
                  </a:lnTo>
                  <a:lnTo>
                    <a:pt x="2577" y="2029"/>
                  </a:lnTo>
                  <a:lnTo>
                    <a:pt x="2577" y="2029"/>
                  </a:lnTo>
                  <a:lnTo>
                    <a:pt x="2577" y="2029"/>
                  </a:lnTo>
                  <a:lnTo>
                    <a:pt x="2577" y="2027"/>
                  </a:lnTo>
                  <a:lnTo>
                    <a:pt x="2577" y="2027"/>
                  </a:lnTo>
                  <a:lnTo>
                    <a:pt x="2577" y="2027"/>
                  </a:lnTo>
                  <a:lnTo>
                    <a:pt x="2580" y="2025"/>
                  </a:lnTo>
                  <a:lnTo>
                    <a:pt x="2580" y="2027"/>
                  </a:lnTo>
                  <a:lnTo>
                    <a:pt x="2580" y="2027"/>
                  </a:lnTo>
                  <a:lnTo>
                    <a:pt x="2580" y="2027"/>
                  </a:lnTo>
                  <a:lnTo>
                    <a:pt x="2580" y="2027"/>
                  </a:lnTo>
                  <a:lnTo>
                    <a:pt x="2580" y="2027"/>
                  </a:lnTo>
                  <a:lnTo>
                    <a:pt x="2580" y="2027"/>
                  </a:lnTo>
                  <a:lnTo>
                    <a:pt x="2582" y="2027"/>
                  </a:lnTo>
                  <a:lnTo>
                    <a:pt x="2582" y="2025"/>
                  </a:lnTo>
                  <a:lnTo>
                    <a:pt x="2582" y="2025"/>
                  </a:lnTo>
                  <a:lnTo>
                    <a:pt x="2582" y="2025"/>
                  </a:lnTo>
                  <a:lnTo>
                    <a:pt x="2582" y="2027"/>
                  </a:lnTo>
                  <a:lnTo>
                    <a:pt x="2582" y="2027"/>
                  </a:lnTo>
                  <a:lnTo>
                    <a:pt x="2584" y="2025"/>
                  </a:lnTo>
                  <a:lnTo>
                    <a:pt x="2584" y="2025"/>
                  </a:lnTo>
                  <a:lnTo>
                    <a:pt x="2584" y="2025"/>
                  </a:lnTo>
                  <a:lnTo>
                    <a:pt x="2584" y="2025"/>
                  </a:lnTo>
                  <a:lnTo>
                    <a:pt x="2587" y="2025"/>
                  </a:lnTo>
                  <a:lnTo>
                    <a:pt x="2587" y="2025"/>
                  </a:lnTo>
                  <a:lnTo>
                    <a:pt x="2587" y="2025"/>
                  </a:lnTo>
                  <a:lnTo>
                    <a:pt x="2587" y="2025"/>
                  </a:lnTo>
                  <a:lnTo>
                    <a:pt x="2587" y="2025"/>
                  </a:lnTo>
                  <a:lnTo>
                    <a:pt x="2587" y="2025"/>
                  </a:lnTo>
                  <a:lnTo>
                    <a:pt x="2587" y="2022"/>
                  </a:lnTo>
                  <a:lnTo>
                    <a:pt x="2587" y="2022"/>
                  </a:lnTo>
                  <a:lnTo>
                    <a:pt x="2587" y="2022"/>
                  </a:lnTo>
                  <a:lnTo>
                    <a:pt x="2587" y="2022"/>
                  </a:lnTo>
                  <a:lnTo>
                    <a:pt x="2587" y="2022"/>
                  </a:lnTo>
                  <a:lnTo>
                    <a:pt x="2589" y="2022"/>
                  </a:lnTo>
                  <a:lnTo>
                    <a:pt x="2589" y="2020"/>
                  </a:lnTo>
                  <a:lnTo>
                    <a:pt x="2591" y="2020"/>
                  </a:lnTo>
                  <a:lnTo>
                    <a:pt x="2591" y="2017"/>
                  </a:lnTo>
                  <a:lnTo>
                    <a:pt x="2594" y="2020"/>
                  </a:lnTo>
                  <a:lnTo>
                    <a:pt x="2594" y="2020"/>
                  </a:lnTo>
                  <a:lnTo>
                    <a:pt x="2594" y="2022"/>
                  </a:lnTo>
                  <a:lnTo>
                    <a:pt x="2596" y="2022"/>
                  </a:lnTo>
                  <a:lnTo>
                    <a:pt x="2596" y="2022"/>
                  </a:lnTo>
                  <a:lnTo>
                    <a:pt x="2596" y="2022"/>
                  </a:lnTo>
                  <a:lnTo>
                    <a:pt x="2596" y="2022"/>
                  </a:lnTo>
                  <a:lnTo>
                    <a:pt x="2598" y="2022"/>
                  </a:lnTo>
                  <a:lnTo>
                    <a:pt x="2598" y="2020"/>
                  </a:lnTo>
                  <a:lnTo>
                    <a:pt x="2598" y="2020"/>
                  </a:lnTo>
                  <a:lnTo>
                    <a:pt x="2601" y="2020"/>
                  </a:lnTo>
                  <a:lnTo>
                    <a:pt x="2601" y="2020"/>
                  </a:lnTo>
                  <a:lnTo>
                    <a:pt x="2601" y="2020"/>
                  </a:lnTo>
                  <a:lnTo>
                    <a:pt x="2601" y="2020"/>
                  </a:lnTo>
                  <a:lnTo>
                    <a:pt x="2603" y="2020"/>
                  </a:lnTo>
                  <a:lnTo>
                    <a:pt x="2603" y="2017"/>
                  </a:lnTo>
                  <a:lnTo>
                    <a:pt x="2603" y="2017"/>
                  </a:lnTo>
                  <a:lnTo>
                    <a:pt x="2603" y="2017"/>
                  </a:lnTo>
                  <a:lnTo>
                    <a:pt x="2603" y="2017"/>
                  </a:lnTo>
                  <a:lnTo>
                    <a:pt x="2603" y="2015"/>
                  </a:lnTo>
                  <a:lnTo>
                    <a:pt x="2603" y="2015"/>
                  </a:lnTo>
                  <a:lnTo>
                    <a:pt x="2606" y="2015"/>
                  </a:lnTo>
                  <a:lnTo>
                    <a:pt x="2606" y="2015"/>
                  </a:lnTo>
                  <a:lnTo>
                    <a:pt x="2606" y="2013"/>
                  </a:lnTo>
                  <a:lnTo>
                    <a:pt x="2606" y="2013"/>
                  </a:lnTo>
                  <a:lnTo>
                    <a:pt x="2606" y="2010"/>
                  </a:lnTo>
                  <a:lnTo>
                    <a:pt x="2606" y="2010"/>
                  </a:lnTo>
                  <a:lnTo>
                    <a:pt x="2606" y="2010"/>
                  </a:lnTo>
                  <a:lnTo>
                    <a:pt x="2606" y="2010"/>
                  </a:lnTo>
                  <a:lnTo>
                    <a:pt x="2606" y="2010"/>
                  </a:lnTo>
                  <a:lnTo>
                    <a:pt x="2606" y="2008"/>
                  </a:lnTo>
                  <a:lnTo>
                    <a:pt x="2606" y="2008"/>
                  </a:lnTo>
                  <a:lnTo>
                    <a:pt x="2608" y="2008"/>
                  </a:lnTo>
                  <a:lnTo>
                    <a:pt x="2608" y="2008"/>
                  </a:lnTo>
                  <a:lnTo>
                    <a:pt x="2608" y="2006"/>
                  </a:lnTo>
                  <a:lnTo>
                    <a:pt x="2608" y="2006"/>
                  </a:lnTo>
                  <a:lnTo>
                    <a:pt x="2608" y="2003"/>
                  </a:lnTo>
                  <a:lnTo>
                    <a:pt x="2608" y="2003"/>
                  </a:lnTo>
                  <a:lnTo>
                    <a:pt x="2610" y="2003"/>
                  </a:lnTo>
                  <a:lnTo>
                    <a:pt x="2610" y="2003"/>
                  </a:lnTo>
                  <a:lnTo>
                    <a:pt x="2613" y="1999"/>
                  </a:lnTo>
                  <a:lnTo>
                    <a:pt x="2613" y="1999"/>
                  </a:lnTo>
                  <a:lnTo>
                    <a:pt x="2613" y="1999"/>
                  </a:lnTo>
                  <a:lnTo>
                    <a:pt x="2613" y="1996"/>
                  </a:lnTo>
                  <a:lnTo>
                    <a:pt x="2613" y="1996"/>
                  </a:lnTo>
                  <a:lnTo>
                    <a:pt x="2613" y="1996"/>
                  </a:lnTo>
                  <a:lnTo>
                    <a:pt x="2615" y="1996"/>
                  </a:lnTo>
                  <a:lnTo>
                    <a:pt x="2615" y="1996"/>
                  </a:lnTo>
                  <a:lnTo>
                    <a:pt x="2615" y="1994"/>
                  </a:lnTo>
                  <a:lnTo>
                    <a:pt x="2615" y="1994"/>
                  </a:lnTo>
                  <a:lnTo>
                    <a:pt x="2615" y="1994"/>
                  </a:lnTo>
                  <a:lnTo>
                    <a:pt x="2617" y="1991"/>
                  </a:lnTo>
                  <a:lnTo>
                    <a:pt x="2617" y="1991"/>
                  </a:lnTo>
                  <a:lnTo>
                    <a:pt x="2617" y="1991"/>
                  </a:lnTo>
                  <a:lnTo>
                    <a:pt x="2620" y="1989"/>
                  </a:lnTo>
                  <a:lnTo>
                    <a:pt x="2620" y="1989"/>
                  </a:lnTo>
                  <a:lnTo>
                    <a:pt x="2620" y="1989"/>
                  </a:lnTo>
                  <a:lnTo>
                    <a:pt x="2620" y="1987"/>
                  </a:lnTo>
                  <a:lnTo>
                    <a:pt x="2620" y="1987"/>
                  </a:lnTo>
                  <a:lnTo>
                    <a:pt x="2620" y="1987"/>
                  </a:lnTo>
                  <a:lnTo>
                    <a:pt x="2622" y="1984"/>
                  </a:lnTo>
                  <a:lnTo>
                    <a:pt x="2622" y="1984"/>
                  </a:lnTo>
                  <a:lnTo>
                    <a:pt x="2622" y="1984"/>
                  </a:lnTo>
                  <a:lnTo>
                    <a:pt x="2622" y="1982"/>
                  </a:lnTo>
                  <a:lnTo>
                    <a:pt x="2624" y="1980"/>
                  </a:lnTo>
                  <a:lnTo>
                    <a:pt x="2624" y="1980"/>
                  </a:lnTo>
                  <a:lnTo>
                    <a:pt x="2624" y="1980"/>
                  </a:lnTo>
                  <a:lnTo>
                    <a:pt x="2624" y="1977"/>
                  </a:lnTo>
                  <a:lnTo>
                    <a:pt x="2624" y="1977"/>
                  </a:lnTo>
                  <a:lnTo>
                    <a:pt x="2622" y="1977"/>
                  </a:lnTo>
                  <a:lnTo>
                    <a:pt x="2622" y="1977"/>
                  </a:lnTo>
                  <a:lnTo>
                    <a:pt x="2622" y="1975"/>
                  </a:lnTo>
                  <a:lnTo>
                    <a:pt x="2624" y="1975"/>
                  </a:lnTo>
                  <a:lnTo>
                    <a:pt x="2624" y="1975"/>
                  </a:lnTo>
                  <a:lnTo>
                    <a:pt x="2627" y="1975"/>
                  </a:lnTo>
                  <a:lnTo>
                    <a:pt x="2627" y="1972"/>
                  </a:lnTo>
                  <a:lnTo>
                    <a:pt x="2627" y="1972"/>
                  </a:lnTo>
                  <a:lnTo>
                    <a:pt x="2624" y="1970"/>
                  </a:lnTo>
                  <a:lnTo>
                    <a:pt x="2624" y="1970"/>
                  </a:lnTo>
                  <a:lnTo>
                    <a:pt x="2627" y="1970"/>
                  </a:lnTo>
                  <a:lnTo>
                    <a:pt x="2627" y="1970"/>
                  </a:lnTo>
                  <a:lnTo>
                    <a:pt x="2627" y="1970"/>
                  </a:lnTo>
                  <a:lnTo>
                    <a:pt x="2629" y="1968"/>
                  </a:lnTo>
                  <a:lnTo>
                    <a:pt x="2627" y="1968"/>
                  </a:lnTo>
                  <a:lnTo>
                    <a:pt x="2627" y="1965"/>
                  </a:lnTo>
                  <a:lnTo>
                    <a:pt x="2627" y="1965"/>
                  </a:lnTo>
                  <a:lnTo>
                    <a:pt x="2627" y="1965"/>
                  </a:lnTo>
                  <a:lnTo>
                    <a:pt x="2624" y="1965"/>
                  </a:lnTo>
                  <a:lnTo>
                    <a:pt x="2624" y="1965"/>
                  </a:lnTo>
                  <a:lnTo>
                    <a:pt x="2622" y="1965"/>
                  </a:lnTo>
                  <a:lnTo>
                    <a:pt x="2622" y="1963"/>
                  </a:lnTo>
                  <a:lnTo>
                    <a:pt x="2624" y="1963"/>
                  </a:lnTo>
                  <a:lnTo>
                    <a:pt x="2624" y="1963"/>
                  </a:lnTo>
                  <a:lnTo>
                    <a:pt x="2624" y="1963"/>
                  </a:lnTo>
                  <a:lnTo>
                    <a:pt x="2624" y="1963"/>
                  </a:lnTo>
                  <a:lnTo>
                    <a:pt x="2624" y="1963"/>
                  </a:lnTo>
                  <a:lnTo>
                    <a:pt x="2624" y="1963"/>
                  </a:lnTo>
                  <a:lnTo>
                    <a:pt x="2627" y="1963"/>
                  </a:lnTo>
                  <a:lnTo>
                    <a:pt x="2627" y="1963"/>
                  </a:lnTo>
                  <a:lnTo>
                    <a:pt x="2627" y="1961"/>
                  </a:lnTo>
                  <a:lnTo>
                    <a:pt x="2624" y="1961"/>
                  </a:lnTo>
                  <a:lnTo>
                    <a:pt x="2624" y="1961"/>
                  </a:lnTo>
                  <a:lnTo>
                    <a:pt x="2624" y="1961"/>
                  </a:lnTo>
                  <a:lnTo>
                    <a:pt x="2622" y="1963"/>
                  </a:lnTo>
                  <a:lnTo>
                    <a:pt x="2622" y="1963"/>
                  </a:lnTo>
                  <a:lnTo>
                    <a:pt x="2622" y="1963"/>
                  </a:lnTo>
                  <a:lnTo>
                    <a:pt x="2622" y="1961"/>
                  </a:lnTo>
                  <a:lnTo>
                    <a:pt x="2622" y="1961"/>
                  </a:lnTo>
                  <a:lnTo>
                    <a:pt x="2622" y="1961"/>
                  </a:lnTo>
                  <a:lnTo>
                    <a:pt x="2622" y="1961"/>
                  </a:lnTo>
                  <a:lnTo>
                    <a:pt x="2624" y="1961"/>
                  </a:lnTo>
                  <a:lnTo>
                    <a:pt x="2624" y="1958"/>
                  </a:lnTo>
                  <a:lnTo>
                    <a:pt x="2624" y="1958"/>
                  </a:lnTo>
                  <a:lnTo>
                    <a:pt x="2622" y="1958"/>
                  </a:lnTo>
                  <a:lnTo>
                    <a:pt x="2622" y="1961"/>
                  </a:lnTo>
                  <a:lnTo>
                    <a:pt x="2622" y="1961"/>
                  </a:lnTo>
                  <a:lnTo>
                    <a:pt x="2622" y="1961"/>
                  </a:lnTo>
                  <a:lnTo>
                    <a:pt x="2622" y="1961"/>
                  </a:lnTo>
                  <a:lnTo>
                    <a:pt x="2622" y="1961"/>
                  </a:lnTo>
                  <a:lnTo>
                    <a:pt x="2622" y="1961"/>
                  </a:lnTo>
                  <a:lnTo>
                    <a:pt x="2620" y="1961"/>
                  </a:lnTo>
                  <a:lnTo>
                    <a:pt x="2620" y="1961"/>
                  </a:lnTo>
                  <a:lnTo>
                    <a:pt x="2620" y="1961"/>
                  </a:lnTo>
                  <a:lnTo>
                    <a:pt x="2620" y="1961"/>
                  </a:lnTo>
                  <a:lnTo>
                    <a:pt x="2620" y="1961"/>
                  </a:lnTo>
                  <a:lnTo>
                    <a:pt x="2620" y="1961"/>
                  </a:lnTo>
                  <a:lnTo>
                    <a:pt x="2620" y="1961"/>
                  </a:lnTo>
                  <a:lnTo>
                    <a:pt x="2620" y="1961"/>
                  </a:lnTo>
                  <a:lnTo>
                    <a:pt x="2620" y="1961"/>
                  </a:lnTo>
                  <a:lnTo>
                    <a:pt x="2620" y="1961"/>
                  </a:lnTo>
                  <a:lnTo>
                    <a:pt x="2620" y="1961"/>
                  </a:lnTo>
                  <a:lnTo>
                    <a:pt x="2620" y="1958"/>
                  </a:lnTo>
                  <a:lnTo>
                    <a:pt x="2620" y="1958"/>
                  </a:lnTo>
                  <a:lnTo>
                    <a:pt x="2615" y="1961"/>
                  </a:lnTo>
                  <a:lnTo>
                    <a:pt x="2615" y="1958"/>
                  </a:lnTo>
                  <a:lnTo>
                    <a:pt x="2615" y="1958"/>
                  </a:lnTo>
                  <a:lnTo>
                    <a:pt x="2613" y="1958"/>
                  </a:lnTo>
                  <a:lnTo>
                    <a:pt x="2613" y="1958"/>
                  </a:lnTo>
                  <a:lnTo>
                    <a:pt x="2613" y="1958"/>
                  </a:lnTo>
                  <a:lnTo>
                    <a:pt x="2608" y="1958"/>
                  </a:lnTo>
                  <a:lnTo>
                    <a:pt x="2608" y="1958"/>
                  </a:lnTo>
                  <a:lnTo>
                    <a:pt x="2606" y="1958"/>
                  </a:lnTo>
                  <a:lnTo>
                    <a:pt x="2606" y="1958"/>
                  </a:lnTo>
                  <a:lnTo>
                    <a:pt x="2606" y="1958"/>
                  </a:lnTo>
                  <a:lnTo>
                    <a:pt x="2613" y="1958"/>
                  </a:lnTo>
                  <a:lnTo>
                    <a:pt x="2615" y="1958"/>
                  </a:lnTo>
                  <a:lnTo>
                    <a:pt x="2617" y="1958"/>
                  </a:lnTo>
                  <a:lnTo>
                    <a:pt x="2620" y="1958"/>
                  </a:lnTo>
                  <a:lnTo>
                    <a:pt x="2620" y="1958"/>
                  </a:lnTo>
                  <a:lnTo>
                    <a:pt x="2620" y="1956"/>
                  </a:lnTo>
                  <a:lnTo>
                    <a:pt x="2620" y="1956"/>
                  </a:lnTo>
                  <a:lnTo>
                    <a:pt x="2620" y="1956"/>
                  </a:lnTo>
                  <a:lnTo>
                    <a:pt x="2617" y="1956"/>
                  </a:lnTo>
                  <a:lnTo>
                    <a:pt x="2620" y="1956"/>
                  </a:lnTo>
                  <a:lnTo>
                    <a:pt x="2622" y="1956"/>
                  </a:lnTo>
                  <a:lnTo>
                    <a:pt x="2622" y="1956"/>
                  </a:lnTo>
                  <a:lnTo>
                    <a:pt x="2622" y="1956"/>
                  </a:lnTo>
                  <a:lnTo>
                    <a:pt x="2622" y="1956"/>
                  </a:lnTo>
                  <a:lnTo>
                    <a:pt x="2622" y="1956"/>
                  </a:lnTo>
                  <a:lnTo>
                    <a:pt x="2624" y="1956"/>
                  </a:lnTo>
                  <a:lnTo>
                    <a:pt x="2624" y="1954"/>
                  </a:lnTo>
                  <a:lnTo>
                    <a:pt x="2624" y="1954"/>
                  </a:lnTo>
                  <a:lnTo>
                    <a:pt x="2622" y="1954"/>
                  </a:lnTo>
                  <a:lnTo>
                    <a:pt x="2622" y="1951"/>
                  </a:lnTo>
                  <a:lnTo>
                    <a:pt x="2622" y="1951"/>
                  </a:lnTo>
                  <a:lnTo>
                    <a:pt x="2622" y="1951"/>
                  </a:lnTo>
                  <a:lnTo>
                    <a:pt x="2620" y="1951"/>
                  </a:lnTo>
                  <a:lnTo>
                    <a:pt x="2620" y="1951"/>
                  </a:lnTo>
                  <a:lnTo>
                    <a:pt x="2617" y="1949"/>
                  </a:lnTo>
                  <a:lnTo>
                    <a:pt x="2617" y="1949"/>
                  </a:lnTo>
                  <a:lnTo>
                    <a:pt x="2615" y="1951"/>
                  </a:lnTo>
                  <a:lnTo>
                    <a:pt x="2615" y="1949"/>
                  </a:lnTo>
                  <a:lnTo>
                    <a:pt x="2615" y="1949"/>
                  </a:lnTo>
                  <a:lnTo>
                    <a:pt x="2613" y="1951"/>
                  </a:lnTo>
                  <a:lnTo>
                    <a:pt x="2610" y="1951"/>
                  </a:lnTo>
                  <a:lnTo>
                    <a:pt x="2610" y="1951"/>
                  </a:lnTo>
                  <a:lnTo>
                    <a:pt x="2608" y="1951"/>
                  </a:lnTo>
                  <a:lnTo>
                    <a:pt x="2608" y="1951"/>
                  </a:lnTo>
                  <a:lnTo>
                    <a:pt x="2608" y="1951"/>
                  </a:lnTo>
                  <a:lnTo>
                    <a:pt x="2608" y="1951"/>
                  </a:lnTo>
                  <a:lnTo>
                    <a:pt x="2608" y="1951"/>
                  </a:lnTo>
                  <a:lnTo>
                    <a:pt x="2608" y="1951"/>
                  </a:lnTo>
                  <a:lnTo>
                    <a:pt x="2606" y="1951"/>
                  </a:lnTo>
                  <a:lnTo>
                    <a:pt x="2606" y="1951"/>
                  </a:lnTo>
                  <a:lnTo>
                    <a:pt x="2606" y="1954"/>
                  </a:lnTo>
                  <a:lnTo>
                    <a:pt x="2603" y="1954"/>
                  </a:lnTo>
                  <a:lnTo>
                    <a:pt x="2601" y="1954"/>
                  </a:lnTo>
                  <a:lnTo>
                    <a:pt x="2601" y="1954"/>
                  </a:lnTo>
                  <a:lnTo>
                    <a:pt x="2598" y="1954"/>
                  </a:lnTo>
                  <a:lnTo>
                    <a:pt x="2598" y="1954"/>
                  </a:lnTo>
                  <a:lnTo>
                    <a:pt x="2596" y="1954"/>
                  </a:lnTo>
                  <a:lnTo>
                    <a:pt x="2594" y="1954"/>
                  </a:lnTo>
                  <a:lnTo>
                    <a:pt x="2594" y="1954"/>
                  </a:lnTo>
                  <a:lnTo>
                    <a:pt x="2594" y="1954"/>
                  </a:lnTo>
                  <a:lnTo>
                    <a:pt x="2594" y="1954"/>
                  </a:lnTo>
                  <a:lnTo>
                    <a:pt x="2594" y="1954"/>
                  </a:lnTo>
                  <a:lnTo>
                    <a:pt x="2594" y="1954"/>
                  </a:lnTo>
                  <a:lnTo>
                    <a:pt x="2596" y="1954"/>
                  </a:lnTo>
                  <a:lnTo>
                    <a:pt x="2596" y="1954"/>
                  </a:lnTo>
                  <a:lnTo>
                    <a:pt x="2598" y="1954"/>
                  </a:lnTo>
                  <a:lnTo>
                    <a:pt x="2601" y="1954"/>
                  </a:lnTo>
                  <a:lnTo>
                    <a:pt x="2601" y="1954"/>
                  </a:lnTo>
                  <a:lnTo>
                    <a:pt x="2603" y="1954"/>
                  </a:lnTo>
                  <a:lnTo>
                    <a:pt x="2606" y="1951"/>
                  </a:lnTo>
                  <a:lnTo>
                    <a:pt x="2606" y="1949"/>
                  </a:lnTo>
                  <a:lnTo>
                    <a:pt x="2606" y="1949"/>
                  </a:lnTo>
                  <a:lnTo>
                    <a:pt x="2608" y="1951"/>
                  </a:lnTo>
                  <a:lnTo>
                    <a:pt x="2608" y="1949"/>
                  </a:lnTo>
                  <a:lnTo>
                    <a:pt x="2610" y="1949"/>
                  </a:lnTo>
                  <a:lnTo>
                    <a:pt x="2608" y="1949"/>
                  </a:lnTo>
                  <a:lnTo>
                    <a:pt x="2608" y="1949"/>
                  </a:lnTo>
                  <a:lnTo>
                    <a:pt x="2608" y="1949"/>
                  </a:lnTo>
                  <a:lnTo>
                    <a:pt x="2608" y="1949"/>
                  </a:lnTo>
                  <a:lnTo>
                    <a:pt x="2608" y="1949"/>
                  </a:lnTo>
                  <a:lnTo>
                    <a:pt x="2608" y="1946"/>
                  </a:lnTo>
                  <a:lnTo>
                    <a:pt x="2608" y="1946"/>
                  </a:lnTo>
                  <a:lnTo>
                    <a:pt x="2608" y="1946"/>
                  </a:lnTo>
                  <a:lnTo>
                    <a:pt x="2606" y="1946"/>
                  </a:lnTo>
                  <a:lnTo>
                    <a:pt x="2606" y="1946"/>
                  </a:lnTo>
                  <a:lnTo>
                    <a:pt x="2603" y="1946"/>
                  </a:lnTo>
                  <a:lnTo>
                    <a:pt x="2603" y="1946"/>
                  </a:lnTo>
                  <a:lnTo>
                    <a:pt x="2606" y="1944"/>
                  </a:lnTo>
                  <a:lnTo>
                    <a:pt x="2608" y="1944"/>
                  </a:lnTo>
                  <a:lnTo>
                    <a:pt x="2608" y="1944"/>
                  </a:lnTo>
                  <a:lnTo>
                    <a:pt x="2608" y="1944"/>
                  </a:lnTo>
                  <a:lnTo>
                    <a:pt x="2610" y="1944"/>
                  </a:lnTo>
                  <a:lnTo>
                    <a:pt x="2610" y="1944"/>
                  </a:lnTo>
                  <a:lnTo>
                    <a:pt x="2610" y="1946"/>
                  </a:lnTo>
                  <a:lnTo>
                    <a:pt x="2610" y="1946"/>
                  </a:lnTo>
                  <a:lnTo>
                    <a:pt x="2610" y="1946"/>
                  </a:lnTo>
                  <a:lnTo>
                    <a:pt x="2613" y="1944"/>
                  </a:lnTo>
                  <a:lnTo>
                    <a:pt x="2613" y="1944"/>
                  </a:lnTo>
                  <a:lnTo>
                    <a:pt x="2615" y="1944"/>
                  </a:lnTo>
                  <a:lnTo>
                    <a:pt x="2615" y="1944"/>
                  </a:lnTo>
                  <a:lnTo>
                    <a:pt x="2615" y="1944"/>
                  </a:lnTo>
                  <a:lnTo>
                    <a:pt x="2615" y="1944"/>
                  </a:lnTo>
                  <a:lnTo>
                    <a:pt x="2615" y="1944"/>
                  </a:lnTo>
                  <a:lnTo>
                    <a:pt x="2615" y="1942"/>
                  </a:lnTo>
                  <a:lnTo>
                    <a:pt x="2615" y="1944"/>
                  </a:lnTo>
                  <a:lnTo>
                    <a:pt x="2615" y="1942"/>
                  </a:lnTo>
                  <a:lnTo>
                    <a:pt x="2615" y="1942"/>
                  </a:lnTo>
                  <a:lnTo>
                    <a:pt x="2615" y="1942"/>
                  </a:lnTo>
                  <a:lnTo>
                    <a:pt x="2615" y="1942"/>
                  </a:lnTo>
                  <a:lnTo>
                    <a:pt x="2615" y="1942"/>
                  </a:lnTo>
                  <a:lnTo>
                    <a:pt x="2613" y="1939"/>
                  </a:lnTo>
                  <a:lnTo>
                    <a:pt x="2613" y="1939"/>
                  </a:lnTo>
                  <a:lnTo>
                    <a:pt x="2610" y="1942"/>
                  </a:lnTo>
                  <a:lnTo>
                    <a:pt x="2608" y="1942"/>
                  </a:lnTo>
                  <a:lnTo>
                    <a:pt x="2608" y="1942"/>
                  </a:lnTo>
                  <a:lnTo>
                    <a:pt x="2608" y="1942"/>
                  </a:lnTo>
                  <a:lnTo>
                    <a:pt x="2606" y="1942"/>
                  </a:lnTo>
                  <a:lnTo>
                    <a:pt x="2606" y="1942"/>
                  </a:lnTo>
                  <a:lnTo>
                    <a:pt x="2606" y="1942"/>
                  </a:lnTo>
                  <a:lnTo>
                    <a:pt x="2606" y="1942"/>
                  </a:lnTo>
                  <a:lnTo>
                    <a:pt x="2606" y="1942"/>
                  </a:lnTo>
                  <a:lnTo>
                    <a:pt x="2606" y="1942"/>
                  </a:lnTo>
                  <a:lnTo>
                    <a:pt x="2606" y="1942"/>
                  </a:lnTo>
                  <a:lnTo>
                    <a:pt x="2603" y="1942"/>
                  </a:lnTo>
                  <a:lnTo>
                    <a:pt x="2606" y="1942"/>
                  </a:lnTo>
                  <a:lnTo>
                    <a:pt x="2603" y="1939"/>
                  </a:lnTo>
                  <a:lnTo>
                    <a:pt x="2603" y="1939"/>
                  </a:lnTo>
                  <a:lnTo>
                    <a:pt x="2601" y="1939"/>
                  </a:lnTo>
                  <a:lnTo>
                    <a:pt x="2601" y="1939"/>
                  </a:lnTo>
                  <a:lnTo>
                    <a:pt x="2598" y="1939"/>
                  </a:lnTo>
                  <a:lnTo>
                    <a:pt x="2598" y="1939"/>
                  </a:lnTo>
                  <a:lnTo>
                    <a:pt x="2598" y="1939"/>
                  </a:lnTo>
                  <a:lnTo>
                    <a:pt x="2601" y="1937"/>
                  </a:lnTo>
                  <a:lnTo>
                    <a:pt x="2603" y="1939"/>
                  </a:lnTo>
                  <a:lnTo>
                    <a:pt x="2603" y="1939"/>
                  </a:lnTo>
                  <a:lnTo>
                    <a:pt x="2606" y="1937"/>
                  </a:lnTo>
                  <a:lnTo>
                    <a:pt x="2606" y="1937"/>
                  </a:lnTo>
                  <a:lnTo>
                    <a:pt x="2606" y="1937"/>
                  </a:lnTo>
                  <a:lnTo>
                    <a:pt x="2603" y="1937"/>
                  </a:lnTo>
                  <a:lnTo>
                    <a:pt x="2603" y="1937"/>
                  </a:lnTo>
                  <a:lnTo>
                    <a:pt x="2603" y="1937"/>
                  </a:lnTo>
                  <a:lnTo>
                    <a:pt x="2606" y="1937"/>
                  </a:lnTo>
                  <a:lnTo>
                    <a:pt x="2606" y="1935"/>
                  </a:lnTo>
                  <a:lnTo>
                    <a:pt x="2606" y="1935"/>
                  </a:lnTo>
                  <a:lnTo>
                    <a:pt x="2606" y="1935"/>
                  </a:lnTo>
                  <a:lnTo>
                    <a:pt x="2608" y="1935"/>
                  </a:lnTo>
                  <a:lnTo>
                    <a:pt x="2608" y="1935"/>
                  </a:lnTo>
                  <a:lnTo>
                    <a:pt x="2608" y="1935"/>
                  </a:lnTo>
                  <a:lnTo>
                    <a:pt x="2608" y="1932"/>
                  </a:lnTo>
                  <a:lnTo>
                    <a:pt x="2608" y="1932"/>
                  </a:lnTo>
                  <a:lnTo>
                    <a:pt x="2608" y="1932"/>
                  </a:lnTo>
                  <a:lnTo>
                    <a:pt x="2608" y="1930"/>
                  </a:lnTo>
                  <a:lnTo>
                    <a:pt x="2606" y="1930"/>
                  </a:lnTo>
                  <a:lnTo>
                    <a:pt x="2606" y="1930"/>
                  </a:lnTo>
                  <a:lnTo>
                    <a:pt x="2606" y="1928"/>
                  </a:lnTo>
                  <a:lnTo>
                    <a:pt x="2603" y="1928"/>
                  </a:lnTo>
                  <a:lnTo>
                    <a:pt x="2603" y="1928"/>
                  </a:lnTo>
                  <a:lnTo>
                    <a:pt x="2603" y="1928"/>
                  </a:lnTo>
                  <a:lnTo>
                    <a:pt x="2603" y="1928"/>
                  </a:lnTo>
                  <a:lnTo>
                    <a:pt x="2603" y="1928"/>
                  </a:lnTo>
                  <a:lnTo>
                    <a:pt x="2603" y="1928"/>
                  </a:lnTo>
                  <a:lnTo>
                    <a:pt x="2603" y="1928"/>
                  </a:lnTo>
                  <a:lnTo>
                    <a:pt x="2601" y="1928"/>
                  </a:lnTo>
                  <a:lnTo>
                    <a:pt x="2598" y="1928"/>
                  </a:lnTo>
                  <a:lnTo>
                    <a:pt x="2598" y="1928"/>
                  </a:lnTo>
                  <a:lnTo>
                    <a:pt x="2596" y="1930"/>
                  </a:lnTo>
                  <a:lnTo>
                    <a:pt x="2596" y="1930"/>
                  </a:lnTo>
                  <a:lnTo>
                    <a:pt x="2596" y="1930"/>
                  </a:lnTo>
                  <a:lnTo>
                    <a:pt x="2596" y="1930"/>
                  </a:lnTo>
                  <a:lnTo>
                    <a:pt x="2596" y="1930"/>
                  </a:lnTo>
                  <a:lnTo>
                    <a:pt x="2596" y="1928"/>
                  </a:lnTo>
                  <a:lnTo>
                    <a:pt x="2596" y="1928"/>
                  </a:lnTo>
                  <a:lnTo>
                    <a:pt x="2596" y="1928"/>
                  </a:lnTo>
                  <a:lnTo>
                    <a:pt x="2594" y="1928"/>
                  </a:lnTo>
                  <a:lnTo>
                    <a:pt x="2594" y="1928"/>
                  </a:lnTo>
                  <a:lnTo>
                    <a:pt x="2594" y="1928"/>
                  </a:lnTo>
                  <a:lnTo>
                    <a:pt x="2596" y="1925"/>
                  </a:lnTo>
                  <a:lnTo>
                    <a:pt x="2598" y="1925"/>
                  </a:lnTo>
                  <a:lnTo>
                    <a:pt x="2598" y="1925"/>
                  </a:lnTo>
                  <a:lnTo>
                    <a:pt x="2601" y="1925"/>
                  </a:lnTo>
                  <a:lnTo>
                    <a:pt x="2601" y="1925"/>
                  </a:lnTo>
                  <a:lnTo>
                    <a:pt x="2601" y="1925"/>
                  </a:lnTo>
                  <a:lnTo>
                    <a:pt x="2601" y="1923"/>
                  </a:lnTo>
                  <a:lnTo>
                    <a:pt x="2601" y="1923"/>
                  </a:lnTo>
                  <a:lnTo>
                    <a:pt x="2601" y="1920"/>
                  </a:lnTo>
                  <a:lnTo>
                    <a:pt x="2601" y="1920"/>
                  </a:lnTo>
                  <a:lnTo>
                    <a:pt x="2598" y="1920"/>
                  </a:lnTo>
                  <a:lnTo>
                    <a:pt x="2598" y="1920"/>
                  </a:lnTo>
                  <a:lnTo>
                    <a:pt x="2598" y="1920"/>
                  </a:lnTo>
                  <a:lnTo>
                    <a:pt x="2598" y="1920"/>
                  </a:lnTo>
                  <a:lnTo>
                    <a:pt x="2601" y="1920"/>
                  </a:lnTo>
                  <a:lnTo>
                    <a:pt x="2603" y="1920"/>
                  </a:lnTo>
                  <a:lnTo>
                    <a:pt x="2603" y="1920"/>
                  </a:lnTo>
                  <a:lnTo>
                    <a:pt x="2603" y="1916"/>
                  </a:lnTo>
                  <a:lnTo>
                    <a:pt x="2603" y="1916"/>
                  </a:lnTo>
                  <a:lnTo>
                    <a:pt x="2603" y="1916"/>
                  </a:lnTo>
                  <a:lnTo>
                    <a:pt x="2603" y="1916"/>
                  </a:lnTo>
                  <a:lnTo>
                    <a:pt x="2601" y="1916"/>
                  </a:lnTo>
                  <a:lnTo>
                    <a:pt x="2601" y="1916"/>
                  </a:lnTo>
                  <a:lnTo>
                    <a:pt x="2601" y="1916"/>
                  </a:lnTo>
                  <a:lnTo>
                    <a:pt x="2601" y="1916"/>
                  </a:lnTo>
                  <a:lnTo>
                    <a:pt x="2601" y="1913"/>
                  </a:lnTo>
                  <a:lnTo>
                    <a:pt x="2601" y="1913"/>
                  </a:lnTo>
                  <a:lnTo>
                    <a:pt x="2601" y="1913"/>
                  </a:lnTo>
                  <a:lnTo>
                    <a:pt x="2601" y="1913"/>
                  </a:lnTo>
                  <a:lnTo>
                    <a:pt x="2601" y="1913"/>
                  </a:lnTo>
                  <a:lnTo>
                    <a:pt x="2601" y="1911"/>
                  </a:lnTo>
                  <a:lnTo>
                    <a:pt x="2601" y="1911"/>
                  </a:lnTo>
                  <a:lnTo>
                    <a:pt x="2601" y="1911"/>
                  </a:lnTo>
                  <a:lnTo>
                    <a:pt x="2601" y="1911"/>
                  </a:lnTo>
                  <a:lnTo>
                    <a:pt x="2601" y="1911"/>
                  </a:lnTo>
                  <a:lnTo>
                    <a:pt x="2601" y="1911"/>
                  </a:lnTo>
                  <a:lnTo>
                    <a:pt x="2601" y="1913"/>
                  </a:lnTo>
                  <a:lnTo>
                    <a:pt x="2601" y="1913"/>
                  </a:lnTo>
                  <a:lnTo>
                    <a:pt x="2598" y="1913"/>
                  </a:lnTo>
                  <a:lnTo>
                    <a:pt x="2598" y="1911"/>
                  </a:lnTo>
                  <a:lnTo>
                    <a:pt x="2598" y="1911"/>
                  </a:lnTo>
                  <a:lnTo>
                    <a:pt x="2598" y="1911"/>
                  </a:lnTo>
                  <a:lnTo>
                    <a:pt x="2598" y="1909"/>
                  </a:lnTo>
                  <a:lnTo>
                    <a:pt x="2598" y="1909"/>
                  </a:lnTo>
                  <a:lnTo>
                    <a:pt x="2596" y="1911"/>
                  </a:lnTo>
                  <a:lnTo>
                    <a:pt x="2596" y="1911"/>
                  </a:lnTo>
                  <a:lnTo>
                    <a:pt x="2596" y="1911"/>
                  </a:lnTo>
                  <a:lnTo>
                    <a:pt x="2598" y="1909"/>
                  </a:lnTo>
                  <a:lnTo>
                    <a:pt x="2598" y="1909"/>
                  </a:lnTo>
                  <a:lnTo>
                    <a:pt x="2598" y="1909"/>
                  </a:lnTo>
                  <a:lnTo>
                    <a:pt x="2596" y="1906"/>
                  </a:lnTo>
                  <a:lnTo>
                    <a:pt x="2596" y="1906"/>
                  </a:lnTo>
                  <a:lnTo>
                    <a:pt x="2596" y="1909"/>
                  </a:lnTo>
                  <a:lnTo>
                    <a:pt x="2596" y="1906"/>
                  </a:lnTo>
                  <a:lnTo>
                    <a:pt x="2596" y="1906"/>
                  </a:lnTo>
                  <a:lnTo>
                    <a:pt x="2596" y="1906"/>
                  </a:lnTo>
                  <a:lnTo>
                    <a:pt x="2594" y="1906"/>
                  </a:lnTo>
                  <a:lnTo>
                    <a:pt x="2594" y="1906"/>
                  </a:lnTo>
                  <a:lnTo>
                    <a:pt x="2591" y="1906"/>
                  </a:lnTo>
                  <a:lnTo>
                    <a:pt x="2591" y="1906"/>
                  </a:lnTo>
                  <a:lnTo>
                    <a:pt x="2591" y="1909"/>
                  </a:lnTo>
                  <a:lnTo>
                    <a:pt x="2591" y="1909"/>
                  </a:lnTo>
                  <a:lnTo>
                    <a:pt x="2591" y="1909"/>
                  </a:lnTo>
                  <a:lnTo>
                    <a:pt x="2591" y="1909"/>
                  </a:lnTo>
                  <a:lnTo>
                    <a:pt x="2591" y="1906"/>
                  </a:lnTo>
                  <a:lnTo>
                    <a:pt x="2591" y="1906"/>
                  </a:lnTo>
                  <a:lnTo>
                    <a:pt x="2591" y="1906"/>
                  </a:lnTo>
                  <a:lnTo>
                    <a:pt x="2589" y="1906"/>
                  </a:lnTo>
                  <a:lnTo>
                    <a:pt x="2589" y="1906"/>
                  </a:lnTo>
                  <a:lnTo>
                    <a:pt x="2589" y="1904"/>
                  </a:lnTo>
                  <a:lnTo>
                    <a:pt x="2587" y="1904"/>
                  </a:lnTo>
                  <a:lnTo>
                    <a:pt x="2582" y="1904"/>
                  </a:lnTo>
                  <a:lnTo>
                    <a:pt x="2580" y="1902"/>
                  </a:lnTo>
                  <a:lnTo>
                    <a:pt x="2580" y="1902"/>
                  </a:lnTo>
                  <a:lnTo>
                    <a:pt x="2582" y="1902"/>
                  </a:lnTo>
                  <a:lnTo>
                    <a:pt x="2587" y="1902"/>
                  </a:lnTo>
                  <a:lnTo>
                    <a:pt x="2587" y="1902"/>
                  </a:lnTo>
                  <a:lnTo>
                    <a:pt x="2587" y="1902"/>
                  </a:lnTo>
                  <a:lnTo>
                    <a:pt x="2587" y="1902"/>
                  </a:lnTo>
                  <a:lnTo>
                    <a:pt x="2587" y="1902"/>
                  </a:lnTo>
                  <a:lnTo>
                    <a:pt x="2587" y="1902"/>
                  </a:lnTo>
                  <a:lnTo>
                    <a:pt x="2587" y="1902"/>
                  </a:lnTo>
                  <a:lnTo>
                    <a:pt x="2587" y="1902"/>
                  </a:lnTo>
                  <a:lnTo>
                    <a:pt x="2587" y="1902"/>
                  </a:lnTo>
                  <a:lnTo>
                    <a:pt x="2587" y="1902"/>
                  </a:lnTo>
                  <a:lnTo>
                    <a:pt x="2589" y="1902"/>
                  </a:lnTo>
                  <a:lnTo>
                    <a:pt x="2589" y="1902"/>
                  </a:lnTo>
                  <a:lnTo>
                    <a:pt x="2589" y="1902"/>
                  </a:lnTo>
                  <a:lnTo>
                    <a:pt x="2589" y="1902"/>
                  </a:lnTo>
                  <a:lnTo>
                    <a:pt x="2589" y="1902"/>
                  </a:lnTo>
                  <a:lnTo>
                    <a:pt x="2589" y="1902"/>
                  </a:lnTo>
                  <a:lnTo>
                    <a:pt x="2589" y="1902"/>
                  </a:lnTo>
                  <a:lnTo>
                    <a:pt x="2589" y="1899"/>
                  </a:lnTo>
                  <a:lnTo>
                    <a:pt x="2589" y="1899"/>
                  </a:lnTo>
                  <a:lnTo>
                    <a:pt x="2589" y="1899"/>
                  </a:lnTo>
                  <a:lnTo>
                    <a:pt x="2589" y="1899"/>
                  </a:lnTo>
                  <a:lnTo>
                    <a:pt x="2589" y="1899"/>
                  </a:lnTo>
                  <a:lnTo>
                    <a:pt x="2587" y="1899"/>
                  </a:lnTo>
                  <a:lnTo>
                    <a:pt x="2584" y="1899"/>
                  </a:lnTo>
                  <a:lnTo>
                    <a:pt x="2584" y="1899"/>
                  </a:lnTo>
                  <a:lnTo>
                    <a:pt x="2582" y="1899"/>
                  </a:lnTo>
                  <a:lnTo>
                    <a:pt x="2582" y="1899"/>
                  </a:lnTo>
                  <a:lnTo>
                    <a:pt x="2582" y="1899"/>
                  </a:lnTo>
                  <a:lnTo>
                    <a:pt x="2582" y="1899"/>
                  </a:lnTo>
                  <a:lnTo>
                    <a:pt x="2582" y="1899"/>
                  </a:lnTo>
                  <a:lnTo>
                    <a:pt x="2580" y="1899"/>
                  </a:lnTo>
                  <a:lnTo>
                    <a:pt x="2580" y="1902"/>
                  </a:lnTo>
                  <a:lnTo>
                    <a:pt x="2577" y="1902"/>
                  </a:lnTo>
                  <a:lnTo>
                    <a:pt x="2577" y="1902"/>
                  </a:lnTo>
                  <a:lnTo>
                    <a:pt x="2577" y="1902"/>
                  </a:lnTo>
                  <a:lnTo>
                    <a:pt x="2577" y="1902"/>
                  </a:lnTo>
                  <a:lnTo>
                    <a:pt x="2580" y="1899"/>
                  </a:lnTo>
                  <a:lnTo>
                    <a:pt x="2577" y="1899"/>
                  </a:lnTo>
                  <a:lnTo>
                    <a:pt x="2577" y="1899"/>
                  </a:lnTo>
                  <a:lnTo>
                    <a:pt x="2575" y="1899"/>
                  </a:lnTo>
                  <a:lnTo>
                    <a:pt x="2575" y="1899"/>
                  </a:lnTo>
                  <a:lnTo>
                    <a:pt x="2575" y="1902"/>
                  </a:lnTo>
                  <a:lnTo>
                    <a:pt x="2572" y="1902"/>
                  </a:lnTo>
                  <a:lnTo>
                    <a:pt x="2568" y="1902"/>
                  </a:lnTo>
                  <a:lnTo>
                    <a:pt x="2565" y="1902"/>
                  </a:lnTo>
                  <a:lnTo>
                    <a:pt x="2563" y="1902"/>
                  </a:lnTo>
                  <a:lnTo>
                    <a:pt x="2563" y="1902"/>
                  </a:lnTo>
                  <a:lnTo>
                    <a:pt x="2568" y="1902"/>
                  </a:lnTo>
                  <a:lnTo>
                    <a:pt x="2568" y="1899"/>
                  </a:lnTo>
                  <a:lnTo>
                    <a:pt x="2568" y="1899"/>
                  </a:lnTo>
                  <a:lnTo>
                    <a:pt x="2568" y="1899"/>
                  </a:lnTo>
                  <a:lnTo>
                    <a:pt x="2568" y="1897"/>
                  </a:lnTo>
                  <a:lnTo>
                    <a:pt x="2570" y="1897"/>
                  </a:lnTo>
                  <a:lnTo>
                    <a:pt x="2570" y="1897"/>
                  </a:lnTo>
                  <a:lnTo>
                    <a:pt x="2572" y="1894"/>
                  </a:lnTo>
                  <a:lnTo>
                    <a:pt x="2570" y="1894"/>
                  </a:lnTo>
                  <a:lnTo>
                    <a:pt x="2570" y="1894"/>
                  </a:lnTo>
                  <a:lnTo>
                    <a:pt x="2570" y="1894"/>
                  </a:lnTo>
                  <a:lnTo>
                    <a:pt x="2570" y="1894"/>
                  </a:lnTo>
                  <a:lnTo>
                    <a:pt x="2568" y="1892"/>
                  </a:lnTo>
                  <a:lnTo>
                    <a:pt x="2568" y="1894"/>
                  </a:lnTo>
                  <a:lnTo>
                    <a:pt x="2568" y="1894"/>
                  </a:lnTo>
                  <a:lnTo>
                    <a:pt x="2565" y="1894"/>
                  </a:lnTo>
                  <a:lnTo>
                    <a:pt x="2565" y="1894"/>
                  </a:lnTo>
                  <a:lnTo>
                    <a:pt x="2565" y="1897"/>
                  </a:lnTo>
                  <a:lnTo>
                    <a:pt x="2565" y="1897"/>
                  </a:lnTo>
                  <a:lnTo>
                    <a:pt x="2565" y="1897"/>
                  </a:lnTo>
                  <a:lnTo>
                    <a:pt x="2565" y="1897"/>
                  </a:lnTo>
                  <a:lnTo>
                    <a:pt x="2565" y="1897"/>
                  </a:lnTo>
                  <a:lnTo>
                    <a:pt x="2565" y="1897"/>
                  </a:lnTo>
                  <a:lnTo>
                    <a:pt x="2565" y="1897"/>
                  </a:lnTo>
                  <a:lnTo>
                    <a:pt x="2565" y="1897"/>
                  </a:lnTo>
                  <a:lnTo>
                    <a:pt x="2565" y="1897"/>
                  </a:lnTo>
                  <a:lnTo>
                    <a:pt x="2565" y="1899"/>
                  </a:lnTo>
                  <a:lnTo>
                    <a:pt x="2565" y="1899"/>
                  </a:lnTo>
                  <a:lnTo>
                    <a:pt x="2565" y="1899"/>
                  </a:lnTo>
                  <a:lnTo>
                    <a:pt x="2565" y="1899"/>
                  </a:lnTo>
                  <a:lnTo>
                    <a:pt x="2561" y="1899"/>
                  </a:lnTo>
                  <a:lnTo>
                    <a:pt x="2561" y="1899"/>
                  </a:lnTo>
                  <a:lnTo>
                    <a:pt x="2561" y="1899"/>
                  </a:lnTo>
                  <a:lnTo>
                    <a:pt x="2561" y="1899"/>
                  </a:lnTo>
                  <a:lnTo>
                    <a:pt x="2561" y="1899"/>
                  </a:lnTo>
                  <a:lnTo>
                    <a:pt x="2561" y="1899"/>
                  </a:lnTo>
                  <a:lnTo>
                    <a:pt x="2561" y="1899"/>
                  </a:lnTo>
                  <a:lnTo>
                    <a:pt x="2561" y="1899"/>
                  </a:lnTo>
                  <a:lnTo>
                    <a:pt x="2561" y="1899"/>
                  </a:lnTo>
                  <a:lnTo>
                    <a:pt x="2561" y="1902"/>
                  </a:lnTo>
                  <a:lnTo>
                    <a:pt x="2558" y="1899"/>
                  </a:lnTo>
                  <a:lnTo>
                    <a:pt x="2558" y="1902"/>
                  </a:lnTo>
                  <a:lnTo>
                    <a:pt x="2558" y="1902"/>
                  </a:lnTo>
                  <a:lnTo>
                    <a:pt x="2558" y="1902"/>
                  </a:lnTo>
                  <a:lnTo>
                    <a:pt x="2556" y="1902"/>
                  </a:lnTo>
                  <a:lnTo>
                    <a:pt x="2556" y="1902"/>
                  </a:lnTo>
                  <a:lnTo>
                    <a:pt x="2553" y="1902"/>
                  </a:lnTo>
                  <a:lnTo>
                    <a:pt x="2553" y="1904"/>
                  </a:lnTo>
                  <a:lnTo>
                    <a:pt x="2553" y="1906"/>
                  </a:lnTo>
                  <a:lnTo>
                    <a:pt x="2553" y="1906"/>
                  </a:lnTo>
                  <a:lnTo>
                    <a:pt x="2553" y="1909"/>
                  </a:lnTo>
                  <a:lnTo>
                    <a:pt x="2553" y="1909"/>
                  </a:lnTo>
                  <a:lnTo>
                    <a:pt x="2553" y="1909"/>
                  </a:lnTo>
                  <a:lnTo>
                    <a:pt x="2551" y="1909"/>
                  </a:lnTo>
                  <a:lnTo>
                    <a:pt x="2551" y="1911"/>
                  </a:lnTo>
                  <a:lnTo>
                    <a:pt x="2551" y="1911"/>
                  </a:lnTo>
                  <a:lnTo>
                    <a:pt x="2553" y="1911"/>
                  </a:lnTo>
                  <a:lnTo>
                    <a:pt x="2553" y="1911"/>
                  </a:lnTo>
                  <a:lnTo>
                    <a:pt x="2551" y="1913"/>
                  </a:lnTo>
                  <a:lnTo>
                    <a:pt x="2553" y="1913"/>
                  </a:lnTo>
                  <a:lnTo>
                    <a:pt x="2553" y="1913"/>
                  </a:lnTo>
                  <a:lnTo>
                    <a:pt x="2553" y="1913"/>
                  </a:lnTo>
                  <a:lnTo>
                    <a:pt x="2553" y="1913"/>
                  </a:lnTo>
                  <a:lnTo>
                    <a:pt x="2553" y="1913"/>
                  </a:lnTo>
                  <a:lnTo>
                    <a:pt x="2551" y="1918"/>
                  </a:lnTo>
                  <a:lnTo>
                    <a:pt x="2551" y="1920"/>
                  </a:lnTo>
                  <a:lnTo>
                    <a:pt x="2551" y="1920"/>
                  </a:lnTo>
                  <a:lnTo>
                    <a:pt x="2551" y="1920"/>
                  </a:lnTo>
                  <a:lnTo>
                    <a:pt x="2551" y="1920"/>
                  </a:lnTo>
                  <a:lnTo>
                    <a:pt x="2549" y="1920"/>
                  </a:lnTo>
                  <a:lnTo>
                    <a:pt x="2549" y="1920"/>
                  </a:lnTo>
                  <a:lnTo>
                    <a:pt x="2549" y="1920"/>
                  </a:lnTo>
                  <a:lnTo>
                    <a:pt x="2549" y="1923"/>
                  </a:lnTo>
                  <a:lnTo>
                    <a:pt x="2549" y="1923"/>
                  </a:lnTo>
                  <a:lnTo>
                    <a:pt x="2549" y="1920"/>
                  </a:lnTo>
                  <a:lnTo>
                    <a:pt x="2549" y="1920"/>
                  </a:lnTo>
                  <a:lnTo>
                    <a:pt x="2549" y="1918"/>
                  </a:lnTo>
                  <a:lnTo>
                    <a:pt x="2549" y="1918"/>
                  </a:lnTo>
                  <a:lnTo>
                    <a:pt x="2549" y="1916"/>
                  </a:lnTo>
                  <a:lnTo>
                    <a:pt x="2549" y="1916"/>
                  </a:lnTo>
                  <a:lnTo>
                    <a:pt x="2546" y="1916"/>
                  </a:lnTo>
                  <a:lnTo>
                    <a:pt x="2546" y="1916"/>
                  </a:lnTo>
                  <a:lnTo>
                    <a:pt x="2546" y="1913"/>
                  </a:lnTo>
                  <a:lnTo>
                    <a:pt x="2546" y="1913"/>
                  </a:lnTo>
                  <a:lnTo>
                    <a:pt x="2546" y="1913"/>
                  </a:lnTo>
                  <a:lnTo>
                    <a:pt x="2544" y="1913"/>
                  </a:lnTo>
                  <a:lnTo>
                    <a:pt x="2544" y="1913"/>
                  </a:lnTo>
                  <a:lnTo>
                    <a:pt x="2544" y="1913"/>
                  </a:lnTo>
                  <a:lnTo>
                    <a:pt x="2544" y="1916"/>
                  </a:lnTo>
                  <a:lnTo>
                    <a:pt x="2542" y="1916"/>
                  </a:lnTo>
                  <a:lnTo>
                    <a:pt x="2542" y="1916"/>
                  </a:lnTo>
                  <a:lnTo>
                    <a:pt x="2542" y="1913"/>
                  </a:lnTo>
                  <a:lnTo>
                    <a:pt x="2542" y="1913"/>
                  </a:lnTo>
                  <a:lnTo>
                    <a:pt x="2542" y="1913"/>
                  </a:lnTo>
                  <a:lnTo>
                    <a:pt x="2542" y="1916"/>
                  </a:lnTo>
                  <a:lnTo>
                    <a:pt x="2539" y="1916"/>
                  </a:lnTo>
                  <a:lnTo>
                    <a:pt x="2539" y="1913"/>
                  </a:lnTo>
                  <a:lnTo>
                    <a:pt x="2542" y="1913"/>
                  </a:lnTo>
                  <a:lnTo>
                    <a:pt x="2544" y="1911"/>
                  </a:lnTo>
                  <a:lnTo>
                    <a:pt x="2546" y="1906"/>
                  </a:lnTo>
                  <a:lnTo>
                    <a:pt x="2549" y="1906"/>
                  </a:lnTo>
                  <a:lnTo>
                    <a:pt x="2549" y="1904"/>
                  </a:lnTo>
                  <a:lnTo>
                    <a:pt x="2549" y="1904"/>
                  </a:lnTo>
                  <a:lnTo>
                    <a:pt x="2549" y="1904"/>
                  </a:lnTo>
                  <a:lnTo>
                    <a:pt x="2549" y="1904"/>
                  </a:lnTo>
                  <a:lnTo>
                    <a:pt x="2549" y="1902"/>
                  </a:lnTo>
                  <a:lnTo>
                    <a:pt x="2549" y="1902"/>
                  </a:lnTo>
                  <a:lnTo>
                    <a:pt x="2549" y="1902"/>
                  </a:lnTo>
                  <a:lnTo>
                    <a:pt x="2549" y="1899"/>
                  </a:lnTo>
                  <a:lnTo>
                    <a:pt x="2549" y="1899"/>
                  </a:lnTo>
                  <a:lnTo>
                    <a:pt x="2546" y="1899"/>
                  </a:lnTo>
                  <a:lnTo>
                    <a:pt x="2546" y="1899"/>
                  </a:lnTo>
                  <a:lnTo>
                    <a:pt x="2546" y="1899"/>
                  </a:lnTo>
                  <a:lnTo>
                    <a:pt x="2549" y="1899"/>
                  </a:lnTo>
                  <a:lnTo>
                    <a:pt x="2546" y="1899"/>
                  </a:lnTo>
                  <a:lnTo>
                    <a:pt x="2549" y="1899"/>
                  </a:lnTo>
                  <a:lnTo>
                    <a:pt x="2549" y="1899"/>
                  </a:lnTo>
                  <a:lnTo>
                    <a:pt x="2549" y="1899"/>
                  </a:lnTo>
                  <a:lnTo>
                    <a:pt x="2549" y="1899"/>
                  </a:lnTo>
                  <a:lnTo>
                    <a:pt x="2549" y="1899"/>
                  </a:lnTo>
                  <a:lnTo>
                    <a:pt x="2546" y="1899"/>
                  </a:lnTo>
                  <a:lnTo>
                    <a:pt x="2546" y="1899"/>
                  </a:lnTo>
                  <a:lnTo>
                    <a:pt x="2544" y="1897"/>
                  </a:lnTo>
                  <a:lnTo>
                    <a:pt x="2544" y="1897"/>
                  </a:lnTo>
                  <a:lnTo>
                    <a:pt x="2544" y="1897"/>
                  </a:lnTo>
                  <a:lnTo>
                    <a:pt x="2544" y="1897"/>
                  </a:lnTo>
                  <a:lnTo>
                    <a:pt x="2544" y="1897"/>
                  </a:lnTo>
                  <a:lnTo>
                    <a:pt x="2542" y="1894"/>
                  </a:lnTo>
                  <a:lnTo>
                    <a:pt x="2544" y="1894"/>
                  </a:lnTo>
                  <a:lnTo>
                    <a:pt x="2544" y="1894"/>
                  </a:lnTo>
                  <a:lnTo>
                    <a:pt x="2544" y="1894"/>
                  </a:lnTo>
                  <a:lnTo>
                    <a:pt x="2544" y="1894"/>
                  </a:lnTo>
                  <a:lnTo>
                    <a:pt x="2544" y="1894"/>
                  </a:lnTo>
                  <a:lnTo>
                    <a:pt x="2544" y="1894"/>
                  </a:lnTo>
                  <a:lnTo>
                    <a:pt x="2542" y="1894"/>
                  </a:lnTo>
                  <a:lnTo>
                    <a:pt x="2542" y="1894"/>
                  </a:lnTo>
                  <a:lnTo>
                    <a:pt x="2539" y="1892"/>
                  </a:lnTo>
                  <a:lnTo>
                    <a:pt x="2539" y="1892"/>
                  </a:lnTo>
                  <a:lnTo>
                    <a:pt x="2537" y="1890"/>
                  </a:lnTo>
                  <a:lnTo>
                    <a:pt x="2535" y="1887"/>
                  </a:lnTo>
                  <a:lnTo>
                    <a:pt x="2535" y="1887"/>
                  </a:lnTo>
                  <a:lnTo>
                    <a:pt x="2535" y="1885"/>
                  </a:lnTo>
                  <a:lnTo>
                    <a:pt x="2535" y="1887"/>
                  </a:lnTo>
                  <a:lnTo>
                    <a:pt x="2532" y="1887"/>
                  </a:lnTo>
                  <a:lnTo>
                    <a:pt x="2532" y="1887"/>
                  </a:lnTo>
                  <a:lnTo>
                    <a:pt x="2532" y="1885"/>
                  </a:lnTo>
                  <a:lnTo>
                    <a:pt x="2532" y="1885"/>
                  </a:lnTo>
                  <a:lnTo>
                    <a:pt x="2530" y="1885"/>
                  </a:lnTo>
                  <a:lnTo>
                    <a:pt x="2530" y="1885"/>
                  </a:lnTo>
                  <a:lnTo>
                    <a:pt x="2527" y="1887"/>
                  </a:lnTo>
                  <a:lnTo>
                    <a:pt x="2527" y="1885"/>
                  </a:lnTo>
                  <a:lnTo>
                    <a:pt x="2527" y="1887"/>
                  </a:lnTo>
                  <a:lnTo>
                    <a:pt x="2527" y="1887"/>
                  </a:lnTo>
                  <a:lnTo>
                    <a:pt x="2525" y="1887"/>
                  </a:lnTo>
                  <a:lnTo>
                    <a:pt x="2525" y="1887"/>
                  </a:lnTo>
                  <a:lnTo>
                    <a:pt x="2525" y="1887"/>
                  </a:lnTo>
                  <a:lnTo>
                    <a:pt x="2523" y="1887"/>
                  </a:lnTo>
                  <a:lnTo>
                    <a:pt x="2520" y="1887"/>
                  </a:lnTo>
                  <a:lnTo>
                    <a:pt x="2520" y="1887"/>
                  </a:lnTo>
                  <a:lnTo>
                    <a:pt x="2520" y="1887"/>
                  </a:lnTo>
                  <a:lnTo>
                    <a:pt x="2520" y="1887"/>
                  </a:lnTo>
                  <a:lnTo>
                    <a:pt x="2518" y="1890"/>
                  </a:lnTo>
                  <a:lnTo>
                    <a:pt x="2518" y="1890"/>
                  </a:lnTo>
                  <a:lnTo>
                    <a:pt x="2518" y="1890"/>
                  </a:lnTo>
                  <a:lnTo>
                    <a:pt x="2516" y="1890"/>
                  </a:lnTo>
                  <a:lnTo>
                    <a:pt x="2516" y="1890"/>
                  </a:lnTo>
                  <a:lnTo>
                    <a:pt x="2513" y="1890"/>
                  </a:lnTo>
                  <a:lnTo>
                    <a:pt x="2513" y="1890"/>
                  </a:lnTo>
                  <a:lnTo>
                    <a:pt x="2513" y="1890"/>
                  </a:lnTo>
                  <a:lnTo>
                    <a:pt x="2511" y="1890"/>
                  </a:lnTo>
                  <a:lnTo>
                    <a:pt x="2511" y="1890"/>
                  </a:lnTo>
                  <a:lnTo>
                    <a:pt x="2511" y="1890"/>
                  </a:lnTo>
                  <a:lnTo>
                    <a:pt x="2509" y="1890"/>
                  </a:lnTo>
                  <a:lnTo>
                    <a:pt x="2506" y="1892"/>
                  </a:lnTo>
                  <a:lnTo>
                    <a:pt x="2506" y="1892"/>
                  </a:lnTo>
                  <a:lnTo>
                    <a:pt x="2506" y="1892"/>
                  </a:lnTo>
                  <a:lnTo>
                    <a:pt x="2506" y="1894"/>
                  </a:lnTo>
                  <a:lnTo>
                    <a:pt x="2504" y="1894"/>
                  </a:lnTo>
                  <a:lnTo>
                    <a:pt x="2501" y="1894"/>
                  </a:lnTo>
                  <a:lnTo>
                    <a:pt x="2501" y="1894"/>
                  </a:lnTo>
                  <a:lnTo>
                    <a:pt x="2501" y="1897"/>
                  </a:lnTo>
                  <a:lnTo>
                    <a:pt x="2501" y="1897"/>
                  </a:lnTo>
                  <a:lnTo>
                    <a:pt x="2501" y="1899"/>
                  </a:lnTo>
                  <a:lnTo>
                    <a:pt x="2504" y="1899"/>
                  </a:lnTo>
                  <a:lnTo>
                    <a:pt x="2504" y="1899"/>
                  </a:lnTo>
                  <a:lnTo>
                    <a:pt x="2506" y="1899"/>
                  </a:lnTo>
                  <a:lnTo>
                    <a:pt x="2506" y="1899"/>
                  </a:lnTo>
                  <a:lnTo>
                    <a:pt x="2506" y="1899"/>
                  </a:lnTo>
                  <a:lnTo>
                    <a:pt x="2506" y="1899"/>
                  </a:lnTo>
                  <a:lnTo>
                    <a:pt x="2506" y="1899"/>
                  </a:lnTo>
                  <a:lnTo>
                    <a:pt x="2506" y="1899"/>
                  </a:lnTo>
                  <a:lnTo>
                    <a:pt x="2506" y="1899"/>
                  </a:lnTo>
                  <a:lnTo>
                    <a:pt x="2506" y="1899"/>
                  </a:lnTo>
                  <a:lnTo>
                    <a:pt x="2509" y="1899"/>
                  </a:lnTo>
                  <a:lnTo>
                    <a:pt x="2509" y="1897"/>
                  </a:lnTo>
                  <a:lnTo>
                    <a:pt x="2509" y="1897"/>
                  </a:lnTo>
                  <a:lnTo>
                    <a:pt x="2511" y="1897"/>
                  </a:lnTo>
                  <a:lnTo>
                    <a:pt x="2513" y="1894"/>
                  </a:lnTo>
                  <a:lnTo>
                    <a:pt x="2516" y="1894"/>
                  </a:lnTo>
                  <a:lnTo>
                    <a:pt x="2518" y="1894"/>
                  </a:lnTo>
                  <a:lnTo>
                    <a:pt x="2520" y="1894"/>
                  </a:lnTo>
                  <a:lnTo>
                    <a:pt x="2520" y="1894"/>
                  </a:lnTo>
                  <a:lnTo>
                    <a:pt x="2520" y="1894"/>
                  </a:lnTo>
                  <a:lnTo>
                    <a:pt x="2523" y="1894"/>
                  </a:lnTo>
                  <a:lnTo>
                    <a:pt x="2523" y="1894"/>
                  </a:lnTo>
                  <a:lnTo>
                    <a:pt x="2523" y="1894"/>
                  </a:lnTo>
                  <a:lnTo>
                    <a:pt x="2511" y="1897"/>
                  </a:lnTo>
                  <a:lnTo>
                    <a:pt x="2511" y="1899"/>
                  </a:lnTo>
                  <a:lnTo>
                    <a:pt x="2509" y="1902"/>
                  </a:lnTo>
                  <a:lnTo>
                    <a:pt x="2509" y="1902"/>
                  </a:lnTo>
                  <a:lnTo>
                    <a:pt x="2509" y="1902"/>
                  </a:lnTo>
                  <a:lnTo>
                    <a:pt x="2506" y="1902"/>
                  </a:lnTo>
                  <a:lnTo>
                    <a:pt x="2506" y="1902"/>
                  </a:lnTo>
                  <a:lnTo>
                    <a:pt x="2501" y="1906"/>
                  </a:lnTo>
                  <a:lnTo>
                    <a:pt x="2499" y="1911"/>
                  </a:lnTo>
                  <a:lnTo>
                    <a:pt x="2497" y="1913"/>
                  </a:lnTo>
                  <a:lnTo>
                    <a:pt x="2492" y="1913"/>
                  </a:lnTo>
                  <a:lnTo>
                    <a:pt x="2492" y="1913"/>
                  </a:lnTo>
                  <a:lnTo>
                    <a:pt x="2492" y="1916"/>
                  </a:lnTo>
                  <a:lnTo>
                    <a:pt x="2492" y="1916"/>
                  </a:lnTo>
                  <a:lnTo>
                    <a:pt x="2492" y="1916"/>
                  </a:lnTo>
                  <a:lnTo>
                    <a:pt x="2492" y="1918"/>
                  </a:lnTo>
                  <a:lnTo>
                    <a:pt x="2492" y="1918"/>
                  </a:lnTo>
                  <a:lnTo>
                    <a:pt x="2492" y="1920"/>
                  </a:lnTo>
                  <a:lnTo>
                    <a:pt x="2492" y="1920"/>
                  </a:lnTo>
                  <a:lnTo>
                    <a:pt x="2490" y="1923"/>
                  </a:lnTo>
                  <a:lnTo>
                    <a:pt x="2490" y="1923"/>
                  </a:lnTo>
                  <a:lnTo>
                    <a:pt x="2490" y="1925"/>
                  </a:lnTo>
                  <a:lnTo>
                    <a:pt x="2490" y="1925"/>
                  </a:lnTo>
                  <a:lnTo>
                    <a:pt x="2490" y="1925"/>
                  </a:lnTo>
                  <a:lnTo>
                    <a:pt x="2490" y="1925"/>
                  </a:lnTo>
                  <a:lnTo>
                    <a:pt x="2490" y="1925"/>
                  </a:lnTo>
                  <a:lnTo>
                    <a:pt x="2492" y="1925"/>
                  </a:lnTo>
                  <a:lnTo>
                    <a:pt x="2492" y="1925"/>
                  </a:lnTo>
                  <a:lnTo>
                    <a:pt x="2492" y="1925"/>
                  </a:lnTo>
                  <a:lnTo>
                    <a:pt x="2492" y="1928"/>
                  </a:lnTo>
                  <a:lnTo>
                    <a:pt x="2492" y="1928"/>
                  </a:lnTo>
                  <a:lnTo>
                    <a:pt x="2492" y="1928"/>
                  </a:lnTo>
                  <a:lnTo>
                    <a:pt x="2492" y="1928"/>
                  </a:lnTo>
                  <a:lnTo>
                    <a:pt x="2492" y="1928"/>
                  </a:lnTo>
                  <a:lnTo>
                    <a:pt x="2492" y="1928"/>
                  </a:lnTo>
                  <a:lnTo>
                    <a:pt x="2490" y="1928"/>
                  </a:lnTo>
                  <a:lnTo>
                    <a:pt x="2492" y="1928"/>
                  </a:lnTo>
                  <a:lnTo>
                    <a:pt x="2492" y="1930"/>
                  </a:lnTo>
                  <a:lnTo>
                    <a:pt x="2492" y="1930"/>
                  </a:lnTo>
                  <a:lnTo>
                    <a:pt x="2492" y="1930"/>
                  </a:lnTo>
                  <a:lnTo>
                    <a:pt x="2490" y="1930"/>
                  </a:lnTo>
                  <a:lnTo>
                    <a:pt x="2490" y="1930"/>
                  </a:lnTo>
                  <a:lnTo>
                    <a:pt x="2490" y="1932"/>
                  </a:lnTo>
                  <a:lnTo>
                    <a:pt x="2490" y="1932"/>
                  </a:lnTo>
                  <a:lnTo>
                    <a:pt x="2487" y="1932"/>
                  </a:lnTo>
                  <a:lnTo>
                    <a:pt x="2487" y="1932"/>
                  </a:lnTo>
                  <a:lnTo>
                    <a:pt x="2487" y="1932"/>
                  </a:lnTo>
                  <a:lnTo>
                    <a:pt x="2487" y="1932"/>
                  </a:lnTo>
                  <a:lnTo>
                    <a:pt x="2487" y="1932"/>
                  </a:lnTo>
                  <a:lnTo>
                    <a:pt x="2487" y="1932"/>
                  </a:lnTo>
                  <a:lnTo>
                    <a:pt x="2487" y="1932"/>
                  </a:lnTo>
                  <a:lnTo>
                    <a:pt x="2487" y="1932"/>
                  </a:lnTo>
                  <a:lnTo>
                    <a:pt x="2485" y="1932"/>
                  </a:lnTo>
                  <a:lnTo>
                    <a:pt x="2485" y="1935"/>
                  </a:lnTo>
                  <a:lnTo>
                    <a:pt x="2485" y="1932"/>
                  </a:lnTo>
                  <a:lnTo>
                    <a:pt x="2485" y="1932"/>
                  </a:lnTo>
                  <a:lnTo>
                    <a:pt x="2485" y="1935"/>
                  </a:lnTo>
                  <a:lnTo>
                    <a:pt x="2485" y="1935"/>
                  </a:lnTo>
                  <a:lnTo>
                    <a:pt x="2485" y="1935"/>
                  </a:lnTo>
                  <a:lnTo>
                    <a:pt x="2482" y="1935"/>
                  </a:lnTo>
                  <a:lnTo>
                    <a:pt x="2482" y="1935"/>
                  </a:lnTo>
                  <a:lnTo>
                    <a:pt x="2482" y="1935"/>
                  </a:lnTo>
                  <a:lnTo>
                    <a:pt x="2482" y="1937"/>
                  </a:lnTo>
                  <a:lnTo>
                    <a:pt x="2482" y="1937"/>
                  </a:lnTo>
                  <a:lnTo>
                    <a:pt x="2482" y="1939"/>
                  </a:lnTo>
                  <a:lnTo>
                    <a:pt x="2480" y="1942"/>
                  </a:lnTo>
                  <a:lnTo>
                    <a:pt x="2480" y="1942"/>
                  </a:lnTo>
                  <a:lnTo>
                    <a:pt x="2480" y="1942"/>
                  </a:lnTo>
                  <a:lnTo>
                    <a:pt x="2480" y="1944"/>
                  </a:lnTo>
                  <a:lnTo>
                    <a:pt x="2478" y="1944"/>
                  </a:lnTo>
                  <a:lnTo>
                    <a:pt x="2473" y="1946"/>
                  </a:lnTo>
                  <a:lnTo>
                    <a:pt x="2471" y="1946"/>
                  </a:lnTo>
                  <a:lnTo>
                    <a:pt x="2468" y="1946"/>
                  </a:lnTo>
                  <a:lnTo>
                    <a:pt x="2468" y="1949"/>
                  </a:lnTo>
                  <a:lnTo>
                    <a:pt x="2471" y="1949"/>
                  </a:lnTo>
                  <a:lnTo>
                    <a:pt x="2471" y="1949"/>
                  </a:lnTo>
                  <a:lnTo>
                    <a:pt x="2473" y="1949"/>
                  </a:lnTo>
                  <a:lnTo>
                    <a:pt x="2473" y="1949"/>
                  </a:lnTo>
                  <a:lnTo>
                    <a:pt x="2473" y="1949"/>
                  </a:lnTo>
                  <a:lnTo>
                    <a:pt x="2473" y="1949"/>
                  </a:lnTo>
                  <a:lnTo>
                    <a:pt x="2473" y="1949"/>
                  </a:lnTo>
                  <a:lnTo>
                    <a:pt x="2471" y="1949"/>
                  </a:lnTo>
                  <a:lnTo>
                    <a:pt x="2471" y="1949"/>
                  </a:lnTo>
                  <a:lnTo>
                    <a:pt x="2471" y="1951"/>
                  </a:lnTo>
                  <a:lnTo>
                    <a:pt x="2471" y="1951"/>
                  </a:lnTo>
                  <a:lnTo>
                    <a:pt x="2471" y="1951"/>
                  </a:lnTo>
                  <a:lnTo>
                    <a:pt x="2471" y="1951"/>
                  </a:lnTo>
                  <a:lnTo>
                    <a:pt x="2471" y="1951"/>
                  </a:lnTo>
                  <a:lnTo>
                    <a:pt x="2471" y="1951"/>
                  </a:lnTo>
                  <a:lnTo>
                    <a:pt x="2471" y="1951"/>
                  </a:lnTo>
                  <a:lnTo>
                    <a:pt x="2471" y="1951"/>
                  </a:lnTo>
                  <a:lnTo>
                    <a:pt x="2471" y="1951"/>
                  </a:lnTo>
                  <a:lnTo>
                    <a:pt x="2471" y="1954"/>
                  </a:lnTo>
                  <a:lnTo>
                    <a:pt x="2471" y="1954"/>
                  </a:lnTo>
                  <a:lnTo>
                    <a:pt x="2471" y="1954"/>
                  </a:lnTo>
                  <a:lnTo>
                    <a:pt x="2468" y="1956"/>
                  </a:lnTo>
                  <a:lnTo>
                    <a:pt x="2468" y="1956"/>
                  </a:lnTo>
                  <a:lnTo>
                    <a:pt x="2468" y="1958"/>
                  </a:lnTo>
                  <a:lnTo>
                    <a:pt x="2468" y="1958"/>
                  </a:lnTo>
                  <a:lnTo>
                    <a:pt x="2468" y="1958"/>
                  </a:lnTo>
                  <a:lnTo>
                    <a:pt x="2466" y="1961"/>
                  </a:lnTo>
                  <a:lnTo>
                    <a:pt x="2466" y="1961"/>
                  </a:lnTo>
                  <a:lnTo>
                    <a:pt x="2466" y="1961"/>
                  </a:lnTo>
                  <a:lnTo>
                    <a:pt x="2466" y="1961"/>
                  </a:lnTo>
                  <a:lnTo>
                    <a:pt x="2466" y="1963"/>
                  </a:lnTo>
                  <a:lnTo>
                    <a:pt x="2468" y="1961"/>
                  </a:lnTo>
                  <a:lnTo>
                    <a:pt x="2468" y="1963"/>
                  </a:lnTo>
                  <a:lnTo>
                    <a:pt x="2468" y="1963"/>
                  </a:lnTo>
                  <a:lnTo>
                    <a:pt x="2468" y="1963"/>
                  </a:lnTo>
                  <a:lnTo>
                    <a:pt x="2466" y="1963"/>
                  </a:lnTo>
                  <a:lnTo>
                    <a:pt x="2466" y="1963"/>
                  </a:lnTo>
                  <a:lnTo>
                    <a:pt x="2466" y="1963"/>
                  </a:lnTo>
                  <a:lnTo>
                    <a:pt x="2466" y="1963"/>
                  </a:lnTo>
                  <a:lnTo>
                    <a:pt x="2466" y="1963"/>
                  </a:lnTo>
                  <a:lnTo>
                    <a:pt x="2466" y="1963"/>
                  </a:lnTo>
                  <a:lnTo>
                    <a:pt x="2464" y="1963"/>
                  </a:lnTo>
                  <a:lnTo>
                    <a:pt x="2464" y="1965"/>
                  </a:lnTo>
                  <a:lnTo>
                    <a:pt x="2461" y="1965"/>
                  </a:lnTo>
                  <a:lnTo>
                    <a:pt x="2459" y="1968"/>
                  </a:lnTo>
                  <a:lnTo>
                    <a:pt x="2459" y="1968"/>
                  </a:lnTo>
                  <a:lnTo>
                    <a:pt x="2461" y="1965"/>
                  </a:lnTo>
                  <a:lnTo>
                    <a:pt x="2461" y="1965"/>
                  </a:lnTo>
                  <a:lnTo>
                    <a:pt x="2464" y="1963"/>
                  </a:lnTo>
                  <a:lnTo>
                    <a:pt x="2464" y="1961"/>
                  </a:lnTo>
                  <a:lnTo>
                    <a:pt x="2464" y="1961"/>
                  </a:lnTo>
                  <a:lnTo>
                    <a:pt x="2464" y="1961"/>
                  </a:lnTo>
                  <a:lnTo>
                    <a:pt x="2461" y="1961"/>
                  </a:lnTo>
                  <a:lnTo>
                    <a:pt x="2459" y="1963"/>
                  </a:lnTo>
                  <a:lnTo>
                    <a:pt x="2456" y="1963"/>
                  </a:lnTo>
                  <a:lnTo>
                    <a:pt x="2456" y="1963"/>
                  </a:lnTo>
                  <a:lnTo>
                    <a:pt x="2456" y="1963"/>
                  </a:lnTo>
                  <a:lnTo>
                    <a:pt x="2456" y="1963"/>
                  </a:lnTo>
                  <a:lnTo>
                    <a:pt x="2456" y="1963"/>
                  </a:lnTo>
                  <a:lnTo>
                    <a:pt x="2456" y="1963"/>
                  </a:lnTo>
                  <a:lnTo>
                    <a:pt x="2456" y="1963"/>
                  </a:lnTo>
                  <a:lnTo>
                    <a:pt x="2459" y="1963"/>
                  </a:lnTo>
                  <a:lnTo>
                    <a:pt x="2459" y="1961"/>
                  </a:lnTo>
                  <a:lnTo>
                    <a:pt x="2459" y="1961"/>
                  </a:lnTo>
                  <a:lnTo>
                    <a:pt x="2459" y="1961"/>
                  </a:lnTo>
                  <a:lnTo>
                    <a:pt x="2459" y="1961"/>
                  </a:lnTo>
                  <a:lnTo>
                    <a:pt x="2459" y="1958"/>
                  </a:lnTo>
                  <a:lnTo>
                    <a:pt x="2461" y="1958"/>
                  </a:lnTo>
                  <a:lnTo>
                    <a:pt x="2461" y="1956"/>
                  </a:lnTo>
                  <a:lnTo>
                    <a:pt x="2464" y="1954"/>
                  </a:lnTo>
                  <a:lnTo>
                    <a:pt x="2464" y="1954"/>
                  </a:lnTo>
                  <a:lnTo>
                    <a:pt x="2466" y="1954"/>
                  </a:lnTo>
                  <a:lnTo>
                    <a:pt x="2466" y="1954"/>
                  </a:lnTo>
                  <a:lnTo>
                    <a:pt x="2466" y="1954"/>
                  </a:lnTo>
                  <a:lnTo>
                    <a:pt x="2466" y="1954"/>
                  </a:lnTo>
                  <a:lnTo>
                    <a:pt x="2466" y="1951"/>
                  </a:lnTo>
                  <a:lnTo>
                    <a:pt x="2466" y="1951"/>
                  </a:lnTo>
                  <a:lnTo>
                    <a:pt x="2464" y="1951"/>
                  </a:lnTo>
                  <a:lnTo>
                    <a:pt x="2464" y="1951"/>
                  </a:lnTo>
                  <a:lnTo>
                    <a:pt x="2464" y="1951"/>
                  </a:lnTo>
                  <a:lnTo>
                    <a:pt x="2461" y="1951"/>
                  </a:lnTo>
                  <a:lnTo>
                    <a:pt x="2456" y="1951"/>
                  </a:lnTo>
                  <a:lnTo>
                    <a:pt x="2456" y="1951"/>
                  </a:lnTo>
                  <a:lnTo>
                    <a:pt x="2454" y="1949"/>
                  </a:lnTo>
                  <a:lnTo>
                    <a:pt x="2452" y="1949"/>
                  </a:lnTo>
                  <a:lnTo>
                    <a:pt x="2452" y="1949"/>
                  </a:lnTo>
                  <a:lnTo>
                    <a:pt x="2452" y="1949"/>
                  </a:lnTo>
                  <a:lnTo>
                    <a:pt x="2449" y="1949"/>
                  </a:lnTo>
                  <a:lnTo>
                    <a:pt x="2442" y="1946"/>
                  </a:lnTo>
                  <a:lnTo>
                    <a:pt x="2440" y="1949"/>
                  </a:lnTo>
                  <a:lnTo>
                    <a:pt x="2438" y="1949"/>
                  </a:lnTo>
                  <a:lnTo>
                    <a:pt x="2438" y="1949"/>
                  </a:lnTo>
                  <a:lnTo>
                    <a:pt x="2435" y="1951"/>
                  </a:lnTo>
                  <a:lnTo>
                    <a:pt x="2435" y="1951"/>
                  </a:lnTo>
                  <a:lnTo>
                    <a:pt x="2433" y="1949"/>
                  </a:lnTo>
                  <a:lnTo>
                    <a:pt x="2433" y="1949"/>
                  </a:lnTo>
                  <a:lnTo>
                    <a:pt x="2435" y="1946"/>
                  </a:lnTo>
                  <a:lnTo>
                    <a:pt x="2435" y="1946"/>
                  </a:lnTo>
                  <a:lnTo>
                    <a:pt x="2435" y="1946"/>
                  </a:lnTo>
                  <a:lnTo>
                    <a:pt x="2433" y="1944"/>
                  </a:lnTo>
                  <a:lnTo>
                    <a:pt x="2433" y="1944"/>
                  </a:lnTo>
                  <a:lnTo>
                    <a:pt x="2433" y="1944"/>
                  </a:lnTo>
                  <a:lnTo>
                    <a:pt x="2435" y="1944"/>
                  </a:lnTo>
                  <a:lnTo>
                    <a:pt x="2435" y="1946"/>
                  </a:lnTo>
                  <a:lnTo>
                    <a:pt x="2438" y="1946"/>
                  </a:lnTo>
                  <a:lnTo>
                    <a:pt x="2440" y="1946"/>
                  </a:lnTo>
                  <a:lnTo>
                    <a:pt x="2440" y="1946"/>
                  </a:lnTo>
                  <a:lnTo>
                    <a:pt x="2447" y="1946"/>
                  </a:lnTo>
                  <a:lnTo>
                    <a:pt x="2449" y="1946"/>
                  </a:lnTo>
                  <a:lnTo>
                    <a:pt x="2452" y="1946"/>
                  </a:lnTo>
                  <a:lnTo>
                    <a:pt x="2452" y="1946"/>
                  </a:lnTo>
                  <a:lnTo>
                    <a:pt x="2452" y="1946"/>
                  </a:lnTo>
                  <a:lnTo>
                    <a:pt x="2454" y="1949"/>
                  </a:lnTo>
                  <a:lnTo>
                    <a:pt x="2456" y="1949"/>
                  </a:lnTo>
                  <a:lnTo>
                    <a:pt x="2459" y="1949"/>
                  </a:lnTo>
                  <a:lnTo>
                    <a:pt x="2459" y="1949"/>
                  </a:lnTo>
                  <a:lnTo>
                    <a:pt x="2461" y="1949"/>
                  </a:lnTo>
                  <a:lnTo>
                    <a:pt x="2461" y="1949"/>
                  </a:lnTo>
                  <a:lnTo>
                    <a:pt x="2461" y="1949"/>
                  </a:lnTo>
                  <a:lnTo>
                    <a:pt x="2461" y="1949"/>
                  </a:lnTo>
                  <a:lnTo>
                    <a:pt x="2461" y="1951"/>
                  </a:lnTo>
                  <a:lnTo>
                    <a:pt x="2461" y="1951"/>
                  </a:lnTo>
                  <a:lnTo>
                    <a:pt x="2461" y="1951"/>
                  </a:lnTo>
                  <a:lnTo>
                    <a:pt x="2461" y="1951"/>
                  </a:lnTo>
                  <a:lnTo>
                    <a:pt x="2461" y="1951"/>
                  </a:lnTo>
                  <a:lnTo>
                    <a:pt x="2461" y="1949"/>
                  </a:lnTo>
                  <a:lnTo>
                    <a:pt x="2464" y="1949"/>
                  </a:lnTo>
                  <a:lnTo>
                    <a:pt x="2464" y="1949"/>
                  </a:lnTo>
                  <a:lnTo>
                    <a:pt x="2464" y="1949"/>
                  </a:lnTo>
                  <a:lnTo>
                    <a:pt x="2461" y="1946"/>
                  </a:lnTo>
                  <a:lnTo>
                    <a:pt x="2461" y="1946"/>
                  </a:lnTo>
                  <a:lnTo>
                    <a:pt x="2461" y="1946"/>
                  </a:lnTo>
                  <a:lnTo>
                    <a:pt x="2461" y="1944"/>
                  </a:lnTo>
                  <a:lnTo>
                    <a:pt x="2461" y="1944"/>
                  </a:lnTo>
                  <a:lnTo>
                    <a:pt x="2459" y="1942"/>
                  </a:lnTo>
                  <a:lnTo>
                    <a:pt x="2459" y="1942"/>
                  </a:lnTo>
                  <a:lnTo>
                    <a:pt x="2461" y="1942"/>
                  </a:lnTo>
                  <a:lnTo>
                    <a:pt x="2461" y="1939"/>
                  </a:lnTo>
                  <a:lnTo>
                    <a:pt x="2461" y="1939"/>
                  </a:lnTo>
                  <a:lnTo>
                    <a:pt x="2461" y="1939"/>
                  </a:lnTo>
                  <a:lnTo>
                    <a:pt x="2459" y="1939"/>
                  </a:lnTo>
                  <a:lnTo>
                    <a:pt x="2459" y="1939"/>
                  </a:lnTo>
                  <a:lnTo>
                    <a:pt x="2456" y="1937"/>
                  </a:lnTo>
                  <a:lnTo>
                    <a:pt x="2456" y="1937"/>
                  </a:lnTo>
                  <a:lnTo>
                    <a:pt x="2456" y="1937"/>
                  </a:lnTo>
                  <a:lnTo>
                    <a:pt x="2456" y="1937"/>
                  </a:lnTo>
                  <a:lnTo>
                    <a:pt x="2456" y="1937"/>
                  </a:lnTo>
                  <a:lnTo>
                    <a:pt x="2459" y="1937"/>
                  </a:lnTo>
                  <a:lnTo>
                    <a:pt x="2459" y="1937"/>
                  </a:lnTo>
                  <a:lnTo>
                    <a:pt x="2459" y="1937"/>
                  </a:lnTo>
                  <a:lnTo>
                    <a:pt x="2461" y="1937"/>
                  </a:lnTo>
                  <a:lnTo>
                    <a:pt x="2464" y="1935"/>
                  </a:lnTo>
                  <a:lnTo>
                    <a:pt x="2466" y="1935"/>
                  </a:lnTo>
                  <a:lnTo>
                    <a:pt x="2466" y="1932"/>
                  </a:lnTo>
                  <a:lnTo>
                    <a:pt x="2466" y="1932"/>
                  </a:lnTo>
                  <a:lnTo>
                    <a:pt x="2466" y="1932"/>
                  </a:lnTo>
                  <a:lnTo>
                    <a:pt x="2464" y="1932"/>
                  </a:lnTo>
                  <a:lnTo>
                    <a:pt x="2464" y="1932"/>
                  </a:lnTo>
                  <a:lnTo>
                    <a:pt x="2464" y="1932"/>
                  </a:lnTo>
                  <a:lnTo>
                    <a:pt x="2464" y="1932"/>
                  </a:lnTo>
                  <a:lnTo>
                    <a:pt x="2464" y="1930"/>
                  </a:lnTo>
                  <a:lnTo>
                    <a:pt x="2466" y="1930"/>
                  </a:lnTo>
                  <a:lnTo>
                    <a:pt x="2471" y="1930"/>
                  </a:lnTo>
                  <a:lnTo>
                    <a:pt x="2475" y="1928"/>
                  </a:lnTo>
                  <a:lnTo>
                    <a:pt x="2475" y="1928"/>
                  </a:lnTo>
                  <a:lnTo>
                    <a:pt x="2478" y="1928"/>
                  </a:lnTo>
                  <a:lnTo>
                    <a:pt x="2478" y="1925"/>
                  </a:lnTo>
                  <a:lnTo>
                    <a:pt x="2478" y="1923"/>
                  </a:lnTo>
                  <a:lnTo>
                    <a:pt x="2478" y="1923"/>
                  </a:lnTo>
                  <a:lnTo>
                    <a:pt x="2480" y="1923"/>
                  </a:lnTo>
                  <a:lnTo>
                    <a:pt x="2480" y="1920"/>
                  </a:lnTo>
                  <a:lnTo>
                    <a:pt x="2482" y="1920"/>
                  </a:lnTo>
                  <a:lnTo>
                    <a:pt x="2485" y="1918"/>
                  </a:lnTo>
                  <a:lnTo>
                    <a:pt x="2485" y="1918"/>
                  </a:lnTo>
                  <a:lnTo>
                    <a:pt x="2485" y="1916"/>
                  </a:lnTo>
                  <a:lnTo>
                    <a:pt x="2487" y="1916"/>
                  </a:lnTo>
                  <a:lnTo>
                    <a:pt x="2487" y="1916"/>
                  </a:lnTo>
                  <a:lnTo>
                    <a:pt x="2487" y="1916"/>
                  </a:lnTo>
                  <a:lnTo>
                    <a:pt x="2490" y="1913"/>
                  </a:lnTo>
                  <a:lnTo>
                    <a:pt x="2490" y="1913"/>
                  </a:lnTo>
                  <a:lnTo>
                    <a:pt x="2490" y="1911"/>
                  </a:lnTo>
                  <a:lnTo>
                    <a:pt x="2485" y="1913"/>
                  </a:lnTo>
                  <a:lnTo>
                    <a:pt x="2485" y="1911"/>
                  </a:lnTo>
                  <a:lnTo>
                    <a:pt x="2490" y="1909"/>
                  </a:lnTo>
                  <a:lnTo>
                    <a:pt x="2494" y="1909"/>
                  </a:lnTo>
                  <a:lnTo>
                    <a:pt x="2497" y="1906"/>
                  </a:lnTo>
                  <a:lnTo>
                    <a:pt x="2497" y="1906"/>
                  </a:lnTo>
                  <a:lnTo>
                    <a:pt x="2499" y="1906"/>
                  </a:lnTo>
                  <a:lnTo>
                    <a:pt x="2499" y="1904"/>
                  </a:lnTo>
                  <a:lnTo>
                    <a:pt x="2499" y="1902"/>
                  </a:lnTo>
                  <a:lnTo>
                    <a:pt x="2499" y="1902"/>
                  </a:lnTo>
                  <a:lnTo>
                    <a:pt x="2499" y="1902"/>
                  </a:lnTo>
                  <a:lnTo>
                    <a:pt x="2499" y="1899"/>
                  </a:lnTo>
                  <a:lnTo>
                    <a:pt x="2501" y="1899"/>
                  </a:lnTo>
                  <a:lnTo>
                    <a:pt x="2501" y="1899"/>
                  </a:lnTo>
                  <a:lnTo>
                    <a:pt x="2501" y="1897"/>
                  </a:lnTo>
                  <a:lnTo>
                    <a:pt x="2501" y="1894"/>
                  </a:lnTo>
                  <a:lnTo>
                    <a:pt x="2501" y="1894"/>
                  </a:lnTo>
                  <a:lnTo>
                    <a:pt x="2501" y="1894"/>
                  </a:lnTo>
                  <a:lnTo>
                    <a:pt x="2501" y="1894"/>
                  </a:lnTo>
                  <a:lnTo>
                    <a:pt x="2501" y="1894"/>
                  </a:lnTo>
                  <a:lnTo>
                    <a:pt x="2499" y="1897"/>
                  </a:lnTo>
                  <a:lnTo>
                    <a:pt x="2499" y="1897"/>
                  </a:lnTo>
                  <a:lnTo>
                    <a:pt x="2499" y="1897"/>
                  </a:lnTo>
                  <a:lnTo>
                    <a:pt x="2499" y="1897"/>
                  </a:lnTo>
                  <a:lnTo>
                    <a:pt x="2499" y="1897"/>
                  </a:lnTo>
                  <a:lnTo>
                    <a:pt x="2499" y="1897"/>
                  </a:lnTo>
                  <a:lnTo>
                    <a:pt x="2497" y="1897"/>
                  </a:lnTo>
                  <a:lnTo>
                    <a:pt x="2497" y="1897"/>
                  </a:lnTo>
                  <a:lnTo>
                    <a:pt x="2497" y="1897"/>
                  </a:lnTo>
                  <a:lnTo>
                    <a:pt x="2497" y="1899"/>
                  </a:lnTo>
                  <a:lnTo>
                    <a:pt x="2494" y="1902"/>
                  </a:lnTo>
                  <a:lnTo>
                    <a:pt x="2494" y="1904"/>
                  </a:lnTo>
                  <a:lnTo>
                    <a:pt x="2494" y="1904"/>
                  </a:lnTo>
                  <a:lnTo>
                    <a:pt x="2492" y="1904"/>
                  </a:lnTo>
                  <a:lnTo>
                    <a:pt x="2492" y="1904"/>
                  </a:lnTo>
                  <a:lnTo>
                    <a:pt x="2490" y="1904"/>
                  </a:lnTo>
                  <a:lnTo>
                    <a:pt x="2487" y="1909"/>
                  </a:lnTo>
                  <a:lnTo>
                    <a:pt x="2482" y="1911"/>
                  </a:lnTo>
                  <a:lnTo>
                    <a:pt x="2478" y="1916"/>
                  </a:lnTo>
                  <a:lnTo>
                    <a:pt x="2473" y="1918"/>
                  </a:lnTo>
                  <a:lnTo>
                    <a:pt x="2471" y="1918"/>
                  </a:lnTo>
                  <a:lnTo>
                    <a:pt x="2471" y="1918"/>
                  </a:lnTo>
                  <a:lnTo>
                    <a:pt x="2471" y="1918"/>
                  </a:lnTo>
                  <a:lnTo>
                    <a:pt x="2471" y="1918"/>
                  </a:lnTo>
                  <a:lnTo>
                    <a:pt x="2471" y="1918"/>
                  </a:lnTo>
                  <a:lnTo>
                    <a:pt x="2468" y="1918"/>
                  </a:lnTo>
                  <a:lnTo>
                    <a:pt x="2468" y="1918"/>
                  </a:lnTo>
                  <a:lnTo>
                    <a:pt x="2468" y="1918"/>
                  </a:lnTo>
                  <a:lnTo>
                    <a:pt x="2468" y="1918"/>
                  </a:lnTo>
                  <a:lnTo>
                    <a:pt x="2468" y="1916"/>
                  </a:lnTo>
                  <a:lnTo>
                    <a:pt x="2471" y="1916"/>
                  </a:lnTo>
                  <a:lnTo>
                    <a:pt x="2473" y="1916"/>
                  </a:lnTo>
                  <a:lnTo>
                    <a:pt x="2473" y="1916"/>
                  </a:lnTo>
                  <a:lnTo>
                    <a:pt x="2478" y="1913"/>
                  </a:lnTo>
                  <a:lnTo>
                    <a:pt x="2478" y="1911"/>
                  </a:lnTo>
                  <a:lnTo>
                    <a:pt x="2480" y="1911"/>
                  </a:lnTo>
                  <a:lnTo>
                    <a:pt x="2480" y="1909"/>
                  </a:lnTo>
                  <a:lnTo>
                    <a:pt x="2480" y="1909"/>
                  </a:lnTo>
                  <a:lnTo>
                    <a:pt x="2485" y="1906"/>
                  </a:lnTo>
                  <a:lnTo>
                    <a:pt x="2487" y="1904"/>
                  </a:lnTo>
                  <a:lnTo>
                    <a:pt x="2492" y="1902"/>
                  </a:lnTo>
                  <a:lnTo>
                    <a:pt x="2494" y="1902"/>
                  </a:lnTo>
                  <a:lnTo>
                    <a:pt x="2497" y="1897"/>
                  </a:lnTo>
                  <a:lnTo>
                    <a:pt x="2499" y="1894"/>
                  </a:lnTo>
                  <a:lnTo>
                    <a:pt x="2501" y="1892"/>
                  </a:lnTo>
                  <a:lnTo>
                    <a:pt x="2504" y="1892"/>
                  </a:lnTo>
                  <a:lnTo>
                    <a:pt x="2506" y="1890"/>
                  </a:lnTo>
                  <a:lnTo>
                    <a:pt x="2506" y="1890"/>
                  </a:lnTo>
                  <a:lnTo>
                    <a:pt x="2506" y="1890"/>
                  </a:lnTo>
                  <a:lnTo>
                    <a:pt x="2504" y="1890"/>
                  </a:lnTo>
                  <a:lnTo>
                    <a:pt x="2504" y="1890"/>
                  </a:lnTo>
                  <a:lnTo>
                    <a:pt x="2504" y="1887"/>
                  </a:lnTo>
                  <a:lnTo>
                    <a:pt x="2506" y="1887"/>
                  </a:lnTo>
                  <a:lnTo>
                    <a:pt x="2506" y="1887"/>
                  </a:lnTo>
                  <a:lnTo>
                    <a:pt x="2506" y="1887"/>
                  </a:lnTo>
                  <a:lnTo>
                    <a:pt x="2509" y="1885"/>
                  </a:lnTo>
                  <a:lnTo>
                    <a:pt x="2509" y="1885"/>
                  </a:lnTo>
                  <a:lnTo>
                    <a:pt x="2506" y="1885"/>
                  </a:lnTo>
                  <a:lnTo>
                    <a:pt x="2504" y="1887"/>
                  </a:lnTo>
                  <a:lnTo>
                    <a:pt x="2504" y="1887"/>
                  </a:lnTo>
                  <a:lnTo>
                    <a:pt x="2504" y="1887"/>
                  </a:lnTo>
                  <a:lnTo>
                    <a:pt x="2504" y="1885"/>
                  </a:lnTo>
                  <a:lnTo>
                    <a:pt x="2504" y="1885"/>
                  </a:lnTo>
                  <a:lnTo>
                    <a:pt x="2513" y="1880"/>
                  </a:lnTo>
                  <a:lnTo>
                    <a:pt x="2513" y="1880"/>
                  </a:lnTo>
                  <a:lnTo>
                    <a:pt x="2513" y="1880"/>
                  </a:lnTo>
                  <a:lnTo>
                    <a:pt x="2513" y="1880"/>
                  </a:lnTo>
                  <a:lnTo>
                    <a:pt x="2513" y="1880"/>
                  </a:lnTo>
                  <a:lnTo>
                    <a:pt x="2513" y="1880"/>
                  </a:lnTo>
                  <a:lnTo>
                    <a:pt x="2513" y="1880"/>
                  </a:lnTo>
                  <a:lnTo>
                    <a:pt x="2516" y="1880"/>
                  </a:lnTo>
                  <a:lnTo>
                    <a:pt x="2516" y="1880"/>
                  </a:lnTo>
                  <a:lnTo>
                    <a:pt x="2516" y="1878"/>
                  </a:lnTo>
                  <a:lnTo>
                    <a:pt x="2516" y="1878"/>
                  </a:lnTo>
                  <a:lnTo>
                    <a:pt x="2516" y="1878"/>
                  </a:lnTo>
                  <a:lnTo>
                    <a:pt x="2516" y="1878"/>
                  </a:lnTo>
                  <a:lnTo>
                    <a:pt x="2520" y="1878"/>
                  </a:lnTo>
                  <a:lnTo>
                    <a:pt x="2520" y="1878"/>
                  </a:lnTo>
                  <a:lnTo>
                    <a:pt x="2520" y="1878"/>
                  </a:lnTo>
                  <a:lnTo>
                    <a:pt x="2523" y="1875"/>
                  </a:lnTo>
                  <a:lnTo>
                    <a:pt x="2523" y="1875"/>
                  </a:lnTo>
                  <a:lnTo>
                    <a:pt x="2523" y="1873"/>
                  </a:lnTo>
                  <a:lnTo>
                    <a:pt x="2523" y="1873"/>
                  </a:lnTo>
                  <a:lnTo>
                    <a:pt x="2523" y="1873"/>
                  </a:lnTo>
                  <a:lnTo>
                    <a:pt x="2523" y="1873"/>
                  </a:lnTo>
                  <a:lnTo>
                    <a:pt x="2523" y="1871"/>
                  </a:lnTo>
                  <a:lnTo>
                    <a:pt x="2523" y="1871"/>
                  </a:lnTo>
                  <a:lnTo>
                    <a:pt x="2525" y="1871"/>
                  </a:lnTo>
                  <a:lnTo>
                    <a:pt x="2525" y="1871"/>
                  </a:lnTo>
                  <a:lnTo>
                    <a:pt x="2525" y="1871"/>
                  </a:lnTo>
                  <a:lnTo>
                    <a:pt x="2525" y="1871"/>
                  </a:lnTo>
                  <a:lnTo>
                    <a:pt x="2525" y="1871"/>
                  </a:lnTo>
                  <a:lnTo>
                    <a:pt x="2523" y="1871"/>
                  </a:lnTo>
                  <a:lnTo>
                    <a:pt x="2518" y="1873"/>
                  </a:lnTo>
                  <a:lnTo>
                    <a:pt x="2516" y="1873"/>
                  </a:lnTo>
                  <a:lnTo>
                    <a:pt x="2518" y="1871"/>
                  </a:lnTo>
                  <a:lnTo>
                    <a:pt x="2525" y="1868"/>
                  </a:lnTo>
                  <a:lnTo>
                    <a:pt x="2525" y="1868"/>
                  </a:lnTo>
                  <a:lnTo>
                    <a:pt x="2525" y="1868"/>
                  </a:lnTo>
                  <a:lnTo>
                    <a:pt x="2525" y="1866"/>
                  </a:lnTo>
                  <a:lnTo>
                    <a:pt x="2525" y="1866"/>
                  </a:lnTo>
                  <a:lnTo>
                    <a:pt x="2525" y="1866"/>
                  </a:lnTo>
                  <a:lnTo>
                    <a:pt x="2523" y="1866"/>
                  </a:lnTo>
                  <a:lnTo>
                    <a:pt x="2523" y="1866"/>
                  </a:lnTo>
                  <a:lnTo>
                    <a:pt x="2523" y="1866"/>
                  </a:lnTo>
                  <a:lnTo>
                    <a:pt x="2525" y="1864"/>
                  </a:lnTo>
                  <a:lnTo>
                    <a:pt x="2525" y="1864"/>
                  </a:lnTo>
                  <a:lnTo>
                    <a:pt x="2525" y="1864"/>
                  </a:lnTo>
                  <a:lnTo>
                    <a:pt x="2525" y="1864"/>
                  </a:lnTo>
                  <a:lnTo>
                    <a:pt x="2525" y="1864"/>
                  </a:lnTo>
                  <a:lnTo>
                    <a:pt x="2525" y="1864"/>
                  </a:lnTo>
                  <a:lnTo>
                    <a:pt x="2525" y="1864"/>
                  </a:lnTo>
                  <a:lnTo>
                    <a:pt x="2525" y="1864"/>
                  </a:lnTo>
                  <a:lnTo>
                    <a:pt x="2525" y="1864"/>
                  </a:lnTo>
                  <a:lnTo>
                    <a:pt x="2523" y="1864"/>
                  </a:lnTo>
                  <a:lnTo>
                    <a:pt x="2523" y="1864"/>
                  </a:lnTo>
                  <a:lnTo>
                    <a:pt x="2523" y="1861"/>
                  </a:lnTo>
                  <a:lnTo>
                    <a:pt x="2523" y="1861"/>
                  </a:lnTo>
                  <a:lnTo>
                    <a:pt x="2523" y="1861"/>
                  </a:lnTo>
                  <a:lnTo>
                    <a:pt x="2523" y="1861"/>
                  </a:lnTo>
                  <a:lnTo>
                    <a:pt x="2520" y="1861"/>
                  </a:lnTo>
                  <a:lnTo>
                    <a:pt x="2520" y="1861"/>
                  </a:lnTo>
                  <a:lnTo>
                    <a:pt x="2520" y="1861"/>
                  </a:lnTo>
                  <a:lnTo>
                    <a:pt x="2518" y="1861"/>
                  </a:lnTo>
                  <a:lnTo>
                    <a:pt x="2518" y="1861"/>
                  </a:lnTo>
                  <a:lnTo>
                    <a:pt x="2518" y="1861"/>
                  </a:lnTo>
                  <a:lnTo>
                    <a:pt x="2518" y="1864"/>
                  </a:lnTo>
                  <a:lnTo>
                    <a:pt x="2518" y="1864"/>
                  </a:lnTo>
                  <a:lnTo>
                    <a:pt x="2518" y="1864"/>
                  </a:lnTo>
                  <a:lnTo>
                    <a:pt x="2516" y="1864"/>
                  </a:lnTo>
                  <a:lnTo>
                    <a:pt x="2516" y="1864"/>
                  </a:lnTo>
                  <a:lnTo>
                    <a:pt x="2513" y="1864"/>
                  </a:lnTo>
                  <a:lnTo>
                    <a:pt x="2513" y="1864"/>
                  </a:lnTo>
                  <a:lnTo>
                    <a:pt x="2511" y="1864"/>
                  </a:lnTo>
                  <a:lnTo>
                    <a:pt x="2511" y="1864"/>
                  </a:lnTo>
                  <a:lnTo>
                    <a:pt x="2511" y="1861"/>
                  </a:lnTo>
                  <a:lnTo>
                    <a:pt x="2511" y="1861"/>
                  </a:lnTo>
                  <a:lnTo>
                    <a:pt x="2511" y="1861"/>
                  </a:lnTo>
                  <a:lnTo>
                    <a:pt x="2511" y="1864"/>
                  </a:lnTo>
                  <a:lnTo>
                    <a:pt x="2511" y="1864"/>
                  </a:lnTo>
                  <a:lnTo>
                    <a:pt x="2511" y="1864"/>
                  </a:lnTo>
                  <a:lnTo>
                    <a:pt x="2511" y="1864"/>
                  </a:lnTo>
                  <a:lnTo>
                    <a:pt x="2511" y="1864"/>
                  </a:lnTo>
                  <a:lnTo>
                    <a:pt x="2511" y="1864"/>
                  </a:lnTo>
                  <a:lnTo>
                    <a:pt x="2511" y="1864"/>
                  </a:lnTo>
                  <a:lnTo>
                    <a:pt x="2509" y="1864"/>
                  </a:lnTo>
                  <a:lnTo>
                    <a:pt x="2509" y="1864"/>
                  </a:lnTo>
                  <a:lnTo>
                    <a:pt x="2506" y="1861"/>
                  </a:lnTo>
                  <a:lnTo>
                    <a:pt x="2506" y="1861"/>
                  </a:lnTo>
                  <a:lnTo>
                    <a:pt x="2504" y="1861"/>
                  </a:lnTo>
                  <a:lnTo>
                    <a:pt x="2504" y="1864"/>
                  </a:lnTo>
                  <a:lnTo>
                    <a:pt x="2504" y="1864"/>
                  </a:lnTo>
                  <a:lnTo>
                    <a:pt x="2504" y="1864"/>
                  </a:lnTo>
                  <a:lnTo>
                    <a:pt x="2501" y="1864"/>
                  </a:lnTo>
                  <a:lnTo>
                    <a:pt x="2501" y="1864"/>
                  </a:lnTo>
                  <a:lnTo>
                    <a:pt x="2501" y="1864"/>
                  </a:lnTo>
                  <a:lnTo>
                    <a:pt x="2499" y="1864"/>
                  </a:lnTo>
                  <a:lnTo>
                    <a:pt x="2497" y="1864"/>
                  </a:lnTo>
                  <a:lnTo>
                    <a:pt x="2497" y="1864"/>
                  </a:lnTo>
                  <a:lnTo>
                    <a:pt x="2497" y="1864"/>
                  </a:lnTo>
                  <a:lnTo>
                    <a:pt x="2497" y="1864"/>
                  </a:lnTo>
                  <a:lnTo>
                    <a:pt x="2497" y="1864"/>
                  </a:lnTo>
                  <a:lnTo>
                    <a:pt x="2497" y="1864"/>
                  </a:lnTo>
                  <a:lnTo>
                    <a:pt x="2497" y="1864"/>
                  </a:lnTo>
                  <a:lnTo>
                    <a:pt x="2494" y="1861"/>
                  </a:lnTo>
                  <a:lnTo>
                    <a:pt x="2494" y="1861"/>
                  </a:lnTo>
                  <a:lnTo>
                    <a:pt x="2490" y="1864"/>
                  </a:lnTo>
                  <a:lnTo>
                    <a:pt x="2490" y="1866"/>
                  </a:lnTo>
                  <a:lnTo>
                    <a:pt x="2490" y="1866"/>
                  </a:lnTo>
                  <a:lnTo>
                    <a:pt x="2490" y="1866"/>
                  </a:lnTo>
                  <a:lnTo>
                    <a:pt x="2490" y="1866"/>
                  </a:lnTo>
                  <a:lnTo>
                    <a:pt x="2490" y="1868"/>
                  </a:lnTo>
                  <a:lnTo>
                    <a:pt x="2490" y="1868"/>
                  </a:lnTo>
                  <a:lnTo>
                    <a:pt x="2490" y="1868"/>
                  </a:lnTo>
                  <a:lnTo>
                    <a:pt x="2490" y="1866"/>
                  </a:lnTo>
                  <a:lnTo>
                    <a:pt x="2487" y="1866"/>
                  </a:lnTo>
                  <a:lnTo>
                    <a:pt x="2487" y="1866"/>
                  </a:lnTo>
                  <a:lnTo>
                    <a:pt x="2485" y="1866"/>
                  </a:lnTo>
                  <a:lnTo>
                    <a:pt x="2485" y="1868"/>
                  </a:lnTo>
                  <a:lnTo>
                    <a:pt x="2485" y="1868"/>
                  </a:lnTo>
                  <a:lnTo>
                    <a:pt x="2485" y="1868"/>
                  </a:lnTo>
                  <a:lnTo>
                    <a:pt x="2485" y="1866"/>
                  </a:lnTo>
                  <a:lnTo>
                    <a:pt x="2485" y="1866"/>
                  </a:lnTo>
                  <a:lnTo>
                    <a:pt x="2482" y="1866"/>
                  </a:lnTo>
                  <a:lnTo>
                    <a:pt x="2480" y="1866"/>
                  </a:lnTo>
                  <a:lnTo>
                    <a:pt x="2480" y="1866"/>
                  </a:lnTo>
                  <a:lnTo>
                    <a:pt x="2480" y="1866"/>
                  </a:lnTo>
                  <a:lnTo>
                    <a:pt x="2480" y="1866"/>
                  </a:lnTo>
                  <a:lnTo>
                    <a:pt x="2478" y="1866"/>
                  </a:lnTo>
                  <a:lnTo>
                    <a:pt x="2478" y="1866"/>
                  </a:lnTo>
                  <a:lnTo>
                    <a:pt x="2478" y="1868"/>
                  </a:lnTo>
                  <a:lnTo>
                    <a:pt x="2478" y="1868"/>
                  </a:lnTo>
                  <a:lnTo>
                    <a:pt x="2478" y="1868"/>
                  </a:lnTo>
                  <a:lnTo>
                    <a:pt x="2478" y="1868"/>
                  </a:lnTo>
                  <a:lnTo>
                    <a:pt x="2478" y="1866"/>
                  </a:lnTo>
                  <a:lnTo>
                    <a:pt x="2478" y="1866"/>
                  </a:lnTo>
                  <a:lnTo>
                    <a:pt x="2478" y="1866"/>
                  </a:lnTo>
                  <a:lnTo>
                    <a:pt x="2475" y="1866"/>
                  </a:lnTo>
                  <a:lnTo>
                    <a:pt x="2475" y="1866"/>
                  </a:lnTo>
                  <a:lnTo>
                    <a:pt x="2475" y="1866"/>
                  </a:lnTo>
                  <a:lnTo>
                    <a:pt x="2475" y="1868"/>
                  </a:lnTo>
                  <a:lnTo>
                    <a:pt x="2475" y="1868"/>
                  </a:lnTo>
                  <a:lnTo>
                    <a:pt x="2473" y="1868"/>
                  </a:lnTo>
                  <a:lnTo>
                    <a:pt x="2473" y="1868"/>
                  </a:lnTo>
                  <a:lnTo>
                    <a:pt x="2473" y="1868"/>
                  </a:lnTo>
                  <a:lnTo>
                    <a:pt x="2473" y="1868"/>
                  </a:lnTo>
                  <a:lnTo>
                    <a:pt x="2473" y="1866"/>
                  </a:lnTo>
                  <a:lnTo>
                    <a:pt x="2473" y="1866"/>
                  </a:lnTo>
                  <a:lnTo>
                    <a:pt x="2473" y="1866"/>
                  </a:lnTo>
                  <a:lnTo>
                    <a:pt x="2473" y="1866"/>
                  </a:lnTo>
                  <a:lnTo>
                    <a:pt x="2473" y="1864"/>
                  </a:lnTo>
                  <a:lnTo>
                    <a:pt x="2471" y="1864"/>
                  </a:lnTo>
                  <a:lnTo>
                    <a:pt x="2471" y="1864"/>
                  </a:lnTo>
                  <a:lnTo>
                    <a:pt x="2471" y="1864"/>
                  </a:lnTo>
                  <a:lnTo>
                    <a:pt x="2471" y="1866"/>
                  </a:lnTo>
                  <a:lnTo>
                    <a:pt x="2471" y="1866"/>
                  </a:lnTo>
                  <a:lnTo>
                    <a:pt x="2471" y="1866"/>
                  </a:lnTo>
                  <a:lnTo>
                    <a:pt x="2471" y="1866"/>
                  </a:lnTo>
                  <a:lnTo>
                    <a:pt x="2471" y="1866"/>
                  </a:lnTo>
                  <a:lnTo>
                    <a:pt x="2468" y="1866"/>
                  </a:lnTo>
                  <a:lnTo>
                    <a:pt x="2468" y="1866"/>
                  </a:lnTo>
                  <a:lnTo>
                    <a:pt x="2468" y="1866"/>
                  </a:lnTo>
                  <a:lnTo>
                    <a:pt x="2471" y="1864"/>
                  </a:lnTo>
                  <a:lnTo>
                    <a:pt x="2468" y="1864"/>
                  </a:lnTo>
                  <a:lnTo>
                    <a:pt x="2471" y="1864"/>
                  </a:lnTo>
                  <a:lnTo>
                    <a:pt x="2471" y="1864"/>
                  </a:lnTo>
                  <a:lnTo>
                    <a:pt x="2471" y="1861"/>
                  </a:lnTo>
                  <a:lnTo>
                    <a:pt x="2471" y="1861"/>
                  </a:lnTo>
                  <a:lnTo>
                    <a:pt x="2468" y="1861"/>
                  </a:lnTo>
                  <a:lnTo>
                    <a:pt x="2468" y="1861"/>
                  </a:lnTo>
                  <a:lnTo>
                    <a:pt x="2468" y="1861"/>
                  </a:lnTo>
                  <a:lnTo>
                    <a:pt x="2468" y="1861"/>
                  </a:lnTo>
                  <a:lnTo>
                    <a:pt x="2468" y="1861"/>
                  </a:lnTo>
                  <a:lnTo>
                    <a:pt x="2468" y="1861"/>
                  </a:lnTo>
                  <a:lnTo>
                    <a:pt x="2468" y="1861"/>
                  </a:lnTo>
                  <a:lnTo>
                    <a:pt x="2466" y="1859"/>
                  </a:lnTo>
                  <a:lnTo>
                    <a:pt x="2466" y="1859"/>
                  </a:lnTo>
                  <a:lnTo>
                    <a:pt x="2466" y="1861"/>
                  </a:lnTo>
                  <a:lnTo>
                    <a:pt x="2466" y="1861"/>
                  </a:lnTo>
                  <a:lnTo>
                    <a:pt x="2466" y="1861"/>
                  </a:lnTo>
                  <a:lnTo>
                    <a:pt x="2466" y="1861"/>
                  </a:lnTo>
                  <a:lnTo>
                    <a:pt x="2466" y="1861"/>
                  </a:lnTo>
                  <a:lnTo>
                    <a:pt x="2466" y="1861"/>
                  </a:lnTo>
                  <a:lnTo>
                    <a:pt x="2466" y="1861"/>
                  </a:lnTo>
                  <a:lnTo>
                    <a:pt x="2466" y="1861"/>
                  </a:lnTo>
                  <a:lnTo>
                    <a:pt x="2466" y="1857"/>
                  </a:lnTo>
                  <a:lnTo>
                    <a:pt x="2466" y="1854"/>
                  </a:lnTo>
                  <a:lnTo>
                    <a:pt x="2466" y="1854"/>
                  </a:lnTo>
                  <a:lnTo>
                    <a:pt x="2466" y="1854"/>
                  </a:lnTo>
                  <a:lnTo>
                    <a:pt x="2466" y="1854"/>
                  </a:lnTo>
                  <a:lnTo>
                    <a:pt x="2466" y="1854"/>
                  </a:lnTo>
                  <a:lnTo>
                    <a:pt x="2464" y="1854"/>
                  </a:lnTo>
                  <a:lnTo>
                    <a:pt x="2464" y="1854"/>
                  </a:lnTo>
                  <a:lnTo>
                    <a:pt x="2464" y="1854"/>
                  </a:lnTo>
                  <a:lnTo>
                    <a:pt x="2464" y="1854"/>
                  </a:lnTo>
                  <a:lnTo>
                    <a:pt x="2464" y="1854"/>
                  </a:lnTo>
                  <a:lnTo>
                    <a:pt x="2464" y="1854"/>
                  </a:lnTo>
                  <a:lnTo>
                    <a:pt x="2461" y="1854"/>
                  </a:lnTo>
                  <a:lnTo>
                    <a:pt x="2461" y="1854"/>
                  </a:lnTo>
                  <a:lnTo>
                    <a:pt x="2461" y="1854"/>
                  </a:lnTo>
                  <a:lnTo>
                    <a:pt x="2464" y="1857"/>
                  </a:lnTo>
                  <a:lnTo>
                    <a:pt x="2464" y="1857"/>
                  </a:lnTo>
                  <a:lnTo>
                    <a:pt x="2461" y="1859"/>
                  </a:lnTo>
                  <a:lnTo>
                    <a:pt x="2461" y="1857"/>
                  </a:lnTo>
                  <a:lnTo>
                    <a:pt x="2461" y="1857"/>
                  </a:lnTo>
                  <a:lnTo>
                    <a:pt x="2461" y="1857"/>
                  </a:lnTo>
                  <a:lnTo>
                    <a:pt x="2461" y="1857"/>
                  </a:lnTo>
                  <a:lnTo>
                    <a:pt x="2461" y="1857"/>
                  </a:lnTo>
                  <a:lnTo>
                    <a:pt x="2461" y="1857"/>
                  </a:lnTo>
                  <a:lnTo>
                    <a:pt x="2461" y="1857"/>
                  </a:lnTo>
                  <a:lnTo>
                    <a:pt x="2461" y="1859"/>
                  </a:lnTo>
                  <a:lnTo>
                    <a:pt x="2461" y="1859"/>
                  </a:lnTo>
                  <a:lnTo>
                    <a:pt x="2461" y="1859"/>
                  </a:lnTo>
                  <a:lnTo>
                    <a:pt x="2461" y="1859"/>
                  </a:lnTo>
                  <a:lnTo>
                    <a:pt x="2459" y="1859"/>
                  </a:lnTo>
                  <a:lnTo>
                    <a:pt x="2459" y="1859"/>
                  </a:lnTo>
                  <a:lnTo>
                    <a:pt x="2459" y="1861"/>
                  </a:lnTo>
                  <a:lnTo>
                    <a:pt x="2459" y="1861"/>
                  </a:lnTo>
                  <a:lnTo>
                    <a:pt x="2459" y="1861"/>
                  </a:lnTo>
                  <a:lnTo>
                    <a:pt x="2459" y="1861"/>
                  </a:lnTo>
                  <a:lnTo>
                    <a:pt x="2459" y="1861"/>
                  </a:lnTo>
                  <a:lnTo>
                    <a:pt x="2459" y="1864"/>
                  </a:lnTo>
                  <a:lnTo>
                    <a:pt x="2459" y="1864"/>
                  </a:lnTo>
                  <a:lnTo>
                    <a:pt x="2456" y="1864"/>
                  </a:lnTo>
                  <a:lnTo>
                    <a:pt x="2456" y="1864"/>
                  </a:lnTo>
                  <a:lnTo>
                    <a:pt x="2456" y="1866"/>
                  </a:lnTo>
                  <a:lnTo>
                    <a:pt x="2456" y="1866"/>
                  </a:lnTo>
                  <a:lnTo>
                    <a:pt x="2456" y="1866"/>
                  </a:lnTo>
                  <a:lnTo>
                    <a:pt x="2456" y="1866"/>
                  </a:lnTo>
                  <a:lnTo>
                    <a:pt x="2456" y="1866"/>
                  </a:lnTo>
                  <a:lnTo>
                    <a:pt x="2456" y="1864"/>
                  </a:lnTo>
                  <a:lnTo>
                    <a:pt x="2456" y="1861"/>
                  </a:lnTo>
                  <a:lnTo>
                    <a:pt x="2456" y="1861"/>
                  </a:lnTo>
                  <a:lnTo>
                    <a:pt x="2456" y="1861"/>
                  </a:lnTo>
                  <a:lnTo>
                    <a:pt x="2456" y="1859"/>
                  </a:lnTo>
                  <a:lnTo>
                    <a:pt x="2456" y="1859"/>
                  </a:lnTo>
                  <a:lnTo>
                    <a:pt x="2459" y="1859"/>
                  </a:lnTo>
                  <a:lnTo>
                    <a:pt x="2459" y="1857"/>
                  </a:lnTo>
                  <a:lnTo>
                    <a:pt x="2459" y="1854"/>
                  </a:lnTo>
                  <a:lnTo>
                    <a:pt x="2459" y="1852"/>
                  </a:lnTo>
                  <a:lnTo>
                    <a:pt x="2459" y="1852"/>
                  </a:lnTo>
                  <a:lnTo>
                    <a:pt x="2459" y="1852"/>
                  </a:lnTo>
                  <a:lnTo>
                    <a:pt x="2456" y="1849"/>
                  </a:lnTo>
                  <a:lnTo>
                    <a:pt x="2456" y="1852"/>
                  </a:lnTo>
                  <a:lnTo>
                    <a:pt x="2456" y="1854"/>
                  </a:lnTo>
                  <a:lnTo>
                    <a:pt x="2456" y="1854"/>
                  </a:lnTo>
                  <a:lnTo>
                    <a:pt x="2456" y="1854"/>
                  </a:lnTo>
                  <a:lnTo>
                    <a:pt x="2456" y="1854"/>
                  </a:lnTo>
                  <a:lnTo>
                    <a:pt x="2456" y="1854"/>
                  </a:lnTo>
                  <a:lnTo>
                    <a:pt x="2456" y="1854"/>
                  </a:lnTo>
                  <a:lnTo>
                    <a:pt x="2456" y="1852"/>
                  </a:lnTo>
                  <a:lnTo>
                    <a:pt x="2456" y="1852"/>
                  </a:lnTo>
                  <a:lnTo>
                    <a:pt x="2456" y="1852"/>
                  </a:lnTo>
                  <a:lnTo>
                    <a:pt x="2454" y="1852"/>
                  </a:lnTo>
                  <a:lnTo>
                    <a:pt x="2454" y="1854"/>
                  </a:lnTo>
                  <a:lnTo>
                    <a:pt x="2454" y="1854"/>
                  </a:lnTo>
                  <a:lnTo>
                    <a:pt x="2454" y="1854"/>
                  </a:lnTo>
                  <a:lnTo>
                    <a:pt x="2454" y="1854"/>
                  </a:lnTo>
                  <a:lnTo>
                    <a:pt x="2454" y="1854"/>
                  </a:lnTo>
                  <a:lnTo>
                    <a:pt x="2454" y="1857"/>
                  </a:lnTo>
                  <a:lnTo>
                    <a:pt x="2454" y="1857"/>
                  </a:lnTo>
                  <a:lnTo>
                    <a:pt x="2454" y="1857"/>
                  </a:lnTo>
                  <a:lnTo>
                    <a:pt x="2454" y="1861"/>
                  </a:lnTo>
                  <a:lnTo>
                    <a:pt x="2454" y="1864"/>
                  </a:lnTo>
                  <a:lnTo>
                    <a:pt x="2454" y="1864"/>
                  </a:lnTo>
                  <a:lnTo>
                    <a:pt x="2454" y="1864"/>
                  </a:lnTo>
                  <a:lnTo>
                    <a:pt x="2452" y="1864"/>
                  </a:lnTo>
                  <a:lnTo>
                    <a:pt x="2452" y="1864"/>
                  </a:lnTo>
                  <a:lnTo>
                    <a:pt x="2449" y="1871"/>
                  </a:lnTo>
                  <a:lnTo>
                    <a:pt x="2447" y="1873"/>
                  </a:lnTo>
                  <a:lnTo>
                    <a:pt x="2447" y="1873"/>
                  </a:lnTo>
                  <a:lnTo>
                    <a:pt x="2447" y="1873"/>
                  </a:lnTo>
                  <a:lnTo>
                    <a:pt x="2447" y="1875"/>
                  </a:lnTo>
                  <a:lnTo>
                    <a:pt x="2447" y="1875"/>
                  </a:lnTo>
                  <a:lnTo>
                    <a:pt x="2447" y="1875"/>
                  </a:lnTo>
                  <a:lnTo>
                    <a:pt x="2445" y="1878"/>
                  </a:lnTo>
                  <a:lnTo>
                    <a:pt x="2447" y="1878"/>
                  </a:lnTo>
                  <a:lnTo>
                    <a:pt x="2447" y="1880"/>
                  </a:lnTo>
                  <a:lnTo>
                    <a:pt x="2447" y="1880"/>
                  </a:lnTo>
                  <a:lnTo>
                    <a:pt x="2447" y="1880"/>
                  </a:lnTo>
                  <a:lnTo>
                    <a:pt x="2447" y="1883"/>
                  </a:lnTo>
                  <a:lnTo>
                    <a:pt x="2447" y="1883"/>
                  </a:lnTo>
                  <a:lnTo>
                    <a:pt x="2447" y="1883"/>
                  </a:lnTo>
                  <a:lnTo>
                    <a:pt x="2445" y="1885"/>
                  </a:lnTo>
                  <a:lnTo>
                    <a:pt x="2445" y="1885"/>
                  </a:lnTo>
                  <a:lnTo>
                    <a:pt x="2445" y="1885"/>
                  </a:lnTo>
                  <a:lnTo>
                    <a:pt x="2442" y="1885"/>
                  </a:lnTo>
                  <a:lnTo>
                    <a:pt x="2445" y="1883"/>
                  </a:lnTo>
                  <a:lnTo>
                    <a:pt x="2445" y="1880"/>
                  </a:lnTo>
                  <a:lnTo>
                    <a:pt x="2445" y="1880"/>
                  </a:lnTo>
                  <a:lnTo>
                    <a:pt x="2445" y="1880"/>
                  </a:lnTo>
                  <a:lnTo>
                    <a:pt x="2445" y="1878"/>
                  </a:lnTo>
                  <a:lnTo>
                    <a:pt x="2445" y="1878"/>
                  </a:lnTo>
                  <a:lnTo>
                    <a:pt x="2445" y="1878"/>
                  </a:lnTo>
                  <a:lnTo>
                    <a:pt x="2445" y="1878"/>
                  </a:lnTo>
                  <a:lnTo>
                    <a:pt x="2445" y="1880"/>
                  </a:lnTo>
                  <a:lnTo>
                    <a:pt x="2445" y="1878"/>
                  </a:lnTo>
                  <a:lnTo>
                    <a:pt x="2445" y="1878"/>
                  </a:lnTo>
                  <a:lnTo>
                    <a:pt x="2445" y="1875"/>
                  </a:lnTo>
                  <a:lnTo>
                    <a:pt x="2445" y="1875"/>
                  </a:lnTo>
                  <a:lnTo>
                    <a:pt x="2445" y="1873"/>
                  </a:lnTo>
                  <a:lnTo>
                    <a:pt x="2447" y="1873"/>
                  </a:lnTo>
                  <a:lnTo>
                    <a:pt x="2447" y="1871"/>
                  </a:lnTo>
                  <a:lnTo>
                    <a:pt x="2445" y="1871"/>
                  </a:lnTo>
                  <a:lnTo>
                    <a:pt x="2445" y="1871"/>
                  </a:lnTo>
                  <a:lnTo>
                    <a:pt x="2447" y="1871"/>
                  </a:lnTo>
                  <a:lnTo>
                    <a:pt x="2447" y="1868"/>
                  </a:lnTo>
                  <a:lnTo>
                    <a:pt x="2447" y="1868"/>
                  </a:lnTo>
                  <a:lnTo>
                    <a:pt x="2447" y="1868"/>
                  </a:lnTo>
                  <a:lnTo>
                    <a:pt x="2447" y="1868"/>
                  </a:lnTo>
                  <a:lnTo>
                    <a:pt x="2447" y="1868"/>
                  </a:lnTo>
                  <a:lnTo>
                    <a:pt x="2447" y="1868"/>
                  </a:lnTo>
                  <a:lnTo>
                    <a:pt x="2449" y="1866"/>
                  </a:lnTo>
                  <a:lnTo>
                    <a:pt x="2449" y="1866"/>
                  </a:lnTo>
                  <a:lnTo>
                    <a:pt x="2449" y="1866"/>
                  </a:lnTo>
                  <a:lnTo>
                    <a:pt x="2449" y="1864"/>
                  </a:lnTo>
                  <a:lnTo>
                    <a:pt x="2449" y="1866"/>
                  </a:lnTo>
                  <a:lnTo>
                    <a:pt x="2449" y="1864"/>
                  </a:lnTo>
                  <a:lnTo>
                    <a:pt x="2449" y="1864"/>
                  </a:lnTo>
                  <a:lnTo>
                    <a:pt x="2449" y="1861"/>
                  </a:lnTo>
                  <a:lnTo>
                    <a:pt x="2449" y="1861"/>
                  </a:lnTo>
                  <a:lnTo>
                    <a:pt x="2452" y="1861"/>
                  </a:lnTo>
                  <a:lnTo>
                    <a:pt x="2452" y="1859"/>
                  </a:lnTo>
                  <a:lnTo>
                    <a:pt x="2452" y="1859"/>
                  </a:lnTo>
                  <a:lnTo>
                    <a:pt x="2449" y="1859"/>
                  </a:lnTo>
                  <a:lnTo>
                    <a:pt x="2449" y="1859"/>
                  </a:lnTo>
                  <a:lnTo>
                    <a:pt x="2449" y="1859"/>
                  </a:lnTo>
                  <a:lnTo>
                    <a:pt x="2449" y="1859"/>
                  </a:lnTo>
                  <a:lnTo>
                    <a:pt x="2449" y="1857"/>
                  </a:lnTo>
                  <a:lnTo>
                    <a:pt x="2449" y="1857"/>
                  </a:lnTo>
                  <a:lnTo>
                    <a:pt x="2447" y="1857"/>
                  </a:lnTo>
                  <a:lnTo>
                    <a:pt x="2447" y="1857"/>
                  </a:lnTo>
                  <a:lnTo>
                    <a:pt x="2447" y="1857"/>
                  </a:lnTo>
                  <a:lnTo>
                    <a:pt x="2447" y="1857"/>
                  </a:lnTo>
                  <a:lnTo>
                    <a:pt x="2447" y="1859"/>
                  </a:lnTo>
                  <a:lnTo>
                    <a:pt x="2447" y="1859"/>
                  </a:lnTo>
                  <a:lnTo>
                    <a:pt x="2447" y="1859"/>
                  </a:lnTo>
                  <a:lnTo>
                    <a:pt x="2447" y="1861"/>
                  </a:lnTo>
                  <a:lnTo>
                    <a:pt x="2445" y="1861"/>
                  </a:lnTo>
                  <a:lnTo>
                    <a:pt x="2445" y="1861"/>
                  </a:lnTo>
                  <a:lnTo>
                    <a:pt x="2445" y="1861"/>
                  </a:lnTo>
                  <a:lnTo>
                    <a:pt x="2445" y="1861"/>
                  </a:lnTo>
                  <a:lnTo>
                    <a:pt x="2445" y="1861"/>
                  </a:lnTo>
                  <a:lnTo>
                    <a:pt x="2445" y="1861"/>
                  </a:lnTo>
                  <a:lnTo>
                    <a:pt x="2442" y="1861"/>
                  </a:lnTo>
                  <a:lnTo>
                    <a:pt x="2442" y="1861"/>
                  </a:lnTo>
                  <a:lnTo>
                    <a:pt x="2442" y="1864"/>
                  </a:lnTo>
                  <a:lnTo>
                    <a:pt x="2440" y="1864"/>
                  </a:lnTo>
                  <a:lnTo>
                    <a:pt x="2440" y="1864"/>
                  </a:lnTo>
                  <a:lnTo>
                    <a:pt x="2438" y="1866"/>
                  </a:lnTo>
                  <a:lnTo>
                    <a:pt x="2438" y="1864"/>
                  </a:lnTo>
                  <a:lnTo>
                    <a:pt x="2438" y="1864"/>
                  </a:lnTo>
                  <a:lnTo>
                    <a:pt x="2438" y="1864"/>
                  </a:lnTo>
                  <a:lnTo>
                    <a:pt x="2438" y="1864"/>
                  </a:lnTo>
                  <a:lnTo>
                    <a:pt x="2438" y="1864"/>
                  </a:lnTo>
                  <a:lnTo>
                    <a:pt x="2438" y="1864"/>
                  </a:lnTo>
                  <a:lnTo>
                    <a:pt x="2438" y="1864"/>
                  </a:lnTo>
                  <a:lnTo>
                    <a:pt x="2435" y="1866"/>
                  </a:lnTo>
                  <a:lnTo>
                    <a:pt x="2435" y="1866"/>
                  </a:lnTo>
                  <a:lnTo>
                    <a:pt x="2435" y="1866"/>
                  </a:lnTo>
                  <a:lnTo>
                    <a:pt x="2435" y="1866"/>
                  </a:lnTo>
                  <a:lnTo>
                    <a:pt x="2435" y="1864"/>
                  </a:lnTo>
                  <a:lnTo>
                    <a:pt x="2435" y="1864"/>
                  </a:lnTo>
                  <a:lnTo>
                    <a:pt x="2435" y="1864"/>
                  </a:lnTo>
                  <a:lnTo>
                    <a:pt x="2435" y="1864"/>
                  </a:lnTo>
                  <a:lnTo>
                    <a:pt x="2438" y="1864"/>
                  </a:lnTo>
                  <a:lnTo>
                    <a:pt x="2438" y="1864"/>
                  </a:lnTo>
                  <a:lnTo>
                    <a:pt x="2438" y="1861"/>
                  </a:lnTo>
                  <a:lnTo>
                    <a:pt x="2440" y="1861"/>
                  </a:lnTo>
                  <a:lnTo>
                    <a:pt x="2440" y="1861"/>
                  </a:lnTo>
                  <a:lnTo>
                    <a:pt x="2440" y="1861"/>
                  </a:lnTo>
                  <a:lnTo>
                    <a:pt x="2440" y="1861"/>
                  </a:lnTo>
                  <a:lnTo>
                    <a:pt x="2440" y="1859"/>
                  </a:lnTo>
                  <a:lnTo>
                    <a:pt x="2440" y="1859"/>
                  </a:lnTo>
                  <a:lnTo>
                    <a:pt x="2440" y="1859"/>
                  </a:lnTo>
                  <a:lnTo>
                    <a:pt x="2440" y="1859"/>
                  </a:lnTo>
                  <a:lnTo>
                    <a:pt x="2440" y="1859"/>
                  </a:lnTo>
                  <a:lnTo>
                    <a:pt x="2440" y="1859"/>
                  </a:lnTo>
                  <a:lnTo>
                    <a:pt x="2440" y="1859"/>
                  </a:lnTo>
                  <a:lnTo>
                    <a:pt x="2440" y="1859"/>
                  </a:lnTo>
                  <a:lnTo>
                    <a:pt x="2440" y="1859"/>
                  </a:lnTo>
                  <a:lnTo>
                    <a:pt x="2440" y="1857"/>
                  </a:lnTo>
                  <a:lnTo>
                    <a:pt x="2440" y="1857"/>
                  </a:lnTo>
                  <a:lnTo>
                    <a:pt x="2440" y="1857"/>
                  </a:lnTo>
                  <a:lnTo>
                    <a:pt x="2440" y="1854"/>
                  </a:lnTo>
                  <a:lnTo>
                    <a:pt x="2440" y="1854"/>
                  </a:lnTo>
                  <a:lnTo>
                    <a:pt x="2440" y="1857"/>
                  </a:lnTo>
                  <a:lnTo>
                    <a:pt x="2440" y="1854"/>
                  </a:lnTo>
                  <a:lnTo>
                    <a:pt x="2438" y="1854"/>
                  </a:lnTo>
                  <a:lnTo>
                    <a:pt x="2438" y="1854"/>
                  </a:lnTo>
                  <a:lnTo>
                    <a:pt x="2438" y="1854"/>
                  </a:lnTo>
                  <a:lnTo>
                    <a:pt x="2438" y="1854"/>
                  </a:lnTo>
                  <a:lnTo>
                    <a:pt x="2438" y="1854"/>
                  </a:lnTo>
                  <a:lnTo>
                    <a:pt x="2438" y="1854"/>
                  </a:lnTo>
                  <a:lnTo>
                    <a:pt x="2438" y="1852"/>
                  </a:lnTo>
                  <a:lnTo>
                    <a:pt x="2438" y="1854"/>
                  </a:lnTo>
                  <a:lnTo>
                    <a:pt x="2435" y="1854"/>
                  </a:lnTo>
                  <a:lnTo>
                    <a:pt x="2435" y="1854"/>
                  </a:lnTo>
                  <a:lnTo>
                    <a:pt x="2435" y="1857"/>
                  </a:lnTo>
                  <a:lnTo>
                    <a:pt x="2435" y="1857"/>
                  </a:lnTo>
                  <a:lnTo>
                    <a:pt x="2435" y="1857"/>
                  </a:lnTo>
                  <a:lnTo>
                    <a:pt x="2435" y="1857"/>
                  </a:lnTo>
                  <a:lnTo>
                    <a:pt x="2435" y="1857"/>
                  </a:lnTo>
                  <a:lnTo>
                    <a:pt x="2435" y="1857"/>
                  </a:lnTo>
                  <a:lnTo>
                    <a:pt x="2435" y="1859"/>
                  </a:lnTo>
                  <a:lnTo>
                    <a:pt x="2435" y="1859"/>
                  </a:lnTo>
                  <a:lnTo>
                    <a:pt x="2435" y="1859"/>
                  </a:lnTo>
                  <a:lnTo>
                    <a:pt x="2435" y="1859"/>
                  </a:lnTo>
                  <a:lnTo>
                    <a:pt x="2433" y="1859"/>
                  </a:lnTo>
                  <a:lnTo>
                    <a:pt x="2430" y="1861"/>
                  </a:lnTo>
                  <a:lnTo>
                    <a:pt x="2433" y="1861"/>
                  </a:lnTo>
                  <a:lnTo>
                    <a:pt x="2433" y="1861"/>
                  </a:lnTo>
                  <a:lnTo>
                    <a:pt x="2430" y="1861"/>
                  </a:lnTo>
                  <a:lnTo>
                    <a:pt x="2430" y="1861"/>
                  </a:lnTo>
                  <a:lnTo>
                    <a:pt x="2430" y="1864"/>
                  </a:lnTo>
                  <a:lnTo>
                    <a:pt x="2430" y="1866"/>
                  </a:lnTo>
                  <a:lnTo>
                    <a:pt x="2430" y="1866"/>
                  </a:lnTo>
                  <a:lnTo>
                    <a:pt x="2430" y="1866"/>
                  </a:lnTo>
                  <a:lnTo>
                    <a:pt x="2428" y="1871"/>
                  </a:lnTo>
                  <a:lnTo>
                    <a:pt x="2428" y="1875"/>
                  </a:lnTo>
                  <a:lnTo>
                    <a:pt x="2428" y="1875"/>
                  </a:lnTo>
                  <a:lnTo>
                    <a:pt x="2428" y="1873"/>
                  </a:lnTo>
                  <a:lnTo>
                    <a:pt x="2428" y="1871"/>
                  </a:lnTo>
                  <a:lnTo>
                    <a:pt x="2428" y="1871"/>
                  </a:lnTo>
                  <a:lnTo>
                    <a:pt x="2428" y="1871"/>
                  </a:lnTo>
                  <a:lnTo>
                    <a:pt x="2430" y="1871"/>
                  </a:lnTo>
                  <a:lnTo>
                    <a:pt x="2428" y="1868"/>
                  </a:lnTo>
                  <a:lnTo>
                    <a:pt x="2430" y="1864"/>
                  </a:lnTo>
                  <a:lnTo>
                    <a:pt x="2430" y="1864"/>
                  </a:lnTo>
                  <a:lnTo>
                    <a:pt x="2430" y="1861"/>
                  </a:lnTo>
                  <a:lnTo>
                    <a:pt x="2430" y="1861"/>
                  </a:lnTo>
                  <a:lnTo>
                    <a:pt x="2430" y="1861"/>
                  </a:lnTo>
                  <a:lnTo>
                    <a:pt x="2430" y="1859"/>
                  </a:lnTo>
                  <a:lnTo>
                    <a:pt x="2430" y="1859"/>
                  </a:lnTo>
                  <a:lnTo>
                    <a:pt x="2430" y="1859"/>
                  </a:lnTo>
                  <a:lnTo>
                    <a:pt x="2430" y="1859"/>
                  </a:lnTo>
                  <a:lnTo>
                    <a:pt x="2430" y="1861"/>
                  </a:lnTo>
                  <a:lnTo>
                    <a:pt x="2428" y="1861"/>
                  </a:lnTo>
                  <a:lnTo>
                    <a:pt x="2428" y="1864"/>
                  </a:lnTo>
                  <a:lnTo>
                    <a:pt x="2428" y="1864"/>
                  </a:lnTo>
                  <a:lnTo>
                    <a:pt x="2428" y="1864"/>
                  </a:lnTo>
                  <a:lnTo>
                    <a:pt x="2428" y="1864"/>
                  </a:lnTo>
                  <a:lnTo>
                    <a:pt x="2428" y="1861"/>
                  </a:lnTo>
                  <a:lnTo>
                    <a:pt x="2428" y="1859"/>
                  </a:lnTo>
                  <a:lnTo>
                    <a:pt x="2426" y="1859"/>
                  </a:lnTo>
                  <a:lnTo>
                    <a:pt x="2426" y="1859"/>
                  </a:lnTo>
                  <a:lnTo>
                    <a:pt x="2426" y="1861"/>
                  </a:lnTo>
                  <a:lnTo>
                    <a:pt x="2426" y="1861"/>
                  </a:lnTo>
                  <a:lnTo>
                    <a:pt x="2426" y="1861"/>
                  </a:lnTo>
                  <a:lnTo>
                    <a:pt x="2426" y="1861"/>
                  </a:lnTo>
                  <a:lnTo>
                    <a:pt x="2426" y="1861"/>
                  </a:lnTo>
                  <a:lnTo>
                    <a:pt x="2426" y="1861"/>
                  </a:lnTo>
                  <a:lnTo>
                    <a:pt x="2426" y="1861"/>
                  </a:lnTo>
                  <a:lnTo>
                    <a:pt x="2426" y="1861"/>
                  </a:lnTo>
                  <a:lnTo>
                    <a:pt x="2423" y="1864"/>
                  </a:lnTo>
                  <a:lnTo>
                    <a:pt x="2423" y="1864"/>
                  </a:lnTo>
                  <a:lnTo>
                    <a:pt x="2423" y="1864"/>
                  </a:lnTo>
                  <a:lnTo>
                    <a:pt x="2423" y="1868"/>
                  </a:lnTo>
                  <a:lnTo>
                    <a:pt x="2421" y="1868"/>
                  </a:lnTo>
                  <a:lnTo>
                    <a:pt x="2421" y="1868"/>
                  </a:lnTo>
                  <a:lnTo>
                    <a:pt x="2421" y="1868"/>
                  </a:lnTo>
                  <a:lnTo>
                    <a:pt x="2421" y="1868"/>
                  </a:lnTo>
                  <a:lnTo>
                    <a:pt x="2421" y="1868"/>
                  </a:lnTo>
                  <a:lnTo>
                    <a:pt x="2421" y="1871"/>
                  </a:lnTo>
                  <a:lnTo>
                    <a:pt x="2421" y="1871"/>
                  </a:lnTo>
                  <a:lnTo>
                    <a:pt x="2421" y="1873"/>
                  </a:lnTo>
                  <a:lnTo>
                    <a:pt x="2421" y="1873"/>
                  </a:lnTo>
                  <a:lnTo>
                    <a:pt x="2419" y="1873"/>
                  </a:lnTo>
                  <a:lnTo>
                    <a:pt x="2419" y="1875"/>
                  </a:lnTo>
                  <a:lnTo>
                    <a:pt x="2419" y="1875"/>
                  </a:lnTo>
                  <a:lnTo>
                    <a:pt x="2419" y="1878"/>
                  </a:lnTo>
                  <a:lnTo>
                    <a:pt x="2416" y="1880"/>
                  </a:lnTo>
                  <a:lnTo>
                    <a:pt x="2416" y="1880"/>
                  </a:lnTo>
                  <a:lnTo>
                    <a:pt x="2416" y="1878"/>
                  </a:lnTo>
                  <a:lnTo>
                    <a:pt x="2416" y="1878"/>
                  </a:lnTo>
                  <a:lnTo>
                    <a:pt x="2416" y="1878"/>
                  </a:lnTo>
                  <a:lnTo>
                    <a:pt x="2416" y="1878"/>
                  </a:lnTo>
                  <a:lnTo>
                    <a:pt x="2416" y="1878"/>
                  </a:lnTo>
                  <a:lnTo>
                    <a:pt x="2416" y="1875"/>
                  </a:lnTo>
                  <a:lnTo>
                    <a:pt x="2419" y="1873"/>
                  </a:lnTo>
                  <a:lnTo>
                    <a:pt x="2419" y="1873"/>
                  </a:lnTo>
                  <a:lnTo>
                    <a:pt x="2419" y="1871"/>
                  </a:lnTo>
                  <a:lnTo>
                    <a:pt x="2419" y="1868"/>
                  </a:lnTo>
                  <a:lnTo>
                    <a:pt x="2419" y="1868"/>
                  </a:lnTo>
                  <a:lnTo>
                    <a:pt x="2419" y="1868"/>
                  </a:lnTo>
                  <a:lnTo>
                    <a:pt x="2421" y="1866"/>
                  </a:lnTo>
                  <a:lnTo>
                    <a:pt x="2421" y="1864"/>
                  </a:lnTo>
                  <a:lnTo>
                    <a:pt x="2421" y="1864"/>
                  </a:lnTo>
                  <a:lnTo>
                    <a:pt x="2421" y="1864"/>
                  </a:lnTo>
                  <a:lnTo>
                    <a:pt x="2421" y="1864"/>
                  </a:lnTo>
                  <a:lnTo>
                    <a:pt x="2421" y="1864"/>
                  </a:lnTo>
                  <a:lnTo>
                    <a:pt x="2419" y="1866"/>
                  </a:lnTo>
                  <a:lnTo>
                    <a:pt x="2419" y="1866"/>
                  </a:lnTo>
                  <a:lnTo>
                    <a:pt x="2419" y="1866"/>
                  </a:lnTo>
                  <a:lnTo>
                    <a:pt x="2419" y="1866"/>
                  </a:lnTo>
                  <a:lnTo>
                    <a:pt x="2419" y="1866"/>
                  </a:lnTo>
                  <a:lnTo>
                    <a:pt x="2419" y="1866"/>
                  </a:lnTo>
                  <a:lnTo>
                    <a:pt x="2416" y="1871"/>
                  </a:lnTo>
                  <a:lnTo>
                    <a:pt x="2416" y="1871"/>
                  </a:lnTo>
                  <a:lnTo>
                    <a:pt x="2416" y="1868"/>
                  </a:lnTo>
                  <a:lnTo>
                    <a:pt x="2416" y="1868"/>
                  </a:lnTo>
                  <a:lnTo>
                    <a:pt x="2416" y="1868"/>
                  </a:lnTo>
                  <a:lnTo>
                    <a:pt x="2416" y="1866"/>
                  </a:lnTo>
                  <a:lnTo>
                    <a:pt x="2416" y="1866"/>
                  </a:lnTo>
                  <a:lnTo>
                    <a:pt x="2416" y="1866"/>
                  </a:lnTo>
                  <a:lnTo>
                    <a:pt x="2416" y="1864"/>
                  </a:lnTo>
                  <a:lnTo>
                    <a:pt x="2416" y="1864"/>
                  </a:lnTo>
                  <a:lnTo>
                    <a:pt x="2416" y="1864"/>
                  </a:lnTo>
                  <a:lnTo>
                    <a:pt x="2416" y="1864"/>
                  </a:lnTo>
                  <a:lnTo>
                    <a:pt x="2416" y="1864"/>
                  </a:lnTo>
                  <a:lnTo>
                    <a:pt x="2416" y="1861"/>
                  </a:lnTo>
                  <a:lnTo>
                    <a:pt x="2419" y="1861"/>
                  </a:lnTo>
                  <a:lnTo>
                    <a:pt x="2419" y="1861"/>
                  </a:lnTo>
                  <a:lnTo>
                    <a:pt x="2419" y="1864"/>
                  </a:lnTo>
                  <a:lnTo>
                    <a:pt x="2419" y="1864"/>
                  </a:lnTo>
                  <a:lnTo>
                    <a:pt x="2419" y="1861"/>
                  </a:lnTo>
                  <a:lnTo>
                    <a:pt x="2419" y="1861"/>
                  </a:lnTo>
                  <a:lnTo>
                    <a:pt x="2419" y="1861"/>
                  </a:lnTo>
                  <a:lnTo>
                    <a:pt x="2419" y="1859"/>
                  </a:lnTo>
                  <a:lnTo>
                    <a:pt x="2419" y="1859"/>
                  </a:lnTo>
                  <a:lnTo>
                    <a:pt x="2419" y="1857"/>
                  </a:lnTo>
                  <a:lnTo>
                    <a:pt x="2419" y="1857"/>
                  </a:lnTo>
                  <a:lnTo>
                    <a:pt x="2421" y="1854"/>
                  </a:lnTo>
                  <a:lnTo>
                    <a:pt x="2421" y="1852"/>
                  </a:lnTo>
                  <a:lnTo>
                    <a:pt x="2423" y="1852"/>
                  </a:lnTo>
                  <a:lnTo>
                    <a:pt x="2423" y="1852"/>
                  </a:lnTo>
                  <a:lnTo>
                    <a:pt x="2423" y="1852"/>
                  </a:lnTo>
                  <a:lnTo>
                    <a:pt x="2423" y="1852"/>
                  </a:lnTo>
                  <a:lnTo>
                    <a:pt x="2423" y="1852"/>
                  </a:lnTo>
                  <a:lnTo>
                    <a:pt x="2421" y="1852"/>
                  </a:lnTo>
                  <a:lnTo>
                    <a:pt x="2421" y="1852"/>
                  </a:lnTo>
                  <a:lnTo>
                    <a:pt x="2421" y="1852"/>
                  </a:lnTo>
                  <a:lnTo>
                    <a:pt x="2421" y="1852"/>
                  </a:lnTo>
                  <a:lnTo>
                    <a:pt x="2421" y="1849"/>
                  </a:lnTo>
                  <a:lnTo>
                    <a:pt x="2421" y="1849"/>
                  </a:lnTo>
                  <a:lnTo>
                    <a:pt x="2421" y="1849"/>
                  </a:lnTo>
                  <a:lnTo>
                    <a:pt x="2421" y="1849"/>
                  </a:lnTo>
                  <a:lnTo>
                    <a:pt x="2419" y="1849"/>
                  </a:lnTo>
                  <a:lnTo>
                    <a:pt x="2419" y="1849"/>
                  </a:lnTo>
                  <a:lnTo>
                    <a:pt x="2419" y="1852"/>
                  </a:lnTo>
                  <a:lnTo>
                    <a:pt x="2419" y="1852"/>
                  </a:lnTo>
                  <a:lnTo>
                    <a:pt x="2419" y="1852"/>
                  </a:lnTo>
                  <a:lnTo>
                    <a:pt x="2419" y="1854"/>
                  </a:lnTo>
                  <a:lnTo>
                    <a:pt x="2419" y="1854"/>
                  </a:lnTo>
                  <a:lnTo>
                    <a:pt x="2419" y="1854"/>
                  </a:lnTo>
                  <a:lnTo>
                    <a:pt x="2419" y="1852"/>
                  </a:lnTo>
                  <a:lnTo>
                    <a:pt x="2419" y="1854"/>
                  </a:lnTo>
                  <a:lnTo>
                    <a:pt x="2419" y="1854"/>
                  </a:lnTo>
                  <a:lnTo>
                    <a:pt x="2419" y="1854"/>
                  </a:lnTo>
                  <a:lnTo>
                    <a:pt x="2416" y="1854"/>
                  </a:lnTo>
                  <a:lnTo>
                    <a:pt x="2419" y="1854"/>
                  </a:lnTo>
                  <a:lnTo>
                    <a:pt x="2419" y="1852"/>
                  </a:lnTo>
                  <a:lnTo>
                    <a:pt x="2419" y="1852"/>
                  </a:lnTo>
                  <a:lnTo>
                    <a:pt x="2419" y="1852"/>
                  </a:lnTo>
                  <a:lnTo>
                    <a:pt x="2419" y="1849"/>
                  </a:lnTo>
                  <a:lnTo>
                    <a:pt x="2416" y="1849"/>
                  </a:lnTo>
                  <a:lnTo>
                    <a:pt x="2416" y="1852"/>
                  </a:lnTo>
                  <a:lnTo>
                    <a:pt x="2416" y="1854"/>
                  </a:lnTo>
                  <a:lnTo>
                    <a:pt x="2416" y="1854"/>
                  </a:lnTo>
                  <a:lnTo>
                    <a:pt x="2416" y="1857"/>
                  </a:lnTo>
                  <a:lnTo>
                    <a:pt x="2416" y="1857"/>
                  </a:lnTo>
                  <a:lnTo>
                    <a:pt x="2416" y="1859"/>
                  </a:lnTo>
                  <a:lnTo>
                    <a:pt x="2416" y="1859"/>
                  </a:lnTo>
                  <a:lnTo>
                    <a:pt x="2416" y="1859"/>
                  </a:lnTo>
                  <a:lnTo>
                    <a:pt x="2416" y="1857"/>
                  </a:lnTo>
                  <a:lnTo>
                    <a:pt x="2416" y="1857"/>
                  </a:lnTo>
                  <a:lnTo>
                    <a:pt x="2416" y="1857"/>
                  </a:lnTo>
                  <a:lnTo>
                    <a:pt x="2416" y="1857"/>
                  </a:lnTo>
                  <a:lnTo>
                    <a:pt x="2416" y="1854"/>
                  </a:lnTo>
                  <a:lnTo>
                    <a:pt x="2414" y="1854"/>
                  </a:lnTo>
                  <a:lnTo>
                    <a:pt x="2414" y="1854"/>
                  </a:lnTo>
                  <a:lnTo>
                    <a:pt x="2414" y="1854"/>
                  </a:lnTo>
                  <a:lnTo>
                    <a:pt x="2416" y="1852"/>
                  </a:lnTo>
                  <a:lnTo>
                    <a:pt x="2416" y="1852"/>
                  </a:lnTo>
                  <a:lnTo>
                    <a:pt x="2416" y="1849"/>
                  </a:lnTo>
                  <a:lnTo>
                    <a:pt x="2416" y="1849"/>
                  </a:lnTo>
                  <a:lnTo>
                    <a:pt x="2416" y="1849"/>
                  </a:lnTo>
                  <a:lnTo>
                    <a:pt x="2419" y="1849"/>
                  </a:lnTo>
                  <a:lnTo>
                    <a:pt x="2419" y="1849"/>
                  </a:lnTo>
                  <a:lnTo>
                    <a:pt x="2419" y="1849"/>
                  </a:lnTo>
                  <a:lnTo>
                    <a:pt x="2416" y="1849"/>
                  </a:lnTo>
                  <a:lnTo>
                    <a:pt x="2416" y="1849"/>
                  </a:lnTo>
                  <a:lnTo>
                    <a:pt x="2416" y="1847"/>
                  </a:lnTo>
                  <a:lnTo>
                    <a:pt x="2416" y="1847"/>
                  </a:lnTo>
                  <a:lnTo>
                    <a:pt x="2416" y="1847"/>
                  </a:lnTo>
                  <a:lnTo>
                    <a:pt x="2416" y="1845"/>
                  </a:lnTo>
                  <a:lnTo>
                    <a:pt x="2416" y="1847"/>
                  </a:lnTo>
                  <a:lnTo>
                    <a:pt x="2414" y="1847"/>
                  </a:lnTo>
                  <a:lnTo>
                    <a:pt x="2414" y="1849"/>
                  </a:lnTo>
                  <a:lnTo>
                    <a:pt x="2414" y="1852"/>
                  </a:lnTo>
                  <a:lnTo>
                    <a:pt x="2414" y="1852"/>
                  </a:lnTo>
                  <a:lnTo>
                    <a:pt x="2414" y="1849"/>
                  </a:lnTo>
                  <a:lnTo>
                    <a:pt x="2414" y="1847"/>
                  </a:lnTo>
                  <a:lnTo>
                    <a:pt x="2414" y="1845"/>
                  </a:lnTo>
                  <a:lnTo>
                    <a:pt x="2411" y="1845"/>
                  </a:lnTo>
                  <a:lnTo>
                    <a:pt x="2411" y="1845"/>
                  </a:lnTo>
                  <a:lnTo>
                    <a:pt x="2409" y="1847"/>
                  </a:lnTo>
                  <a:lnTo>
                    <a:pt x="2409" y="1847"/>
                  </a:lnTo>
                  <a:lnTo>
                    <a:pt x="2409" y="1847"/>
                  </a:lnTo>
                  <a:lnTo>
                    <a:pt x="2409" y="1845"/>
                  </a:lnTo>
                  <a:lnTo>
                    <a:pt x="2409" y="1845"/>
                  </a:lnTo>
                  <a:lnTo>
                    <a:pt x="2409" y="1842"/>
                  </a:lnTo>
                  <a:lnTo>
                    <a:pt x="2409" y="1842"/>
                  </a:lnTo>
                  <a:lnTo>
                    <a:pt x="2411" y="1842"/>
                  </a:lnTo>
                  <a:lnTo>
                    <a:pt x="2411" y="1842"/>
                  </a:lnTo>
                  <a:lnTo>
                    <a:pt x="2411" y="1840"/>
                  </a:lnTo>
                  <a:lnTo>
                    <a:pt x="2411" y="1840"/>
                  </a:lnTo>
                  <a:lnTo>
                    <a:pt x="2411" y="1840"/>
                  </a:lnTo>
                  <a:lnTo>
                    <a:pt x="2411" y="1840"/>
                  </a:lnTo>
                  <a:lnTo>
                    <a:pt x="2411" y="1840"/>
                  </a:lnTo>
                  <a:lnTo>
                    <a:pt x="2411" y="1840"/>
                  </a:lnTo>
                  <a:lnTo>
                    <a:pt x="2411" y="1840"/>
                  </a:lnTo>
                  <a:lnTo>
                    <a:pt x="2411" y="1838"/>
                  </a:lnTo>
                  <a:lnTo>
                    <a:pt x="2411" y="1835"/>
                  </a:lnTo>
                  <a:lnTo>
                    <a:pt x="2411" y="1835"/>
                  </a:lnTo>
                  <a:lnTo>
                    <a:pt x="2411" y="1835"/>
                  </a:lnTo>
                  <a:lnTo>
                    <a:pt x="2411" y="1838"/>
                  </a:lnTo>
                  <a:lnTo>
                    <a:pt x="2409" y="1835"/>
                  </a:lnTo>
                  <a:lnTo>
                    <a:pt x="2409" y="1835"/>
                  </a:lnTo>
                  <a:lnTo>
                    <a:pt x="2409" y="1835"/>
                  </a:lnTo>
                  <a:lnTo>
                    <a:pt x="2409" y="1835"/>
                  </a:lnTo>
                  <a:lnTo>
                    <a:pt x="2409" y="1838"/>
                  </a:lnTo>
                  <a:lnTo>
                    <a:pt x="2409" y="1838"/>
                  </a:lnTo>
                  <a:lnTo>
                    <a:pt x="2409" y="1838"/>
                  </a:lnTo>
                  <a:lnTo>
                    <a:pt x="2407" y="1835"/>
                  </a:lnTo>
                  <a:lnTo>
                    <a:pt x="2407" y="1835"/>
                  </a:lnTo>
                  <a:lnTo>
                    <a:pt x="2407" y="1835"/>
                  </a:lnTo>
                  <a:lnTo>
                    <a:pt x="2407" y="1835"/>
                  </a:lnTo>
                  <a:lnTo>
                    <a:pt x="2407" y="1835"/>
                  </a:lnTo>
                  <a:lnTo>
                    <a:pt x="2407" y="1838"/>
                  </a:lnTo>
                  <a:lnTo>
                    <a:pt x="2407" y="1838"/>
                  </a:lnTo>
                  <a:lnTo>
                    <a:pt x="2407" y="1840"/>
                  </a:lnTo>
                  <a:lnTo>
                    <a:pt x="2407" y="1840"/>
                  </a:lnTo>
                  <a:lnTo>
                    <a:pt x="2407" y="1840"/>
                  </a:lnTo>
                  <a:lnTo>
                    <a:pt x="2407" y="1840"/>
                  </a:lnTo>
                  <a:lnTo>
                    <a:pt x="2407" y="1842"/>
                  </a:lnTo>
                  <a:lnTo>
                    <a:pt x="2407" y="1845"/>
                  </a:lnTo>
                  <a:lnTo>
                    <a:pt x="2407" y="1847"/>
                  </a:lnTo>
                  <a:lnTo>
                    <a:pt x="2407" y="1847"/>
                  </a:lnTo>
                  <a:lnTo>
                    <a:pt x="2407" y="1847"/>
                  </a:lnTo>
                  <a:lnTo>
                    <a:pt x="2404" y="1852"/>
                  </a:lnTo>
                  <a:lnTo>
                    <a:pt x="2404" y="1849"/>
                  </a:lnTo>
                  <a:lnTo>
                    <a:pt x="2404" y="1849"/>
                  </a:lnTo>
                  <a:lnTo>
                    <a:pt x="2404" y="1849"/>
                  </a:lnTo>
                  <a:lnTo>
                    <a:pt x="2404" y="1847"/>
                  </a:lnTo>
                  <a:lnTo>
                    <a:pt x="2404" y="1847"/>
                  </a:lnTo>
                  <a:lnTo>
                    <a:pt x="2404" y="1847"/>
                  </a:lnTo>
                  <a:lnTo>
                    <a:pt x="2404" y="1845"/>
                  </a:lnTo>
                  <a:lnTo>
                    <a:pt x="2404" y="1845"/>
                  </a:lnTo>
                  <a:lnTo>
                    <a:pt x="2404" y="1845"/>
                  </a:lnTo>
                  <a:lnTo>
                    <a:pt x="2404" y="1845"/>
                  </a:lnTo>
                  <a:lnTo>
                    <a:pt x="2404" y="1845"/>
                  </a:lnTo>
                  <a:lnTo>
                    <a:pt x="2404" y="1842"/>
                  </a:lnTo>
                  <a:lnTo>
                    <a:pt x="2404" y="1842"/>
                  </a:lnTo>
                  <a:lnTo>
                    <a:pt x="2404" y="1842"/>
                  </a:lnTo>
                  <a:lnTo>
                    <a:pt x="2404" y="1842"/>
                  </a:lnTo>
                  <a:lnTo>
                    <a:pt x="2404" y="1842"/>
                  </a:lnTo>
                  <a:lnTo>
                    <a:pt x="2404" y="1842"/>
                  </a:lnTo>
                  <a:lnTo>
                    <a:pt x="2404" y="1840"/>
                  </a:lnTo>
                  <a:lnTo>
                    <a:pt x="2404" y="1840"/>
                  </a:lnTo>
                  <a:lnTo>
                    <a:pt x="2404" y="1840"/>
                  </a:lnTo>
                  <a:lnTo>
                    <a:pt x="2402" y="1838"/>
                  </a:lnTo>
                  <a:lnTo>
                    <a:pt x="2402" y="1838"/>
                  </a:lnTo>
                  <a:lnTo>
                    <a:pt x="2402" y="1838"/>
                  </a:lnTo>
                  <a:lnTo>
                    <a:pt x="2402" y="1835"/>
                  </a:lnTo>
                  <a:lnTo>
                    <a:pt x="2402" y="1835"/>
                  </a:lnTo>
                  <a:lnTo>
                    <a:pt x="2402" y="1838"/>
                  </a:lnTo>
                  <a:lnTo>
                    <a:pt x="2402" y="1838"/>
                  </a:lnTo>
                  <a:lnTo>
                    <a:pt x="2402" y="1840"/>
                  </a:lnTo>
                  <a:lnTo>
                    <a:pt x="2400" y="1842"/>
                  </a:lnTo>
                  <a:lnTo>
                    <a:pt x="2400" y="1842"/>
                  </a:lnTo>
                  <a:lnTo>
                    <a:pt x="2400" y="1842"/>
                  </a:lnTo>
                  <a:lnTo>
                    <a:pt x="2397" y="1842"/>
                  </a:lnTo>
                  <a:lnTo>
                    <a:pt x="2395" y="1845"/>
                  </a:lnTo>
                  <a:lnTo>
                    <a:pt x="2395" y="1845"/>
                  </a:lnTo>
                  <a:lnTo>
                    <a:pt x="2395" y="1845"/>
                  </a:lnTo>
                  <a:lnTo>
                    <a:pt x="2395" y="1845"/>
                  </a:lnTo>
                  <a:lnTo>
                    <a:pt x="2395" y="1845"/>
                  </a:lnTo>
                  <a:lnTo>
                    <a:pt x="2395" y="1845"/>
                  </a:lnTo>
                  <a:lnTo>
                    <a:pt x="2393" y="1845"/>
                  </a:lnTo>
                  <a:lnTo>
                    <a:pt x="2393" y="1845"/>
                  </a:lnTo>
                  <a:lnTo>
                    <a:pt x="2393" y="1845"/>
                  </a:lnTo>
                  <a:lnTo>
                    <a:pt x="2395" y="1842"/>
                  </a:lnTo>
                  <a:lnTo>
                    <a:pt x="2395" y="1842"/>
                  </a:lnTo>
                  <a:lnTo>
                    <a:pt x="2397" y="1842"/>
                  </a:lnTo>
                  <a:lnTo>
                    <a:pt x="2400" y="1840"/>
                  </a:lnTo>
                  <a:lnTo>
                    <a:pt x="2400" y="1840"/>
                  </a:lnTo>
                  <a:lnTo>
                    <a:pt x="2400" y="1838"/>
                  </a:lnTo>
                  <a:lnTo>
                    <a:pt x="2397" y="1835"/>
                  </a:lnTo>
                  <a:lnTo>
                    <a:pt x="2397" y="1835"/>
                  </a:lnTo>
                  <a:lnTo>
                    <a:pt x="2393" y="1838"/>
                  </a:lnTo>
                  <a:lnTo>
                    <a:pt x="2393" y="1838"/>
                  </a:lnTo>
                  <a:lnTo>
                    <a:pt x="2393" y="1838"/>
                  </a:lnTo>
                  <a:lnTo>
                    <a:pt x="2393" y="1838"/>
                  </a:lnTo>
                  <a:lnTo>
                    <a:pt x="2388" y="1840"/>
                  </a:lnTo>
                  <a:lnTo>
                    <a:pt x="2388" y="1840"/>
                  </a:lnTo>
                  <a:lnTo>
                    <a:pt x="2385" y="1840"/>
                  </a:lnTo>
                  <a:lnTo>
                    <a:pt x="2385" y="1840"/>
                  </a:lnTo>
                  <a:lnTo>
                    <a:pt x="2383" y="1840"/>
                  </a:lnTo>
                  <a:lnTo>
                    <a:pt x="2383" y="1840"/>
                  </a:lnTo>
                  <a:lnTo>
                    <a:pt x="2383" y="1838"/>
                  </a:lnTo>
                  <a:lnTo>
                    <a:pt x="2385" y="1838"/>
                  </a:lnTo>
                  <a:lnTo>
                    <a:pt x="2385" y="1838"/>
                  </a:lnTo>
                  <a:lnTo>
                    <a:pt x="2388" y="1838"/>
                  </a:lnTo>
                  <a:lnTo>
                    <a:pt x="2388" y="1838"/>
                  </a:lnTo>
                  <a:lnTo>
                    <a:pt x="2388" y="1838"/>
                  </a:lnTo>
                  <a:lnTo>
                    <a:pt x="2385" y="1835"/>
                  </a:lnTo>
                  <a:lnTo>
                    <a:pt x="2385" y="1835"/>
                  </a:lnTo>
                  <a:lnTo>
                    <a:pt x="2385" y="1835"/>
                  </a:lnTo>
                  <a:lnTo>
                    <a:pt x="2383" y="1835"/>
                  </a:lnTo>
                  <a:lnTo>
                    <a:pt x="2383" y="1835"/>
                  </a:lnTo>
                  <a:lnTo>
                    <a:pt x="2383" y="1835"/>
                  </a:lnTo>
                  <a:lnTo>
                    <a:pt x="2381" y="1835"/>
                  </a:lnTo>
                  <a:lnTo>
                    <a:pt x="2381" y="1835"/>
                  </a:lnTo>
                  <a:lnTo>
                    <a:pt x="2381" y="1835"/>
                  </a:lnTo>
                  <a:lnTo>
                    <a:pt x="2378" y="1838"/>
                  </a:lnTo>
                  <a:lnTo>
                    <a:pt x="2376" y="1838"/>
                  </a:lnTo>
                  <a:lnTo>
                    <a:pt x="2376" y="1838"/>
                  </a:lnTo>
                  <a:lnTo>
                    <a:pt x="2374" y="1838"/>
                  </a:lnTo>
                  <a:lnTo>
                    <a:pt x="2374" y="1838"/>
                  </a:lnTo>
                  <a:lnTo>
                    <a:pt x="2374" y="1835"/>
                  </a:lnTo>
                  <a:lnTo>
                    <a:pt x="2374" y="1835"/>
                  </a:lnTo>
                  <a:lnTo>
                    <a:pt x="2374" y="1835"/>
                  </a:lnTo>
                  <a:lnTo>
                    <a:pt x="2374" y="1835"/>
                  </a:lnTo>
                  <a:lnTo>
                    <a:pt x="2374" y="1835"/>
                  </a:lnTo>
                  <a:lnTo>
                    <a:pt x="2376" y="1838"/>
                  </a:lnTo>
                  <a:lnTo>
                    <a:pt x="2376" y="1838"/>
                  </a:lnTo>
                  <a:lnTo>
                    <a:pt x="2376" y="1838"/>
                  </a:lnTo>
                  <a:lnTo>
                    <a:pt x="2376" y="1838"/>
                  </a:lnTo>
                  <a:lnTo>
                    <a:pt x="2376" y="1838"/>
                  </a:lnTo>
                  <a:lnTo>
                    <a:pt x="2376" y="1838"/>
                  </a:lnTo>
                  <a:lnTo>
                    <a:pt x="2376" y="1835"/>
                  </a:lnTo>
                  <a:lnTo>
                    <a:pt x="2376" y="1835"/>
                  </a:lnTo>
                  <a:lnTo>
                    <a:pt x="2376" y="1835"/>
                  </a:lnTo>
                  <a:lnTo>
                    <a:pt x="2374" y="1835"/>
                  </a:lnTo>
                  <a:lnTo>
                    <a:pt x="2374" y="1835"/>
                  </a:lnTo>
                  <a:lnTo>
                    <a:pt x="2374" y="1835"/>
                  </a:lnTo>
                  <a:lnTo>
                    <a:pt x="2371" y="1835"/>
                  </a:lnTo>
                  <a:lnTo>
                    <a:pt x="2374" y="1835"/>
                  </a:lnTo>
                  <a:lnTo>
                    <a:pt x="2376" y="1833"/>
                  </a:lnTo>
                  <a:lnTo>
                    <a:pt x="2378" y="1833"/>
                  </a:lnTo>
                  <a:lnTo>
                    <a:pt x="2378" y="1833"/>
                  </a:lnTo>
                  <a:lnTo>
                    <a:pt x="2378" y="1833"/>
                  </a:lnTo>
                  <a:lnTo>
                    <a:pt x="2378" y="1833"/>
                  </a:lnTo>
                  <a:lnTo>
                    <a:pt x="2376" y="1833"/>
                  </a:lnTo>
                  <a:lnTo>
                    <a:pt x="2378" y="1833"/>
                  </a:lnTo>
                  <a:lnTo>
                    <a:pt x="2378" y="1833"/>
                  </a:lnTo>
                  <a:lnTo>
                    <a:pt x="2378" y="1831"/>
                  </a:lnTo>
                  <a:lnTo>
                    <a:pt x="2378" y="1831"/>
                  </a:lnTo>
                  <a:lnTo>
                    <a:pt x="2378" y="1831"/>
                  </a:lnTo>
                  <a:lnTo>
                    <a:pt x="2376" y="1831"/>
                  </a:lnTo>
                  <a:lnTo>
                    <a:pt x="2376" y="1831"/>
                  </a:lnTo>
                  <a:lnTo>
                    <a:pt x="2374" y="1833"/>
                  </a:lnTo>
                  <a:lnTo>
                    <a:pt x="2374" y="1833"/>
                  </a:lnTo>
                  <a:lnTo>
                    <a:pt x="2374" y="1833"/>
                  </a:lnTo>
                  <a:lnTo>
                    <a:pt x="2374" y="1833"/>
                  </a:lnTo>
                  <a:lnTo>
                    <a:pt x="2374" y="1831"/>
                  </a:lnTo>
                  <a:lnTo>
                    <a:pt x="2376" y="1831"/>
                  </a:lnTo>
                  <a:lnTo>
                    <a:pt x="2376" y="1828"/>
                  </a:lnTo>
                  <a:lnTo>
                    <a:pt x="2374" y="1828"/>
                  </a:lnTo>
                  <a:lnTo>
                    <a:pt x="2374" y="1828"/>
                  </a:lnTo>
                  <a:lnTo>
                    <a:pt x="2374" y="1828"/>
                  </a:lnTo>
                  <a:lnTo>
                    <a:pt x="2374" y="1828"/>
                  </a:lnTo>
                  <a:lnTo>
                    <a:pt x="2374" y="1828"/>
                  </a:lnTo>
                  <a:lnTo>
                    <a:pt x="2374" y="1828"/>
                  </a:lnTo>
                  <a:lnTo>
                    <a:pt x="2374" y="1828"/>
                  </a:lnTo>
                  <a:lnTo>
                    <a:pt x="2374" y="1828"/>
                  </a:lnTo>
                  <a:lnTo>
                    <a:pt x="2374" y="1828"/>
                  </a:lnTo>
                  <a:lnTo>
                    <a:pt x="2374" y="1828"/>
                  </a:lnTo>
                  <a:lnTo>
                    <a:pt x="2374" y="1828"/>
                  </a:lnTo>
                  <a:lnTo>
                    <a:pt x="2374" y="1828"/>
                  </a:lnTo>
                  <a:lnTo>
                    <a:pt x="2374" y="1828"/>
                  </a:lnTo>
                  <a:lnTo>
                    <a:pt x="2371" y="1828"/>
                  </a:lnTo>
                  <a:lnTo>
                    <a:pt x="2371" y="1826"/>
                  </a:lnTo>
                  <a:lnTo>
                    <a:pt x="2374" y="1826"/>
                  </a:lnTo>
                  <a:lnTo>
                    <a:pt x="2374" y="1826"/>
                  </a:lnTo>
                  <a:lnTo>
                    <a:pt x="2374" y="1826"/>
                  </a:lnTo>
                  <a:lnTo>
                    <a:pt x="2374" y="1826"/>
                  </a:lnTo>
                  <a:lnTo>
                    <a:pt x="2374" y="1823"/>
                  </a:lnTo>
                  <a:lnTo>
                    <a:pt x="2374" y="1823"/>
                  </a:lnTo>
                  <a:lnTo>
                    <a:pt x="2374" y="1823"/>
                  </a:lnTo>
                  <a:lnTo>
                    <a:pt x="2374" y="1823"/>
                  </a:lnTo>
                  <a:lnTo>
                    <a:pt x="2371" y="1823"/>
                  </a:lnTo>
                  <a:lnTo>
                    <a:pt x="2371" y="1823"/>
                  </a:lnTo>
                  <a:lnTo>
                    <a:pt x="2371" y="1826"/>
                  </a:lnTo>
                  <a:lnTo>
                    <a:pt x="2367" y="1826"/>
                  </a:lnTo>
                  <a:lnTo>
                    <a:pt x="2367" y="1826"/>
                  </a:lnTo>
                  <a:lnTo>
                    <a:pt x="2367" y="1826"/>
                  </a:lnTo>
                  <a:lnTo>
                    <a:pt x="2367" y="1826"/>
                  </a:lnTo>
                  <a:lnTo>
                    <a:pt x="2367" y="1826"/>
                  </a:lnTo>
                  <a:lnTo>
                    <a:pt x="2367" y="1826"/>
                  </a:lnTo>
                  <a:lnTo>
                    <a:pt x="2367" y="1826"/>
                  </a:lnTo>
                  <a:lnTo>
                    <a:pt x="2364" y="1826"/>
                  </a:lnTo>
                  <a:lnTo>
                    <a:pt x="2362" y="1826"/>
                  </a:lnTo>
                  <a:lnTo>
                    <a:pt x="2362" y="1828"/>
                  </a:lnTo>
                  <a:lnTo>
                    <a:pt x="2362" y="1828"/>
                  </a:lnTo>
                  <a:lnTo>
                    <a:pt x="2362" y="1828"/>
                  </a:lnTo>
                  <a:lnTo>
                    <a:pt x="2359" y="1828"/>
                  </a:lnTo>
                  <a:lnTo>
                    <a:pt x="2359" y="1828"/>
                  </a:lnTo>
                  <a:lnTo>
                    <a:pt x="2359" y="1828"/>
                  </a:lnTo>
                  <a:lnTo>
                    <a:pt x="2359" y="1828"/>
                  </a:lnTo>
                  <a:lnTo>
                    <a:pt x="2357" y="1828"/>
                  </a:lnTo>
                  <a:lnTo>
                    <a:pt x="2357" y="1828"/>
                  </a:lnTo>
                  <a:lnTo>
                    <a:pt x="2357" y="1828"/>
                  </a:lnTo>
                  <a:lnTo>
                    <a:pt x="2357" y="1828"/>
                  </a:lnTo>
                  <a:lnTo>
                    <a:pt x="2357" y="1831"/>
                  </a:lnTo>
                  <a:lnTo>
                    <a:pt x="2355" y="1831"/>
                  </a:lnTo>
                  <a:lnTo>
                    <a:pt x="2352" y="1831"/>
                  </a:lnTo>
                  <a:lnTo>
                    <a:pt x="2352" y="1828"/>
                  </a:lnTo>
                  <a:lnTo>
                    <a:pt x="2352" y="1828"/>
                  </a:lnTo>
                  <a:lnTo>
                    <a:pt x="2350" y="1828"/>
                  </a:lnTo>
                  <a:lnTo>
                    <a:pt x="2350" y="1828"/>
                  </a:lnTo>
                  <a:lnTo>
                    <a:pt x="2350" y="1828"/>
                  </a:lnTo>
                  <a:lnTo>
                    <a:pt x="2350" y="1826"/>
                  </a:lnTo>
                  <a:lnTo>
                    <a:pt x="2352" y="1826"/>
                  </a:lnTo>
                  <a:lnTo>
                    <a:pt x="2352" y="1826"/>
                  </a:lnTo>
                  <a:lnTo>
                    <a:pt x="2352" y="1826"/>
                  </a:lnTo>
                  <a:lnTo>
                    <a:pt x="2352" y="1826"/>
                  </a:lnTo>
                  <a:lnTo>
                    <a:pt x="2355" y="1826"/>
                  </a:lnTo>
                  <a:lnTo>
                    <a:pt x="2355" y="1826"/>
                  </a:lnTo>
                  <a:lnTo>
                    <a:pt x="2357" y="1823"/>
                  </a:lnTo>
                  <a:lnTo>
                    <a:pt x="2359" y="1823"/>
                  </a:lnTo>
                  <a:lnTo>
                    <a:pt x="2359" y="1823"/>
                  </a:lnTo>
                  <a:lnTo>
                    <a:pt x="2359" y="1826"/>
                  </a:lnTo>
                  <a:lnTo>
                    <a:pt x="2359" y="1826"/>
                  </a:lnTo>
                  <a:lnTo>
                    <a:pt x="2357" y="1826"/>
                  </a:lnTo>
                  <a:lnTo>
                    <a:pt x="2359" y="1826"/>
                  </a:lnTo>
                  <a:lnTo>
                    <a:pt x="2359" y="1826"/>
                  </a:lnTo>
                  <a:lnTo>
                    <a:pt x="2362" y="1823"/>
                  </a:lnTo>
                  <a:lnTo>
                    <a:pt x="2362" y="1823"/>
                  </a:lnTo>
                  <a:lnTo>
                    <a:pt x="2357" y="1823"/>
                  </a:lnTo>
                  <a:lnTo>
                    <a:pt x="2357" y="1823"/>
                  </a:lnTo>
                  <a:lnTo>
                    <a:pt x="2357" y="1823"/>
                  </a:lnTo>
                  <a:lnTo>
                    <a:pt x="2359" y="1823"/>
                  </a:lnTo>
                  <a:lnTo>
                    <a:pt x="2364" y="1823"/>
                  </a:lnTo>
                  <a:lnTo>
                    <a:pt x="2364" y="1823"/>
                  </a:lnTo>
                  <a:lnTo>
                    <a:pt x="2364" y="1821"/>
                  </a:lnTo>
                  <a:lnTo>
                    <a:pt x="2364" y="1821"/>
                  </a:lnTo>
                  <a:lnTo>
                    <a:pt x="2362" y="1821"/>
                  </a:lnTo>
                  <a:lnTo>
                    <a:pt x="2362" y="1821"/>
                  </a:lnTo>
                  <a:lnTo>
                    <a:pt x="2362" y="1821"/>
                  </a:lnTo>
                  <a:lnTo>
                    <a:pt x="2359" y="1821"/>
                  </a:lnTo>
                  <a:lnTo>
                    <a:pt x="2359" y="1821"/>
                  </a:lnTo>
                  <a:lnTo>
                    <a:pt x="2359" y="1821"/>
                  </a:lnTo>
                  <a:lnTo>
                    <a:pt x="2359" y="1821"/>
                  </a:lnTo>
                  <a:lnTo>
                    <a:pt x="2359" y="1821"/>
                  </a:lnTo>
                  <a:lnTo>
                    <a:pt x="2359" y="1821"/>
                  </a:lnTo>
                  <a:lnTo>
                    <a:pt x="2359" y="1821"/>
                  </a:lnTo>
                  <a:lnTo>
                    <a:pt x="2359" y="1821"/>
                  </a:lnTo>
                  <a:lnTo>
                    <a:pt x="2357" y="1821"/>
                  </a:lnTo>
                  <a:lnTo>
                    <a:pt x="2357" y="1821"/>
                  </a:lnTo>
                  <a:lnTo>
                    <a:pt x="2357" y="1821"/>
                  </a:lnTo>
                  <a:lnTo>
                    <a:pt x="2357" y="1821"/>
                  </a:lnTo>
                  <a:lnTo>
                    <a:pt x="2355" y="1821"/>
                  </a:lnTo>
                  <a:lnTo>
                    <a:pt x="2355" y="1819"/>
                  </a:lnTo>
                  <a:lnTo>
                    <a:pt x="2355" y="1819"/>
                  </a:lnTo>
                  <a:lnTo>
                    <a:pt x="2357" y="1819"/>
                  </a:lnTo>
                  <a:lnTo>
                    <a:pt x="2355" y="1819"/>
                  </a:lnTo>
                  <a:lnTo>
                    <a:pt x="2355" y="1819"/>
                  </a:lnTo>
                  <a:lnTo>
                    <a:pt x="2352" y="1819"/>
                  </a:lnTo>
                  <a:lnTo>
                    <a:pt x="2352" y="1819"/>
                  </a:lnTo>
                  <a:lnTo>
                    <a:pt x="2352" y="1819"/>
                  </a:lnTo>
                  <a:lnTo>
                    <a:pt x="2350" y="1819"/>
                  </a:lnTo>
                  <a:lnTo>
                    <a:pt x="2350" y="1819"/>
                  </a:lnTo>
                  <a:lnTo>
                    <a:pt x="2350" y="1819"/>
                  </a:lnTo>
                  <a:lnTo>
                    <a:pt x="2348" y="1821"/>
                  </a:lnTo>
                  <a:lnTo>
                    <a:pt x="2345" y="1821"/>
                  </a:lnTo>
                  <a:lnTo>
                    <a:pt x="2345" y="1819"/>
                  </a:lnTo>
                  <a:lnTo>
                    <a:pt x="2345" y="1819"/>
                  </a:lnTo>
                  <a:lnTo>
                    <a:pt x="2345" y="1819"/>
                  </a:lnTo>
                  <a:lnTo>
                    <a:pt x="2348" y="1819"/>
                  </a:lnTo>
                  <a:lnTo>
                    <a:pt x="2350" y="1816"/>
                  </a:lnTo>
                  <a:lnTo>
                    <a:pt x="2350" y="1816"/>
                  </a:lnTo>
                  <a:lnTo>
                    <a:pt x="2350" y="1816"/>
                  </a:lnTo>
                  <a:lnTo>
                    <a:pt x="2350" y="1816"/>
                  </a:lnTo>
                  <a:lnTo>
                    <a:pt x="2350" y="1816"/>
                  </a:lnTo>
                  <a:lnTo>
                    <a:pt x="2350" y="1816"/>
                  </a:lnTo>
                  <a:lnTo>
                    <a:pt x="2348" y="1816"/>
                  </a:lnTo>
                  <a:lnTo>
                    <a:pt x="2348" y="1816"/>
                  </a:lnTo>
                  <a:lnTo>
                    <a:pt x="2348" y="1816"/>
                  </a:lnTo>
                  <a:lnTo>
                    <a:pt x="2345" y="1816"/>
                  </a:lnTo>
                  <a:lnTo>
                    <a:pt x="2345" y="1816"/>
                  </a:lnTo>
                  <a:lnTo>
                    <a:pt x="2348" y="1816"/>
                  </a:lnTo>
                  <a:lnTo>
                    <a:pt x="2348" y="1814"/>
                  </a:lnTo>
                  <a:lnTo>
                    <a:pt x="2355" y="1814"/>
                  </a:lnTo>
                  <a:lnTo>
                    <a:pt x="2357" y="1812"/>
                  </a:lnTo>
                  <a:lnTo>
                    <a:pt x="2357" y="1812"/>
                  </a:lnTo>
                  <a:lnTo>
                    <a:pt x="2357" y="1812"/>
                  </a:lnTo>
                  <a:lnTo>
                    <a:pt x="2357" y="1809"/>
                  </a:lnTo>
                  <a:lnTo>
                    <a:pt x="2357" y="1809"/>
                  </a:lnTo>
                  <a:lnTo>
                    <a:pt x="2357" y="1809"/>
                  </a:lnTo>
                  <a:lnTo>
                    <a:pt x="2357" y="1809"/>
                  </a:lnTo>
                  <a:lnTo>
                    <a:pt x="2355" y="1809"/>
                  </a:lnTo>
                  <a:lnTo>
                    <a:pt x="2355" y="1809"/>
                  </a:lnTo>
                  <a:lnTo>
                    <a:pt x="2355" y="1809"/>
                  </a:lnTo>
                  <a:lnTo>
                    <a:pt x="2355" y="1809"/>
                  </a:lnTo>
                  <a:lnTo>
                    <a:pt x="2355" y="1809"/>
                  </a:lnTo>
                  <a:lnTo>
                    <a:pt x="2355" y="1809"/>
                  </a:lnTo>
                  <a:lnTo>
                    <a:pt x="2355" y="1809"/>
                  </a:lnTo>
                  <a:lnTo>
                    <a:pt x="2352" y="1809"/>
                  </a:lnTo>
                  <a:lnTo>
                    <a:pt x="2350" y="1809"/>
                  </a:lnTo>
                  <a:lnTo>
                    <a:pt x="2350" y="1809"/>
                  </a:lnTo>
                  <a:lnTo>
                    <a:pt x="2350" y="1809"/>
                  </a:lnTo>
                  <a:lnTo>
                    <a:pt x="2345" y="1812"/>
                  </a:lnTo>
                  <a:lnTo>
                    <a:pt x="2345" y="1812"/>
                  </a:lnTo>
                  <a:lnTo>
                    <a:pt x="2338" y="1812"/>
                  </a:lnTo>
                  <a:lnTo>
                    <a:pt x="2338" y="1812"/>
                  </a:lnTo>
                  <a:lnTo>
                    <a:pt x="2338" y="1812"/>
                  </a:lnTo>
                  <a:lnTo>
                    <a:pt x="2338" y="1812"/>
                  </a:lnTo>
                  <a:lnTo>
                    <a:pt x="2348" y="1809"/>
                  </a:lnTo>
                  <a:lnTo>
                    <a:pt x="2348" y="1807"/>
                  </a:lnTo>
                  <a:lnTo>
                    <a:pt x="2348" y="1807"/>
                  </a:lnTo>
                  <a:lnTo>
                    <a:pt x="2348" y="1807"/>
                  </a:lnTo>
                  <a:lnTo>
                    <a:pt x="2345" y="1809"/>
                  </a:lnTo>
                  <a:lnTo>
                    <a:pt x="2343" y="1809"/>
                  </a:lnTo>
                  <a:lnTo>
                    <a:pt x="2341" y="1807"/>
                  </a:lnTo>
                  <a:lnTo>
                    <a:pt x="2338" y="1807"/>
                  </a:lnTo>
                  <a:lnTo>
                    <a:pt x="2336" y="1807"/>
                  </a:lnTo>
                  <a:lnTo>
                    <a:pt x="2336" y="1807"/>
                  </a:lnTo>
                  <a:lnTo>
                    <a:pt x="2333" y="1807"/>
                  </a:lnTo>
                  <a:lnTo>
                    <a:pt x="2333" y="1807"/>
                  </a:lnTo>
                  <a:lnTo>
                    <a:pt x="2331" y="1807"/>
                  </a:lnTo>
                  <a:lnTo>
                    <a:pt x="2326" y="1805"/>
                  </a:lnTo>
                  <a:lnTo>
                    <a:pt x="2324" y="1805"/>
                  </a:lnTo>
                  <a:lnTo>
                    <a:pt x="2326" y="1805"/>
                  </a:lnTo>
                  <a:lnTo>
                    <a:pt x="2326" y="1805"/>
                  </a:lnTo>
                  <a:lnTo>
                    <a:pt x="2326" y="1805"/>
                  </a:lnTo>
                  <a:lnTo>
                    <a:pt x="2326" y="1802"/>
                  </a:lnTo>
                  <a:lnTo>
                    <a:pt x="2326" y="1802"/>
                  </a:lnTo>
                  <a:lnTo>
                    <a:pt x="2326" y="1802"/>
                  </a:lnTo>
                  <a:lnTo>
                    <a:pt x="2326" y="1802"/>
                  </a:lnTo>
                  <a:lnTo>
                    <a:pt x="2326" y="1802"/>
                  </a:lnTo>
                  <a:lnTo>
                    <a:pt x="2329" y="1802"/>
                  </a:lnTo>
                  <a:lnTo>
                    <a:pt x="2331" y="1802"/>
                  </a:lnTo>
                  <a:lnTo>
                    <a:pt x="2331" y="1802"/>
                  </a:lnTo>
                  <a:lnTo>
                    <a:pt x="2331" y="1800"/>
                  </a:lnTo>
                  <a:lnTo>
                    <a:pt x="2331" y="1800"/>
                  </a:lnTo>
                  <a:lnTo>
                    <a:pt x="2338" y="1797"/>
                  </a:lnTo>
                  <a:lnTo>
                    <a:pt x="2341" y="1797"/>
                  </a:lnTo>
                  <a:lnTo>
                    <a:pt x="2336" y="1800"/>
                  </a:lnTo>
                  <a:lnTo>
                    <a:pt x="2333" y="1800"/>
                  </a:lnTo>
                  <a:lnTo>
                    <a:pt x="2333" y="1800"/>
                  </a:lnTo>
                  <a:lnTo>
                    <a:pt x="2333" y="1802"/>
                  </a:lnTo>
                  <a:lnTo>
                    <a:pt x="2329" y="1805"/>
                  </a:lnTo>
                  <a:lnTo>
                    <a:pt x="2329" y="1805"/>
                  </a:lnTo>
                  <a:lnTo>
                    <a:pt x="2329" y="1807"/>
                  </a:lnTo>
                  <a:lnTo>
                    <a:pt x="2333" y="1805"/>
                  </a:lnTo>
                  <a:lnTo>
                    <a:pt x="2336" y="1807"/>
                  </a:lnTo>
                  <a:lnTo>
                    <a:pt x="2336" y="1807"/>
                  </a:lnTo>
                  <a:lnTo>
                    <a:pt x="2341" y="1807"/>
                  </a:lnTo>
                  <a:lnTo>
                    <a:pt x="2343" y="1807"/>
                  </a:lnTo>
                  <a:lnTo>
                    <a:pt x="2345" y="1807"/>
                  </a:lnTo>
                  <a:lnTo>
                    <a:pt x="2345" y="1807"/>
                  </a:lnTo>
                  <a:lnTo>
                    <a:pt x="2345" y="1805"/>
                  </a:lnTo>
                  <a:lnTo>
                    <a:pt x="2348" y="1805"/>
                  </a:lnTo>
                  <a:lnTo>
                    <a:pt x="2348" y="1805"/>
                  </a:lnTo>
                  <a:lnTo>
                    <a:pt x="2348" y="1805"/>
                  </a:lnTo>
                  <a:lnTo>
                    <a:pt x="2348" y="1807"/>
                  </a:lnTo>
                  <a:lnTo>
                    <a:pt x="2348" y="1807"/>
                  </a:lnTo>
                  <a:lnTo>
                    <a:pt x="2350" y="1807"/>
                  </a:lnTo>
                  <a:lnTo>
                    <a:pt x="2352" y="1805"/>
                  </a:lnTo>
                  <a:lnTo>
                    <a:pt x="2355" y="1807"/>
                  </a:lnTo>
                  <a:lnTo>
                    <a:pt x="2355" y="1807"/>
                  </a:lnTo>
                  <a:lnTo>
                    <a:pt x="2355" y="1805"/>
                  </a:lnTo>
                  <a:lnTo>
                    <a:pt x="2355" y="1805"/>
                  </a:lnTo>
                  <a:lnTo>
                    <a:pt x="2355" y="1805"/>
                  </a:lnTo>
                  <a:lnTo>
                    <a:pt x="2352" y="1805"/>
                  </a:lnTo>
                  <a:lnTo>
                    <a:pt x="2352" y="1802"/>
                  </a:lnTo>
                  <a:lnTo>
                    <a:pt x="2352" y="1802"/>
                  </a:lnTo>
                  <a:lnTo>
                    <a:pt x="2350" y="1805"/>
                  </a:lnTo>
                  <a:lnTo>
                    <a:pt x="2350" y="1802"/>
                  </a:lnTo>
                  <a:lnTo>
                    <a:pt x="2350" y="1802"/>
                  </a:lnTo>
                  <a:lnTo>
                    <a:pt x="2352" y="1802"/>
                  </a:lnTo>
                  <a:lnTo>
                    <a:pt x="2352" y="1802"/>
                  </a:lnTo>
                  <a:lnTo>
                    <a:pt x="2352" y="1802"/>
                  </a:lnTo>
                  <a:lnTo>
                    <a:pt x="2352" y="1800"/>
                  </a:lnTo>
                  <a:lnTo>
                    <a:pt x="2352" y="1800"/>
                  </a:lnTo>
                  <a:lnTo>
                    <a:pt x="2350" y="1800"/>
                  </a:lnTo>
                  <a:lnTo>
                    <a:pt x="2348" y="1800"/>
                  </a:lnTo>
                  <a:lnTo>
                    <a:pt x="2348" y="1800"/>
                  </a:lnTo>
                  <a:lnTo>
                    <a:pt x="2348" y="1802"/>
                  </a:lnTo>
                  <a:lnTo>
                    <a:pt x="2348" y="1802"/>
                  </a:lnTo>
                  <a:lnTo>
                    <a:pt x="2348" y="1805"/>
                  </a:lnTo>
                  <a:lnTo>
                    <a:pt x="2348" y="1802"/>
                  </a:lnTo>
                  <a:lnTo>
                    <a:pt x="2348" y="1802"/>
                  </a:lnTo>
                  <a:lnTo>
                    <a:pt x="2348" y="1802"/>
                  </a:lnTo>
                  <a:lnTo>
                    <a:pt x="2348" y="1800"/>
                  </a:lnTo>
                  <a:lnTo>
                    <a:pt x="2345" y="1800"/>
                  </a:lnTo>
                  <a:lnTo>
                    <a:pt x="2345" y="1800"/>
                  </a:lnTo>
                  <a:lnTo>
                    <a:pt x="2345" y="1800"/>
                  </a:lnTo>
                  <a:lnTo>
                    <a:pt x="2345" y="1797"/>
                  </a:lnTo>
                  <a:lnTo>
                    <a:pt x="2348" y="1797"/>
                  </a:lnTo>
                  <a:lnTo>
                    <a:pt x="2348" y="1797"/>
                  </a:lnTo>
                  <a:lnTo>
                    <a:pt x="2350" y="1797"/>
                  </a:lnTo>
                  <a:lnTo>
                    <a:pt x="2350" y="1795"/>
                  </a:lnTo>
                  <a:lnTo>
                    <a:pt x="2350" y="1795"/>
                  </a:lnTo>
                  <a:lnTo>
                    <a:pt x="2352" y="1795"/>
                  </a:lnTo>
                  <a:lnTo>
                    <a:pt x="2352" y="1795"/>
                  </a:lnTo>
                  <a:lnTo>
                    <a:pt x="2352" y="1795"/>
                  </a:lnTo>
                  <a:lnTo>
                    <a:pt x="2352" y="1793"/>
                  </a:lnTo>
                  <a:lnTo>
                    <a:pt x="2352" y="1793"/>
                  </a:lnTo>
                  <a:lnTo>
                    <a:pt x="2352" y="1793"/>
                  </a:lnTo>
                  <a:lnTo>
                    <a:pt x="2350" y="1790"/>
                  </a:lnTo>
                  <a:lnTo>
                    <a:pt x="2352" y="1790"/>
                  </a:lnTo>
                  <a:lnTo>
                    <a:pt x="2352" y="1790"/>
                  </a:lnTo>
                  <a:lnTo>
                    <a:pt x="2352" y="1788"/>
                  </a:lnTo>
                  <a:lnTo>
                    <a:pt x="2352" y="1788"/>
                  </a:lnTo>
                  <a:lnTo>
                    <a:pt x="2352" y="1788"/>
                  </a:lnTo>
                  <a:lnTo>
                    <a:pt x="2352" y="1786"/>
                  </a:lnTo>
                  <a:lnTo>
                    <a:pt x="2352" y="1786"/>
                  </a:lnTo>
                  <a:lnTo>
                    <a:pt x="2352" y="1786"/>
                  </a:lnTo>
                  <a:lnTo>
                    <a:pt x="2355" y="1783"/>
                  </a:lnTo>
                  <a:lnTo>
                    <a:pt x="2355" y="1783"/>
                  </a:lnTo>
                  <a:lnTo>
                    <a:pt x="2355" y="1783"/>
                  </a:lnTo>
                  <a:lnTo>
                    <a:pt x="2357" y="1783"/>
                  </a:lnTo>
                  <a:lnTo>
                    <a:pt x="2357" y="1783"/>
                  </a:lnTo>
                  <a:lnTo>
                    <a:pt x="2357" y="1783"/>
                  </a:lnTo>
                  <a:lnTo>
                    <a:pt x="2357" y="1783"/>
                  </a:lnTo>
                  <a:lnTo>
                    <a:pt x="2359" y="1783"/>
                  </a:lnTo>
                  <a:lnTo>
                    <a:pt x="2359" y="1783"/>
                  </a:lnTo>
                  <a:lnTo>
                    <a:pt x="2357" y="1783"/>
                  </a:lnTo>
                  <a:lnTo>
                    <a:pt x="2357" y="1783"/>
                  </a:lnTo>
                  <a:lnTo>
                    <a:pt x="2357" y="1783"/>
                  </a:lnTo>
                  <a:lnTo>
                    <a:pt x="2357" y="1783"/>
                  </a:lnTo>
                  <a:lnTo>
                    <a:pt x="2357" y="1783"/>
                  </a:lnTo>
                  <a:lnTo>
                    <a:pt x="2357" y="1781"/>
                  </a:lnTo>
                  <a:lnTo>
                    <a:pt x="2357" y="1781"/>
                  </a:lnTo>
                  <a:lnTo>
                    <a:pt x="2357" y="1781"/>
                  </a:lnTo>
                  <a:lnTo>
                    <a:pt x="2357" y="1781"/>
                  </a:lnTo>
                  <a:lnTo>
                    <a:pt x="2357" y="1781"/>
                  </a:lnTo>
                  <a:lnTo>
                    <a:pt x="2357" y="1781"/>
                  </a:lnTo>
                  <a:lnTo>
                    <a:pt x="2357" y="1781"/>
                  </a:lnTo>
                  <a:lnTo>
                    <a:pt x="2357" y="1781"/>
                  </a:lnTo>
                  <a:lnTo>
                    <a:pt x="2355" y="1779"/>
                  </a:lnTo>
                  <a:lnTo>
                    <a:pt x="2355" y="1779"/>
                  </a:lnTo>
                  <a:lnTo>
                    <a:pt x="2355" y="1779"/>
                  </a:lnTo>
                  <a:lnTo>
                    <a:pt x="2355" y="1779"/>
                  </a:lnTo>
                  <a:lnTo>
                    <a:pt x="2355" y="1776"/>
                  </a:lnTo>
                  <a:lnTo>
                    <a:pt x="2355" y="1776"/>
                  </a:lnTo>
                  <a:lnTo>
                    <a:pt x="2355" y="1776"/>
                  </a:lnTo>
                  <a:lnTo>
                    <a:pt x="2352" y="1776"/>
                  </a:lnTo>
                  <a:lnTo>
                    <a:pt x="2350" y="1774"/>
                  </a:lnTo>
                  <a:lnTo>
                    <a:pt x="2350" y="1776"/>
                  </a:lnTo>
                  <a:lnTo>
                    <a:pt x="2345" y="1776"/>
                  </a:lnTo>
                  <a:lnTo>
                    <a:pt x="2345" y="1776"/>
                  </a:lnTo>
                  <a:lnTo>
                    <a:pt x="2343" y="1776"/>
                  </a:lnTo>
                  <a:lnTo>
                    <a:pt x="2343" y="1776"/>
                  </a:lnTo>
                  <a:lnTo>
                    <a:pt x="2345" y="1776"/>
                  </a:lnTo>
                  <a:lnTo>
                    <a:pt x="2345" y="1776"/>
                  </a:lnTo>
                  <a:lnTo>
                    <a:pt x="2345" y="1774"/>
                  </a:lnTo>
                  <a:lnTo>
                    <a:pt x="2345" y="1771"/>
                  </a:lnTo>
                  <a:lnTo>
                    <a:pt x="2345" y="1771"/>
                  </a:lnTo>
                  <a:lnTo>
                    <a:pt x="2343" y="1779"/>
                  </a:lnTo>
                  <a:lnTo>
                    <a:pt x="2341" y="1776"/>
                  </a:lnTo>
                  <a:lnTo>
                    <a:pt x="2341" y="1776"/>
                  </a:lnTo>
                  <a:lnTo>
                    <a:pt x="2341" y="1776"/>
                  </a:lnTo>
                  <a:lnTo>
                    <a:pt x="2341" y="1776"/>
                  </a:lnTo>
                  <a:lnTo>
                    <a:pt x="2341" y="1779"/>
                  </a:lnTo>
                  <a:lnTo>
                    <a:pt x="2338" y="1779"/>
                  </a:lnTo>
                  <a:lnTo>
                    <a:pt x="2338" y="1776"/>
                  </a:lnTo>
                  <a:lnTo>
                    <a:pt x="2338" y="1776"/>
                  </a:lnTo>
                  <a:lnTo>
                    <a:pt x="2336" y="1776"/>
                  </a:lnTo>
                  <a:lnTo>
                    <a:pt x="2336" y="1776"/>
                  </a:lnTo>
                  <a:lnTo>
                    <a:pt x="2336" y="1776"/>
                  </a:lnTo>
                  <a:lnTo>
                    <a:pt x="2336" y="1776"/>
                  </a:lnTo>
                  <a:lnTo>
                    <a:pt x="2336" y="1776"/>
                  </a:lnTo>
                  <a:lnTo>
                    <a:pt x="2333" y="1776"/>
                  </a:lnTo>
                  <a:lnTo>
                    <a:pt x="2333" y="1776"/>
                  </a:lnTo>
                  <a:lnTo>
                    <a:pt x="2333" y="1776"/>
                  </a:lnTo>
                  <a:lnTo>
                    <a:pt x="2333" y="1776"/>
                  </a:lnTo>
                  <a:lnTo>
                    <a:pt x="2333" y="1776"/>
                  </a:lnTo>
                  <a:lnTo>
                    <a:pt x="2336" y="1774"/>
                  </a:lnTo>
                  <a:lnTo>
                    <a:pt x="2336" y="1774"/>
                  </a:lnTo>
                  <a:lnTo>
                    <a:pt x="2336" y="1774"/>
                  </a:lnTo>
                  <a:lnTo>
                    <a:pt x="2336" y="1771"/>
                  </a:lnTo>
                  <a:lnTo>
                    <a:pt x="2336" y="1771"/>
                  </a:lnTo>
                  <a:lnTo>
                    <a:pt x="2336" y="1771"/>
                  </a:lnTo>
                  <a:lnTo>
                    <a:pt x="2336" y="1771"/>
                  </a:lnTo>
                  <a:lnTo>
                    <a:pt x="2336" y="1769"/>
                  </a:lnTo>
                  <a:lnTo>
                    <a:pt x="2336" y="1769"/>
                  </a:lnTo>
                  <a:lnTo>
                    <a:pt x="2336" y="1769"/>
                  </a:lnTo>
                  <a:lnTo>
                    <a:pt x="2333" y="1769"/>
                  </a:lnTo>
                  <a:lnTo>
                    <a:pt x="2333" y="1769"/>
                  </a:lnTo>
                  <a:lnTo>
                    <a:pt x="2336" y="1767"/>
                  </a:lnTo>
                  <a:lnTo>
                    <a:pt x="2338" y="1767"/>
                  </a:lnTo>
                  <a:lnTo>
                    <a:pt x="2336" y="1767"/>
                  </a:lnTo>
                  <a:lnTo>
                    <a:pt x="2333" y="1764"/>
                  </a:lnTo>
                  <a:lnTo>
                    <a:pt x="2329" y="1764"/>
                  </a:lnTo>
                  <a:lnTo>
                    <a:pt x="2326" y="1764"/>
                  </a:lnTo>
                  <a:lnTo>
                    <a:pt x="2324" y="1764"/>
                  </a:lnTo>
                  <a:lnTo>
                    <a:pt x="2324" y="1764"/>
                  </a:lnTo>
                  <a:lnTo>
                    <a:pt x="2324" y="1767"/>
                  </a:lnTo>
                  <a:lnTo>
                    <a:pt x="2324" y="1767"/>
                  </a:lnTo>
                  <a:lnTo>
                    <a:pt x="2324" y="1767"/>
                  </a:lnTo>
                  <a:lnTo>
                    <a:pt x="2324" y="1767"/>
                  </a:lnTo>
                  <a:lnTo>
                    <a:pt x="2322" y="1767"/>
                  </a:lnTo>
                  <a:lnTo>
                    <a:pt x="2322" y="1767"/>
                  </a:lnTo>
                  <a:lnTo>
                    <a:pt x="2322" y="1769"/>
                  </a:lnTo>
                  <a:lnTo>
                    <a:pt x="2322" y="1769"/>
                  </a:lnTo>
                  <a:lnTo>
                    <a:pt x="2319" y="1769"/>
                  </a:lnTo>
                  <a:lnTo>
                    <a:pt x="2319" y="1769"/>
                  </a:lnTo>
                  <a:lnTo>
                    <a:pt x="2319" y="1769"/>
                  </a:lnTo>
                  <a:lnTo>
                    <a:pt x="2317" y="1769"/>
                  </a:lnTo>
                  <a:lnTo>
                    <a:pt x="2317" y="1769"/>
                  </a:lnTo>
                  <a:lnTo>
                    <a:pt x="2314" y="1769"/>
                  </a:lnTo>
                  <a:lnTo>
                    <a:pt x="2314" y="1767"/>
                  </a:lnTo>
                  <a:lnTo>
                    <a:pt x="2312" y="1767"/>
                  </a:lnTo>
                  <a:lnTo>
                    <a:pt x="2314" y="1767"/>
                  </a:lnTo>
                  <a:lnTo>
                    <a:pt x="2317" y="1767"/>
                  </a:lnTo>
                  <a:lnTo>
                    <a:pt x="2319" y="1767"/>
                  </a:lnTo>
                  <a:lnTo>
                    <a:pt x="2319" y="1767"/>
                  </a:lnTo>
                  <a:lnTo>
                    <a:pt x="2319" y="1767"/>
                  </a:lnTo>
                  <a:lnTo>
                    <a:pt x="2319" y="1764"/>
                  </a:lnTo>
                  <a:lnTo>
                    <a:pt x="2319" y="1762"/>
                  </a:lnTo>
                  <a:lnTo>
                    <a:pt x="2322" y="1762"/>
                  </a:lnTo>
                  <a:lnTo>
                    <a:pt x="2324" y="1762"/>
                  </a:lnTo>
                  <a:lnTo>
                    <a:pt x="2324" y="1762"/>
                  </a:lnTo>
                  <a:lnTo>
                    <a:pt x="2326" y="1760"/>
                  </a:lnTo>
                  <a:lnTo>
                    <a:pt x="2326" y="1760"/>
                  </a:lnTo>
                  <a:lnTo>
                    <a:pt x="2326" y="1760"/>
                  </a:lnTo>
                  <a:lnTo>
                    <a:pt x="2326" y="1760"/>
                  </a:lnTo>
                  <a:lnTo>
                    <a:pt x="2324" y="1757"/>
                  </a:lnTo>
                  <a:lnTo>
                    <a:pt x="2324" y="1757"/>
                  </a:lnTo>
                  <a:lnTo>
                    <a:pt x="2326" y="1757"/>
                  </a:lnTo>
                  <a:lnTo>
                    <a:pt x="2326" y="1757"/>
                  </a:lnTo>
                  <a:lnTo>
                    <a:pt x="2326" y="1755"/>
                  </a:lnTo>
                  <a:lnTo>
                    <a:pt x="2329" y="1755"/>
                  </a:lnTo>
                  <a:lnTo>
                    <a:pt x="2329" y="1755"/>
                  </a:lnTo>
                  <a:lnTo>
                    <a:pt x="2329" y="1755"/>
                  </a:lnTo>
                  <a:lnTo>
                    <a:pt x="2329" y="1755"/>
                  </a:lnTo>
                  <a:lnTo>
                    <a:pt x="2329" y="1752"/>
                  </a:lnTo>
                  <a:lnTo>
                    <a:pt x="2329" y="1752"/>
                  </a:lnTo>
                  <a:lnTo>
                    <a:pt x="2329" y="1752"/>
                  </a:lnTo>
                  <a:lnTo>
                    <a:pt x="2329" y="1752"/>
                  </a:lnTo>
                  <a:lnTo>
                    <a:pt x="2329" y="1752"/>
                  </a:lnTo>
                  <a:lnTo>
                    <a:pt x="2326" y="1750"/>
                  </a:lnTo>
                  <a:lnTo>
                    <a:pt x="2326" y="1750"/>
                  </a:lnTo>
                  <a:lnTo>
                    <a:pt x="2326" y="1750"/>
                  </a:lnTo>
                  <a:lnTo>
                    <a:pt x="2326" y="1748"/>
                  </a:lnTo>
                  <a:lnTo>
                    <a:pt x="2324" y="1748"/>
                  </a:lnTo>
                  <a:lnTo>
                    <a:pt x="2322" y="1748"/>
                  </a:lnTo>
                  <a:lnTo>
                    <a:pt x="2322" y="1748"/>
                  </a:lnTo>
                  <a:lnTo>
                    <a:pt x="2319" y="1748"/>
                  </a:lnTo>
                  <a:lnTo>
                    <a:pt x="2319" y="1745"/>
                  </a:lnTo>
                  <a:lnTo>
                    <a:pt x="2319" y="1745"/>
                  </a:lnTo>
                  <a:lnTo>
                    <a:pt x="2319" y="1745"/>
                  </a:lnTo>
                  <a:lnTo>
                    <a:pt x="2319" y="1745"/>
                  </a:lnTo>
                  <a:lnTo>
                    <a:pt x="2319" y="1745"/>
                  </a:lnTo>
                  <a:lnTo>
                    <a:pt x="2319" y="1743"/>
                  </a:lnTo>
                  <a:lnTo>
                    <a:pt x="2319" y="1743"/>
                  </a:lnTo>
                  <a:lnTo>
                    <a:pt x="2319" y="1741"/>
                  </a:lnTo>
                  <a:lnTo>
                    <a:pt x="2319" y="1741"/>
                  </a:lnTo>
                  <a:lnTo>
                    <a:pt x="2319" y="1741"/>
                  </a:lnTo>
                  <a:lnTo>
                    <a:pt x="2319" y="1741"/>
                  </a:lnTo>
                  <a:lnTo>
                    <a:pt x="2319" y="1738"/>
                  </a:lnTo>
                  <a:lnTo>
                    <a:pt x="2317" y="1738"/>
                  </a:lnTo>
                  <a:lnTo>
                    <a:pt x="2317" y="1738"/>
                  </a:lnTo>
                  <a:lnTo>
                    <a:pt x="2317" y="1738"/>
                  </a:lnTo>
                  <a:lnTo>
                    <a:pt x="2317" y="1738"/>
                  </a:lnTo>
                  <a:lnTo>
                    <a:pt x="2317" y="1738"/>
                  </a:lnTo>
                  <a:lnTo>
                    <a:pt x="2314" y="1738"/>
                  </a:lnTo>
                  <a:lnTo>
                    <a:pt x="2314" y="1738"/>
                  </a:lnTo>
                  <a:lnTo>
                    <a:pt x="2314" y="1741"/>
                  </a:lnTo>
                  <a:lnTo>
                    <a:pt x="2314" y="1741"/>
                  </a:lnTo>
                  <a:lnTo>
                    <a:pt x="2314" y="1743"/>
                  </a:lnTo>
                  <a:lnTo>
                    <a:pt x="2314" y="1741"/>
                  </a:lnTo>
                  <a:lnTo>
                    <a:pt x="2314" y="1741"/>
                  </a:lnTo>
                  <a:lnTo>
                    <a:pt x="2314" y="1741"/>
                  </a:lnTo>
                  <a:lnTo>
                    <a:pt x="2314" y="1741"/>
                  </a:lnTo>
                  <a:lnTo>
                    <a:pt x="2312" y="1741"/>
                  </a:lnTo>
                  <a:lnTo>
                    <a:pt x="2312" y="1741"/>
                  </a:lnTo>
                  <a:lnTo>
                    <a:pt x="2312" y="1741"/>
                  </a:lnTo>
                  <a:lnTo>
                    <a:pt x="2312" y="1743"/>
                  </a:lnTo>
                  <a:lnTo>
                    <a:pt x="2312" y="1743"/>
                  </a:lnTo>
                  <a:lnTo>
                    <a:pt x="2310" y="1743"/>
                  </a:lnTo>
                  <a:lnTo>
                    <a:pt x="2312" y="1743"/>
                  </a:lnTo>
                  <a:lnTo>
                    <a:pt x="2310" y="1741"/>
                  </a:lnTo>
                  <a:lnTo>
                    <a:pt x="2310" y="1741"/>
                  </a:lnTo>
                  <a:lnTo>
                    <a:pt x="2310" y="1738"/>
                  </a:lnTo>
                  <a:lnTo>
                    <a:pt x="2310" y="1741"/>
                  </a:lnTo>
                  <a:lnTo>
                    <a:pt x="2310" y="1741"/>
                  </a:lnTo>
                  <a:lnTo>
                    <a:pt x="2310" y="1743"/>
                  </a:lnTo>
                  <a:lnTo>
                    <a:pt x="2310" y="1745"/>
                  </a:lnTo>
                  <a:lnTo>
                    <a:pt x="2310" y="1745"/>
                  </a:lnTo>
                  <a:lnTo>
                    <a:pt x="2310" y="1745"/>
                  </a:lnTo>
                  <a:lnTo>
                    <a:pt x="2310" y="1745"/>
                  </a:lnTo>
                  <a:lnTo>
                    <a:pt x="2310" y="1745"/>
                  </a:lnTo>
                  <a:lnTo>
                    <a:pt x="2310" y="1743"/>
                  </a:lnTo>
                  <a:lnTo>
                    <a:pt x="2307" y="1743"/>
                  </a:lnTo>
                  <a:lnTo>
                    <a:pt x="2307" y="1743"/>
                  </a:lnTo>
                  <a:lnTo>
                    <a:pt x="2307" y="1743"/>
                  </a:lnTo>
                  <a:lnTo>
                    <a:pt x="2307" y="1741"/>
                  </a:lnTo>
                  <a:lnTo>
                    <a:pt x="2307" y="1741"/>
                  </a:lnTo>
                  <a:lnTo>
                    <a:pt x="2305" y="1741"/>
                  </a:lnTo>
                  <a:lnTo>
                    <a:pt x="2305" y="1741"/>
                  </a:lnTo>
                  <a:lnTo>
                    <a:pt x="2303" y="1743"/>
                  </a:lnTo>
                  <a:lnTo>
                    <a:pt x="2303" y="1743"/>
                  </a:lnTo>
                  <a:lnTo>
                    <a:pt x="2303" y="1745"/>
                  </a:lnTo>
                  <a:lnTo>
                    <a:pt x="2300" y="1745"/>
                  </a:lnTo>
                  <a:lnTo>
                    <a:pt x="2300" y="1745"/>
                  </a:lnTo>
                  <a:lnTo>
                    <a:pt x="2303" y="1741"/>
                  </a:lnTo>
                  <a:lnTo>
                    <a:pt x="2305" y="1738"/>
                  </a:lnTo>
                  <a:lnTo>
                    <a:pt x="2305" y="1738"/>
                  </a:lnTo>
                  <a:lnTo>
                    <a:pt x="2307" y="1738"/>
                  </a:lnTo>
                  <a:lnTo>
                    <a:pt x="2307" y="1738"/>
                  </a:lnTo>
                  <a:lnTo>
                    <a:pt x="2307" y="1738"/>
                  </a:lnTo>
                  <a:lnTo>
                    <a:pt x="2310" y="1736"/>
                  </a:lnTo>
                  <a:lnTo>
                    <a:pt x="2310" y="1736"/>
                  </a:lnTo>
                  <a:lnTo>
                    <a:pt x="2310" y="1736"/>
                  </a:lnTo>
                  <a:lnTo>
                    <a:pt x="2307" y="1734"/>
                  </a:lnTo>
                  <a:lnTo>
                    <a:pt x="2307" y="1734"/>
                  </a:lnTo>
                  <a:lnTo>
                    <a:pt x="2307" y="1736"/>
                  </a:lnTo>
                  <a:lnTo>
                    <a:pt x="2307" y="1736"/>
                  </a:lnTo>
                  <a:lnTo>
                    <a:pt x="2307" y="1736"/>
                  </a:lnTo>
                  <a:lnTo>
                    <a:pt x="2307" y="1736"/>
                  </a:lnTo>
                  <a:lnTo>
                    <a:pt x="2307" y="1736"/>
                  </a:lnTo>
                  <a:lnTo>
                    <a:pt x="2305" y="1734"/>
                  </a:lnTo>
                  <a:lnTo>
                    <a:pt x="2305" y="1734"/>
                  </a:lnTo>
                  <a:lnTo>
                    <a:pt x="2307" y="1734"/>
                  </a:lnTo>
                  <a:lnTo>
                    <a:pt x="2307" y="1734"/>
                  </a:lnTo>
                  <a:lnTo>
                    <a:pt x="2305" y="1734"/>
                  </a:lnTo>
                  <a:lnTo>
                    <a:pt x="2305" y="1734"/>
                  </a:lnTo>
                  <a:lnTo>
                    <a:pt x="2305" y="1734"/>
                  </a:lnTo>
                  <a:lnTo>
                    <a:pt x="2303" y="1734"/>
                  </a:lnTo>
                  <a:lnTo>
                    <a:pt x="2303" y="1734"/>
                  </a:lnTo>
                  <a:lnTo>
                    <a:pt x="2303" y="1734"/>
                  </a:lnTo>
                  <a:lnTo>
                    <a:pt x="2303" y="1736"/>
                  </a:lnTo>
                  <a:lnTo>
                    <a:pt x="2303" y="1736"/>
                  </a:lnTo>
                  <a:lnTo>
                    <a:pt x="2303" y="1736"/>
                  </a:lnTo>
                  <a:lnTo>
                    <a:pt x="2303" y="1736"/>
                  </a:lnTo>
                  <a:lnTo>
                    <a:pt x="2303" y="1736"/>
                  </a:lnTo>
                  <a:lnTo>
                    <a:pt x="2303" y="1736"/>
                  </a:lnTo>
                  <a:lnTo>
                    <a:pt x="2303" y="1736"/>
                  </a:lnTo>
                  <a:lnTo>
                    <a:pt x="2303" y="1736"/>
                  </a:lnTo>
                  <a:lnTo>
                    <a:pt x="2303" y="1736"/>
                  </a:lnTo>
                  <a:lnTo>
                    <a:pt x="2303" y="1734"/>
                  </a:lnTo>
                  <a:lnTo>
                    <a:pt x="2303" y="1734"/>
                  </a:lnTo>
                  <a:lnTo>
                    <a:pt x="2303" y="1731"/>
                  </a:lnTo>
                  <a:lnTo>
                    <a:pt x="2303" y="1731"/>
                  </a:lnTo>
                  <a:lnTo>
                    <a:pt x="2303" y="1729"/>
                  </a:lnTo>
                  <a:lnTo>
                    <a:pt x="2303" y="1729"/>
                  </a:lnTo>
                  <a:lnTo>
                    <a:pt x="2300" y="1731"/>
                  </a:lnTo>
                  <a:lnTo>
                    <a:pt x="2300" y="1731"/>
                  </a:lnTo>
                  <a:lnTo>
                    <a:pt x="2300" y="1731"/>
                  </a:lnTo>
                  <a:lnTo>
                    <a:pt x="2300" y="1731"/>
                  </a:lnTo>
                  <a:lnTo>
                    <a:pt x="2300" y="1731"/>
                  </a:lnTo>
                  <a:lnTo>
                    <a:pt x="2300" y="1734"/>
                  </a:lnTo>
                  <a:lnTo>
                    <a:pt x="2300" y="1734"/>
                  </a:lnTo>
                  <a:lnTo>
                    <a:pt x="2300" y="1734"/>
                  </a:lnTo>
                  <a:lnTo>
                    <a:pt x="2300" y="1731"/>
                  </a:lnTo>
                  <a:lnTo>
                    <a:pt x="2300" y="1731"/>
                  </a:lnTo>
                  <a:lnTo>
                    <a:pt x="2298" y="1734"/>
                  </a:lnTo>
                  <a:lnTo>
                    <a:pt x="2298" y="1734"/>
                  </a:lnTo>
                  <a:lnTo>
                    <a:pt x="2298" y="1734"/>
                  </a:lnTo>
                  <a:lnTo>
                    <a:pt x="2298" y="1734"/>
                  </a:lnTo>
                  <a:lnTo>
                    <a:pt x="2298" y="1734"/>
                  </a:lnTo>
                  <a:lnTo>
                    <a:pt x="2298" y="1734"/>
                  </a:lnTo>
                  <a:lnTo>
                    <a:pt x="2296" y="1734"/>
                  </a:lnTo>
                  <a:lnTo>
                    <a:pt x="2296" y="1734"/>
                  </a:lnTo>
                  <a:lnTo>
                    <a:pt x="2296" y="1734"/>
                  </a:lnTo>
                  <a:lnTo>
                    <a:pt x="2296" y="1734"/>
                  </a:lnTo>
                  <a:lnTo>
                    <a:pt x="2296" y="1736"/>
                  </a:lnTo>
                  <a:lnTo>
                    <a:pt x="2296" y="1736"/>
                  </a:lnTo>
                  <a:lnTo>
                    <a:pt x="2296" y="1736"/>
                  </a:lnTo>
                  <a:lnTo>
                    <a:pt x="2296" y="1736"/>
                  </a:lnTo>
                  <a:lnTo>
                    <a:pt x="2296" y="1736"/>
                  </a:lnTo>
                  <a:lnTo>
                    <a:pt x="2296" y="1736"/>
                  </a:lnTo>
                  <a:lnTo>
                    <a:pt x="2293" y="1736"/>
                  </a:lnTo>
                  <a:lnTo>
                    <a:pt x="2293" y="1736"/>
                  </a:lnTo>
                  <a:lnTo>
                    <a:pt x="2293" y="1736"/>
                  </a:lnTo>
                  <a:lnTo>
                    <a:pt x="2291" y="1736"/>
                  </a:lnTo>
                  <a:lnTo>
                    <a:pt x="2293" y="1736"/>
                  </a:lnTo>
                  <a:lnTo>
                    <a:pt x="2293" y="1736"/>
                  </a:lnTo>
                  <a:lnTo>
                    <a:pt x="2293" y="1736"/>
                  </a:lnTo>
                  <a:lnTo>
                    <a:pt x="2291" y="1736"/>
                  </a:lnTo>
                  <a:lnTo>
                    <a:pt x="2291" y="1736"/>
                  </a:lnTo>
                  <a:lnTo>
                    <a:pt x="2291" y="1736"/>
                  </a:lnTo>
                  <a:lnTo>
                    <a:pt x="2291" y="1738"/>
                  </a:lnTo>
                  <a:lnTo>
                    <a:pt x="2288" y="1738"/>
                  </a:lnTo>
                  <a:lnTo>
                    <a:pt x="2288" y="1738"/>
                  </a:lnTo>
                  <a:lnTo>
                    <a:pt x="2288" y="1738"/>
                  </a:lnTo>
                  <a:lnTo>
                    <a:pt x="2288" y="1738"/>
                  </a:lnTo>
                  <a:lnTo>
                    <a:pt x="2288" y="1738"/>
                  </a:lnTo>
                  <a:lnTo>
                    <a:pt x="2288" y="1741"/>
                  </a:lnTo>
                  <a:lnTo>
                    <a:pt x="2288" y="1741"/>
                  </a:lnTo>
                  <a:lnTo>
                    <a:pt x="2288" y="1741"/>
                  </a:lnTo>
                  <a:lnTo>
                    <a:pt x="2286" y="1741"/>
                  </a:lnTo>
                  <a:lnTo>
                    <a:pt x="2286" y="1743"/>
                  </a:lnTo>
                  <a:lnTo>
                    <a:pt x="2286" y="1743"/>
                  </a:lnTo>
                  <a:lnTo>
                    <a:pt x="2286" y="1743"/>
                  </a:lnTo>
                  <a:lnTo>
                    <a:pt x="2286" y="1745"/>
                  </a:lnTo>
                  <a:lnTo>
                    <a:pt x="2286" y="1745"/>
                  </a:lnTo>
                  <a:lnTo>
                    <a:pt x="2286" y="1745"/>
                  </a:lnTo>
                  <a:lnTo>
                    <a:pt x="2286" y="1745"/>
                  </a:lnTo>
                  <a:lnTo>
                    <a:pt x="2281" y="1750"/>
                  </a:lnTo>
                  <a:lnTo>
                    <a:pt x="2281" y="1750"/>
                  </a:lnTo>
                  <a:lnTo>
                    <a:pt x="2281" y="1748"/>
                  </a:lnTo>
                  <a:lnTo>
                    <a:pt x="2281" y="1748"/>
                  </a:lnTo>
                  <a:lnTo>
                    <a:pt x="2284" y="1748"/>
                  </a:lnTo>
                  <a:lnTo>
                    <a:pt x="2284" y="1745"/>
                  </a:lnTo>
                  <a:lnTo>
                    <a:pt x="2284" y="1745"/>
                  </a:lnTo>
                  <a:lnTo>
                    <a:pt x="2286" y="1743"/>
                  </a:lnTo>
                  <a:lnTo>
                    <a:pt x="2286" y="1743"/>
                  </a:lnTo>
                  <a:lnTo>
                    <a:pt x="2284" y="1743"/>
                  </a:lnTo>
                  <a:lnTo>
                    <a:pt x="2284" y="1743"/>
                  </a:lnTo>
                  <a:lnTo>
                    <a:pt x="2284" y="1743"/>
                  </a:lnTo>
                  <a:lnTo>
                    <a:pt x="2284" y="1743"/>
                  </a:lnTo>
                  <a:lnTo>
                    <a:pt x="2286" y="1738"/>
                  </a:lnTo>
                  <a:lnTo>
                    <a:pt x="2286" y="1738"/>
                  </a:lnTo>
                  <a:lnTo>
                    <a:pt x="2286" y="1738"/>
                  </a:lnTo>
                  <a:lnTo>
                    <a:pt x="2286" y="1738"/>
                  </a:lnTo>
                  <a:lnTo>
                    <a:pt x="2286" y="1738"/>
                  </a:lnTo>
                  <a:lnTo>
                    <a:pt x="2293" y="1734"/>
                  </a:lnTo>
                  <a:lnTo>
                    <a:pt x="2293" y="1734"/>
                  </a:lnTo>
                  <a:lnTo>
                    <a:pt x="2296" y="1731"/>
                  </a:lnTo>
                  <a:lnTo>
                    <a:pt x="2298" y="1731"/>
                  </a:lnTo>
                  <a:lnTo>
                    <a:pt x="2298" y="1731"/>
                  </a:lnTo>
                  <a:lnTo>
                    <a:pt x="2298" y="1731"/>
                  </a:lnTo>
                  <a:lnTo>
                    <a:pt x="2298" y="1729"/>
                  </a:lnTo>
                  <a:lnTo>
                    <a:pt x="2298" y="1729"/>
                  </a:lnTo>
                  <a:lnTo>
                    <a:pt x="2298" y="1729"/>
                  </a:lnTo>
                  <a:lnTo>
                    <a:pt x="2298" y="1729"/>
                  </a:lnTo>
                  <a:lnTo>
                    <a:pt x="2298" y="1726"/>
                  </a:lnTo>
                  <a:lnTo>
                    <a:pt x="2298" y="1726"/>
                  </a:lnTo>
                  <a:lnTo>
                    <a:pt x="2296" y="1726"/>
                  </a:lnTo>
                  <a:lnTo>
                    <a:pt x="2296" y="1726"/>
                  </a:lnTo>
                  <a:lnTo>
                    <a:pt x="2296" y="1726"/>
                  </a:lnTo>
                  <a:lnTo>
                    <a:pt x="2296" y="1726"/>
                  </a:lnTo>
                  <a:lnTo>
                    <a:pt x="2293" y="1729"/>
                  </a:lnTo>
                  <a:lnTo>
                    <a:pt x="2291" y="1729"/>
                  </a:lnTo>
                  <a:lnTo>
                    <a:pt x="2291" y="1729"/>
                  </a:lnTo>
                  <a:lnTo>
                    <a:pt x="2291" y="1729"/>
                  </a:lnTo>
                  <a:lnTo>
                    <a:pt x="2291" y="1731"/>
                  </a:lnTo>
                  <a:lnTo>
                    <a:pt x="2291" y="1731"/>
                  </a:lnTo>
                  <a:lnTo>
                    <a:pt x="2288" y="1731"/>
                  </a:lnTo>
                  <a:lnTo>
                    <a:pt x="2291" y="1731"/>
                  </a:lnTo>
                  <a:lnTo>
                    <a:pt x="2288" y="1734"/>
                  </a:lnTo>
                  <a:lnTo>
                    <a:pt x="2288" y="1734"/>
                  </a:lnTo>
                  <a:lnTo>
                    <a:pt x="2288" y="1731"/>
                  </a:lnTo>
                  <a:lnTo>
                    <a:pt x="2288" y="1731"/>
                  </a:lnTo>
                  <a:lnTo>
                    <a:pt x="2288" y="1731"/>
                  </a:lnTo>
                  <a:lnTo>
                    <a:pt x="2288" y="1729"/>
                  </a:lnTo>
                  <a:lnTo>
                    <a:pt x="2288" y="1729"/>
                  </a:lnTo>
                  <a:lnTo>
                    <a:pt x="2293" y="1726"/>
                  </a:lnTo>
                  <a:lnTo>
                    <a:pt x="2293" y="1726"/>
                  </a:lnTo>
                  <a:lnTo>
                    <a:pt x="2293" y="1726"/>
                  </a:lnTo>
                  <a:lnTo>
                    <a:pt x="2293" y="1726"/>
                  </a:lnTo>
                  <a:lnTo>
                    <a:pt x="2293" y="1726"/>
                  </a:lnTo>
                  <a:lnTo>
                    <a:pt x="2296" y="1724"/>
                  </a:lnTo>
                  <a:lnTo>
                    <a:pt x="2296" y="1724"/>
                  </a:lnTo>
                  <a:lnTo>
                    <a:pt x="2296" y="1724"/>
                  </a:lnTo>
                  <a:lnTo>
                    <a:pt x="2296" y="1722"/>
                  </a:lnTo>
                  <a:lnTo>
                    <a:pt x="2293" y="1722"/>
                  </a:lnTo>
                  <a:lnTo>
                    <a:pt x="2293" y="1722"/>
                  </a:lnTo>
                  <a:lnTo>
                    <a:pt x="2293" y="1722"/>
                  </a:lnTo>
                  <a:lnTo>
                    <a:pt x="2293" y="1719"/>
                  </a:lnTo>
                  <a:lnTo>
                    <a:pt x="2293" y="1719"/>
                  </a:lnTo>
                  <a:lnTo>
                    <a:pt x="2293" y="1717"/>
                  </a:lnTo>
                  <a:lnTo>
                    <a:pt x="2293" y="1717"/>
                  </a:lnTo>
                  <a:lnTo>
                    <a:pt x="2293" y="1717"/>
                  </a:lnTo>
                  <a:lnTo>
                    <a:pt x="2293" y="1717"/>
                  </a:lnTo>
                  <a:lnTo>
                    <a:pt x="2293" y="1717"/>
                  </a:lnTo>
                  <a:lnTo>
                    <a:pt x="2293" y="1715"/>
                  </a:lnTo>
                  <a:lnTo>
                    <a:pt x="2293" y="1712"/>
                  </a:lnTo>
                  <a:lnTo>
                    <a:pt x="2291" y="1715"/>
                  </a:lnTo>
                  <a:lnTo>
                    <a:pt x="2288" y="1715"/>
                  </a:lnTo>
                  <a:lnTo>
                    <a:pt x="2288" y="1715"/>
                  </a:lnTo>
                  <a:lnTo>
                    <a:pt x="2288" y="1715"/>
                  </a:lnTo>
                  <a:lnTo>
                    <a:pt x="2288" y="1715"/>
                  </a:lnTo>
                  <a:lnTo>
                    <a:pt x="2288" y="1715"/>
                  </a:lnTo>
                  <a:lnTo>
                    <a:pt x="2288" y="1717"/>
                  </a:lnTo>
                  <a:lnTo>
                    <a:pt x="2288" y="1717"/>
                  </a:lnTo>
                  <a:lnTo>
                    <a:pt x="2288" y="1717"/>
                  </a:lnTo>
                  <a:lnTo>
                    <a:pt x="2288" y="1717"/>
                  </a:lnTo>
                  <a:lnTo>
                    <a:pt x="2288" y="1717"/>
                  </a:lnTo>
                  <a:lnTo>
                    <a:pt x="2286" y="1717"/>
                  </a:lnTo>
                  <a:lnTo>
                    <a:pt x="2286" y="1715"/>
                  </a:lnTo>
                  <a:lnTo>
                    <a:pt x="2286" y="1715"/>
                  </a:lnTo>
                  <a:lnTo>
                    <a:pt x="2286" y="1717"/>
                  </a:lnTo>
                  <a:lnTo>
                    <a:pt x="2286" y="1717"/>
                  </a:lnTo>
                  <a:lnTo>
                    <a:pt x="2286" y="1717"/>
                  </a:lnTo>
                  <a:lnTo>
                    <a:pt x="2286" y="1717"/>
                  </a:lnTo>
                  <a:lnTo>
                    <a:pt x="2286" y="1717"/>
                  </a:lnTo>
                  <a:lnTo>
                    <a:pt x="2286" y="1717"/>
                  </a:lnTo>
                  <a:lnTo>
                    <a:pt x="2286" y="1717"/>
                  </a:lnTo>
                  <a:lnTo>
                    <a:pt x="2284" y="1719"/>
                  </a:lnTo>
                  <a:lnTo>
                    <a:pt x="2284" y="1719"/>
                  </a:lnTo>
                  <a:lnTo>
                    <a:pt x="2284" y="1719"/>
                  </a:lnTo>
                  <a:lnTo>
                    <a:pt x="2281" y="1719"/>
                  </a:lnTo>
                  <a:lnTo>
                    <a:pt x="2281" y="1722"/>
                  </a:lnTo>
                  <a:lnTo>
                    <a:pt x="2281" y="1722"/>
                  </a:lnTo>
                  <a:lnTo>
                    <a:pt x="2281" y="1722"/>
                  </a:lnTo>
                  <a:lnTo>
                    <a:pt x="2281" y="1722"/>
                  </a:lnTo>
                  <a:lnTo>
                    <a:pt x="2281" y="1722"/>
                  </a:lnTo>
                  <a:lnTo>
                    <a:pt x="2281" y="1722"/>
                  </a:lnTo>
                  <a:lnTo>
                    <a:pt x="2281" y="1722"/>
                  </a:lnTo>
                  <a:lnTo>
                    <a:pt x="2279" y="1722"/>
                  </a:lnTo>
                  <a:lnTo>
                    <a:pt x="2279" y="1722"/>
                  </a:lnTo>
                  <a:lnTo>
                    <a:pt x="2279" y="1722"/>
                  </a:lnTo>
                  <a:lnTo>
                    <a:pt x="2279" y="1726"/>
                  </a:lnTo>
                  <a:lnTo>
                    <a:pt x="2279" y="1726"/>
                  </a:lnTo>
                  <a:lnTo>
                    <a:pt x="2279" y="1726"/>
                  </a:lnTo>
                  <a:lnTo>
                    <a:pt x="2279" y="1726"/>
                  </a:lnTo>
                  <a:lnTo>
                    <a:pt x="2279" y="1724"/>
                  </a:lnTo>
                  <a:lnTo>
                    <a:pt x="2279" y="1724"/>
                  </a:lnTo>
                  <a:lnTo>
                    <a:pt x="2279" y="1722"/>
                  </a:lnTo>
                  <a:lnTo>
                    <a:pt x="2279" y="1722"/>
                  </a:lnTo>
                  <a:lnTo>
                    <a:pt x="2279" y="1719"/>
                  </a:lnTo>
                  <a:lnTo>
                    <a:pt x="2277" y="1719"/>
                  </a:lnTo>
                  <a:lnTo>
                    <a:pt x="2277" y="1719"/>
                  </a:lnTo>
                  <a:lnTo>
                    <a:pt x="2274" y="1722"/>
                  </a:lnTo>
                  <a:lnTo>
                    <a:pt x="2274" y="1722"/>
                  </a:lnTo>
                  <a:lnTo>
                    <a:pt x="2274" y="1722"/>
                  </a:lnTo>
                  <a:lnTo>
                    <a:pt x="2272" y="1729"/>
                  </a:lnTo>
                  <a:lnTo>
                    <a:pt x="2270" y="1731"/>
                  </a:lnTo>
                  <a:lnTo>
                    <a:pt x="2270" y="1734"/>
                  </a:lnTo>
                  <a:lnTo>
                    <a:pt x="2267" y="1734"/>
                  </a:lnTo>
                  <a:lnTo>
                    <a:pt x="2267" y="1734"/>
                  </a:lnTo>
                  <a:lnTo>
                    <a:pt x="2267" y="1734"/>
                  </a:lnTo>
                  <a:lnTo>
                    <a:pt x="2267" y="1731"/>
                  </a:lnTo>
                  <a:lnTo>
                    <a:pt x="2270" y="1729"/>
                  </a:lnTo>
                  <a:lnTo>
                    <a:pt x="2270" y="1729"/>
                  </a:lnTo>
                  <a:lnTo>
                    <a:pt x="2270" y="1726"/>
                  </a:lnTo>
                  <a:lnTo>
                    <a:pt x="2270" y="1726"/>
                  </a:lnTo>
                  <a:lnTo>
                    <a:pt x="2272" y="1726"/>
                  </a:lnTo>
                  <a:lnTo>
                    <a:pt x="2272" y="1724"/>
                  </a:lnTo>
                  <a:lnTo>
                    <a:pt x="2272" y="1724"/>
                  </a:lnTo>
                  <a:lnTo>
                    <a:pt x="2272" y="1722"/>
                  </a:lnTo>
                  <a:lnTo>
                    <a:pt x="2272" y="1722"/>
                  </a:lnTo>
                  <a:lnTo>
                    <a:pt x="2270" y="1722"/>
                  </a:lnTo>
                  <a:lnTo>
                    <a:pt x="2270" y="1722"/>
                  </a:lnTo>
                  <a:lnTo>
                    <a:pt x="2267" y="1724"/>
                  </a:lnTo>
                  <a:lnTo>
                    <a:pt x="2267" y="1724"/>
                  </a:lnTo>
                  <a:lnTo>
                    <a:pt x="2267" y="1722"/>
                  </a:lnTo>
                  <a:lnTo>
                    <a:pt x="2267" y="1722"/>
                  </a:lnTo>
                  <a:lnTo>
                    <a:pt x="2267" y="1722"/>
                  </a:lnTo>
                  <a:lnTo>
                    <a:pt x="2270" y="1722"/>
                  </a:lnTo>
                  <a:lnTo>
                    <a:pt x="2270" y="1722"/>
                  </a:lnTo>
                  <a:lnTo>
                    <a:pt x="2272" y="1722"/>
                  </a:lnTo>
                  <a:lnTo>
                    <a:pt x="2272" y="1719"/>
                  </a:lnTo>
                  <a:lnTo>
                    <a:pt x="2272" y="1719"/>
                  </a:lnTo>
                  <a:lnTo>
                    <a:pt x="2277" y="1719"/>
                  </a:lnTo>
                  <a:lnTo>
                    <a:pt x="2277" y="1719"/>
                  </a:lnTo>
                  <a:lnTo>
                    <a:pt x="2277" y="1719"/>
                  </a:lnTo>
                  <a:lnTo>
                    <a:pt x="2277" y="1717"/>
                  </a:lnTo>
                  <a:lnTo>
                    <a:pt x="2277" y="1717"/>
                  </a:lnTo>
                  <a:lnTo>
                    <a:pt x="2277" y="1717"/>
                  </a:lnTo>
                  <a:lnTo>
                    <a:pt x="2277" y="1715"/>
                  </a:lnTo>
                  <a:lnTo>
                    <a:pt x="2281" y="1712"/>
                  </a:lnTo>
                  <a:lnTo>
                    <a:pt x="2281" y="1710"/>
                  </a:lnTo>
                  <a:lnTo>
                    <a:pt x="2281" y="1710"/>
                  </a:lnTo>
                  <a:lnTo>
                    <a:pt x="2281" y="1710"/>
                  </a:lnTo>
                  <a:lnTo>
                    <a:pt x="2281" y="1710"/>
                  </a:lnTo>
                  <a:lnTo>
                    <a:pt x="2281" y="1710"/>
                  </a:lnTo>
                  <a:lnTo>
                    <a:pt x="2281" y="1710"/>
                  </a:lnTo>
                  <a:lnTo>
                    <a:pt x="2281" y="1708"/>
                  </a:lnTo>
                  <a:lnTo>
                    <a:pt x="2281" y="1708"/>
                  </a:lnTo>
                  <a:lnTo>
                    <a:pt x="2281" y="1708"/>
                  </a:lnTo>
                  <a:lnTo>
                    <a:pt x="2281" y="1705"/>
                  </a:lnTo>
                  <a:lnTo>
                    <a:pt x="2281" y="1705"/>
                  </a:lnTo>
                  <a:lnTo>
                    <a:pt x="2281" y="1705"/>
                  </a:lnTo>
                  <a:lnTo>
                    <a:pt x="2279" y="1705"/>
                  </a:lnTo>
                  <a:lnTo>
                    <a:pt x="2279" y="1705"/>
                  </a:lnTo>
                  <a:lnTo>
                    <a:pt x="2279" y="1705"/>
                  </a:lnTo>
                  <a:lnTo>
                    <a:pt x="2277" y="1708"/>
                  </a:lnTo>
                  <a:lnTo>
                    <a:pt x="2277" y="1708"/>
                  </a:lnTo>
                  <a:lnTo>
                    <a:pt x="2277" y="1708"/>
                  </a:lnTo>
                  <a:lnTo>
                    <a:pt x="2274" y="1708"/>
                  </a:lnTo>
                  <a:lnTo>
                    <a:pt x="2277" y="1705"/>
                  </a:lnTo>
                  <a:lnTo>
                    <a:pt x="2279" y="1703"/>
                  </a:lnTo>
                  <a:lnTo>
                    <a:pt x="2279" y="1703"/>
                  </a:lnTo>
                  <a:lnTo>
                    <a:pt x="2279" y="1703"/>
                  </a:lnTo>
                  <a:lnTo>
                    <a:pt x="2279" y="1703"/>
                  </a:lnTo>
                  <a:lnTo>
                    <a:pt x="2279" y="1703"/>
                  </a:lnTo>
                  <a:lnTo>
                    <a:pt x="2279" y="1703"/>
                  </a:lnTo>
                  <a:lnTo>
                    <a:pt x="2277" y="1700"/>
                  </a:lnTo>
                  <a:lnTo>
                    <a:pt x="2277" y="1700"/>
                  </a:lnTo>
                  <a:lnTo>
                    <a:pt x="2277" y="1700"/>
                  </a:lnTo>
                  <a:lnTo>
                    <a:pt x="2277" y="1698"/>
                  </a:lnTo>
                  <a:lnTo>
                    <a:pt x="2272" y="1698"/>
                  </a:lnTo>
                  <a:lnTo>
                    <a:pt x="2272" y="1698"/>
                  </a:lnTo>
                  <a:lnTo>
                    <a:pt x="2272" y="1698"/>
                  </a:lnTo>
                  <a:lnTo>
                    <a:pt x="2272" y="1698"/>
                  </a:lnTo>
                  <a:lnTo>
                    <a:pt x="2274" y="1696"/>
                  </a:lnTo>
                  <a:lnTo>
                    <a:pt x="2272" y="1696"/>
                  </a:lnTo>
                  <a:lnTo>
                    <a:pt x="2272" y="1696"/>
                  </a:lnTo>
                  <a:lnTo>
                    <a:pt x="2270" y="1696"/>
                  </a:lnTo>
                  <a:lnTo>
                    <a:pt x="2270" y="1698"/>
                  </a:lnTo>
                  <a:lnTo>
                    <a:pt x="2270" y="1698"/>
                  </a:lnTo>
                  <a:lnTo>
                    <a:pt x="2270" y="1700"/>
                  </a:lnTo>
                  <a:lnTo>
                    <a:pt x="2270" y="1700"/>
                  </a:lnTo>
                  <a:lnTo>
                    <a:pt x="2270" y="1700"/>
                  </a:lnTo>
                  <a:lnTo>
                    <a:pt x="2270" y="1700"/>
                  </a:lnTo>
                  <a:lnTo>
                    <a:pt x="2270" y="1700"/>
                  </a:lnTo>
                  <a:lnTo>
                    <a:pt x="2270" y="1698"/>
                  </a:lnTo>
                  <a:lnTo>
                    <a:pt x="2270" y="1698"/>
                  </a:lnTo>
                  <a:lnTo>
                    <a:pt x="2270" y="1700"/>
                  </a:lnTo>
                  <a:lnTo>
                    <a:pt x="2267" y="1700"/>
                  </a:lnTo>
                  <a:lnTo>
                    <a:pt x="2267" y="1700"/>
                  </a:lnTo>
                  <a:lnTo>
                    <a:pt x="2267" y="1700"/>
                  </a:lnTo>
                  <a:lnTo>
                    <a:pt x="2265" y="1700"/>
                  </a:lnTo>
                  <a:lnTo>
                    <a:pt x="2265" y="1700"/>
                  </a:lnTo>
                  <a:lnTo>
                    <a:pt x="2265" y="1700"/>
                  </a:lnTo>
                  <a:lnTo>
                    <a:pt x="2265" y="1700"/>
                  </a:lnTo>
                  <a:lnTo>
                    <a:pt x="2267" y="1700"/>
                  </a:lnTo>
                  <a:lnTo>
                    <a:pt x="2267" y="1698"/>
                  </a:lnTo>
                  <a:lnTo>
                    <a:pt x="2267" y="1696"/>
                  </a:lnTo>
                  <a:lnTo>
                    <a:pt x="2267" y="1696"/>
                  </a:lnTo>
                  <a:lnTo>
                    <a:pt x="2267" y="1696"/>
                  </a:lnTo>
                  <a:lnTo>
                    <a:pt x="2267" y="1696"/>
                  </a:lnTo>
                  <a:lnTo>
                    <a:pt x="2267" y="1696"/>
                  </a:lnTo>
                  <a:lnTo>
                    <a:pt x="2265" y="1696"/>
                  </a:lnTo>
                  <a:lnTo>
                    <a:pt x="2265" y="1696"/>
                  </a:lnTo>
                  <a:lnTo>
                    <a:pt x="2267" y="1696"/>
                  </a:lnTo>
                  <a:lnTo>
                    <a:pt x="2267" y="1693"/>
                  </a:lnTo>
                  <a:lnTo>
                    <a:pt x="2267" y="1693"/>
                  </a:lnTo>
                  <a:lnTo>
                    <a:pt x="2267" y="1693"/>
                  </a:lnTo>
                  <a:lnTo>
                    <a:pt x="2267" y="1693"/>
                  </a:lnTo>
                  <a:lnTo>
                    <a:pt x="2265" y="1693"/>
                  </a:lnTo>
                  <a:lnTo>
                    <a:pt x="2265" y="1693"/>
                  </a:lnTo>
                  <a:lnTo>
                    <a:pt x="2265" y="1693"/>
                  </a:lnTo>
                  <a:lnTo>
                    <a:pt x="2265" y="1696"/>
                  </a:lnTo>
                  <a:lnTo>
                    <a:pt x="2262" y="1696"/>
                  </a:lnTo>
                  <a:lnTo>
                    <a:pt x="2262" y="1696"/>
                  </a:lnTo>
                  <a:lnTo>
                    <a:pt x="2265" y="1693"/>
                  </a:lnTo>
                  <a:lnTo>
                    <a:pt x="2265" y="1691"/>
                  </a:lnTo>
                  <a:lnTo>
                    <a:pt x="2265" y="1691"/>
                  </a:lnTo>
                  <a:lnTo>
                    <a:pt x="2260" y="1691"/>
                  </a:lnTo>
                  <a:lnTo>
                    <a:pt x="2260" y="1691"/>
                  </a:lnTo>
                  <a:lnTo>
                    <a:pt x="2265" y="1691"/>
                  </a:lnTo>
                  <a:lnTo>
                    <a:pt x="2267" y="1689"/>
                  </a:lnTo>
                  <a:lnTo>
                    <a:pt x="2267" y="1689"/>
                  </a:lnTo>
                  <a:lnTo>
                    <a:pt x="2265" y="1689"/>
                  </a:lnTo>
                  <a:lnTo>
                    <a:pt x="2265" y="1689"/>
                  </a:lnTo>
                  <a:lnTo>
                    <a:pt x="2265" y="1689"/>
                  </a:lnTo>
                  <a:lnTo>
                    <a:pt x="2262" y="1689"/>
                  </a:lnTo>
                  <a:lnTo>
                    <a:pt x="2262" y="1689"/>
                  </a:lnTo>
                  <a:lnTo>
                    <a:pt x="2262" y="1689"/>
                  </a:lnTo>
                  <a:lnTo>
                    <a:pt x="2262" y="1689"/>
                  </a:lnTo>
                  <a:lnTo>
                    <a:pt x="2262" y="1689"/>
                  </a:lnTo>
                  <a:lnTo>
                    <a:pt x="2260" y="1689"/>
                  </a:lnTo>
                  <a:lnTo>
                    <a:pt x="2260" y="1689"/>
                  </a:lnTo>
                  <a:lnTo>
                    <a:pt x="2258" y="1689"/>
                  </a:lnTo>
                  <a:lnTo>
                    <a:pt x="2258" y="1689"/>
                  </a:lnTo>
                  <a:lnTo>
                    <a:pt x="2258" y="1691"/>
                  </a:lnTo>
                  <a:lnTo>
                    <a:pt x="2258" y="1691"/>
                  </a:lnTo>
                  <a:lnTo>
                    <a:pt x="2258" y="1691"/>
                  </a:lnTo>
                  <a:lnTo>
                    <a:pt x="2258" y="1691"/>
                  </a:lnTo>
                  <a:lnTo>
                    <a:pt x="2258" y="1691"/>
                  </a:lnTo>
                  <a:lnTo>
                    <a:pt x="2255" y="1691"/>
                  </a:lnTo>
                  <a:lnTo>
                    <a:pt x="2255" y="1691"/>
                  </a:lnTo>
                  <a:lnTo>
                    <a:pt x="2255" y="1693"/>
                  </a:lnTo>
                  <a:lnTo>
                    <a:pt x="2255" y="1693"/>
                  </a:lnTo>
                  <a:lnTo>
                    <a:pt x="2255" y="1693"/>
                  </a:lnTo>
                  <a:lnTo>
                    <a:pt x="2255" y="1693"/>
                  </a:lnTo>
                  <a:lnTo>
                    <a:pt x="2253" y="1693"/>
                  </a:lnTo>
                  <a:lnTo>
                    <a:pt x="2251" y="1696"/>
                  </a:lnTo>
                  <a:lnTo>
                    <a:pt x="2251" y="1696"/>
                  </a:lnTo>
                  <a:lnTo>
                    <a:pt x="2251" y="1696"/>
                  </a:lnTo>
                  <a:lnTo>
                    <a:pt x="2248" y="1696"/>
                  </a:lnTo>
                  <a:lnTo>
                    <a:pt x="2248" y="1696"/>
                  </a:lnTo>
                  <a:lnTo>
                    <a:pt x="2248" y="1696"/>
                  </a:lnTo>
                  <a:lnTo>
                    <a:pt x="2246" y="1696"/>
                  </a:lnTo>
                  <a:lnTo>
                    <a:pt x="2246" y="1696"/>
                  </a:lnTo>
                  <a:lnTo>
                    <a:pt x="2246" y="1696"/>
                  </a:lnTo>
                  <a:lnTo>
                    <a:pt x="2246" y="1698"/>
                  </a:lnTo>
                  <a:lnTo>
                    <a:pt x="2246" y="1698"/>
                  </a:lnTo>
                  <a:lnTo>
                    <a:pt x="2248" y="1700"/>
                  </a:lnTo>
                  <a:lnTo>
                    <a:pt x="2248" y="1700"/>
                  </a:lnTo>
                  <a:lnTo>
                    <a:pt x="2246" y="1700"/>
                  </a:lnTo>
                  <a:lnTo>
                    <a:pt x="2246" y="1700"/>
                  </a:lnTo>
                  <a:lnTo>
                    <a:pt x="2243" y="1698"/>
                  </a:lnTo>
                  <a:lnTo>
                    <a:pt x="2246" y="1696"/>
                  </a:lnTo>
                  <a:lnTo>
                    <a:pt x="2243" y="1696"/>
                  </a:lnTo>
                  <a:lnTo>
                    <a:pt x="2243" y="1696"/>
                  </a:lnTo>
                  <a:lnTo>
                    <a:pt x="2243" y="1696"/>
                  </a:lnTo>
                  <a:lnTo>
                    <a:pt x="2243" y="1698"/>
                  </a:lnTo>
                  <a:lnTo>
                    <a:pt x="2241" y="1698"/>
                  </a:lnTo>
                  <a:lnTo>
                    <a:pt x="2241" y="1700"/>
                  </a:lnTo>
                  <a:lnTo>
                    <a:pt x="2241" y="1698"/>
                  </a:lnTo>
                  <a:lnTo>
                    <a:pt x="2241" y="1698"/>
                  </a:lnTo>
                  <a:lnTo>
                    <a:pt x="2241" y="1698"/>
                  </a:lnTo>
                  <a:lnTo>
                    <a:pt x="2241" y="1696"/>
                  </a:lnTo>
                  <a:lnTo>
                    <a:pt x="2241" y="1696"/>
                  </a:lnTo>
                  <a:lnTo>
                    <a:pt x="2241" y="1696"/>
                  </a:lnTo>
                  <a:lnTo>
                    <a:pt x="2241" y="1696"/>
                  </a:lnTo>
                  <a:lnTo>
                    <a:pt x="2241" y="1696"/>
                  </a:lnTo>
                  <a:lnTo>
                    <a:pt x="2246" y="1693"/>
                  </a:lnTo>
                  <a:lnTo>
                    <a:pt x="2248" y="1696"/>
                  </a:lnTo>
                  <a:lnTo>
                    <a:pt x="2248" y="1696"/>
                  </a:lnTo>
                  <a:lnTo>
                    <a:pt x="2251" y="1693"/>
                  </a:lnTo>
                  <a:lnTo>
                    <a:pt x="2251" y="1693"/>
                  </a:lnTo>
                  <a:lnTo>
                    <a:pt x="2253" y="1691"/>
                  </a:lnTo>
                  <a:lnTo>
                    <a:pt x="2253" y="1691"/>
                  </a:lnTo>
                  <a:lnTo>
                    <a:pt x="2253" y="1691"/>
                  </a:lnTo>
                  <a:lnTo>
                    <a:pt x="2255" y="1689"/>
                  </a:lnTo>
                  <a:lnTo>
                    <a:pt x="2255" y="1689"/>
                  </a:lnTo>
                  <a:lnTo>
                    <a:pt x="2255" y="1689"/>
                  </a:lnTo>
                  <a:lnTo>
                    <a:pt x="2255" y="1686"/>
                  </a:lnTo>
                  <a:lnTo>
                    <a:pt x="2258" y="1684"/>
                  </a:lnTo>
                  <a:lnTo>
                    <a:pt x="2258" y="1684"/>
                  </a:lnTo>
                  <a:lnTo>
                    <a:pt x="2258" y="1684"/>
                  </a:lnTo>
                  <a:lnTo>
                    <a:pt x="2258" y="1684"/>
                  </a:lnTo>
                  <a:lnTo>
                    <a:pt x="2258" y="1682"/>
                  </a:lnTo>
                  <a:lnTo>
                    <a:pt x="2255" y="1682"/>
                  </a:lnTo>
                  <a:lnTo>
                    <a:pt x="2255" y="1682"/>
                  </a:lnTo>
                  <a:lnTo>
                    <a:pt x="2255" y="1682"/>
                  </a:lnTo>
                  <a:lnTo>
                    <a:pt x="2255" y="1682"/>
                  </a:lnTo>
                  <a:lnTo>
                    <a:pt x="2255" y="1682"/>
                  </a:lnTo>
                  <a:lnTo>
                    <a:pt x="2255" y="1684"/>
                  </a:lnTo>
                  <a:lnTo>
                    <a:pt x="2255" y="1684"/>
                  </a:lnTo>
                  <a:lnTo>
                    <a:pt x="2255" y="1684"/>
                  </a:lnTo>
                  <a:lnTo>
                    <a:pt x="2255" y="1684"/>
                  </a:lnTo>
                  <a:lnTo>
                    <a:pt x="2255" y="1682"/>
                  </a:lnTo>
                  <a:lnTo>
                    <a:pt x="2255" y="1682"/>
                  </a:lnTo>
                  <a:lnTo>
                    <a:pt x="2253" y="1682"/>
                  </a:lnTo>
                  <a:lnTo>
                    <a:pt x="2255" y="1682"/>
                  </a:lnTo>
                  <a:lnTo>
                    <a:pt x="2255" y="1679"/>
                  </a:lnTo>
                  <a:lnTo>
                    <a:pt x="2255" y="1679"/>
                  </a:lnTo>
                  <a:lnTo>
                    <a:pt x="2255" y="1679"/>
                  </a:lnTo>
                  <a:lnTo>
                    <a:pt x="2255" y="1677"/>
                  </a:lnTo>
                  <a:lnTo>
                    <a:pt x="2253" y="1679"/>
                  </a:lnTo>
                  <a:lnTo>
                    <a:pt x="2253" y="1679"/>
                  </a:lnTo>
                  <a:lnTo>
                    <a:pt x="2253" y="1679"/>
                  </a:lnTo>
                  <a:lnTo>
                    <a:pt x="2251" y="1684"/>
                  </a:lnTo>
                  <a:lnTo>
                    <a:pt x="2251" y="1684"/>
                  </a:lnTo>
                  <a:lnTo>
                    <a:pt x="2251" y="1684"/>
                  </a:lnTo>
                  <a:lnTo>
                    <a:pt x="2251" y="1684"/>
                  </a:lnTo>
                  <a:lnTo>
                    <a:pt x="2248" y="1684"/>
                  </a:lnTo>
                  <a:lnTo>
                    <a:pt x="2251" y="1684"/>
                  </a:lnTo>
                  <a:lnTo>
                    <a:pt x="2248" y="1684"/>
                  </a:lnTo>
                  <a:lnTo>
                    <a:pt x="2248" y="1684"/>
                  </a:lnTo>
                  <a:lnTo>
                    <a:pt x="2248" y="1684"/>
                  </a:lnTo>
                  <a:lnTo>
                    <a:pt x="2248" y="1684"/>
                  </a:lnTo>
                  <a:lnTo>
                    <a:pt x="2251" y="1684"/>
                  </a:lnTo>
                  <a:lnTo>
                    <a:pt x="2251" y="1682"/>
                  </a:lnTo>
                  <a:lnTo>
                    <a:pt x="2251" y="1682"/>
                  </a:lnTo>
                  <a:lnTo>
                    <a:pt x="2251" y="1682"/>
                  </a:lnTo>
                  <a:lnTo>
                    <a:pt x="2251" y="1679"/>
                  </a:lnTo>
                  <a:lnTo>
                    <a:pt x="2251" y="1679"/>
                  </a:lnTo>
                  <a:lnTo>
                    <a:pt x="2251" y="1679"/>
                  </a:lnTo>
                  <a:lnTo>
                    <a:pt x="2251" y="1677"/>
                  </a:lnTo>
                  <a:lnTo>
                    <a:pt x="2251" y="1677"/>
                  </a:lnTo>
                  <a:lnTo>
                    <a:pt x="2251" y="1677"/>
                  </a:lnTo>
                  <a:lnTo>
                    <a:pt x="2251" y="1677"/>
                  </a:lnTo>
                  <a:lnTo>
                    <a:pt x="2251" y="1677"/>
                  </a:lnTo>
                  <a:lnTo>
                    <a:pt x="2251" y="1677"/>
                  </a:lnTo>
                  <a:lnTo>
                    <a:pt x="2248" y="1677"/>
                  </a:lnTo>
                  <a:lnTo>
                    <a:pt x="2246" y="1677"/>
                  </a:lnTo>
                  <a:lnTo>
                    <a:pt x="2246" y="1677"/>
                  </a:lnTo>
                  <a:lnTo>
                    <a:pt x="2246" y="1677"/>
                  </a:lnTo>
                  <a:lnTo>
                    <a:pt x="2246" y="1677"/>
                  </a:lnTo>
                  <a:lnTo>
                    <a:pt x="2246" y="1677"/>
                  </a:lnTo>
                  <a:lnTo>
                    <a:pt x="2246" y="1679"/>
                  </a:lnTo>
                  <a:lnTo>
                    <a:pt x="2246" y="1679"/>
                  </a:lnTo>
                  <a:lnTo>
                    <a:pt x="2246" y="1679"/>
                  </a:lnTo>
                  <a:lnTo>
                    <a:pt x="2246" y="1682"/>
                  </a:lnTo>
                  <a:lnTo>
                    <a:pt x="2246" y="1682"/>
                  </a:lnTo>
                  <a:lnTo>
                    <a:pt x="2246" y="1684"/>
                  </a:lnTo>
                  <a:lnTo>
                    <a:pt x="2243" y="1684"/>
                  </a:lnTo>
                  <a:lnTo>
                    <a:pt x="2243" y="1684"/>
                  </a:lnTo>
                  <a:lnTo>
                    <a:pt x="2243" y="1684"/>
                  </a:lnTo>
                  <a:lnTo>
                    <a:pt x="2243" y="1684"/>
                  </a:lnTo>
                  <a:lnTo>
                    <a:pt x="2243" y="1684"/>
                  </a:lnTo>
                  <a:lnTo>
                    <a:pt x="2243" y="1684"/>
                  </a:lnTo>
                  <a:lnTo>
                    <a:pt x="2243" y="1682"/>
                  </a:lnTo>
                  <a:lnTo>
                    <a:pt x="2243" y="1682"/>
                  </a:lnTo>
                  <a:lnTo>
                    <a:pt x="2243" y="1677"/>
                  </a:lnTo>
                  <a:lnTo>
                    <a:pt x="2243" y="1677"/>
                  </a:lnTo>
                  <a:lnTo>
                    <a:pt x="2243" y="1677"/>
                  </a:lnTo>
                  <a:lnTo>
                    <a:pt x="2243" y="1677"/>
                  </a:lnTo>
                  <a:lnTo>
                    <a:pt x="2243" y="1677"/>
                  </a:lnTo>
                  <a:lnTo>
                    <a:pt x="2243" y="1677"/>
                  </a:lnTo>
                  <a:lnTo>
                    <a:pt x="2243" y="1677"/>
                  </a:lnTo>
                  <a:lnTo>
                    <a:pt x="2243" y="1677"/>
                  </a:lnTo>
                  <a:lnTo>
                    <a:pt x="2243" y="1677"/>
                  </a:lnTo>
                  <a:lnTo>
                    <a:pt x="2241" y="1677"/>
                  </a:lnTo>
                  <a:lnTo>
                    <a:pt x="2241" y="1677"/>
                  </a:lnTo>
                  <a:lnTo>
                    <a:pt x="2241" y="1677"/>
                  </a:lnTo>
                  <a:lnTo>
                    <a:pt x="2241" y="1677"/>
                  </a:lnTo>
                  <a:lnTo>
                    <a:pt x="2236" y="1677"/>
                  </a:lnTo>
                  <a:lnTo>
                    <a:pt x="2236" y="1679"/>
                  </a:lnTo>
                  <a:lnTo>
                    <a:pt x="2234" y="1679"/>
                  </a:lnTo>
                  <a:lnTo>
                    <a:pt x="2234" y="1679"/>
                  </a:lnTo>
                  <a:lnTo>
                    <a:pt x="2234" y="1679"/>
                  </a:lnTo>
                  <a:lnTo>
                    <a:pt x="2234" y="1679"/>
                  </a:lnTo>
                  <a:lnTo>
                    <a:pt x="2234" y="1679"/>
                  </a:lnTo>
                  <a:lnTo>
                    <a:pt x="2234" y="1679"/>
                  </a:lnTo>
                  <a:lnTo>
                    <a:pt x="2234" y="1677"/>
                  </a:lnTo>
                  <a:lnTo>
                    <a:pt x="2234" y="1677"/>
                  </a:lnTo>
                  <a:lnTo>
                    <a:pt x="2241" y="1674"/>
                  </a:lnTo>
                  <a:lnTo>
                    <a:pt x="2241" y="1674"/>
                  </a:lnTo>
                  <a:lnTo>
                    <a:pt x="2241" y="1674"/>
                  </a:lnTo>
                  <a:lnTo>
                    <a:pt x="2241" y="1674"/>
                  </a:lnTo>
                  <a:lnTo>
                    <a:pt x="2241" y="1674"/>
                  </a:lnTo>
                  <a:lnTo>
                    <a:pt x="2241" y="1672"/>
                  </a:lnTo>
                  <a:lnTo>
                    <a:pt x="2241" y="1672"/>
                  </a:lnTo>
                  <a:lnTo>
                    <a:pt x="2241" y="1670"/>
                  </a:lnTo>
                  <a:lnTo>
                    <a:pt x="2241" y="1670"/>
                  </a:lnTo>
                  <a:lnTo>
                    <a:pt x="2241" y="1670"/>
                  </a:lnTo>
                  <a:lnTo>
                    <a:pt x="2241" y="1667"/>
                  </a:lnTo>
                  <a:lnTo>
                    <a:pt x="2239" y="1667"/>
                  </a:lnTo>
                  <a:lnTo>
                    <a:pt x="2236" y="1667"/>
                  </a:lnTo>
                  <a:lnTo>
                    <a:pt x="2234" y="1670"/>
                  </a:lnTo>
                  <a:lnTo>
                    <a:pt x="2234" y="1670"/>
                  </a:lnTo>
                  <a:lnTo>
                    <a:pt x="2234" y="1672"/>
                  </a:lnTo>
                  <a:lnTo>
                    <a:pt x="2234" y="1672"/>
                  </a:lnTo>
                  <a:lnTo>
                    <a:pt x="2234" y="1670"/>
                  </a:lnTo>
                  <a:lnTo>
                    <a:pt x="2234" y="1667"/>
                  </a:lnTo>
                  <a:lnTo>
                    <a:pt x="2234" y="1667"/>
                  </a:lnTo>
                  <a:lnTo>
                    <a:pt x="2234" y="1667"/>
                  </a:lnTo>
                  <a:lnTo>
                    <a:pt x="2234" y="1667"/>
                  </a:lnTo>
                  <a:lnTo>
                    <a:pt x="2234" y="1665"/>
                  </a:lnTo>
                  <a:lnTo>
                    <a:pt x="2234" y="1665"/>
                  </a:lnTo>
                  <a:lnTo>
                    <a:pt x="2232" y="1665"/>
                  </a:lnTo>
                  <a:lnTo>
                    <a:pt x="2232" y="1665"/>
                  </a:lnTo>
                  <a:lnTo>
                    <a:pt x="2232" y="1665"/>
                  </a:lnTo>
                  <a:lnTo>
                    <a:pt x="2229" y="1667"/>
                  </a:lnTo>
                  <a:lnTo>
                    <a:pt x="2232" y="1667"/>
                  </a:lnTo>
                  <a:lnTo>
                    <a:pt x="2232" y="1667"/>
                  </a:lnTo>
                  <a:lnTo>
                    <a:pt x="2232" y="1670"/>
                  </a:lnTo>
                  <a:lnTo>
                    <a:pt x="2232" y="1670"/>
                  </a:lnTo>
                  <a:lnTo>
                    <a:pt x="2229" y="1672"/>
                  </a:lnTo>
                  <a:lnTo>
                    <a:pt x="2229" y="1672"/>
                  </a:lnTo>
                  <a:lnTo>
                    <a:pt x="2229" y="1670"/>
                  </a:lnTo>
                  <a:lnTo>
                    <a:pt x="2229" y="1670"/>
                  </a:lnTo>
                  <a:lnTo>
                    <a:pt x="2229" y="1670"/>
                  </a:lnTo>
                  <a:lnTo>
                    <a:pt x="2229" y="1667"/>
                  </a:lnTo>
                  <a:lnTo>
                    <a:pt x="2229" y="1665"/>
                  </a:lnTo>
                  <a:lnTo>
                    <a:pt x="2229" y="1665"/>
                  </a:lnTo>
                  <a:lnTo>
                    <a:pt x="2232" y="1665"/>
                  </a:lnTo>
                  <a:lnTo>
                    <a:pt x="2232" y="1663"/>
                  </a:lnTo>
                  <a:lnTo>
                    <a:pt x="2232" y="1663"/>
                  </a:lnTo>
                  <a:lnTo>
                    <a:pt x="2232" y="1663"/>
                  </a:lnTo>
                  <a:lnTo>
                    <a:pt x="2232" y="1663"/>
                  </a:lnTo>
                  <a:lnTo>
                    <a:pt x="2232" y="1663"/>
                  </a:lnTo>
                  <a:lnTo>
                    <a:pt x="2232" y="1663"/>
                  </a:lnTo>
                  <a:lnTo>
                    <a:pt x="2232" y="1660"/>
                  </a:lnTo>
                  <a:lnTo>
                    <a:pt x="2232" y="1660"/>
                  </a:lnTo>
                  <a:lnTo>
                    <a:pt x="2229" y="1663"/>
                  </a:lnTo>
                  <a:lnTo>
                    <a:pt x="2225" y="1663"/>
                  </a:lnTo>
                  <a:lnTo>
                    <a:pt x="2225" y="1663"/>
                  </a:lnTo>
                  <a:lnTo>
                    <a:pt x="2222" y="1663"/>
                  </a:lnTo>
                  <a:lnTo>
                    <a:pt x="2222" y="1660"/>
                  </a:lnTo>
                  <a:lnTo>
                    <a:pt x="2220" y="1660"/>
                  </a:lnTo>
                  <a:lnTo>
                    <a:pt x="2220" y="1658"/>
                  </a:lnTo>
                  <a:lnTo>
                    <a:pt x="2222" y="1658"/>
                  </a:lnTo>
                  <a:lnTo>
                    <a:pt x="2222" y="1658"/>
                  </a:lnTo>
                  <a:lnTo>
                    <a:pt x="2222" y="1656"/>
                  </a:lnTo>
                  <a:lnTo>
                    <a:pt x="2222" y="1656"/>
                  </a:lnTo>
                  <a:lnTo>
                    <a:pt x="2222" y="1653"/>
                  </a:lnTo>
                  <a:lnTo>
                    <a:pt x="2222" y="1651"/>
                  </a:lnTo>
                  <a:lnTo>
                    <a:pt x="2222" y="1651"/>
                  </a:lnTo>
                  <a:lnTo>
                    <a:pt x="2222" y="1651"/>
                  </a:lnTo>
                  <a:lnTo>
                    <a:pt x="2222" y="1651"/>
                  </a:lnTo>
                  <a:lnTo>
                    <a:pt x="2222" y="1651"/>
                  </a:lnTo>
                  <a:lnTo>
                    <a:pt x="2222" y="1653"/>
                  </a:lnTo>
                  <a:lnTo>
                    <a:pt x="2220" y="1653"/>
                  </a:lnTo>
                  <a:lnTo>
                    <a:pt x="2220" y="1653"/>
                  </a:lnTo>
                  <a:lnTo>
                    <a:pt x="2220" y="1653"/>
                  </a:lnTo>
                  <a:lnTo>
                    <a:pt x="2220" y="1653"/>
                  </a:lnTo>
                  <a:lnTo>
                    <a:pt x="2220" y="1653"/>
                  </a:lnTo>
                  <a:lnTo>
                    <a:pt x="2220" y="1653"/>
                  </a:lnTo>
                  <a:lnTo>
                    <a:pt x="2220" y="1653"/>
                  </a:lnTo>
                  <a:lnTo>
                    <a:pt x="2220" y="1651"/>
                  </a:lnTo>
                  <a:lnTo>
                    <a:pt x="2220" y="1651"/>
                  </a:lnTo>
                  <a:lnTo>
                    <a:pt x="2220" y="1651"/>
                  </a:lnTo>
                  <a:lnTo>
                    <a:pt x="2217" y="1651"/>
                  </a:lnTo>
                  <a:lnTo>
                    <a:pt x="2217" y="1651"/>
                  </a:lnTo>
                  <a:lnTo>
                    <a:pt x="2217" y="1648"/>
                  </a:lnTo>
                  <a:lnTo>
                    <a:pt x="2220" y="1648"/>
                  </a:lnTo>
                  <a:lnTo>
                    <a:pt x="2220" y="1646"/>
                  </a:lnTo>
                  <a:lnTo>
                    <a:pt x="2220" y="1646"/>
                  </a:lnTo>
                  <a:lnTo>
                    <a:pt x="2220" y="1646"/>
                  </a:lnTo>
                  <a:lnTo>
                    <a:pt x="2220" y="1644"/>
                  </a:lnTo>
                  <a:lnTo>
                    <a:pt x="2217" y="1644"/>
                  </a:lnTo>
                  <a:lnTo>
                    <a:pt x="2217" y="1644"/>
                  </a:lnTo>
                  <a:lnTo>
                    <a:pt x="2217" y="1644"/>
                  </a:lnTo>
                  <a:lnTo>
                    <a:pt x="2217" y="1644"/>
                  </a:lnTo>
                  <a:lnTo>
                    <a:pt x="2217" y="1644"/>
                  </a:lnTo>
                  <a:lnTo>
                    <a:pt x="2217" y="1644"/>
                  </a:lnTo>
                  <a:lnTo>
                    <a:pt x="2215" y="1644"/>
                  </a:lnTo>
                  <a:lnTo>
                    <a:pt x="2215" y="1644"/>
                  </a:lnTo>
                  <a:lnTo>
                    <a:pt x="2213" y="1644"/>
                  </a:lnTo>
                  <a:lnTo>
                    <a:pt x="2215" y="1646"/>
                  </a:lnTo>
                  <a:lnTo>
                    <a:pt x="2215" y="1646"/>
                  </a:lnTo>
                  <a:lnTo>
                    <a:pt x="2217" y="1646"/>
                  </a:lnTo>
                  <a:lnTo>
                    <a:pt x="2217" y="1646"/>
                  </a:lnTo>
                  <a:lnTo>
                    <a:pt x="2217" y="1646"/>
                  </a:lnTo>
                  <a:lnTo>
                    <a:pt x="2217" y="1646"/>
                  </a:lnTo>
                  <a:lnTo>
                    <a:pt x="2215" y="1648"/>
                  </a:lnTo>
                  <a:lnTo>
                    <a:pt x="2215" y="1648"/>
                  </a:lnTo>
                  <a:lnTo>
                    <a:pt x="2215" y="1648"/>
                  </a:lnTo>
                  <a:lnTo>
                    <a:pt x="2215" y="1651"/>
                  </a:lnTo>
                  <a:lnTo>
                    <a:pt x="2215" y="1651"/>
                  </a:lnTo>
                  <a:lnTo>
                    <a:pt x="2215" y="1651"/>
                  </a:lnTo>
                  <a:lnTo>
                    <a:pt x="2215" y="1651"/>
                  </a:lnTo>
                  <a:lnTo>
                    <a:pt x="2215" y="1651"/>
                  </a:lnTo>
                  <a:lnTo>
                    <a:pt x="2215" y="1653"/>
                  </a:lnTo>
                  <a:lnTo>
                    <a:pt x="2213" y="1653"/>
                  </a:lnTo>
                  <a:lnTo>
                    <a:pt x="2213" y="1653"/>
                  </a:lnTo>
                  <a:lnTo>
                    <a:pt x="2213" y="1653"/>
                  </a:lnTo>
                  <a:lnTo>
                    <a:pt x="2213" y="1656"/>
                  </a:lnTo>
                  <a:lnTo>
                    <a:pt x="2213" y="1656"/>
                  </a:lnTo>
                  <a:lnTo>
                    <a:pt x="2210" y="1656"/>
                  </a:lnTo>
                  <a:lnTo>
                    <a:pt x="2210" y="1653"/>
                  </a:lnTo>
                  <a:lnTo>
                    <a:pt x="2213" y="1653"/>
                  </a:lnTo>
                  <a:lnTo>
                    <a:pt x="2213" y="1653"/>
                  </a:lnTo>
                  <a:lnTo>
                    <a:pt x="2213" y="1653"/>
                  </a:lnTo>
                  <a:lnTo>
                    <a:pt x="2213" y="1651"/>
                  </a:lnTo>
                  <a:lnTo>
                    <a:pt x="2213" y="1651"/>
                  </a:lnTo>
                  <a:lnTo>
                    <a:pt x="2213" y="1648"/>
                  </a:lnTo>
                  <a:lnTo>
                    <a:pt x="2213" y="1648"/>
                  </a:lnTo>
                  <a:lnTo>
                    <a:pt x="2210" y="1648"/>
                  </a:lnTo>
                  <a:lnTo>
                    <a:pt x="2208" y="1648"/>
                  </a:lnTo>
                  <a:lnTo>
                    <a:pt x="2213" y="1648"/>
                  </a:lnTo>
                  <a:lnTo>
                    <a:pt x="2213" y="1648"/>
                  </a:lnTo>
                  <a:lnTo>
                    <a:pt x="2213" y="1646"/>
                  </a:lnTo>
                  <a:lnTo>
                    <a:pt x="2213" y="1646"/>
                  </a:lnTo>
                  <a:lnTo>
                    <a:pt x="2210" y="1644"/>
                  </a:lnTo>
                  <a:lnTo>
                    <a:pt x="2210" y="1644"/>
                  </a:lnTo>
                  <a:lnTo>
                    <a:pt x="2213" y="1644"/>
                  </a:lnTo>
                  <a:lnTo>
                    <a:pt x="2213" y="1644"/>
                  </a:lnTo>
                  <a:lnTo>
                    <a:pt x="2213" y="1641"/>
                  </a:lnTo>
                  <a:lnTo>
                    <a:pt x="2210" y="1641"/>
                  </a:lnTo>
                  <a:lnTo>
                    <a:pt x="2210" y="1641"/>
                  </a:lnTo>
                  <a:lnTo>
                    <a:pt x="2210" y="1641"/>
                  </a:lnTo>
                  <a:lnTo>
                    <a:pt x="2210" y="1644"/>
                  </a:lnTo>
                  <a:lnTo>
                    <a:pt x="2210" y="1644"/>
                  </a:lnTo>
                  <a:lnTo>
                    <a:pt x="2210" y="1646"/>
                  </a:lnTo>
                  <a:lnTo>
                    <a:pt x="2208" y="1646"/>
                  </a:lnTo>
                  <a:lnTo>
                    <a:pt x="2208" y="1646"/>
                  </a:lnTo>
                  <a:lnTo>
                    <a:pt x="2206" y="1646"/>
                  </a:lnTo>
                  <a:lnTo>
                    <a:pt x="2201" y="1653"/>
                  </a:lnTo>
                  <a:lnTo>
                    <a:pt x="2201" y="1653"/>
                  </a:lnTo>
                  <a:lnTo>
                    <a:pt x="2201" y="1653"/>
                  </a:lnTo>
                  <a:lnTo>
                    <a:pt x="2201" y="1653"/>
                  </a:lnTo>
                  <a:lnTo>
                    <a:pt x="2201" y="1653"/>
                  </a:lnTo>
                  <a:lnTo>
                    <a:pt x="2201" y="1651"/>
                  </a:lnTo>
                  <a:lnTo>
                    <a:pt x="2203" y="1648"/>
                  </a:lnTo>
                  <a:lnTo>
                    <a:pt x="2203" y="1648"/>
                  </a:lnTo>
                  <a:lnTo>
                    <a:pt x="2203" y="1646"/>
                  </a:lnTo>
                  <a:lnTo>
                    <a:pt x="2206" y="1646"/>
                  </a:lnTo>
                  <a:lnTo>
                    <a:pt x="2206" y="1646"/>
                  </a:lnTo>
                  <a:lnTo>
                    <a:pt x="2208" y="1644"/>
                  </a:lnTo>
                  <a:lnTo>
                    <a:pt x="2210" y="1644"/>
                  </a:lnTo>
                  <a:lnTo>
                    <a:pt x="2208" y="1644"/>
                  </a:lnTo>
                  <a:lnTo>
                    <a:pt x="2208" y="1644"/>
                  </a:lnTo>
                  <a:lnTo>
                    <a:pt x="2208" y="1644"/>
                  </a:lnTo>
                  <a:lnTo>
                    <a:pt x="2208" y="1644"/>
                  </a:lnTo>
                  <a:lnTo>
                    <a:pt x="2208" y="1644"/>
                  </a:lnTo>
                  <a:lnTo>
                    <a:pt x="2210" y="1639"/>
                  </a:lnTo>
                  <a:lnTo>
                    <a:pt x="2210" y="1639"/>
                  </a:lnTo>
                  <a:lnTo>
                    <a:pt x="2210" y="1639"/>
                  </a:lnTo>
                  <a:lnTo>
                    <a:pt x="2208" y="1637"/>
                  </a:lnTo>
                  <a:lnTo>
                    <a:pt x="2208" y="1637"/>
                  </a:lnTo>
                  <a:lnTo>
                    <a:pt x="2208" y="1637"/>
                  </a:lnTo>
                  <a:lnTo>
                    <a:pt x="2208" y="1637"/>
                  </a:lnTo>
                  <a:lnTo>
                    <a:pt x="2208" y="1637"/>
                  </a:lnTo>
                  <a:lnTo>
                    <a:pt x="2208" y="1637"/>
                  </a:lnTo>
                  <a:lnTo>
                    <a:pt x="2208" y="1637"/>
                  </a:lnTo>
                  <a:lnTo>
                    <a:pt x="2208" y="1637"/>
                  </a:lnTo>
                  <a:lnTo>
                    <a:pt x="2208" y="1637"/>
                  </a:lnTo>
                  <a:lnTo>
                    <a:pt x="2208" y="1637"/>
                  </a:lnTo>
                  <a:lnTo>
                    <a:pt x="2206" y="1639"/>
                  </a:lnTo>
                  <a:lnTo>
                    <a:pt x="2206" y="1639"/>
                  </a:lnTo>
                  <a:lnTo>
                    <a:pt x="2206" y="1639"/>
                  </a:lnTo>
                  <a:lnTo>
                    <a:pt x="2206" y="1639"/>
                  </a:lnTo>
                  <a:lnTo>
                    <a:pt x="2206" y="1639"/>
                  </a:lnTo>
                  <a:lnTo>
                    <a:pt x="2206" y="1637"/>
                  </a:lnTo>
                  <a:lnTo>
                    <a:pt x="2206" y="1634"/>
                  </a:lnTo>
                  <a:lnTo>
                    <a:pt x="2206" y="1637"/>
                  </a:lnTo>
                  <a:lnTo>
                    <a:pt x="2203" y="1634"/>
                  </a:lnTo>
                  <a:lnTo>
                    <a:pt x="2203" y="1634"/>
                  </a:lnTo>
                  <a:lnTo>
                    <a:pt x="2201" y="1634"/>
                  </a:lnTo>
                  <a:lnTo>
                    <a:pt x="2201" y="1637"/>
                  </a:lnTo>
                  <a:lnTo>
                    <a:pt x="2199" y="1639"/>
                  </a:lnTo>
                  <a:lnTo>
                    <a:pt x="2199" y="1639"/>
                  </a:lnTo>
                  <a:lnTo>
                    <a:pt x="2199" y="1634"/>
                  </a:lnTo>
                  <a:lnTo>
                    <a:pt x="2201" y="1634"/>
                  </a:lnTo>
                  <a:lnTo>
                    <a:pt x="2201" y="1634"/>
                  </a:lnTo>
                  <a:lnTo>
                    <a:pt x="2206" y="1634"/>
                  </a:lnTo>
                  <a:lnTo>
                    <a:pt x="2206" y="1634"/>
                  </a:lnTo>
                  <a:lnTo>
                    <a:pt x="2208" y="1634"/>
                  </a:lnTo>
                  <a:lnTo>
                    <a:pt x="2208" y="1634"/>
                  </a:lnTo>
                  <a:lnTo>
                    <a:pt x="2208" y="1634"/>
                  </a:lnTo>
                  <a:lnTo>
                    <a:pt x="2208" y="1634"/>
                  </a:lnTo>
                  <a:lnTo>
                    <a:pt x="2206" y="1634"/>
                  </a:lnTo>
                  <a:lnTo>
                    <a:pt x="2206" y="1632"/>
                  </a:lnTo>
                  <a:lnTo>
                    <a:pt x="2206" y="1632"/>
                  </a:lnTo>
                  <a:lnTo>
                    <a:pt x="2203" y="1632"/>
                  </a:lnTo>
                  <a:lnTo>
                    <a:pt x="2203" y="1632"/>
                  </a:lnTo>
                  <a:lnTo>
                    <a:pt x="2201" y="1632"/>
                  </a:lnTo>
                  <a:lnTo>
                    <a:pt x="2201" y="1632"/>
                  </a:lnTo>
                  <a:lnTo>
                    <a:pt x="2201" y="1632"/>
                  </a:lnTo>
                  <a:lnTo>
                    <a:pt x="2199" y="1632"/>
                  </a:lnTo>
                  <a:lnTo>
                    <a:pt x="2199" y="1632"/>
                  </a:lnTo>
                  <a:lnTo>
                    <a:pt x="2199" y="1632"/>
                  </a:lnTo>
                  <a:lnTo>
                    <a:pt x="2199" y="1632"/>
                  </a:lnTo>
                  <a:lnTo>
                    <a:pt x="2199" y="1632"/>
                  </a:lnTo>
                  <a:lnTo>
                    <a:pt x="2199" y="1632"/>
                  </a:lnTo>
                  <a:lnTo>
                    <a:pt x="2199" y="1632"/>
                  </a:lnTo>
                  <a:lnTo>
                    <a:pt x="2199" y="1632"/>
                  </a:lnTo>
                  <a:lnTo>
                    <a:pt x="2196" y="1632"/>
                  </a:lnTo>
                  <a:lnTo>
                    <a:pt x="2196" y="1632"/>
                  </a:lnTo>
                  <a:lnTo>
                    <a:pt x="2196" y="1632"/>
                  </a:lnTo>
                  <a:lnTo>
                    <a:pt x="2194" y="1632"/>
                  </a:lnTo>
                  <a:lnTo>
                    <a:pt x="2194" y="1632"/>
                  </a:lnTo>
                  <a:lnTo>
                    <a:pt x="2194" y="1632"/>
                  </a:lnTo>
                  <a:lnTo>
                    <a:pt x="2194" y="1632"/>
                  </a:lnTo>
                  <a:lnTo>
                    <a:pt x="2194" y="1632"/>
                  </a:lnTo>
                  <a:lnTo>
                    <a:pt x="2194" y="1632"/>
                  </a:lnTo>
                  <a:lnTo>
                    <a:pt x="2194" y="1632"/>
                  </a:lnTo>
                  <a:lnTo>
                    <a:pt x="2194" y="1634"/>
                  </a:lnTo>
                  <a:lnTo>
                    <a:pt x="2194" y="1634"/>
                  </a:lnTo>
                  <a:lnTo>
                    <a:pt x="2194" y="1637"/>
                  </a:lnTo>
                  <a:lnTo>
                    <a:pt x="2194" y="1637"/>
                  </a:lnTo>
                  <a:lnTo>
                    <a:pt x="2194" y="1637"/>
                  </a:lnTo>
                  <a:lnTo>
                    <a:pt x="2191" y="1639"/>
                  </a:lnTo>
                  <a:lnTo>
                    <a:pt x="2196" y="1641"/>
                  </a:lnTo>
                  <a:lnTo>
                    <a:pt x="2196" y="1641"/>
                  </a:lnTo>
                  <a:lnTo>
                    <a:pt x="2196" y="1641"/>
                  </a:lnTo>
                  <a:lnTo>
                    <a:pt x="2194" y="1641"/>
                  </a:lnTo>
                  <a:lnTo>
                    <a:pt x="2194" y="1641"/>
                  </a:lnTo>
                  <a:lnTo>
                    <a:pt x="2194" y="1644"/>
                  </a:lnTo>
                  <a:lnTo>
                    <a:pt x="2194" y="1644"/>
                  </a:lnTo>
                  <a:lnTo>
                    <a:pt x="2194" y="1646"/>
                  </a:lnTo>
                  <a:lnTo>
                    <a:pt x="2194" y="1644"/>
                  </a:lnTo>
                  <a:lnTo>
                    <a:pt x="2194" y="1646"/>
                  </a:lnTo>
                  <a:lnTo>
                    <a:pt x="2194" y="1646"/>
                  </a:lnTo>
                  <a:lnTo>
                    <a:pt x="2194" y="1646"/>
                  </a:lnTo>
                  <a:lnTo>
                    <a:pt x="2194" y="1646"/>
                  </a:lnTo>
                  <a:lnTo>
                    <a:pt x="2194" y="1646"/>
                  </a:lnTo>
                  <a:lnTo>
                    <a:pt x="2194" y="1646"/>
                  </a:lnTo>
                  <a:lnTo>
                    <a:pt x="2194" y="1646"/>
                  </a:lnTo>
                  <a:lnTo>
                    <a:pt x="2194" y="1648"/>
                  </a:lnTo>
                  <a:lnTo>
                    <a:pt x="2194" y="1646"/>
                  </a:lnTo>
                  <a:lnTo>
                    <a:pt x="2194" y="1646"/>
                  </a:lnTo>
                  <a:lnTo>
                    <a:pt x="2194" y="1648"/>
                  </a:lnTo>
                  <a:lnTo>
                    <a:pt x="2191" y="1648"/>
                  </a:lnTo>
                  <a:lnTo>
                    <a:pt x="2191" y="1648"/>
                  </a:lnTo>
                  <a:lnTo>
                    <a:pt x="2191" y="1648"/>
                  </a:lnTo>
                  <a:lnTo>
                    <a:pt x="2194" y="1648"/>
                  </a:lnTo>
                  <a:lnTo>
                    <a:pt x="2194" y="1648"/>
                  </a:lnTo>
                  <a:lnTo>
                    <a:pt x="2194" y="1651"/>
                  </a:lnTo>
                  <a:lnTo>
                    <a:pt x="2194" y="1651"/>
                  </a:lnTo>
                  <a:lnTo>
                    <a:pt x="2191" y="1653"/>
                  </a:lnTo>
                  <a:lnTo>
                    <a:pt x="2191" y="1653"/>
                  </a:lnTo>
                  <a:lnTo>
                    <a:pt x="2191" y="1653"/>
                  </a:lnTo>
                  <a:lnTo>
                    <a:pt x="2191" y="1653"/>
                  </a:lnTo>
                  <a:lnTo>
                    <a:pt x="2191" y="1656"/>
                  </a:lnTo>
                  <a:lnTo>
                    <a:pt x="2194" y="1656"/>
                  </a:lnTo>
                  <a:lnTo>
                    <a:pt x="2194" y="1656"/>
                  </a:lnTo>
                  <a:lnTo>
                    <a:pt x="2194" y="1656"/>
                  </a:lnTo>
                  <a:lnTo>
                    <a:pt x="2194" y="1656"/>
                  </a:lnTo>
                  <a:lnTo>
                    <a:pt x="2194" y="1656"/>
                  </a:lnTo>
                  <a:lnTo>
                    <a:pt x="2194" y="1656"/>
                  </a:lnTo>
                  <a:lnTo>
                    <a:pt x="2194" y="1656"/>
                  </a:lnTo>
                  <a:lnTo>
                    <a:pt x="2194" y="1656"/>
                  </a:lnTo>
                  <a:lnTo>
                    <a:pt x="2194" y="1658"/>
                  </a:lnTo>
                  <a:lnTo>
                    <a:pt x="2194" y="1658"/>
                  </a:lnTo>
                  <a:lnTo>
                    <a:pt x="2194" y="1658"/>
                  </a:lnTo>
                  <a:lnTo>
                    <a:pt x="2194" y="1658"/>
                  </a:lnTo>
                  <a:lnTo>
                    <a:pt x="2194" y="1658"/>
                  </a:lnTo>
                  <a:lnTo>
                    <a:pt x="2194" y="1658"/>
                  </a:lnTo>
                  <a:lnTo>
                    <a:pt x="2194" y="1658"/>
                  </a:lnTo>
                  <a:lnTo>
                    <a:pt x="2194" y="1658"/>
                  </a:lnTo>
                  <a:lnTo>
                    <a:pt x="2194" y="1658"/>
                  </a:lnTo>
                  <a:lnTo>
                    <a:pt x="2194" y="1658"/>
                  </a:lnTo>
                  <a:lnTo>
                    <a:pt x="2194" y="1658"/>
                  </a:lnTo>
                  <a:lnTo>
                    <a:pt x="2194" y="1658"/>
                  </a:lnTo>
                  <a:lnTo>
                    <a:pt x="2194" y="1658"/>
                  </a:lnTo>
                  <a:lnTo>
                    <a:pt x="2194" y="1658"/>
                  </a:lnTo>
                  <a:lnTo>
                    <a:pt x="2194" y="1658"/>
                  </a:lnTo>
                  <a:lnTo>
                    <a:pt x="2194" y="1660"/>
                  </a:lnTo>
                  <a:lnTo>
                    <a:pt x="2191" y="1660"/>
                  </a:lnTo>
                  <a:lnTo>
                    <a:pt x="2191" y="1660"/>
                  </a:lnTo>
                  <a:lnTo>
                    <a:pt x="2191" y="1660"/>
                  </a:lnTo>
                  <a:lnTo>
                    <a:pt x="2191" y="1660"/>
                  </a:lnTo>
                  <a:lnTo>
                    <a:pt x="2194" y="1660"/>
                  </a:lnTo>
                  <a:lnTo>
                    <a:pt x="2194" y="1660"/>
                  </a:lnTo>
                  <a:lnTo>
                    <a:pt x="2194" y="1660"/>
                  </a:lnTo>
                  <a:lnTo>
                    <a:pt x="2194" y="1663"/>
                  </a:lnTo>
                  <a:lnTo>
                    <a:pt x="2194" y="1663"/>
                  </a:lnTo>
                  <a:lnTo>
                    <a:pt x="2191" y="1663"/>
                  </a:lnTo>
                  <a:lnTo>
                    <a:pt x="2191" y="1663"/>
                  </a:lnTo>
                  <a:lnTo>
                    <a:pt x="2191" y="1663"/>
                  </a:lnTo>
                  <a:lnTo>
                    <a:pt x="2191" y="1663"/>
                  </a:lnTo>
                  <a:lnTo>
                    <a:pt x="2191" y="1663"/>
                  </a:lnTo>
                  <a:lnTo>
                    <a:pt x="2191" y="1663"/>
                  </a:lnTo>
                  <a:lnTo>
                    <a:pt x="2191" y="1663"/>
                  </a:lnTo>
                  <a:lnTo>
                    <a:pt x="2191" y="1663"/>
                  </a:lnTo>
                  <a:lnTo>
                    <a:pt x="2194" y="1663"/>
                  </a:lnTo>
                  <a:lnTo>
                    <a:pt x="2191" y="1665"/>
                  </a:lnTo>
                  <a:lnTo>
                    <a:pt x="2191" y="1665"/>
                  </a:lnTo>
                  <a:lnTo>
                    <a:pt x="2191" y="1665"/>
                  </a:lnTo>
                  <a:lnTo>
                    <a:pt x="2194" y="1665"/>
                  </a:lnTo>
                  <a:lnTo>
                    <a:pt x="2196" y="1665"/>
                  </a:lnTo>
                  <a:lnTo>
                    <a:pt x="2196" y="1665"/>
                  </a:lnTo>
                  <a:lnTo>
                    <a:pt x="2199" y="1667"/>
                  </a:lnTo>
                  <a:lnTo>
                    <a:pt x="2199" y="1667"/>
                  </a:lnTo>
                  <a:lnTo>
                    <a:pt x="2201" y="1667"/>
                  </a:lnTo>
                  <a:lnTo>
                    <a:pt x="2201" y="1667"/>
                  </a:lnTo>
                  <a:lnTo>
                    <a:pt x="2199" y="1667"/>
                  </a:lnTo>
                  <a:lnTo>
                    <a:pt x="2199" y="1667"/>
                  </a:lnTo>
                  <a:lnTo>
                    <a:pt x="2196" y="1667"/>
                  </a:lnTo>
                  <a:lnTo>
                    <a:pt x="2194" y="1667"/>
                  </a:lnTo>
                  <a:lnTo>
                    <a:pt x="2194" y="1665"/>
                  </a:lnTo>
                  <a:lnTo>
                    <a:pt x="2194" y="1665"/>
                  </a:lnTo>
                  <a:lnTo>
                    <a:pt x="2189" y="1665"/>
                  </a:lnTo>
                  <a:lnTo>
                    <a:pt x="2189" y="1665"/>
                  </a:lnTo>
                  <a:lnTo>
                    <a:pt x="2189" y="1665"/>
                  </a:lnTo>
                  <a:lnTo>
                    <a:pt x="2189" y="1667"/>
                  </a:lnTo>
                  <a:lnTo>
                    <a:pt x="2189" y="1667"/>
                  </a:lnTo>
                  <a:lnTo>
                    <a:pt x="2189" y="1667"/>
                  </a:lnTo>
                  <a:lnTo>
                    <a:pt x="2189" y="1667"/>
                  </a:lnTo>
                  <a:lnTo>
                    <a:pt x="2189" y="1667"/>
                  </a:lnTo>
                  <a:lnTo>
                    <a:pt x="2189" y="1667"/>
                  </a:lnTo>
                  <a:lnTo>
                    <a:pt x="2189" y="1667"/>
                  </a:lnTo>
                  <a:lnTo>
                    <a:pt x="2189" y="1667"/>
                  </a:lnTo>
                  <a:lnTo>
                    <a:pt x="2187" y="1667"/>
                  </a:lnTo>
                  <a:lnTo>
                    <a:pt x="2187" y="1667"/>
                  </a:lnTo>
                  <a:lnTo>
                    <a:pt x="2187" y="1670"/>
                  </a:lnTo>
                  <a:lnTo>
                    <a:pt x="2187" y="1670"/>
                  </a:lnTo>
                  <a:lnTo>
                    <a:pt x="2187" y="1670"/>
                  </a:lnTo>
                  <a:lnTo>
                    <a:pt x="2187" y="1670"/>
                  </a:lnTo>
                  <a:lnTo>
                    <a:pt x="2187" y="1670"/>
                  </a:lnTo>
                  <a:lnTo>
                    <a:pt x="2187" y="1670"/>
                  </a:lnTo>
                  <a:lnTo>
                    <a:pt x="2187" y="1670"/>
                  </a:lnTo>
                  <a:lnTo>
                    <a:pt x="2187" y="1670"/>
                  </a:lnTo>
                  <a:lnTo>
                    <a:pt x="2187" y="1670"/>
                  </a:lnTo>
                  <a:lnTo>
                    <a:pt x="2187" y="1672"/>
                  </a:lnTo>
                  <a:lnTo>
                    <a:pt x="2187" y="1672"/>
                  </a:lnTo>
                  <a:lnTo>
                    <a:pt x="2184" y="1674"/>
                  </a:lnTo>
                  <a:lnTo>
                    <a:pt x="2187" y="1674"/>
                  </a:lnTo>
                  <a:lnTo>
                    <a:pt x="2187" y="1674"/>
                  </a:lnTo>
                  <a:lnTo>
                    <a:pt x="2189" y="1679"/>
                  </a:lnTo>
                  <a:lnTo>
                    <a:pt x="2191" y="1684"/>
                  </a:lnTo>
                  <a:lnTo>
                    <a:pt x="2194" y="1684"/>
                  </a:lnTo>
                  <a:lnTo>
                    <a:pt x="2194" y="1684"/>
                  </a:lnTo>
                  <a:lnTo>
                    <a:pt x="2196" y="1684"/>
                  </a:lnTo>
                  <a:lnTo>
                    <a:pt x="2199" y="1684"/>
                  </a:lnTo>
                  <a:lnTo>
                    <a:pt x="2199" y="1684"/>
                  </a:lnTo>
                  <a:lnTo>
                    <a:pt x="2201" y="1684"/>
                  </a:lnTo>
                  <a:lnTo>
                    <a:pt x="2203" y="1686"/>
                  </a:lnTo>
                  <a:lnTo>
                    <a:pt x="2203" y="1686"/>
                  </a:lnTo>
                  <a:lnTo>
                    <a:pt x="2206" y="1689"/>
                  </a:lnTo>
                  <a:lnTo>
                    <a:pt x="2208" y="1689"/>
                  </a:lnTo>
                  <a:lnTo>
                    <a:pt x="2208" y="1689"/>
                  </a:lnTo>
                  <a:lnTo>
                    <a:pt x="2206" y="1689"/>
                  </a:lnTo>
                  <a:lnTo>
                    <a:pt x="2206" y="1689"/>
                  </a:lnTo>
                  <a:lnTo>
                    <a:pt x="2206" y="1689"/>
                  </a:lnTo>
                  <a:lnTo>
                    <a:pt x="2201" y="1686"/>
                  </a:lnTo>
                  <a:lnTo>
                    <a:pt x="2201" y="1686"/>
                  </a:lnTo>
                  <a:lnTo>
                    <a:pt x="2201" y="1686"/>
                  </a:lnTo>
                  <a:lnTo>
                    <a:pt x="2201" y="1686"/>
                  </a:lnTo>
                  <a:lnTo>
                    <a:pt x="2201" y="1686"/>
                  </a:lnTo>
                  <a:lnTo>
                    <a:pt x="2201" y="1686"/>
                  </a:lnTo>
                  <a:lnTo>
                    <a:pt x="2201" y="1686"/>
                  </a:lnTo>
                  <a:lnTo>
                    <a:pt x="2201" y="1686"/>
                  </a:lnTo>
                  <a:lnTo>
                    <a:pt x="2199" y="1686"/>
                  </a:lnTo>
                  <a:lnTo>
                    <a:pt x="2194" y="1686"/>
                  </a:lnTo>
                  <a:lnTo>
                    <a:pt x="2194" y="1686"/>
                  </a:lnTo>
                  <a:lnTo>
                    <a:pt x="2194" y="1686"/>
                  </a:lnTo>
                  <a:lnTo>
                    <a:pt x="2191" y="1689"/>
                  </a:lnTo>
                  <a:lnTo>
                    <a:pt x="2191" y="1686"/>
                  </a:lnTo>
                  <a:lnTo>
                    <a:pt x="2189" y="1686"/>
                  </a:lnTo>
                  <a:lnTo>
                    <a:pt x="2189" y="1689"/>
                  </a:lnTo>
                  <a:lnTo>
                    <a:pt x="2191" y="1689"/>
                  </a:lnTo>
                  <a:lnTo>
                    <a:pt x="2191" y="1689"/>
                  </a:lnTo>
                  <a:lnTo>
                    <a:pt x="2191" y="1689"/>
                  </a:lnTo>
                  <a:lnTo>
                    <a:pt x="2194" y="1689"/>
                  </a:lnTo>
                  <a:lnTo>
                    <a:pt x="2191" y="1689"/>
                  </a:lnTo>
                  <a:lnTo>
                    <a:pt x="2191" y="1691"/>
                  </a:lnTo>
                  <a:lnTo>
                    <a:pt x="2194" y="1691"/>
                  </a:lnTo>
                  <a:lnTo>
                    <a:pt x="2196" y="1691"/>
                  </a:lnTo>
                  <a:lnTo>
                    <a:pt x="2194" y="1691"/>
                  </a:lnTo>
                  <a:lnTo>
                    <a:pt x="2194" y="1691"/>
                  </a:lnTo>
                  <a:lnTo>
                    <a:pt x="2194" y="1691"/>
                  </a:lnTo>
                  <a:lnTo>
                    <a:pt x="2194" y="1693"/>
                  </a:lnTo>
                  <a:lnTo>
                    <a:pt x="2196" y="1693"/>
                  </a:lnTo>
                  <a:lnTo>
                    <a:pt x="2196" y="1693"/>
                  </a:lnTo>
                  <a:lnTo>
                    <a:pt x="2196" y="1693"/>
                  </a:lnTo>
                  <a:lnTo>
                    <a:pt x="2199" y="1698"/>
                  </a:lnTo>
                  <a:lnTo>
                    <a:pt x="2199" y="1698"/>
                  </a:lnTo>
                  <a:lnTo>
                    <a:pt x="2194" y="1693"/>
                  </a:lnTo>
                  <a:lnTo>
                    <a:pt x="2191" y="1693"/>
                  </a:lnTo>
                  <a:lnTo>
                    <a:pt x="2191" y="1696"/>
                  </a:lnTo>
                  <a:lnTo>
                    <a:pt x="2191" y="1696"/>
                  </a:lnTo>
                  <a:lnTo>
                    <a:pt x="2191" y="1696"/>
                  </a:lnTo>
                  <a:lnTo>
                    <a:pt x="2191" y="1698"/>
                  </a:lnTo>
                  <a:lnTo>
                    <a:pt x="2194" y="1698"/>
                  </a:lnTo>
                  <a:lnTo>
                    <a:pt x="2194" y="1698"/>
                  </a:lnTo>
                  <a:lnTo>
                    <a:pt x="2194" y="1698"/>
                  </a:lnTo>
                  <a:lnTo>
                    <a:pt x="2196" y="1700"/>
                  </a:lnTo>
                  <a:lnTo>
                    <a:pt x="2196" y="1700"/>
                  </a:lnTo>
                  <a:lnTo>
                    <a:pt x="2194" y="1700"/>
                  </a:lnTo>
                  <a:lnTo>
                    <a:pt x="2194" y="1700"/>
                  </a:lnTo>
                  <a:lnTo>
                    <a:pt x="2194" y="1700"/>
                  </a:lnTo>
                  <a:lnTo>
                    <a:pt x="2194" y="1700"/>
                  </a:lnTo>
                  <a:lnTo>
                    <a:pt x="2194" y="1700"/>
                  </a:lnTo>
                  <a:lnTo>
                    <a:pt x="2194" y="1700"/>
                  </a:lnTo>
                  <a:lnTo>
                    <a:pt x="2194" y="1700"/>
                  </a:lnTo>
                  <a:lnTo>
                    <a:pt x="2194" y="1700"/>
                  </a:lnTo>
                  <a:lnTo>
                    <a:pt x="2194" y="1700"/>
                  </a:lnTo>
                  <a:lnTo>
                    <a:pt x="2191" y="1700"/>
                  </a:lnTo>
                  <a:lnTo>
                    <a:pt x="2191" y="1700"/>
                  </a:lnTo>
                  <a:lnTo>
                    <a:pt x="2191" y="1700"/>
                  </a:lnTo>
                  <a:lnTo>
                    <a:pt x="2194" y="1703"/>
                  </a:lnTo>
                  <a:lnTo>
                    <a:pt x="2194" y="1705"/>
                  </a:lnTo>
                  <a:lnTo>
                    <a:pt x="2191" y="1703"/>
                  </a:lnTo>
                  <a:lnTo>
                    <a:pt x="2189" y="1700"/>
                  </a:lnTo>
                  <a:lnTo>
                    <a:pt x="2189" y="1700"/>
                  </a:lnTo>
                  <a:lnTo>
                    <a:pt x="2189" y="1700"/>
                  </a:lnTo>
                  <a:lnTo>
                    <a:pt x="2189" y="1700"/>
                  </a:lnTo>
                  <a:lnTo>
                    <a:pt x="2189" y="1703"/>
                  </a:lnTo>
                  <a:lnTo>
                    <a:pt x="2189" y="1703"/>
                  </a:lnTo>
                  <a:lnTo>
                    <a:pt x="2189" y="1703"/>
                  </a:lnTo>
                  <a:lnTo>
                    <a:pt x="2189" y="1703"/>
                  </a:lnTo>
                  <a:lnTo>
                    <a:pt x="2189" y="1705"/>
                  </a:lnTo>
                  <a:lnTo>
                    <a:pt x="2189" y="1705"/>
                  </a:lnTo>
                  <a:lnTo>
                    <a:pt x="2191" y="1705"/>
                  </a:lnTo>
                  <a:lnTo>
                    <a:pt x="2191" y="1705"/>
                  </a:lnTo>
                  <a:lnTo>
                    <a:pt x="2191" y="1705"/>
                  </a:lnTo>
                  <a:lnTo>
                    <a:pt x="2191" y="1705"/>
                  </a:lnTo>
                  <a:lnTo>
                    <a:pt x="2191" y="1705"/>
                  </a:lnTo>
                  <a:lnTo>
                    <a:pt x="2191" y="1708"/>
                  </a:lnTo>
                  <a:lnTo>
                    <a:pt x="2191" y="1708"/>
                  </a:lnTo>
                  <a:lnTo>
                    <a:pt x="2194" y="1710"/>
                  </a:lnTo>
                  <a:lnTo>
                    <a:pt x="2194" y="1710"/>
                  </a:lnTo>
                  <a:lnTo>
                    <a:pt x="2194" y="1712"/>
                  </a:lnTo>
                  <a:lnTo>
                    <a:pt x="2194" y="1712"/>
                  </a:lnTo>
                  <a:lnTo>
                    <a:pt x="2196" y="1712"/>
                  </a:lnTo>
                  <a:lnTo>
                    <a:pt x="2196" y="1710"/>
                  </a:lnTo>
                  <a:lnTo>
                    <a:pt x="2196" y="1710"/>
                  </a:lnTo>
                  <a:lnTo>
                    <a:pt x="2196" y="1710"/>
                  </a:lnTo>
                  <a:lnTo>
                    <a:pt x="2196" y="1710"/>
                  </a:lnTo>
                  <a:lnTo>
                    <a:pt x="2196" y="1710"/>
                  </a:lnTo>
                  <a:lnTo>
                    <a:pt x="2196" y="1710"/>
                  </a:lnTo>
                  <a:lnTo>
                    <a:pt x="2196" y="1708"/>
                  </a:lnTo>
                  <a:lnTo>
                    <a:pt x="2196" y="1708"/>
                  </a:lnTo>
                  <a:lnTo>
                    <a:pt x="2196" y="1710"/>
                  </a:lnTo>
                  <a:lnTo>
                    <a:pt x="2196" y="1710"/>
                  </a:lnTo>
                  <a:lnTo>
                    <a:pt x="2199" y="1710"/>
                  </a:lnTo>
                  <a:lnTo>
                    <a:pt x="2199" y="1710"/>
                  </a:lnTo>
                  <a:lnTo>
                    <a:pt x="2201" y="1710"/>
                  </a:lnTo>
                  <a:lnTo>
                    <a:pt x="2203" y="1710"/>
                  </a:lnTo>
                  <a:lnTo>
                    <a:pt x="2203" y="1710"/>
                  </a:lnTo>
                  <a:lnTo>
                    <a:pt x="2203" y="1710"/>
                  </a:lnTo>
                  <a:lnTo>
                    <a:pt x="2203" y="1710"/>
                  </a:lnTo>
                  <a:lnTo>
                    <a:pt x="2201" y="1710"/>
                  </a:lnTo>
                  <a:lnTo>
                    <a:pt x="2199" y="1710"/>
                  </a:lnTo>
                  <a:lnTo>
                    <a:pt x="2199" y="1710"/>
                  </a:lnTo>
                  <a:lnTo>
                    <a:pt x="2199" y="1710"/>
                  </a:lnTo>
                  <a:lnTo>
                    <a:pt x="2199" y="1710"/>
                  </a:lnTo>
                  <a:lnTo>
                    <a:pt x="2199" y="1710"/>
                  </a:lnTo>
                  <a:lnTo>
                    <a:pt x="2196" y="1712"/>
                  </a:lnTo>
                  <a:lnTo>
                    <a:pt x="2196" y="1712"/>
                  </a:lnTo>
                  <a:lnTo>
                    <a:pt x="2199" y="1715"/>
                  </a:lnTo>
                  <a:lnTo>
                    <a:pt x="2199" y="1715"/>
                  </a:lnTo>
                  <a:lnTo>
                    <a:pt x="2199" y="1715"/>
                  </a:lnTo>
                  <a:lnTo>
                    <a:pt x="2199" y="1715"/>
                  </a:lnTo>
                  <a:lnTo>
                    <a:pt x="2199" y="1715"/>
                  </a:lnTo>
                  <a:lnTo>
                    <a:pt x="2201" y="1715"/>
                  </a:lnTo>
                  <a:lnTo>
                    <a:pt x="2201" y="1715"/>
                  </a:lnTo>
                  <a:lnTo>
                    <a:pt x="2196" y="1715"/>
                  </a:lnTo>
                  <a:lnTo>
                    <a:pt x="2194" y="1712"/>
                  </a:lnTo>
                  <a:lnTo>
                    <a:pt x="2194" y="1712"/>
                  </a:lnTo>
                  <a:lnTo>
                    <a:pt x="2194" y="1712"/>
                  </a:lnTo>
                  <a:lnTo>
                    <a:pt x="2191" y="1715"/>
                  </a:lnTo>
                  <a:lnTo>
                    <a:pt x="2191" y="1715"/>
                  </a:lnTo>
                  <a:lnTo>
                    <a:pt x="2191" y="1715"/>
                  </a:lnTo>
                  <a:lnTo>
                    <a:pt x="2191" y="1715"/>
                  </a:lnTo>
                  <a:lnTo>
                    <a:pt x="2194" y="1715"/>
                  </a:lnTo>
                  <a:lnTo>
                    <a:pt x="2191" y="1715"/>
                  </a:lnTo>
                  <a:lnTo>
                    <a:pt x="2191" y="1717"/>
                  </a:lnTo>
                  <a:lnTo>
                    <a:pt x="2191" y="1717"/>
                  </a:lnTo>
                  <a:lnTo>
                    <a:pt x="2194" y="1717"/>
                  </a:lnTo>
                  <a:lnTo>
                    <a:pt x="2194" y="1717"/>
                  </a:lnTo>
                  <a:lnTo>
                    <a:pt x="2196" y="1717"/>
                  </a:lnTo>
                  <a:lnTo>
                    <a:pt x="2196" y="1717"/>
                  </a:lnTo>
                  <a:lnTo>
                    <a:pt x="2196" y="1719"/>
                  </a:lnTo>
                  <a:lnTo>
                    <a:pt x="2196" y="1719"/>
                  </a:lnTo>
                  <a:lnTo>
                    <a:pt x="2196" y="1719"/>
                  </a:lnTo>
                  <a:lnTo>
                    <a:pt x="2196" y="1719"/>
                  </a:lnTo>
                  <a:lnTo>
                    <a:pt x="2194" y="1719"/>
                  </a:lnTo>
                  <a:lnTo>
                    <a:pt x="2194" y="1717"/>
                  </a:lnTo>
                  <a:lnTo>
                    <a:pt x="2189" y="1717"/>
                  </a:lnTo>
                  <a:lnTo>
                    <a:pt x="2189" y="1717"/>
                  </a:lnTo>
                  <a:lnTo>
                    <a:pt x="2189" y="1717"/>
                  </a:lnTo>
                  <a:lnTo>
                    <a:pt x="2189" y="1719"/>
                  </a:lnTo>
                  <a:lnTo>
                    <a:pt x="2191" y="1719"/>
                  </a:lnTo>
                  <a:lnTo>
                    <a:pt x="2191" y="1722"/>
                  </a:lnTo>
                  <a:lnTo>
                    <a:pt x="2189" y="1722"/>
                  </a:lnTo>
                  <a:lnTo>
                    <a:pt x="2189" y="1722"/>
                  </a:lnTo>
                  <a:lnTo>
                    <a:pt x="2189" y="1722"/>
                  </a:lnTo>
                  <a:lnTo>
                    <a:pt x="2187" y="1724"/>
                  </a:lnTo>
                  <a:lnTo>
                    <a:pt x="2187" y="1724"/>
                  </a:lnTo>
                  <a:lnTo>
                    <a:pt x="2189" y="1724"/>
                  </a:lnTo>
                  <a:lnTo>
                    <a:pt x="2189" y="1724"/>
                  </a:lnTo>
                  <a:lnTo>
                    <a:pt x="2191" y="1724"/>
                  </a:lnTo>
                  <a:lnTo>
                    <a:pt x="2194" y="1724"/>
                  </a:lnTo>
                  <a:lnTo>
                    <a:pt x="2194" y="1724"/>
                  </a:lnTo>
                  <a:lnTo>
                    <a:pt x="2194" y="1724"/>
                  </a:lnTo>
                  <a:lnTo>
                    <a:pt x="2194" y="1726"/>
                  </a:lnTo>
                  <a:lnTo>
                    <a:pt x="2194" y="1726"/>
                  </a:lnTo>
                  <a:lnTo>
                    <a:pt x="2191" y="1726"/>
                  </a:lnTo>
                  <a:lnTo>
                    <a:pt x="2189" y="1726"/>
                  </a:lnTo>
                  <a:lnTo>
                    <a:pt x="2189" y="1729"/>
                  </a:lnTo>
                  <a:lnTo>
                    <a:pt x="2187" y="1726"/>
                  </a:lnTo>
                  <a:lnTo>
                    <a:pt x="2187" y="1726"/>
                  </a:lnTo>
                  <a:lnTo>
                    <a:pt x="2187" y="1726"/>
                  </a:lnTo>
                  <a:lnTo>
                    <a:pt x="2187" y="1726"/>
                  </a:lnTo>
                  <a:lnTo>
                    <a:pt x="2187" y="1731"/>
                  </a:lnTo>
                  <a:lnTo>
                    <a:pt x="2187" y="1731"/>
                  </a:lnTo>
                  <a:lnTo>
                    <a:pt x="2187" y="1731"/>
                  </a:lnTo>
                  <a:lnTo>
                    <a:pt x="2189" y="1734"/>
                  </a:lnTo>
                  <a:lnTo>
                    <a:pt x="2189" y="1734"/>
                  </a:lnTo>
                  <a:lnTo>
                    <a:pt x="2189" y="1734"/>
                  </a:lnTo>
                  <a:lnTo>
                    <a:pt x="2189" y="1736"/>
                  </a:lnTo>
                  <a:lnTo>
                    <a:pt x="2189" y="1736"/>
                  </a:lnTo>
                  <a:lnTo>
                    <a:pt x="2191" y="1736"/>
                  </a:lnTo>
                  <a:lnTo>
                    <a:pt x="2191" y="1736"/>
                  </a:lnTo>
                  <a:lnTo>
                    <a:pt x="2194" y="1736"/>
                  </a:lnTo>
                  <a:lnTo>
                    <a:pt x="2194" y="1736"/>
                  </a:lnTo>
                  <a:lnTo>
                    <a:pt x="2194" y="1738"/>
                  </a:lnTo>
                  <a:lnTo>
                    <a:pt x="2194" y="1738"/>
                  </a:lnTo>
                  <a:lnTo>
                    <a:pt x="2194" y="1738"/>
                  </a:lnTo>
                  <a:lnTo>
                    <a:pt x="2196" y="1738"/>
                  </a:lnTo>
                  <a:lnTo>
                    <a:pt x="2196" y="1738"/>
                  </a:lnTo>
                  <a:lnTo>
                    <a:pt x="2196" y="1741"/>
                  </a:lnTo>
                  <a:lnTo>
                    <a:pt x="2196" y="1741"/>
                  </a:lnTo>
                  <a:lnTo>
                    <a:pt x="2196" y="1741"/>
                  </a:lnTo>
                  <a:lnTo>
                    <a:pt x="2199" y="1741"/>
                  </a:lnTo>
                  <a:lnTo>
                    <a:pt x="2199" y="1741"/>
                  </a:lnTo>
                  <a:lnTo>
                    <a:pt x="2196" y="1741"/>
                  </a:lnTo>
                  <a:lnTo>
                    <a:pt x="2196" y="1741"/>
                  </a:lnTo>
                  <a:lnTo>
                    <a:pt x="2196" y="1741"/>
                  </a:lnTo>
                  <a:lnTo>
                    <a:pt x="2196" y="1741"/>
                  </a:lnTo>
                  <a:lnTo>
                    <a:pt x="2196" y="1743"/>
                  </a:lnTo>
                  <a:lnTo>
                    <a:pt x="2196" y="1743"/>
                  </a:lnTo>
                  <a:lnTo>
                    <a:pt x="2196" y="1743"/>
                  </a:lnTo>
                  <a:lnTo>
                    <a:pt x="2196" y="1743"/>
                  </a:lnTo>
                  <a:lnTo>
                    <a:pt x="2196" y="1743"/>
                  </a:lnTo>
                  <a:lnTo>
                    <a:pt x="2196" y="1745"/>
                  </a:lnTo>
                  <a:lnTo>
                    <a:pt x="2196" y="1748"/>
                  </a:lnTo>
                  <a:lnTo>
                    <a:pt x="2196" y="1748"/>
                  </a:lnTo>
                  <a:lnTo>
                    <a:pt x="2196" y="1748"/>
                  </a:lnTo>
                  <a:lnTo>
                    <a:pt x="2196" y="1748"/>
                  </a:lnTo>
                  <a:lnTo>
                    <a:pt x="2196" y="1748"/>
                  </a:lnTo>
                  <a:lnTo>
                    <a:pt x="2199" y="1748"/>
                  </a:lnTo>
                  <a:lnTo>
                    <a:pt x="2199" y="1748"/>
                  </a:lnTo>
                  <a:lnTo>
                    <a:pt x="2196" y="1750"/>
                  </a:lnTo>
                  <a:lnTo>
                    <a:pt x="2196" y="1750"/>
                  </a:lnTo>
                  <a:lnTo>
                    <a:pt x="2196" y="1750"/>
                  </a:lnTo>
                  <a:lnTo>
                    <a:pt x="2196" y="1750"/>
                  </a:lnTo>
                  <a:lnTo>
                    <a:pt x="2196" y="1750"/>
                  </a:lnTo>
                  <a:lnTo>
                    <a:pt x="2196" y="1752"/>
                  </a:lnTo>
                  <a:lnTo>
                    <a:pt x="2196" y="1752"/>
                  </a:lnTo>
                  <a:lnTo>
                    <a:pt x="2196" y="1752"/>
                  </a:lnTo>
                  <a:lnTo>
                    <a:pt x="2196" y="1752"/>
                  </a:lnTo>
                  <a:lnTo>
                    <a:pt x="2196" y="1752"/>
                  </a:lnTo>
                  <a:lnTo>
                    <a:pt x="2196" y="1755"/>
                  </a:lnTo>
                  <a:lnTo>
                    <a:pt x="2196" y="1755"/>
                  </a:lnTo>
                  <a:lnTo>
                    <a:pt x="2196" y="1757"/>
                  </a:lnTo>
                  <a:lnTo>
                    <a:pt x="2196" y="1757"/>
                  </a:lnTo>
                  <a:lnTo>
                    <a:pt x="2194" y="1757"/>
                  </a:lnTo>
                  <a:lnTo>
                    <a:pt x="2194" y="1755"/>
                  </a:lnTo>
                  <a:lnTo>
                    <a:pt x="2194" y="1755"/>
                  </a:lnTo>
                  <a:lnTo>
                    <a:pt x="2196" y="1752"/>
                  </a:lnTo>
                  <a:lnTo>
                    <a:pt x="2196" y="1752"/>
                  </a:lnTo>
                  <a:lnTo>
                    <a:pt x="2196" y="1750"/>
                  </a:lnTo>
                  <a:lnTo>
                    <a:pt x="2194" y="1748"/>
                  </a:lnTo>
                  <a:lnTo>
                    <a:pt x="2194" y="1748"/>
                  </a:lnTo>
                  <a:lnTo>
                    <a:pt x="2194" y="1748"/>
                  </a:lnTo>
                  <a:lnTo>
                    <a:pt x="2194" y="1748"/>
                  </a:lnTo>
                  <a:lnTo>
                    <a:pt x="2194" y="1745"/>
                  </a:lnTo>
                  <a:lnTo>
                    <a:pt x="2194" y="1745"/>
                  </a:lnTo>
                  <a:lnTo>
                    <a:pt x="2194" y="1745"/>
                  </a:lnTo>
                  <a:lnTo>
                    <a:pt x="2194" y="1743"/>
                  </a:lnTo>
                  <a:lnTo>
                    <a:pt x="2194" y="1743"/>
                  </a:lnTo>
                  <a:lnTo>
                    <a:pt x="2194" y="1743"/>
                  </a:lnTo>
                  <a:lnTo>
                    <a:pt x="2194" y="1743"/>
                  </a:lnTo>
                  <a:lnTo>
                    <a:pt x="2194" y="1743"/>
                  </a:lnTo>
                  <a:lnTo>
                    <a:pt x="2194" y="1743"/>
                  </a:lnTo>
                  <a:lnTo>
                    <a:pt x="2194" y="1743"/>
                  </a:lnTo>
                  <a:lnTo>
                    <a:pt x="2194" y="1741"/>
                  </a:lnTo>
                  <a:lnTo>
                    <a:pt x="2194" y="1741"/>
                  </a:lnTo>
                  <a:lnTo>
                    <a:pt x="2194" y="1741"/>
                  </a:lnTo>
                  <a:lnTo>
                    <a:pt x="2194" y="1738"/>
                  </a:lnTo>
                  <a:lnTo>
                    <a:pt x="2194" y="1738"/>
                  </a:lnTo>
                  <a:lnTo>
                    <a:pt x="2191" y="1738"/>
                  </a:lnTo>
                  <a:lnTo>
                    <a:pt x="2191" y="1738"/>
                  </a:lnTo>
                  <a:lnTo>
                    <a:pt x="2191" y="1738"/>
                  </a:lnTo>
                  <a:lnTo>
                    <a:pt x="2191" y="1738"/>
                  </a:lnTo>
                  <a:lnTo>
                    <a:pt x="2191" y="1738"/>
                  </a:lnTo>
                  <a:lnTo>
                    <a:pt x="2191" y="1738"/>
                  </a:lnTo>
                  <a:lnTo>
                    <a:pt x="2189" y="1738"/>
                  </a:lnTo>
                  <a:lnTo>
                    <a:pt x="2189" y="1738"/>
                  </a:lnTo>
                  <a:lnTo>
                    <a:pt x="2189" y="1738"/>
                  </a:lnTo>
                  <a:lnTo>
                    <a:pt x="2189" y="1738"/>
                  </a:lnTo>
                  <a:lnTo>
                    <a:pt x="2187" y="1736"/>
                  </a:lnTo>
                  <a:lnTo>
                    <a:pt x="2187" y="1736"/>
                  </a:lnTo>
                  <a:lnTo>
                    <a:pt x="2187" y="1736"/>
                  </a:lnTo>
                  <a:lnTo>
                    <a:pt x="2187" y="1736"/>
                  </a:lnTo>
                  <a:lnTo>
                    <a:pt x="2187" y="1736"/>
                  </a:lnTo>
                  <a:lnTo>
                    <a:pt x="2184" y="1734"/>
                  </a:lnTo>
                  <a:lnTo>
                    <a:pt x="2184" y="1734"/>
                  </a:lnTo>
                  <a:lnTo>
                    <a:pt x="2182" y="1734"/>
                  </a:lnTo>
                  <a:lnTo>
                    <a:pt x="2182" y="1734"/>
                  </a:lnTo>
                  <a:lnTo>
                    <a:pt x="2180" y="1731"/>
                  </a:lnTo>
                  <a:lnTo>
                    <a:pt x="2180" y="1731"/>
                  </a:lnTo>
                  <a:lnTo>
                    <a:pt x="2177" y="1731"/>
                  </a:lnTo>
                  <a:lnTo>
                    <a:pt x="2177" y="1731"/>
                  </a:lnTo>
                  <a:lnTo>
                    <a:pt x="2177" y="1731"/>
                  </a:lnTo>
                  <a:lnTo>
                    <a:pt x="2177" y="1731"/>
                  </a:lnTo>
                  <a:lnTo>
                    <a:pt x="2177" y="1731"/>
                  </a:lnTo>
                  <a:lnTo>
                    <a:pt x="2177" y="1731"/>
                  </a:lnTo>
                  <a:lnTo>
                    <a:pt x="2177" y="1731"/>
                  </a:lnTo>
                  <a:lnTo>
                    <a:pt x="2177" y="1731"/>
                  </a:lnTo>
                  <a:lnTo>
                    <a:pt x="2177" y="1731"/>
                  </a:lnTo>
                  <a:lnTo>
                    <a:pt x="2177" y="1731"/>
                  </a:lnTo>
                  <a:lnTo>
                    <a:pt x="2177" y="1731"/>
                  </a:lnTo>
                  <a:lnTo>
                    <a:pt x="2175" y="1731"/>
                  </a:lnTo>
                  <a:lnTo>
                    <a:pt x="2175" y="1734"/>
                  </a:lnTo>
                  <a:lnTo>
                    <a:pt x="2175" y="1734"/>
                  </a:lnTo>
                  <a:lnTo>
                    <a:pt x="2175" y="1734"/>
                  </a:lnTo>
                  <a:lnTo>
                    <a:pt x="2175" y="1736"/>
                  </a:lnTo>
                  <a:lnTo>
                    <a:pt x="2175" y="1736"/>
                  </a:lnTo>
                  <a:lnTo>
                    <a:pt x="2175" y="1736"/>
                  </a:lnTo>
                  <a:lnTo>
                    <a:pt x="2175" y="1736"/>
                  </a:lnTo>
                  <a:lnTo>
                    <a:pt x="2177" y="1736"/>
                  </a:lnTo>
                  <a:lnTo>
                    <a:pt x="2177" y="1736"/>
                  </a:lnTo>
                  <a:lnTo>
                    <a:pt x="2177" y="1738"/>
                  </a:lnTo>
                  <a:lnTo>
                    <a:pt x="2177" y="1738"/>
                  </a:lnTo>
                  <a:lnTo>
                    <a:pt x="2175" y="1738"/>
                  </a:lnTo>
                  <a:lnTo>
                    <a:pt x="2175" y="1741"/>
                  </a:lnTo>
                  <a:lnTo>
                    <a:pt x="2175" y="1741"/>
                  </a:lnTo>
                  <a:lnTo>
                    <a:pt x="2175" y="1743"/>
                  </a:lnTo>
                  <a:lnTo>
                    <a:pt x="2175" y="1743"/>
                  </a:lnTo>
                  <a:lnTo>
                    <a:pt x="2175" y="1743"/>
                  </a:lnTo>
                  <a:lnTo>
                    <a:pt x="2175" y="1743"/>
                  </a:lnTo>
                  <a:lnTo>
                    <a:pt x="2175" y="1743"/>
                  </a:lnTo>
                  <a:lnTo>
                    <a:pt x="2175" y="1743"/>
                  </a:lnTo>
                  <a:lnTo>
                    <a:pt x="2175" y="1745"/>
                  </a:lnTo>
                  <a:lnTo>
                    <a:pt x="2175" y="1745"/>
                  </a:lnTo>
                  <a:lnTo>
                    <a:pt x="2175" y="1745"/>
                  </a:lnTo>
                  <a:lnTo>
                    <a:pt x="2175" y="1748"/>
                  </a:lnTo>
                  <a:lnTo>
                    <a:pt x="2175" y="1748"/>
                  </a:lnTo>
                  <a:lnTo>
                    <a:pt x="2175" y="1748"/>
                  </a:lnTo>
                  <a:lnTo>
                    <a:pt x="2175" y="1750"/>
                  </a:lnTo>
                  <a:lnTo>
                    <a:pt x="2175" y="1750"/>
                  </a:lnTo>
                  <a:lnTo>
                    <a:pt x="2175" y="1750"/>
                  </a:lnTo>
                  <a:lnTo>
                    <a:pt x="2175" y="1750"/>
                  </a:lnTo>
                  <a:lnTo>
                    <a:pt x="2177" y="1752"/>
                  </a:lnTo>
                  <a:lnTo>
                    <a:pt x="2177" y="1752"/>
                  </a:lnTo>
                  <a:lnTo>
                    <a:pt x="2175" y="1752"/>
                  </a:lnTo>
                  <a:lnTo>
                    <a:pt x="2175" y="1752"/>
                  </a:lnTo>
                  <a:lnTo>
                    <a:pt x="2170" y="1755"/>
                  </a:lnTo>
                  <a:lnTo>
                    <a:pt x="2172" y="1755"/>
                  </a:lnTo>
                  <a:lnTo>
                    <a:pt x="2172" y="1755"/>
                  </a:lnTo>
                  <a:lnTo>
                    <a:pt x="2170" y="1757"/>
                  </a:lnTo>
                  <a:lnTo>
                    <a:pt x="2170" y="1757"/>
                  </a:lnTo>
                  <a:lnTo>
                    <a:pt x="2170" y="1757"/>
                  </a:lnTo>
                  <a:lnTo>
                    <a:pt x="2170" y="1757"/>
                  </a:lnTo>
                  <a:lnTo>
                    <a:pt x="2170" y="1757"/>
                  </a:lnTo>
                  <a:lnTo>
                    <a:pt x="2170" y="1757"/>
                  </a:lnTo>
                  <a:lnTo>
                    <a:pt x="2170" y="1757"/>
                  </a:lnTo>
                  <a:lnTo>
                    <a:pt x="2170" y="1757"/>
                  </a:lnTo>
                  <a:lnTo>
                    <a:pt x="2168" y="1755"/>
                  </a:lnTo>
                  <a:lnTo>
                    <a:pt x="2168" y="1755"/>
                  </a:lnTo>
                  <a:lnTo>
                    <a:pt x="2168" y="1755"/>
                  </a:lnTo>
                  <a:lnTo>
                    <a:pt x="2165" y="1755"/>
                  </a:lnTo>
                  <a:lnTo>
                    <a:pt x="2165" y="1757"/>
                  </a:lnTo>
                  <a:lnTo>
                    <a:pt x="2165" y="1760"/>
                  </a:lnTo>
                  <a:lnTo>
                    <a:pt x="2165" y="1760"/>
                  </a:lnTo>
                  <a:lnTo>
                    <a:pt x="2165" y="1760"/>
                  </a:lnTo>
                  <a:lnTo>
                    <a:pt x="2165" y="1760"/>
                  </a:lnTo>
                  <a:lnTo>
                    <a:pt x="2165" y="1762"/>
                  </a:lnTo>
                  <a:lnTo>
                    <a:pt x="2165" y="1762"/>
                  </a:lnTo>
                  <a:lnTo>
                    <a:pt x="2165" y="1762"/>
                  </a:lnTo>
                  <a:lnTo>
                    <a:pt x="2165" y="1762"/>
                  </a:lnTo>
                  <a:lnTo>
                    <a:pt x="2165" y="1764"/>
                  </a:lnTo>
                  <a:lnTo>
                    <a:pt x="2165" y="1764"/>
                  </a:lnTo>
                  <a:lnTo>
                    <a:pt x="2165" y="1764"/>
                  </a:lnTo>
                  <a:lnTo>
                    <a:pt x="2165" y="1764"/>
                  </a:lnTo>
                  <a:lnTo>
                    <a:pt x="2163" y="1764"/>
                  </a:lnTo>
                  <a:lnTo>
                    <a:pt x="2163" y="1764"/>
                  </a:lnTo>
                  <a:lnTo>
                    <a:pt x="2163" y="1764"/>
                  </a:lnTo>
                  <a:lnTo>
                    <a:pt x="2163" y="1764"/>
                  </a:lnTo>
                  <a:lnTo>
                    <a:pt x="2163" y="1767"/>
                  </a:lnTo>
                  <a:lnTo>
                    <a:pt x="2161" y="1767"/>
                  </a:lnTo>
                  <a:lnTo>
                    <a:pt x="2161" y="1767"/>
                  </a:lnTo>
                  <a:lnTo>
                    <a:pt x="2161" y="1767"/>
                  </a:lnTo>
                  <a:lnTo>
                    <a:pt x="2158" y="1769"/>
                  </a:lnTo>
                  <a:lnTo>
                    <a:pt x="2158" y="1771"/>
                  </a:lnTo>
                  <a:lnTo>
                    <a:pt x="2158" y="1771"/>
                  </a:lnTo>
                  <a:lnTo>
                    <a:pt x="2156" y="1771"/>
                  </a:lnTo>
                  <a:lnTo>
                    <a:pt x="2156" y="1771"/>
                  </a:lnTo>
                  <a:lnTo>
                    <a:pt x="2156" y="1771"/>
                  </a:lnTo>
                  <a:lnTo>
                    <a:pt x="2154" y="1774"/>
                  </a:lnTo>
                  <a:lnTo>
                    <a:pt x="2154" y="1776"/>
                  </a:lnTo>
                  <a:lnTo>
                    <a:pt x="2154" y="1776"/>
                  </a:lnTo>
                  <a:lnTo>
                    <a:pt x="2154" y="1776"/>
                  </a:lnTo>
                  <a:lnTo>
                    <a:pt x="2154" y="1776"/>
                  </a:lnTo>
                  <a:lnTo>
                    <a:pt x="2154" y="1776"/>
                  </a:lnTo>
                  <a:lnTo>
                    <a:pt x="2154" y="1779"/>
                  </a:lnTo>
                  <a:lnTo>
                    <a:pt x="2154" y="1779"/>
                  </a:lnTo>
                  <a:lnTo>
                    <a:pt x="2154" y="1781"/>
                  </a:lnTo>
                  <a:lnTo>
                    <a:pt x="2154" y="1783"/>
                  </a:lnTo>
                  <a:lnTo>
                    <a:pt x="2154" y="1783"/>
                  </a:lnTo>
                  <a:lnTo>
                    <a:pt x="2154" y="1786"/>
                  </a:lnTo>
                  <a:lnTo>
                    <a:pt x="2154" y="1786"/>
                  </a:lnTo>
                  <a:lnTo>
                    <a:pt x="2154" y="1786"/>
                  </a:lnTo>
                  <a:lnTo>
                    <a:pt x="2154" y="1788"/>
                  </a:lnTo>
                  <a:lnTo>
                    <a:pt x="2154" y="1788"/>
                  </a:lnTo>
                  <a:lnTo>
                    <a:pt x="2154" y="1790"/>
                  </a:lnTo>
                  <a:lnTo>
                    <a:pt x="2154" y="1790"/>
                  </a:lnTo>
                  <a:lnTo>
                    <a:pt x="2154" y="1793"/>
                  </a:lnTo>
                  <a:lnTo>
                    <a:pt x="2154" y="1793"/>
                  </a:lnTo>
                  <a:lnTo>
                    <a:pt x="2154" y="1793"/>
                  </a:lnTo>
                  <a:lnTo>
                    <a:pt x="2154" y="1793"/>
                  </a:lnTo>
                  <a:lnTo>
                    <a:pt x="2154" y="1793"/>
                  </a:lnTo>
                  <a:lnTo>
                    <a:pt x="2154" y="1793"/>
                  </a:lnTo>
                  <a:lnTo>
                    <a:pt x="2154" y="1793"/>
                  </a:lnTo>
                  <a:lnTo>
                    <a:pt x="2154" y="1793"/>
                  </a:lnTo>
                  <a:lnTo>
                    <a:pt x="2154" y="1790"/>
                  </a:lnTo>
                  <a:lnTo>
                    <a:pt x="2154" y="1790"/>
                  </a:lnTo>
                  <a:lnTo>
                    <a:pt x="2154" y="1788"/>
                  </a:lnTo>
                  <a:lnTo>
                    <a:pt x="2154" y="1788"/>
                  </a:lnTo>
                  <a:lnTo>
                    <a:pt x="2154" y="1786"/>
                  </a:lnTo>
                  <a:lnTo>
                    <a:pt x="2151" y="1783"/>
                  </a:lnTo>
                  <a:lnTo>
                    <a:pt x="2151" y="1781"/>
                  </a:lnTo>
                  <a:lnTo>
                    <a:pt x="2151" y="1781"/>
                  </a:lnTo>
                  <a:lnTo>
                    <a:pt x="2151" y="1776"/>
                  </a:lnTo>
                  <a:lnTo>
                    <a:pt x="2151" y="1776"/>
                  </a:lnTo>
                  <a:lnTo>
                    <a:pt x="2151" y="1776"/>
                  </a:lnTo>
                  <a:lnTo>
                    <a:pt x="2151" y="1774"/>
                  </a:lnTo>
                  <a:lnTo>
                    <a:pt x="2149" y="1774"/>
                  </a:lnTo>
                  <a:lnTo>
                    <a:pt x="2149" y="1774"/>
                  </a:lnTo>
                  <a:lnTo>
                    <a:pt x="2149" y="1774"/>
                  </a:lnTo>
                  <a:lnTo>
                    <a:pt x="2146" y="1774"/>
                  </a:lnTo>
                  <a:lnTo>
                    <a:pt x="2149" y="1774"/>
                  </a:lnTo>
                  <a:lnTo>
                    <a:pt x="2149" y="1774"/>
                  </a:lnTo>
                  <a:lnTo>
                    <a:pt x="2146" y="1771"/>
                  </a:lnTo>
                  <a:lnTo>
                    <a:pt x="2146" y="1771"/>
                  </a:lnTo>
                  <a:lnTo>
                    <a:pt x="2146" y="1769"/>
                  </a:lnTo>
                  <a:lnTo>
                    <a:pt x="2146" y="1769"/>
                  </a:lnTo>
                  <a:lnTo>
                    <a:pt x="2146" y="1767"/>
                  </a:lnTo>
                  <a:lnTo>
                    <a:pt x="2146" y="1767"/>
                  </a:lnTo>
                  <a:lnTo>
                    <a:pt x="2146" y="1764"/>
                  </a:lnTo>
                  <a:lnTo>
                    <a:pt x="2146" y="1764"/>
                  </a:lnTo>
                  <a:lnTo>
                    <a:pt x="2146" y="1764"/>
                  </a:lnTo>
                  <a:lnTo>
                    <a:pt x="2146" y="1764"/>
                  </a:lnTo>
                  <a:lnTo>
                    <a:pt x="2146" y="1764"/>
                  </a:lnTo>
                  <a:lnTo>
                    <a:pt x="2144" y="1764"/>
                  </a:lnTo>
                  <a:lnTo>
                    <a:pt x="2144" y="1764"/>
                  </a:lnTo>
                  <a:lnTo>
                    <a:pt x="2144" y="1764"/>
                  </a:lnTo>
                  <a:lnTo>
                    <a:pt x="2144" y="1764"/>
                  </a:lnTo>
                  <a:lnTo>
                    <a:pt x="2144" y="1764"/>
                  </a:lnTo>
                  <a:lnTo>
                    <a:pt x="2144" y="1764"/>
                  </a:lnTo>
                  <a:lnTo>
                    <a:pt x="2144" y="1764"/>
                  </a:lnTo>
                  <a:lnTo>
                    <a:pt x="2144" y="1767"/>
                  </a:lnTo>
                  <a:lnTo>
                    <a:pt x="2144" y="1767"/>
                  </a:lnTo>
                  <a:lnTo>
                    <a:pt x="2144" y="1767"/>
                  </a:lnTo>
                  <a:lnTo>
                    <a:pt x="2144" y="1769"/>
                  </a:lnTo>
                  <a:lnTo>
                    <a:pt x="2144" y="1771"/>
                  </a:lnTo>
                  <a:lnTo>
                    <a:pt x="2144" y="1774"/>
                  </a:lnTo>
                  <a:lnTo>
                    <a:pt x="2146" y="1774"/>
                  </a:lnTo>
                  <a:lnTo>
                    <a:pt x="2144" y="1776"/>
                  </a:lnTo>
                  <a:lnTo>
                    <a:pt x="2144" y="1776"/>
                  </a:lnTo>
                  <a:lnTo>
                    <a:pt x="2144" y="1779"/>
                  </a:lnTo>
                  <a:lnTo>
                    <a:pt x="2144" y="1779"/>
                  </a:lnTo>
                  <a:lnTo>
                    <a:pt x="2144" y="1779"/>
                  </a:lnTo>
                  <a:lnTo>
                    <a:pt x="2142" y="1781"/>
                  </a:lnTo>
                  <a:lnTo>
                    <a:pt x="2142" y="1781"/>
                  </a:lnTo>
                  <a:lnTo>
                    <a:pt x="2142" y="1783"/>
                  </a:lnTo>
                  <a:lnTo>
                    <a:pt x="2142" y="1783"/>
                  </a:lnTo>
                  <a:lnTo>
                    <a:pt x="2142" y="1786"/>
                  </a:lnTo>
                  <a:lnTo>
                    <a:pt x="2142" y="1786"/>
                  </a:lnTo>
                  <a:lnTo>
                    <a:pt x="2142" y="1786"/>
                  </a:lnTo>
                  <a:lnTo>
                    <a:pt x="2139" y="1788"/>
                  </a:lnTo>
                  <a:lnTo>
                    <a:pt x="2139" y="1788"/>
                  </a:lnTo>
                  <a:lnTo>
                    <a:pt x="2139" y="1788"/>
                  </a:lnTo>
                  <a:lnTo>
                    <a:pt x="2139" y="1788"/>
                  </a:lnTo>
                  <a:lnTo>
                    <a:pt x="2139" y="1783"/>
                  </a:lnTo>
                  <a:lnTo>
                    <a:pt x="2142" y="1781"/>
                  </a:lnTo>
                  <a:lnTo>
                    <a:pt x="2142" y="1781"/>
                  </a:lnTo>
                  <a:lnTo>
                    <a:pt x="2144" y="1776"/>
                  </a:lnTo>
                  <a:lnTo>
                    <a:pt x="2144" y="1776"/>
                  </a:lnTo>
                  <a:lnTo>
                    <a:pt x="2144" y="1774"/>
                  </a:lnTo>
                  <a:lnTo>
                    <a:pt x="2144" y="1774"/>
                  </a:lnTo>
                  <a:lnTo>
                    <a:pt x="2144" y="1774"/>
                  </a:lnTo>
                  <a:lnTo>
                    <a:pt x="2144" y="1771"/>
                  </a:lnTo>
                  <a:lnTo>
                    <a:pt x="2142" y="1771"/>
                  </a:lnTo>
                  <a:lnTo>
                    <a:pt x="2142" y="1771"/>
                  </a:lnTo>
                  <a:lnTo>
                    <a:pt x="2142" y="1771"/>
                  </a:lnTo>
                  <a:lnTo>
                    <a:pt x="2142" y="1771"/>
                  </a:lnTo>
                  <a:lnTo>
                    <a:pt x="2142" y="1769"/>
                  </a:lnTo>
                  <a:lnTo>
                    <a:pt x="2142" y="1769"/>
                  </a:lnTo>
                  <a:lnTo>
                    <a:pt x="2139" y="1769"/>
                  </a:lnTo>
                  <a:lnTo>
                    <a:pt x="2139" y="1769"/>
                  </a:lnTo>
                  <a:lnTo>
                    <a:pt x="2139" y="1769"/>
                  </a:lnTo>
                  <a:lnTo>
                    <a:pt x="2139" y="1769"/>
                  </a:lnTo>
                  <a:lnTo>
                    <a:pt x="2139" y="1767"/>
                  </a:lnTo>
                  <a:lnTo>
                    <a:pt x="2139" y="1764"/>
                  </a:lnTo>
                  <a:lnTo>
                    <a:pt x="2139" y="1764"/>
                  </a:lnTo>
                  <a:lnTo>
                    <a:pt x="2139" y="1764"/>
                  </a:lnTo>
                  <a:lnTo>
                    <a:pt x="2139" y="1762"/>
                  </a:lnTo>
                  <a:lnTo>
                    <a:pt x="2137" y="1762"/>
                  </a:lnTo>
                  <a:lnTo>
                    <a:pt x="2137" y="1764"/>
                  </a:lnTo>
                  <a:lnTo>
                    <a:pt x="2137" y="1762"/>
                  </a:lnTo>
                  <a:lnTo>
                    <a:pt x="2137" y="1762"/>
                  </a:lnTo>
                  <a:lnTo>
                    <a:pt x="2137" y="1762"/>
                  </a:lnTo>
                  <a:lnTo>
                    <a:pt x="2137" y="1760"/>
                  </a:lnTo>
                  <a:lnTo>
                    <a:pt x="2135" y="1760"/>
                  </a:lnTo>
                  <a:lnTo>
                    <a:pt x="2135" y="1762"/>
                  </a:lnTo>
                  <a:lnTo>
                    <a:pt x="2135" y="1762"/>
                  </a:lnTo>
                  <a:lnTo>
                    <a:pt x="2135" y="1762"/>
                  </a:lnTo>
                  <a:lnTo>
                    <a:pt x="2135" y="1764"/>
                  </a:lnTo>
                  <a:lnTo>
                    <a:pt x="2135" y="1764"/>
                  </a:lnTo>
                  <a:lnTo>
                    <a:pt x="2135" y="1764"/>
                  </a:lnTo>
                  <a:lnTo>
                    <a:pt x="2132" y="1764"/>
                  </a:lnTo>
                  <a:lnTo>
                    <a:pt x="2132" y="1764"/>
                  </a:lnTo>
                  <a:lnTo>
                    <a:pt x="2132" y="1764"/>
                  </a:lnTo>
                  <a:lnTo>
                    <a:pt x="2132" y="1764"/>
                  </a:lnTo>
                  <a:lnTo>
                    <a:pt x="2132" y="1767"/>
                  </a:lnTo>
                  <a:lnTo>
                    <a:pt x="2132" y="1767"/>
                  </a:lnTo>
                  <a:lnTo>
                    <a:pt x="2132" y="1767"/>
                  </a:lnTo>
                  <a:lnTo>
                    <a:pt x="2132" y="1769"/>
                  </a:lnTo>
                  <a:lnTo>
                    <a:pt x="2132" y="1771"/>
                  </a:lnTo>
                  <a:lnTo>
                    <a:pt x="2132" y="1771"/>
                  </a:lnTo>
                  <a:lnTo>
                    <a:pt x="2132" y="1771"/>
                  </a:lnTo>
                  <a:lnTo>
                    <a:pt x="2132" y="1771"/>
                  </a:lnTo>
                  <a:lnTo>
                    <a:pt x="2132" y="1771"/>
                  </a:lnTo>
                  <a:lnTo>
                    <a:pt x="2132" y="1771"/>
                  </a:lnTo>
                  <a:lnTo>
                    <a:pt x="2132" y="1774"/>
                  </a:lnTo>
                  <a:lnTo>
                    <a:pt x="2132" y="1774"/>
                  </a:lnTo>
                  <a:lnTo>
                    <a:pt x="2132" y="1776"/>
                  </a:lnTo>
                  <a:lnTo>
                    <a:pt x="2132" y="1776"/>
                  </a:lnTo>
                  <a:lnTo>
                    <a:pt x="2132" y="1779"/>
                  </a:lnTo>
                  <a:lnTo>
                    <a:pt x="2132" y="1779"/>
                  </a:lnTo>
                  <a:lnTo>
                    <a:pt x="2132" y="1781"/>
                  </a:lnTo>
                  <a:lnTo>
                    <a:pt x="2132" y="1781"/>
                  </a:lnTo>
                  <a:lnTo>
                    <a:pt x="2132" y="1781"/>
                  </a:lnTo>
                  <a:lnTo>
                    <a:pt x="2132" y="1783"/>
                  </a:lnTo>
                  <a:lnTo>
                    <a:pt x="2132" y="1783"/>
                  </a:lnTo>
                  <a:lnTo>
                    <a:pt x="2132" y="1786"/>
                  </a:lnTo>
                  <a:lnTo>
                    <a:pt x="2132" y="1788"/>
                  </a:lnTo>
                  <a:lnTo>
                    <a:pt x="2135" y="1788"/>
                  </a:lnTo>
                  <a:lnTo>
                    <a:pt x="2132" y="1788"/>
                  </a:lnTo>
                  <a:lnTo>
                    <a:pt x="2132" y="1790"/>
                  </a:lnTo>
                  <a:lnTo>
                    <a:pt x="2132" y="1790"/>
                  </a:lnTo>
                  <a:lnTo>
                    <a:pt x="2132" y="1790"/>
                  </a:lnTo>
                  <a:lnTo>
                    <a:pt x="2132" y="1790"/>
                  </a:lnTo>
                  <a:lnTo>
                    <a:pt x="2132" y="1793"/>
                  </a:lnTo>
                  <a:lnTo>
                    <a:pt x="2132" y="1793"/>
                  </a:lnTo>
                  <a:lnTo>
                    <a:pt x="2132" y="1793"/>
                  </a:lnTo>
                  <a:lnTo>
                    <a:pt x="2132" y="1793"/>
                  </a:lnTo>
                  <a:lnTo>
                    <a:pt x="2130" y="1795"/>
                  </a:lnTo>
                  <a:lnTo>
                    <a:pt x="2128" y="1797"/>
                  </a:lnTo>
                  <a:lnTo>
                    <a:pt x="2125" y="1797"/>
                  </a:lnTo>
                  <a:lnTo>
                    <a:pt x="2123" y="1800"/>
                  </a:lnTo>
                  <a:lnTo>
                    <a:pt x="2118" y="1805"/>
                  </a:lnTo>
                  <a:lnTo>
                    <a:pt x="2116" y="1807"/>
                  </a:lnTo>
                  <a:lnTo>
                    <a:pt x="2113" y="1807"/>
                  </a:lnTo>
                  <a:lnTo>
                    <a:pt x="2113" y="1809"/>
                  </a:lnTo>
                  <a:lnTo>
                    <a:pt x="2113" y="1809"/>
                  </a:lnTo>
                  <a:lnTo>
                    <a:pt x="2109" y="1816"/>
                  </a:lnTo>
                  <a:lnTo>
                    <a:pt x="2111" y="1809"/>
                  </a:lnTo>
                  <a:lnTo>
                    <a:pt x="2113" y="1807"/>
                  </a:lnTo>
                  <a:lnTo>
                    <a:pt x="2116" y="1807"/>
                  </a:lnTo>
                  <a:lnTo>
                    <a:pt x="2116" y="1805"/>
                  </a:lnTo>
                  <a:lnTo>
                    <a:pt x="2116" y="1805"/>
                  </a:lnTo>
                  <a:lnTo>
                    <a:pt x="2116" y="1805"/>
                  </a:lnTo>
                  <a:lnTo>
                    <a:pt x="2116" y="1802"/>
                  </a:lnTo>
                  <a:lnTo>
                    <a:pt x="2116" y="1802"/>
                  </a:lnTo>
                  <a:lnTo>
                    <a:pt x="2120" y="1800"/>
                  </a:lnTo>
                  <a:lnTo>
                    <a:pt x="2123" y="1797"/>
                  </a:lnTo>
                  <a:lnTo>
                    <a:pt x="2130" y="1795"/>
                  </a:lnTo>
                  <a:lnTo>
                    <a:pt x="2130" y="1793"/>
                  </a:lnTo>
                  <a:lnTo>
                    <a:pt x="2132" y="1788"/>
                  </a:lnTo>
                  <a:lnTo>
                    <a:pt x="2132" y="1788"/>
                  </a:lnTo>
                  <a:lnTo>
                    <a:pt x="2132" y="1788"/>
                  </a:lnTo>
                  <a:lnTo>
                    <a:pt x="2132" y="1788"/>
                  </a:lnTo>
                  <a:lnTo>
                    <a:pt x="2132" y="1788"/>
                  </a:lnTo>
                  <a:lnTo>
                    <a:pt x="2132" y="1786"/>
                  </a:lnTo>
                  <a:lnTo>
                    <a:pt x="2132" y="1786"/>
                  </a:lnTo>
                  <a:lnTo>
                    <a:pt x="2132" y="1786"/>
                  </a:lnTo>
                  <a:lnTo>
                    <a:pt x="2132" y="1786"/>
                  </a:lnTo>
                  <a:lnTo>
                    <a:pt x="2132" y="1781"/>
                  </a:lnTo>
                  <a:lnTo>
                    <a:pt x="2132" y="1774"/>
                  </a:lnTo>
                  <a:lnTo>
                    <a:pt x="2132" y="1771"/>
                  </a:lnTo>
                  <a:lnTo>
                    <a:pt x="2132" y="1771"/>
                  </a:lnTo>
                  <a:lnTo>
                    <a:pt x="2130" y="1771"/>
                  </a:lnTo>
                  <a:lnTo>
                    <a:pt x="2132" y="1769"/>
                  </a:lnTo>
                  <a:lnTo>
                    <a:pt x="2132" y="1769"/>
                  </a:lnTo>
                  <a:lnTo>
                    <a:pt x="2130" y="1769"/>
                  </a:lnTo>
                  <a:lnTo>
                    <a:pt x="2130" y="1769"/>
                  </a:lnTo>
                  <a:lnTo>
                    <a:pt x="2130" y="1767"/>
                  </a:lnTo>
                  <a:lnTo>
                    <a:pt x="2130" y="1767"/>
                  </a:lnTo>
                  <a:lnTo>
                    <a:pt x="2130" y="1764"/>
                  </a:lnTo>
                  <a:lnTo>
                    <a:pt x="2130" y="1764"/>
                  </a:lnTo>
                  <a:lnTo>
                    <a:pt x="2128" y="1764"/>
                  </a:lnTo>
                  <a:lnTo>
                    <a:pt x="2128" y="1764"/>
                  </a:lnTo>
                  <a:lnTo>
                    <a:pt x="2128" y="1764"/>
                  </a:lnTo>
                  <a:lnTo>
                    <a:pt x="2128" y="1764"/>
                  </a:lnTo>
                  <a:lnTo>
                    <a:pt x="2128" y="1762"/>
                  </a:lnTo>
                  <a:lnTo>
                    <a:pt x="2128" y="1762"/>
                  </a:lnTo>
                  <a:lnTo>
                    <a:pt x="2125" y="1762"/>
                  </a:lnTo>
                  <a:lnTo>
                    <a:pt x="2125" y="1762"/>
                  </a:lnTo>
                  <a:lnTo>
                    <a:pt x="2125" y="1762"/>
                  </a:lnTo>
                  <a:lnTo>
                    <a:pt x="2125" y="1760"/>
                  </a:lnTo>
                  <a:lnTo>
                    <a:pt x="2125" y="1757"/>
                  </a:lnTo>
                  <a:lnTo>
                    <a:pt x="2123" y="1757"/>
                  </a:lnTo>
                  <a:lnTo>
                    <a:pt x="2123" y="1757"/>
                  </a:lnTo>
                  <a:lnTo>
                    <a:pt x="2123" y="1757"/>
                  </a:lnTo>
                  <a:lnTo>
                    <a:pt x="2123" y="1757"/>
                  </a:lnTo>
                  <a:lnTo>
                    <a:pt x="2123" y="1755"/>
                  </a:lnTo>
                  <a:lnTo>
                    <a:pt x="2120" y="1755"/>
                  </a:lnTo>
                  <a:lnTo>
                    <a:pt x="2120" y="1755"/>
                  </a:lnTo>
                  <a:lnTo>
                    <a:pt x="2120" y="1752"/>
                  </a:lnTo>
                  <a:lnTo>
                    <a:pt x="2120" y="1752"/>
                  </a:lnTo>
                  <a:lnTo>
                    <a:pt x="2120" y="1752"/>
                  </a:lnTo>
                  <a:lnTo>
                    <a:pt x="2120" y="1752"/>
                  </a:lnTo>
                  <a:lnTo>
                    <a:pt x="2120" y="1750"/>
                  </a:lnTo>
                  <a:lnTo>
                    <a:pt x="2120" y="1750"/>
                  </a:lnTo>
                  <a:lnTo>
                    <a:pt x="2120" y="1750"/>
                  </a:lnTo>
                  <a:lnTo>
                    <a:pt x="2118" y="1750"/>
                  </a:lnTo>
                  <a:lnTo>
                    <a:pt x="2116" y="1750"/>
                  </a:lnTo>
                  <a:lnTo>
                    <a:pt x="2116" y="1750"/>
                  </a:lnTo>
                  <a:lnTo>
                    <a:pt x="2116" y="1748"/>
                  </a:lnTo>
                  <a:lnTo>
                    <a:pt x="2111" y="1748"/>
                  </a:lnTo>
                  <a:lnTo>
                    <a:pt x="2111" y="1748"/>
                  </a:lnTo>
                  <a:lnTo>
                    <a:pt x="2109" y="1748"/>
                  </a:lnTo>
                  <a:lnTo>
                    <a:pt x="2109" y="1748"/>
                  </a:lnTo>
                  <a:lnTo>
                    <a:pt x="2106" y="1748"/>
                  </a:lnTo>
                  <a:lnTo>
                    <a:pt x="2106" y="1748"/>
                  </a:lnTo>
                  <a:lnTo>
                    <a:pt x="2106" y="1748"/>
                  </a:lnTo>
                  <a:lnTo>
                    <a:pt x="2106" y="1748"/>
                  </a:lnTo>
                  <a:lnTo>
                    <a:pt x="2104" y="1750"/>
                  </a:lnTo>
                  <a:lnTo>
                    <a:pt x="2101" y="1752"/>
                  </a:lnTo>
                  <a:lnTo>
                    <a:pt x="2101" y="1750"/>
                  </a:lnTo>
                  <a:lnTo>
                    <a:pt x="2101" y="1750"/>
                  </a:lnTo>
                  <a:lnTo>
                    <a:pt x="2101" y="1750"/>
                  </a:lnTo>
                  <a:lnTo>
                    <a:pt x="2097" y="1752"/>
                  </a:lnTo>
                  <a:lnTo>
                    <a:pt x="2094" y="1752"/>
                  </a:lnTo>
                  <a:lnTo>
                    <a:pt x="2094" y="1752"/>
                  </a:lnTo>
                  <a:lnTo>
                    <a:pt x="2092" y="1752"/>
                  </a:lnTo>
                  <a:lnTo>
                    <a:pt x="2092" y="1755"/>
                  </a:lnTo>
                  <a:lnTo>
                    <a:pt x="2092" y="1755"/>
                  </a:lnTo>
                  <a:lnTo>
                    <a:pt x="2092" y="1755"/>
                  </a:lnTo>
                  <a:lnTo>
                    <a:pt x="2090" y="1755"/>
                  </a:lnTo>
                  <a:lnTo>
                    <a:pt x="2090" y="1755"/>
                  </a:lnTo>
                  <a:lnTo>
                    <a:pt x="2090" y="1757"/>
                  </a:lnTo>
                  <a:lnTo>
                    <a:pt x="2090" y="1757"/>
                  </a:lnTo>
                  <a:lnTo>
                    <a:pt x="2090" y="1757"/>
                  </a:lnTo>
                  <a:lnTo>
                    <a:pt x="2087" y="1760"/>
                  </a:lnTo>
                  <a:lnTo>
                    <a:pt x="2087" y="1762"/>
                  </a:lnTo>
                  <a:lnTo>
                    <a:pt x="2085" y="1764"/>
                  </a:lnTo>
                  <a:lnTo>
                    <a:pt x="2085" y="1764"/>
                  </a:lnTo>
                  <a:lnTo>
                    <a:pt x="2085" y="1764"/>
                  </a:lnTo>
                  <a:lnTo>
                    <a:pt x="2085" y="1767"/>
                  </a:lnTo>
                  <a:lnTo>
                    <a:pt x="2085" y="1767"/>
                  </a:lnTo>
                  <a:lnTo>
                    <a:pt x="2085" y="1767"/>
                  </a:lnTo>
                  <a:lnTo>
                    <a:pt x="2085" y="1767"/>
                  </a:lnTo>
                  <a:lnTo>
                    <a:pt x="2085" y="1767"/>
                  </a:lnTo>
                  <a:lnTo>
                    <a:pt x="2085" y="1767"/>
                  </a:lnTo>
                  <a:lnTo>
                    <a:pt x="2083" y="1767"/>
                  </a:lnTo>
                  <a:lnTo>
                    <a:pt x="2083" y="1767"/>
                  </a:lnTo>
                  <a:lnTo>
                    <a:pt x="2083" y="1769"/>
                  </a:lnTo>
                  <a:lnTo>
                    <a:pt x="2083" y="1769"/>
                  </a:lnTo>
                  <a:lnTo>
                    <a:pt x="2083" y="1769"/>
                  </a:lnTo>
                  <a:lnTo>
                    <a:pt x="2083" y="1771"/>
                  </a:lnTo>
                  <a:lnTo>
                    <a:pt x="2083" y="1771"/>
                  </a:lnTo>
                  <a:lnTo>
                    <a:pt x="2083" y="1774"/>
                  </a:lnTo>
                  <a:lnTo>
                    <a:pt x="2083" y="1774"/>
                  </a:lnTo>
                  <a:lnTo>
                    <a:pt x="2083" y="1774"/>
                  </a:lnTo>
                  <a:lnTo>
                    <a:pt x="2080" y="1774"/>
                  </a:lnTo>
                  <a:lnTo>
                    <a:pt x="2080" y="1774"/>
                  </a:lnTo>
                  <a:lnTo>
                    <a:pt x="2080" y="1774"/>
                  </a:lnTo>
                  <a:lnTo>
                    <a:pt x="2080" y="1771"/>
                  </a:lnTo>
                  <a:lnTo>
                    <a:pt x="2080" y="1771"/>
                  </a:lnTo>
                  <a:lnTo>
                    <a:pt x="2080" y="1771"/>
                  </a:lnTo>
                  <a:lnTo>
                    <a:pt x="2080" y="1771"/>
                  </a:lnTo>
                  <a:lnTo>
                    <a:pt x="2080" y="1771"/>
                  </a:lnTo>
                  <a:lnTo>
                    <a:pt x="2080" y="1769"/>
                  </a:lnTo>
                  <a:lnTo>
                    <a:pt x="2080" y="1769"/>
                  </a:lnTo>
                  <a:lnTo>
                    <a:pt x="2080" y="1769"/>
                  </a:lnTo>
                  <a:lnTo>
                    <a:pt x="2080" y="1769"/>
                  </a:lnTo>
                  <a:lnTo>
                    <a:pt x="2080" y="1769"/>
                  </a:lnTo>
                  <a:lnTo>
                    <a:pt x="2080" y="1769"/>
                  </a:lnTo>
                  <a:lnTo>
                    <a:pt x="2080" y="1767"/>
                  </a:lnTo>
                  <a:lnTo>
                    <a:pt x="2078" y="1769"/>
                  </a:lnTo>
                  <a:lnTo>
                    <a:pt x="2078" y="1769"/>
                  </a:lnTo>
                  <a:lnTo>
                    <a:pt x="2078" y="1769"/>
                  </a:lnTo>
                  <a:lnTo>
                    <a:pt x="2078" y="1769"/>
                  </a:lnTo>
                  <a:lnTo>
                    <a:pt x="2078" y="1769"/>
                  </a:lnTo>
                  <a:lnTo>
                    <a:pt x="2075" y="1767"/>
                  </a:lnTo>
                  <a:lnTo>
                    <a:pt x="2075" y="1767"/>
                  </a:lnTo>
                  <a:lnTo>
                    <a:pt x="2075" y="1767"/>
                  </a:lnTo>
                  <a:lnTo>
                    <a:pt x="2075" y="1764"/>
                  </a:lnTo>
                  <a:lnTo>
                    <a:pt x="2075" y="1764"/>
                  </a:lnTo>
                  <a:lnTo>
                    <a:pt x="2075" y="1764"/>
                  </a:lnTo>
                  <a:lnTo>
                    <a:pt x="2075" y="1767"/>
                  </a:lnTo>
                  <a:lnTo>
                    <a:pt x="2075" y="1767"/>
                  </a:lnTo>
                  <a:lnTo>
                    <a:pt x="2073" y="1767"/>
                  </a:lnTo>
                  <a:lnTo>
                    <a:pt x="2073" y="1769"/>
                  </a:lnTo>
                  <a:lnTo>
                    <a:pt x="2073" y="1769"/>
                  </a:lnTo>
                  <a:lnTo>
                    <a:pt x="2073" y="1769"/>
                  </a:lnTo>
                  <a:lnTo>
                    <a:pt x="2073" y="1767"/>
                  </a:lnTo>
                  <a:lnTo>
                    <a:pt x="2073" y="1767"/>
                  </a:lnTo>
                  <a:lnTo>
                    <a:pt x="2071" y="1769"/>
                  </a:lnTo>
                  <a:lnTo>
                    <a:pt x="2068" y="1767"/>
                  </a:lnTo>
                  <a:lnTo>
                    <a:pt x="2068" y="1767"/>
                  </a:lnTo>
                  <a:lnTo>
                    <a:pt x="2068" y="1767"/>
                  </a:lnTo>
                  <a:lnTo>
                    <a:pt x="2066" y="1769"/>
                  </a:lnTo>
                  <a:lnTo>
                    <a:pt x="2066" y="1767"/>
                  </a:lnTo>
                  <a:lnTo>
                    <a:pt x="2068" y="1767"/>
                  </a:lnTo>
                  <a:lnTo>
                    <a:pt x="2068" y="1767"/>
                  </a:lnTo>
                  <a:lnTo>
                    <a:pt x="2071" y="1764"/>
                  </a:lnTo>
                  <a:lnTo>
                    <a:pt x="2071" y="1764"/>
                  </a:lnTo>
                  <a:lnTo>
                    <a:pt x="2071" y="1764"/>
                  </a:lnTo>
                  <a:lnTo>
                    <a:pt x="2073" y="1764"/>
                  </a:lnTo>
                  <a:lnTo>
                    <a:pt x="2073" y="1764"/>
                  </a:lnTo>
                  <a:lnTo>
                    <a:pt x="2073" y="1764"/>
                  </a:lnTo>
                  <a:lnTo>
                    <a:pt x="2073" y="1764"/>
                  </a:lnTo>
                  <a:lnTo>
                    <a:pt x="2075" y="1762"/>
                  </a:lnTo>
                  <a:lnTo>
                    <a:pt x="2075" y="1762"/>
                  </a:lnTo>
                  <a:lnTo>
                    <a:pt x="2075" y="1762"/>
                  </a:lnTo>
                  <a:lnTo>
                    <a:pt x="2075" y="1760"/>
                  </a:lnTo>
                  <a:lnTo>
                    <a:pt x="2075" y="1760"/>
                  </a:lnTo>
                  <a:lnTo>
                    <a:pt x="2075" y="1760"/>
                  </a:lnTo>
                  <a:lnTo>
                    <a:pt x="2075" y="1760"/>
                  </a:lnTo>
                  <a:lnTo>
                    <a:pt x="2075" y="1760"/>
                  </a:lnTo>
                  <a:lnTo>
                    <a:pt x="2078" y="1762"/>
                  </a:lnTo>
                  <a:lnTo>
                    <a:pt x="2078" y="1762"/>
                  </a:lnTo>
                  <a:lnTo>
                    <a:pt x="2078" y="1762"/>
                  </a:lnTo>
                  <a:lnTo>
                    <a:pt x="2078" y="1760"/>
                  </a:lnTo>
                  <a:lnTo>
                    <a:pt x="2078" y="1760"/>
                  </a:lnTo>
                  <a:lnTo>
                    <a:pt x="2078" y="1760"/>
                  </a:lnTo>
                  <a:lnTo>
                    <a:pt x="2078" y="1757"/>
                  </a:lnTo>
                  <a:lnTo>
                    <a:pt x="2078" y="1757"/>
                  </a:lnTo>
                  <a:lnTo>
                    <a:pt x="2075" y="1755"/>
                  </a:lnTo>
                  <a:lnTo>
                    <a:pt x="2075" y="1755"/>
                  </a:lnTo>
                  <a:lnTo>
                    <a:pt x="2073" y="1755"/>
                  </a:lnTo>
                  <a:lnTo>
                    <a:pt x="2073" y="1755"/>
                  </a:lnTo>
                  <a:lnTo>
                    <a:pt x="2073" y="1752"/>
                  </a:lnTo>
                  <a:lnTo>
                    <a:pt x="2073" y="1752"/>
                  </a:lnTo>
                  <a:lnTo>
                    <a:pt x="2073" y="1752"/>
                  </a:lnTo>
                  <a:lnTo>
                    <a:pt x="2073" y="1750"/>
                  </a:lnTo>
                  <a:lnTo>
                    <a:pt x="2073" y="1750"/>
                  </a:lnTo>
                  <a:lnTo>
                    <a:pt x="2073" y="1748"/>
                  </a:lnTo>
                  <a:lnTo>
                    <a:pt x="2073" y="1750"/>
                  </a:lnTo>
                  <a:lnTo>
                    <a:pt x="2075" y="1752"/>
                  </a:lnTo>
                  <a:lnTo>
                    <a:pt x="2078" y="1752"/>
                  </a:lnTo>
                  <a:lnTo>
                    <a:pt x="2078" y="1752"/>
                  </a:lnTo>
                  <a:lnTo>
                    <a:pt x="2078" y="1752"/>
                  </a:lnTo>
                  <a:lnTo>
                    <a:pt x="2080" y="1752"/>
                  </a:lnTo>
                  <a:lnTo>
                    <a:pt x="2080" y="1755"/>
                  </a:lnTo>
                  <a:lnTo>
                    <a:pt x="2080" y="1755"/>
                  </a:lnTo>
                  <a:lnTo>
                    <a:pt x="2080" y="1755"/>
                  </a:lnTo>
                  <a:lnTo>
                    <a:pt x="2080" y="1755"/>
                  </a:lnTo>
                  <a:lnTo>
                    <a:pt x="2080" y="1755"/>
                  </a:lnTo>
                  <a:lnTo>
                    <a:pt x="2080" y="1755"/>
                  </a:lnTo>
                  <a:lnTo>
                    <a:pt x="2080" y="1755"/>
                  </a:lnTo>
                  <a:lnTo>
                    <a:pt x="2080" y="1755"/>
                  </a:lnTo>
                  <a:lnTo>
                    <a:pt x="2080" y="1755"/>
                  </a:lnTo>
                  <a:lnTo>
                    <a:pt x="2080" y="1757"/>
                  </a:lnTo>
                  <a:lnTo>
                    <a:pt x="2080" y="1757"/>
                  </a:lnTo>
                  <a:lnTo>
                    <a:pt x="2080" y="1757"/>
                  </a:lnTo>
                  <a:lnTo>
                    <a:pt x="2083" y="1762"/>
                  </a:lnTo>
                  <a:lnTo>
                    <a:pt x="2083" y="1762"/>
                  </a:lnTo>
                  <a:lnTo>
                    <a:pt x="2085" y="1762"/>
                  </a:lnTo>
                  <a:lnTo>
                    <a:pt x="2085" y="1760"/>
                  </a:lnTo>
                  <a:lnTo>
                    <a:pt x="2085" y="1760"/>
                  </a:lnTo>
                  <a:lnTo>
                    <a:pt x="2085" y="1760"/>
                  </a:lnTo>
                  <a:lnTo>
                    <a:pt x="2085" y="1757"/>
                  </a:lnTo>
                  <a:lnTo>
                    <a:pt x="2085" y="1757"/>
                  </a:lnTo>
                  <a:lnTo>
                    <a:pt x="2085" y="1755"/>
                  </a:lnTo>
                  <a:lnTo>
                    <a:pt x="2085" y="1755"/>
                  </a:lnTo>
                  <a:lnTo>
                    <a:pt x="2087" y="1755"/>
                  </a:lnTo>
                  <a:lnTo>
                    <a:pt x="2087" y="1755"/>
                  </a:lnTo>
                  <a:lnTo>
                    <a:pt x="2087" y="1755"/>
                  </a:lnTo>
                  <a:lnTo>
                    <a:pt x="2087" y="1755"/>
                  </a:lnTo>
                  <a:lnTo>
                    <a:pt x="2087" y="1755"/>
                  </a:lnTo>
                  <a:lnTo>
                    <a:pt x="2087" y="1755"/>
                  </a:lnTo>
                  <a:lnTo>
                    <a:pt x="2087" y="1752"/>
                  </a:lnTo>
                  <a:lnTo>
                    <a:pt x="2083" y="1745"/>
                  </a:lnTo>
                  <a:lnTo>
                    <a:pt x="2085" y="1745"/>
                  </a:lnTo>
                  <a:lnTo>
                    <a:pt x="2085" y="1745"/>
                  </a:lnTo>
                  <a:lnTo>
                    <a:pt x="2085" y="1745"/>
                  </a:lnTo>
                  <a:lnTo>
                    <a:pt x="2085" y="1745"/>
                  </a:lnTo>
                  <a:lnTo>
                    <a:pt x="2085" y="1745"/>
                  </a:lnTo>
                  <a:lnTo>
                    <a:pt x="2085" y="1748"/>
                  </a:lnTo>
                  <a:lnTo>
                    <a:pt x="2087" y="1748"/>
                  </a:lnTo>
                  <a:lnTo>
                    <a:pt x="2087" y="1745"/>
                  </a:lnTo>
                  <a:lnTo>
                    <a:pt x="2087" y="1743"/>
                  </a:lnTo>
                  <a:lnTo>
                    <a:pt x="2087" y="1743"/>
                  </a:lnTo>
                  <a:lnTo>
                    <a:pt x="2087" y="1741"/>
                  </a:lnTo>
                  <a:lnTo>
                    <a:pt x="2087" y="1741"/>
                  </a:lnTo>
                  <a:lnTo>
                    <a:pt x="2087" y="1741"/>
                  </a:lnTo>
                  <a:lnTo>
                    <a:pt x="2085" y="1741"/>
                  </a:lnTo>
                  <a:lnTo>
                    <a:pt x="2085" y="1741"/>
                  </a:lnTo>
                  <a:lnTo>
                    <a:pt x="2085" y="1743"/>
                  </a:lnTo>
                  <a:lnTo>
                    <a:pt x="2085" y="1743"/>
                  </a:lnTo>
                  <a:lnTo>
                    <a:pt x="2085" y="1743"/>
                  </a:lnTo>
                  <a:lnTo>
                    <a:pt x="2085" y="1743"/>
                  </a:lnTo>
                  <a:lnTo>
                    <a:pt x="2085" y="1743"/>
                  </a:lnTo>
                  <a:lnTo>
                    <a:pt x="2085" y="1741"/>
                  </a:lnTo>
                  <a:lnTo>
                    <a:pt x="2083" y="1741"/>
                  </a:lnTo>
                  <a:lnTo>
                    <a:pt x="2083" y="1741"/>
                  </a:lnTo>
                  <a:lnTo>
                    <a:pt x="2083" y="1741"/>
                  </a:lnTo>
                  <a:lnTo>
                    <a:pt x="2083" y="1741"/>
                  </a:lnTo>
                  <a:lnTo>
                    <a:pt x="2083" y="1743"/>
                  </a:lnTo>
                  <a:lnTo>
                    <a:pt x="2083" y="1743"/>
                  </a:lnTo>
                  <a:lnTo>
                    <a:pt x="2083" y="1743"/>
                  </a:lnTo>
                  <a:lnTo>
                    <a:pt x="2083" y="1743"/>
                  </a:lnTo>
                  <a:lnTo>
                    <a:pt x="2083" y="1743"/>
                  </a:lnTo>
                  <a:lnTo>
                    <a:pt x="2083" y="1743"/>
                  </a:lnTo>
                  <a:lnTo>
                    <a:pt x="2080" y="1743"/>
                  </a:lnTo>
                  <a:lnTo>
                    <a:pt x="2083" y="1741"/>
                  </a:lnTo>
                  <a:lnTo>
                    <a:pt x="2080" y="1741"/>
                  </a:lnTo>
                  <a:lnTo>
                    <a:pt x="2080" y="1741"/>
                  </a:lnTo>
                  <a:lnTo>
                    <a:pt x="2080" y="1741"/>
                  </a:lnTo>
                  <a:lnTo>
                    <a:pt x="2080" y="1741"/>
                  </a:lnTo>
                  <a:lnTo>
                    <a:pt x="2080" y="1741"/>
                  </a:lnTo>
                  <a:lnTo>
                    <a:pt x="2080" y="1738"/>
                  </a:lnTo>
                  <a:lnTo>
                    <a:pt x="2083" y="1736"/>
                  </a:lnTo>
                  <a:lnTo>
                    <a:pt x="2083" y="1736"/>
                  </a:lnTo>
                  <a:lnTo>
                    <a:pt x="2083" y="1736"/>
                  </a:lnTo>
                  <a:lnTo>
                    <a:pt x="2083" y="1736"/>
                  </a:lnTo>
                  <a:lnTo>
                    <a:pt x="2083" y="1736"/>
                  </a:lnTo>
                  <a:lnTo>
                    <a:pt x="2083" y="1736"/>
                  </a:lnTo>
                  <a:lnTo>
                    <a:pt x="2085" y="1736"/>
                  </a:lnTo>
                  <a:lnTo>
                    <a:pt x="2085" y="1738"/>
                  </a:lnTo>
                  <a:lnTo>
                    <a:pt x="2085" y="1738"/>
                  </a:lnTo>
                  <a:lnTo>
                    <a:pt x="2085" y="1736"/>
                  </a:lnTo>
                  <a:lnTo>
                    <a:pt x="2085" y="1736"/>
                  </a:lnTo>
                  <a:lnTo>
                    <a:pt x="2085" y="1736"/>
                  </a:lnTo>
                  <a:lnTo>
                    <a:pt x="2085" y="1736"/>
                  </a:lnTo>
                  <a:lnTo>
                    <a:pt x="2085" y="1736"/>
                  </a:lnTo>
                  <a:lnTo>
                    <a:pt x="2085" y="1734"/>
                  </a:lnTo>
                  <a:lnTo>
                    <a:pt x="2085" y="1734"/>
                  </a:lnTo>
                  <a:lnTo>
                    <a:pt x="2085" y="1734"/>
                  </a:lnTo>
                  <a:lnTo>
                    <a:pt x="2085" y="1734"/>
                  </a:lnTo>
                  <a:lnTo>
                    <a:pt x="2087" y="1736"/>
                  </a:lnTo>
                  <a:lnTo>
                    <a:pt x="2087" y="1736"/>
                  </a:lnTo>
                  <a:lnTo>
                    <a:pt x="2087" y="1736"/>
                  </a:lnTo>
                  <a:lnTo>
                    <a:pt x="2087" y="1734"/>
                  </a:lnTo>
                  <a:lnTo>
                    <a:pt x="2087" y="1734"/>
                  </a:lnTo>
                  <a:lnTo>
                    <a:pt x="2087" y="1734"/>
                  </a:lnTo>
                  <a:lnTo>
                    <a:pt x="2087" y="1731"/>
                  </a:lnTo>
                  <a:lnTo>
                    <a:pt x="2087" y="1731"/>
                  </a:lnTo>
                  <a:lnTo>
                    <a:pt x="2087" y="1731"/>
                  </a:lnTo>
                  <a:lnTo>
                    <a:pt x="2087" y="1731"/>
                  </a:lnTo>
                  <a:lnTo>
                    <a:pt x="2087" y="1731"/>
                  </a:lnTo>
                  <a:lnTo>
                    <a:pt x="2087" y="1729"/>
                  </a:lnTo>
                  <a:lnTo>
                    <a:pt x="2087" y="1729"/>
                  </a:lnTo>
                  <a:lnTo>
                    <a:pt x="2085" y="1729"/>
                  </a:lnTo>
                  <a:lnTo>
                    <a:pt x="2085" y="1729"/>
                  </a:lnTo>
                  <a:lnTo>
                    <a:pt x="2085" y="1729"/>
                  </a:lnTo>
                  <a:lnTo>
                    <a:pt x="2083" y="1731"/>
                  </a:lnTo>
                  <a:lnTo>
                    <a:pt x="2083" y="1729"/>
                  </a:lnTo>
                  <a:lnTo>
                    <a:pt x="2083" y="1729"/>
                  </a:lnTo>
                  <a:lnTo>
                    <a:pt x="2083" y="1729"/>
                  </a:lnTo>
                  <a:lnTo>
                    <a:pt x="2083" y="1729"/>
                  </a:lnTo>
                  <a:lnTo>
                    <a:pt x="2080" y="1729"/>
                  </a:lnTo>
                  <a:lnTo>
                    <a:pt x="2080" y="1729"/>
                  </a:lnTo>
                  <a:lnTo>
                    <a:pt x="2078" y="1731"/>
                  </a:lnTo>
                  <a:lnTo>
                    <a:pt x="2078" y="1731"/>
                  </a:lnTo>
                  <a:lnTo>
                    <a:pt x="2078" y="1731"/>
                  </a:lnTo>
                  <a:lnTo>
                    <a:pt x="2078" y="1731"/>
                  </a:lnTo>
                  <a:lnTo>
                    <a:pt x="2075" y="1731"/>
                  </a:lnTo>
                  <a:lnTo>
                    <a:pt x="2075" y="1731"/>
                  </a:lnTo>
                  <a:lnTo>
                    <a:pt x="2075" y="1731"/>
                  </a:lnTo>
                  <a:lnTo>
                    <a:pt x="2075" y="1734"/>
                  </a:lnTo>
                  <a:lnTo>
                    <a:pt x="2075" y="1734"/>
                  </a:lnTo>
                  <a:lnTo>
                    <a:pt x="2073" y="1734"/>
                  </a:lnTo>
                  <a:lnTo>
                    <a:pt x="2073" y="1734"/>
                  </a:lnTo>
                  <a:lnTo>
                    <a:pt x="2073" y="1734"/>
                  </a:lnTo>
                  <a:lnTo>
                    <a:pt x="2071" y="1734"/>
                  </a:lnTo>
                  <a:lnTo>
                    <a:pt x="2073" y="1731"/>
                  </a:lnTo>
                  <a:lnTo>
                    <a:pt x="2075" y="1729"/>
                  </a:lnTo>
                  <a:lnTo>
                    <a:pt x="2075" y="1729"/>
                  </a:lnTo>
                  <a:lnTo>
                    <a:pt x="2075" y="1729"/>
                  </a:lnTo>
                  <a:lnTo>
                    <a:pt x="2075" y="1729"/>
                  </a:lnTo>
                  <a:lnTo>
                    <a:pt x="2073" y="1729"/>
                  </a:lnTo>
                  <a:lnTo>
                    <a:pt x="2073" y="1729"/>
                  </a:lnTo>
                  <a:lnTo>
                    <a:pt x="2073" y="1726"/>
                  </a:lnTo>
                  <a:lnTo>
                    <a:pt x="2073" y="1726"/>
                  </a:lnTo>
                  <a:lnTo>
                    <a:pt x="2073" y="1726"/>
                  </a:lnTo>
                  <a:lnTo>
                    <a:pt x="2073" y="1726"/>
                  </a:lnTo>
                  <a:lnTo>
                    <a:pt x="2073" y="1726"/>
                  </a:lnTo>
                  <a:lnTo>
                    <a:pt x="2073" y="1724"/>
                  </a:lnTo>
                  <a:lnTo>
                    <a:pt x="2073" y="1724"/>
                  </a:lnTo>
                  <a:lnTo>
                    <a:pt x="2071" y="1724"/>
                  </a:lnTo>
                  <a:lnTo>
                    <a:pt x="2071" y="1724"/>
                  </a:lnTo>
                  <a:lnTo>
                    <a:pt x="2071" y="1724"/>
                  </a:lnTo>
                  <a:lnTo>
                    <a:pt x="2071" y="1724"/>
                  </a:lnTo>
                  <a:lnTo>
                    <a:pt x="2071" y="1724"/>
                  </a:lnTo>
                  <a:lnTo>
                    <a:pt x="2071" y="1724"/>
                  </a:lnTo>
                  <a:lnTo>
                    <a:pt x="2068" y="1724"/>
                  </a:lnTo>
                  <a:lnTo>
                    <a:pt x="2068" y="1724"/>
                  </a:lnTo>
                  <a:lnTo>
                    <a:pt x="2068" y="1724"/>
                  </a:lnTo>
                  <a:lnTo>
                    <a:pt x="2068" y="1722"/>
                  </a:lnTo>
                  <a:lnTo>
                    <a:pt x="2068" y="1722"/>
                  </a:lnTo>
                  <a:lnTo>
                    <a:pt x="2071" y="1719"/>
                  </a:lnTo>
                  <a:lnTo>
                    <a:pt x="2071" y="1717"/>
                  </a:lnTo>
                  <a:lnTo>
                    <a:pt x="2071" y="1717"/>
                  </a:lnTo>
                  <a:lnTo>
                    <a:pt x="2073" y="1717"/>
                  </a:lnTo>
                  <a:lnTo>
                    <a:pt x="2073" y="1715"/>
                  </a:lnTo>
                  <a:lnTo>
                    <a:pt x="2073" y="1715"/>
                  </a:lnTo>
                  <a:lnTo>
                    <a:pt x="2073" y="1712"/>
                  </a:lnTo>
                  <a:lnTo>
                    <a:pt x="2073" y="1712"/>
                  </a:lnTo>
                  <a:lnTo>
                    <a:pt x="2073" y="1710"/>
                  </a:lnTo>
                  <a:lnTo>
                    <a:pt x="2071" y="1712"/>
                  </a:lnTo>
                  <a:lnTo>
                    <a:pt x="2071" y="1712"/>
                  </a:lnTo>
                  <a:lnTo>
                    <a:pt x="2071" y="1710"/>
                  </a:lnTo>
                  <a:lnTo>
                    <a:pt x="2071" y="1710"/>
                  </a:lnTo>
                  <a:lnTo>
                    <a:pt x="2071" y="1710"/>
                  </a:lnTo>
                  <a:lnTo>
                    <a:pt x="2068" y="1710"/>
                  </a:lnTo>
                  <a:lnTo>
                    <a:pt x="2068" y="1710"/>
                  </a:lnTo>
                  <a:lnTo>
                    <a:pt x="2068" y="1710"/>
                  </a:lnTo>
                  <a:lnTo>
                    <a:pt x="2068" y="1710"/>
                  </a:lnTo>
                  <a:lnTo>
                    <a:pt x="2068" y="1710"/>
                  </a:lnTo>
                  <a:lnTo>
                    <a:pt x="2071" y="1708"/>
                  </a:lnTo>
                  <a:lnTo>
                    <a:pt x="2071" y="1708"/>
                  </a:lnTo>
                  <a:lnTo>
                    <a:pt x="2071" y="1705"/>
                  </a:lnTo>
                  <a:lnTo>
                    <a:pt x="2071" y="1705"/>
                  </a:lnTo>
                  <a:lnTo>
                    <a:pt x="2071" y="1705"/>
                  </a:lnTo>
                  <a:lnTo>
                    <a:pt x="2068" y="1705"/>
                  </a:lnTo>
                  <a:lnTo>
                    <a:pt x="2068" y="1705"/>
                  </a:lnTo>
                  <a:lnTo>
                    <a:pt x="2068" y="1705"/>
                  </a:lnTo>
                  <a:lnTo>
                    <a:pt x="2068" y="1705"/>
                  </a:lnTo>
                  <a:lnTo>
                    <a:pt x="2068" y="1705"/>
                  </a:lnTo>
                  <a:lnTo>
                    <a:pt x="2068" y="1703"/>
                  </a:lnTo>
                  <a:lnTo>
                    <a:pt x="2068" y="1703"/>
                  </a:lnTo>
                  <a:lnTo>
                    <a:pt x="2068" y="1703"/>
                  </a:lnTo>
                  <a:lnTo>
                    <a:pt x="2068" y="1703"/>
                  </a:lnTo>
                  <a:lnTo>
                    <a:pt x="2068" y="1700"/>
                  </a:lnTo>
                  <a:lnTo>
                    <a:pt x="2068" y="1700"/>
                  </a:lnTo>
                  <a:lnTo>
                    <a:pt x="2068" y="1700"/>
                  </a:lnTo>
                  <a:lnTo>
                    <a:pt x="2064" y="1700"/>
                  </a:lnTo>
                  <a:lnTo>
                    <a:pt x="2061" y="1700"/>
                  </a:lnTo>
                  <a:lnTo>
                    <a:pt x="2064" y="1700"/>
                  </a:lnTo>
                  <a:lnTo>
                    <a:pt x="2064" y="1698"/>
                  </a:lnTo>
                  <a:lnTo>
                    <a:pt x="2064" y="1698"/>
                  </a:lnTo>
                  <a:lnTo>
                    <a:pt x="2064" y="1696"/>
                  </a:lnTo>
                  <a:lnTo>
                    <a:pt x="2061" y="1696"/>
                  </a:lnTo>
                  <a:lnTo>
                    <a:pt x="2061" y="1696"/>
                  </a:lnTo>
                  <a:lnTo>
                    <a:pt x="2059" y="1698"/>
                  </a:lnTo>
                  <a:lnTo>
                    <a:pt x="2057" y="1698"/>
                  </a:lnTo>
                  <a:lnTo>
                    <a:pt x="2054" y="1700"/>
                  </a:lnTo>
                  <a:lnTo>
                    <a:pt x="2052" y="1700"/>
                  </a:lnTo>
                  <a:lnTo>
                    <a:pt x="2049" y="1700"/>
                  </a:lnTo>
                  <a:lnTo>
                    <a:pt x="2049" y="1698"/>
                  </a:lnTo>
                  <a:lnTo>
                    <a:pt x="2047" y="1698"/>
                  </a:lnTo>
                  <a:lnTo>
                    <a:pt x="2045" y="1700"/>
                  </a:lnTo>
                  <a:lnTo>
                    <a:pt x="2045" y="1700"/>
                  </a:lnTo>
                  <a:lnTo>
                    <a:pt x="2045" y="1700"/>
                  </a:lnTo>
                  <a:lnTo>
                    <a:pt x="2045" y="1700"/>
                  </a:lnTo>
                  <a:lnTo>
                    <a:pt x="2042" y="1700"/>
                  </a:lnTo>
                  <a:lnTo>
                    <a:pt x="2040" y="1703"/>
                  </a:lnTo>
                  <a:lnTo>
                    <a:pt x="2038" y="1703"/>
                  </a:lnTo>
                  <a:lnTo>
                    <a:pt x="2033" y="1703"/>
                  </a:lnTo>
                  <a:lnTo>
                    <a:pt x="2033" y="1703"/>
                  </a:lnTo>
                  <a:lnTo>
                    <a:pt x="2031" y="1700"/>
                  </a:lnTo>
                  <a:lnTo>
                    <a:pt x="2028" y="1703"/>
                  </a:lnTo>
                  <a:lnTo>
                    <a:pt x="2028" y="1700"/>
                  </a:lnTo>
                  <a:lnTo>
                    <a:pt x="2028" y="1700"/>
                  </a:lnTo>
                  <a:lnTo>
                    <a:pt x="2023" y="1700"/>
                  </a:lnTo>
                  <a:lnTo>
                    <a:pt x="2026" y="1700"/>
                  </a:lnTo>
                  <a:lnTo>
                    <a:pt x="2035" y="1700"/>
                  </a:lnTo>
                  <a:lnTo>
                    <a:pt x="2038" y="1700"/>
                  </a:lnTo>
                  <a:lnTo>
                    <a:pt x="2038" y="1700"/>
                  </a:lnTo>
                  <a:lnTo>
                    <a:pt x="2038" y="1700"/>
                  </a:lnTo>
                  <a:lnTo>
                    <a:pt x="2045" y="1698"/>
                  </a:lnTo>
                  <a:lnTo>
                    <a:pt x="2045" y="1698"/>
                  </a:lnTo>
                  <a:lnTo>
                    <a:pt x="2045" y="1698"/>
                  </a:lnTo>
                  <a:lnTo>
                    <a:pt x="2045" y="1698"/>
                  </a:lnTo>
                  <a:lnTo>
                    <a:pt x="2045" y="1698"/>
                  </a:lnTo>
                  <a:lnTo>
                    <a:pt x="2045" y="1698"/>
                  </a:lnTo>
                  <a:lnTo>
                    <a:pt x="2057" y="1696"/>
                  </a:lnTo>
                  <a:lnTo>
                    <a:pt x="2059" y="1696"/>
                  </a:lnTo>
                  <a:lnTo>
                    <a:pt x="2061" y="1696"/>
                  </a:lnTo>
                  <a:lnTo>
                    <a:pt x="2061" y="1696"/>
                  </a:lnTo>
                  <a:lnTo>
                    <a:pt x="2059" y="1693"/>
                  </a:lnTo>
                  <a:lnTo>
                    <a:pt x="2059" y="1693"/>
                  </a:lnTo>
                  <a:lnTo>
                    <a:pt x="2059" y="1693"/>
                  </a:lnTo>
                  <a:lnTo>
                    <a:pt x="2059" y="1691"/>
                  </a:lnTo>
                  <a:lnTo>
                    <a:pt x="2059" y="1691"/>
                  </a:lnTo>
                  <a:lnTo>
                    <a:pt x="2059" y="1691"/>
                  </a:lnTo>
                  <a:lnTo>
                    <a:pt x="2059" y="1691"/>
                  </a:lnTo>
                  <a:lnTo>
                    <a:pt x="2061" y="1691"/>
                  </a:lnTo>
                  <a:lnTo>
                    <a:pt x="2061" y="1691"/>
                  </a:lnTo>
                  <a:lnTo>
                    <a:pt x="2061" y="1691"/>
                  </a:lnTo>
                  <a:lnTo>
                    <a:pt x="2061" y="1691"/>
                  </a:lnTo>
                  <a:lnTo>
                    <a:pt x="2061" y="1691"/>
                  </a:lnTo>
                  <a:lnTo>
                    <a:pt x="2064" y="1691"/>
                  </a:lnTo>
                  <a:lnTo>
                    <a:pt x="2064" y="1689"/>
                  </a:lnTo>
                  <a:lnTo>
                    <a:pt x="2064" y="1689"/>
                  </a:lnTo>
                  <a:lnTo>
                    <a:pt x="2064" y="1689"/>
                  </a:lnTo>
                  <a:lnTo>
                    <a:pt x="2064" y="1686"/>
                  </a:lnTo>
                  <a:lnTo>
                    <a:pt x="2064" y="1686"/>
                  </a:lnTo>
                  <a:lnTo>
                    <a:pt x="2064" y="1684"/>
                  </a:lnTo>
                  <a:lnTo>
                    <a:pt x="2064" y="1684"/>
                  </a:lnTo>
                  <a:lnTo>
                    <a:pt x="2064" y="1684"/>
                  </a:lnTo>
                  <a:lnTo>
                    <a:pt x="2064" y="1684"/>
                  </a:lnTo>
                  <a:lnTo>
                    <a:pt x="2061" y="1684"/>
                  </a:lnTo>
                  <a:lnTo>
                    <a:pt x="2061" y="1682"/>
                  </a:lnTo>
                  <a:lnTo>
                    <a:pt x="2061" y="1682"/>
                  </a:lnTo>
                  <a:lnTo>
                    <a:pt x="2061" y="1682"/>
                  </a:lnTo>
                  <a:lnTo>
                    <a:pt x="2061" y="1679"/>
                  </a:lnTo>
                  <a:lnTo>
                    <a:pt x="2061" y="1679"/>
                  </a:lnTo>
                  <a:lnTo>
                    <a:pt x="2059" y="1679"/>
                  </a:lnTo>
                  <a:lnTo>
                    <a:pt x="2059" y="1679"/>
                  </a:lnTo>
                  <a:lnTo>
                    <a:pt x="2059" y="1677"/>
                  </a:lnTo>
                  <a:lnTo>
                    <a:pt x="2057" y="1677"/>
                  </a:lnTo>
                  <a:lnTo>
                    <a:pt x="2057" y="1677"/>
                  </a:lnTo>
                  <a:lnTo>
                    <a:pt x="2057" y="1677"/>
                  </a:lnTo>
                  <a:lnTo>
                    <a:pt x="2057" y="1677"/>
                  </a:lnTo>
                  <a:lnTo>
                    <a:pt x="2057" y="1677"/>
                  </a:lnTo>
                  <a:lnTo>
                    <a:pt x="2057" y="1677"/>
                  </a:lnTo>
                  <a:lnTo>
                    <a:pt x="2057" y="1674"/>
                  </a:lnTo>
                  <a:lnTo>
                    <a:pt x="2057" y="1674"/>
                  </a:lnTo>
                  <a:lnTo>
                    <a:pt x="2057" y="1672"/>
                  </a:lnTo>
                  <a:lnTo>
                    <a:pt x="2057" y="1672"/>
                  </a:lnTo>
                  <a:lnTo>
                    <a:pt x="2054" y="1672"/>
                  </a:lnTo>
                  <a:lnTo>
                    <a:pt x="2054" y="1670"/>
                  </a:lnTo>
                  <a:lnTo>
                    <a:pt x="2054" y="1672"/>
                  </a:lnTo>
                  <a:lnTo>
                    <a:pt x="2054" y="1670"/>
                  </a:lnTo>
                  <a:lnTo>
                    <a:pt x="2054" y="1670"/>
                  </a:lnTo>
                  <a:lnTo>
                    <a:pt x="2054" y="1670"/>
                  </a:lnTo>
                  <a:lnTo>
                    <a:pt x="2054" y="1667"/>
                  </a:lnTo>
                  <a:lnTo>
                    <a:pt x="2054" y="1667"/>
                  </a:lnTo>
                  <a:lnTo>
                    <a:pt x="2052" y="1667"/>
                  </a:lnTo>
                  <a:lnTo>
                    <a:pt x="2052" y="1665"/>
                  </a:lnTo>
                  <a:lnTo>
                    <a:pt x="2052" y="1665"/>
                  </a:lnTo>
                  <a:lnTo>
                    <a:pt x="2052" y="1665"/>
                  </a:lnTo>
                  <a:lnTo>
                    <a:pt x="2054" y="1663"/>
                  </a:lnTo>
                  <a:lnTo>
                    <a:pt x="2054" y="1663"/>
                  </a:lnTo>
                  <a:lnTo>
                    <a:pt x="2054" y="1660"/>
                  </a:lnTo>
                  <a:lnTo>
                    <a:pt x="2054" y="1660"/>
                  </a:lnTo>
                  <a:lnTo>
                    <a:pt x="2054" y="1660"/>
                  </a:lnTo>
                  <a:lnTo>
                    <a:pt x="2054" y="1660"/>
                  </a:lnTo>
                  <a:lnTo>
                    <a:pt x="2054" y="1658"/>
                  </a:lnTo>
                  <a:lnTo>
                    <a:pt x="2054" y="1658"/>
                  </a:lnTo>
                  <a:lnTo>
                    <a:pt x="2052" y="1656"/>
                  </a:lnTo>
                  <a:lnTo>
                    <a:pt x="2052" y="1656"/>
                  </a:lnTo>
                  <a:lnTo>
                    <a:pt x="2052" y="1656"/>
                  </a:lnTo>
                  <a:lnTo>
                    <a:pt x="2052" y="1656"/>
                  </a:lnTo>
                  <a:lnTo>
                    <a:pt x="2052" y="1653"/>
                  </a:lnTo>
                  <a:lnTo>
                    <a:pt x="2052" y="1653"/>
                  </a:lnTo>
                  <a:lnTo>
                    <a:pt x="2054" y="1653"/>
                  </a:lnTo>
                  <a:lnTo>
                    <a:pt x="2054" y="1651"/>
                  </a:lnTo>
                  <a:lnTo>
                    <a:pt x="2054" y="1651"/>
                  </a:lnTo>
                  <a:lnTo>
                    <a:pt x="2057" y="1648"/>
                  </a:lnTo>
                  <a:lnTo>
                    <a:pt x="2057" y="1648"/>
                  </a:lnTo>
                  <a:lnTo>
                    <a:pt x="2059" y="1646"/>
                  </a:lnTo>
                  <a:lnTo>
                    <a:pt x="2059" y="1646"/>
                  </a:lnTo>
                  <a:lnTo>
                    <a:pt x="2059" y="1644"/>
                  </a:lnTo>
                  <a:lnTo>
                    <a:pt x="2059" y="1644"/>
                  </a:lnTo>
                  <a:lnTo>
                    <a:pt x="2059" y="1644"/>
                  </a:lnTo>
                  <a:lnTo>
                    <a:pt x="2057" y="1641"/>
                  </a:lnTo>
                  <a:lnTo>
                    <a:pt x="2057" y="1641"/>
                  </a:lnTo>
                  <a:lnTo>
                    <a:pt x="2057" y="1639"/>
                  </a:lnTo>
                  <a:lnTo>
                    <a:pt x="2057" y="1639"/>
                  </a:lnTo>
                  <a:lnTo>
                    <a:pt x="2057" y="1639"/>
                  </a:lnTo>
                  <a:lnTo>
                    <a:pt x="2057" y="1639"/>
                  </a:lnTo>
                  <a:lnTo>
                    <a:pt x="2057" y="1639"/>
                  </a:lnTo>
                  <a:lnTo>
                    <a:pt x="2054" y="1637"/>
                  </a:lnTo>
                  <a:lnTo>
                    <a:pt x="2054" y="1637"/>
                  </a:lnTo>
                  <a:lnTo>
                    <a:pt x="2054" y="1637"/>
                  </a:lnTo>
                  <a:lnTo>
                    <a:pt x="2054" y="1634"/>
                  </a:lnTo>
                  <a:lnTo>
                    <a:pt x="2052" y="1632"/>
                  </a:lnTo>
                  <a:lnTo>
                    <a:pt x="2052" y="1632"/>
                  </a:lnTo>
                  <a:lnTo>
                    <a:pt x="2049" y="1632"/>
                  </a:lnTo>
                  <a:lnTo>
                    <a:pt x="2049" y="1632"/>
                  </a:lnTo>
                  <a:lnTo>
                    <a:pt x="2049" y="1632"/>
                  </a:lnTo>
                  <a:lnTo>
                    <a:pt x="2047" y="1632"/>
                  </a:lnTo>
                  <a:lnTo>
                    <a:pt x="2047" y="1632"/>
                  </a:lnTo>
                  <a:lnTo>
                    <a:pt x="2047" y="1632"/>
                  </a:lnTo>
                  <a:lnTo>
                    <a:pt x="2047" y="1632"/>
                  </a:lnTo>
                  <a:lnTo>
                    <a:pt x="2047" y="1634"/>
                  </a:lnTo>
                  <a:lnTo>
                    <a:pt x="2047" y="1634"/>
                  </a:lnTo>
                  <a:lnTo>
                    <a:pt x="2047" y="1634"/>
                  </a:lnTo>
                  <a:lnTo>
                    <a:pt x="2047" y="1634"/>
                  </a:lnTo>
                  <a:lnTo>
                    <a:pt x="2047" y="1637"/>
                  </a:lnTo>
                  <a:lnTo>
                    <a:pt x="2047" y="1637"/>
                  </a:lnTo>
                  <a:lnTo>
                    <a:pt x="2047" y="1637"/>
                  </a:lnTo>
                  <a:lnTo>
                    <a:pt x="2047" y="1639"/>
                  </a:lnTo>
                  <a:lnTo>
                    <a:pt x="2047" y="1639"/>
                  </a:lnTo>
                  <a:lnTo>
                    <a:pt x="2047" y="1639"/>
                  </a:lnTo>
                  <a:lnTo>
                    <a:pt x="2049" y="1641"/>
                  </a:lnTo>
                  <a:lnTo>
                    <a:pt x="2049" y="1641"/>
                  </a:lnTo>
                  <a:lnTo>
                    <a:pt x="2049" y="1641"/>
                  </a:lnTo>
                  <a:lnTo>
                    <a:pt x="2049" y="1644"/>
                  </a:lnTo>
                  <a:lnTo>
                    <a:pt x="2049" y="1644"/>
                  </a:lnTo>
                  <a:lnTo>
                    <a:pt x="2047" y="1644"/>
                  </a:lnTo>
                  <a:lnTo>
                    <a:pt x="2047" y="1641"/>
                  </a:lnTo>
                  <a:lnTo>
                    <a:pt x="2047" y="1641"/>
                  </a:lnTo>
                  <a:lnTo>
                    <a:pt x="2045" y="1644"/>
                  </a:lnTo>
                  <a:lnTo>
                    <a:pt x="2045" y="1646"/>
                  </a:lnTo>
                  <a:lnTo>
                    <a:pt x="2045" y="1646"/>
                  </a:lnTo>
                  <a:lnTo>
                    <a:pt x="2042" y="1646"/>
                  </a:lnTo>
                  <a:lnTo>
                    <a:pt x="2042" y="1648"/>
                  </a:lnTo>
                  <a:lnTo>
                    <a:pt x="2042" y="1648"/>
                  </a:lnTo>
                  <a:lnTo>
                    <a:pt x="2042" y="1648"/>
                  </a:lnTo>
                  <a:lnTo>
                    <a:pt x="2045" y="1648"/>
                  </a:lnTo>
                  <a:lnTo>
                    <a:pt x="2045" y="1646"/>
                  </a:lnTo>
                  <a:lnTo>
                    <a:pt x="2045" y="1646"/>
                  </a:lnTo>
                  <a:lnTo>
                    <a:pt x="2045" y="1648"/>
                  </a:lnTo>
                  <a:lnTo>
                    <a:pt x="2045" y="1648"/>
                  </a:lnTo>
                  <a:lnTo>
                    <a:pt x="2045" y="1648"/>
                  </a:lnTo>
                  <a:lnTo>
                    <a:pt x="2045" y="1651"/>
                  </a:lnTo>
                  <a:lnTo>
                    <a:pt x="2042" y="1648"/>
                  </a:lnTo>
                  <a:lnTo>
                    <a:pt x="2042" y="1648"/>
                  </a:lnTo>
                  <a:lnTo>
                    <a:pt x="2042" y="1648"/>
                  </a:lnTo>
                  <a:lnTo>
                    <a:pt x="2042" y="1648"/>
                  </a:lnTo>
                  <a:lnTo>
                    <a:pt x="2042" y="1648"/>
                  </a:lnTo>
                  <a:lnTo>
                    <a:pt x="2040" y="1648"/>
                  </a:lnTo>
                  <a:lnTo>
                    <a:pt x="2040" y="1648"/>
                  </a:lnTo>
                  <a:lnTo>
                    <a:pt x="2040" y="1648"/>
                  </a:lnTo>
                  <a:lnTo>
                    <a:pt x="2040" y="1648"/>
                  </a:lnTo>
                  <a:lnTo>
                    <a:pt x="2040" y="1646"/>
                  </a:lnTo>
                  <a:lnTo>
                    <a:pt x="2038" y="1646"/>
                  </a:lnTo>
                  <a:lnTo>
                    <a:pt x="2035" y="1648"/>
                  </a:lnTo>
                  <a:lnTo>
                    <a:pt x="2035" y="1646"/>
                  </a:lnTo>
                  <a:lnTo>
                    <a:pt x="2038" y="1646"/>
                  </a:lnTo>
                  <a:lnTo>
                    <a:pt x="2038" y="1646"/>
                  </a:lnTo>
                  <a:lnTo>
                    <a:pt x="2038" y="1646"/>
                  </a:lnTo>
                  <a:lnTo>
                    <a:pt x="2038" y="1646"/>
                  </a:lnTo>
                  <a:lnTo>
                    <a:pt x="2038" y="1644"/>
                  </a:lnTo>
                  <a:lnTo>
                    <a:pt x="2038" y="1644"/>
                  </a:lnTo>
                  <a:lnTo>
                    <a:pt x="2038" y="1644"/>
                  </a:lnTo>
                  <a:lnTo>
                    <a:pt x="2038" y="1644"/>
                  </a:lnTo>
                  <a:lnTo>
                    <a:pt x="2038" y="1644"/>
                  </a:lnTo>
                  <a:lnTo>
                    <a:pt x="2038" y="1644"/>
                  </a:lnTo>
                  <a:lnTo>
                    <a:pt x="2038" y="1644"/>
                  </a:lnTo>
                  <a:lnTo>
                    <a:pt x="2038" y="1644"/>
                  </a:lnTo>
                  <a:lnTo>
                    <a:pt x="2038" y="1641"/>
                  </a:lnTo>
                  <a:lnTo>
                    <a:pt x="2035" y="1641"/>
                  </a:lnTo>
                  <a:lnTo>
                    <a:pt x="2035" y="1641"/>
                  </a:lnTo>
                  <a:lnTo>
                    <a:pt x="2035" y="1641"/>
                  </a:lnTo>
                  <a:lnTo>
                    <a:pt x="2035" y="1641"/>
                  </a:lnTo>
                  <a:lnTo>
                    <a:pt x="2035" y="1641"/>
                  </a:lnTo>
                  <a:lnTo>
                    <a:pt x="2035" y="1639"/>
                  </a:lnTo>
                  <a:lnTo>
                    <a:pt x="2035" y="1639"/>
                  </a:lnTo>
                  <a:lnTo>
                    <a:pt x="2035" y="1639"/>
                  </a:lnTo>
                  <a:lnTo>
                    <a:pt x="2035" y="1639"/>
                  </a:lnTo>
                  <a:lnTo>
                    <a:pt x="2035" y="1639"/>
                  </a:lnTo>
                  <a:lnTo>
                    <a:pt x="2033" y="1639"/>
                  </a:lnTo>
                  <a:lnTo>
                    <a:pt x="2033" y="1639"/>
                  </a:lnTo>
                  <a:lnTo>
                    <a:pt x="2033" y="1639"/>
                  </a:lnTo>
                  <a:lnTo>
                    <a:pt x="2035" y="1637"/>
                  </a:lnTo>
                  <a:lnTo>
                    <a:pt x="2035" y="1637"/>
                  </a:lnTo>
                  <a:lnTo>
                    <a:pt x="2035" y="1637"/>
                  </a:lnTo>
                  <a:lnTo>
                    <a:pt x="2033" y="1637"/>
                  </a:lnTo>
                  <a:lnTo>
                    <a:pt x="2033" y="1637"/>
                  </a:lnTo>
                  <a:lnTo>
                    <a:pt x="2033" y="1637"/>
                  </a:lnTo>
                  <a:lnTo>
                    <a:pt x="2033" y="1637"/>
                  </a:lnTo>
                  <a:lnTo>
                    <a:pt x="2033" y="1637"/>
                  </a:lnTo>
                  <a:lnTo>
                    <a:pt x="2033" y="1637"/>
                  </a:lnTo>
                  <a:lnTo>
                    <a:pt x="2031" y="1637"/>
                  </a:lnTo>
                  <a:lnTo>
                    <a:pt x="2031" y="1637"/>
                  </a:lnTo>
                  <a:lnTo>
                    <a:pt x="2031" y="1637"/>
                  </a:lnTo>
                  <a:lnTo>
                    <a:pt x="2031" y="1637"/>
                  </a:lnTo>
                  <a:lnTo>
                    <a:pt x="2031" y="1637"/>
                  </a:lnTo>
                  <a:lnTo>
                    <a:pt x="2031" y="1637"/>
                  </a:lnTo>
                  <a:lnTo>
                    <a:pt x="2028" y="1637"/>
                  </a:lnTo>
                  <a:lnTo>
                    <a:pt x="2028" y="1637"/>
                  </a:lnTo>
                  <a:lnTo>
                    <a:pt x="2028" y="1637"/>
                  </a:lnTo>
                  <a:lnTo>
                    <a:pt x="2028" y="1637"/>
                  </a:lnTo>
                  <a:lnTo>
                    <a:pt x="2028" y="1637"/>
                  </a:lnTo>
                  <a:lnTo>
                    <a:pt x="2028" y="1639"/>
                  </a:lnTo>
                  <a:lnTo>
                    <a:pt x="2028" y="1639"/>
                  </a:lnTo>
                  <a:lnTo>
                    <a:pt x="2026" y="1637"/>
                  </a:lnTo>
                  <a:lnTo>
                    <a:pt x="2026" y="1637"/>
                  </a:lnTo>
                  <a:lnTo>
                    <a:pt x="2026" y="1639"/>
                  </a:lnTo>
                  <a:lnTo>
                    <a:pt x="2026" y="1639"/>
                  </a:lnTo>
                  <a:lnTo>
                    <a:pt x="2026" y="1639"/>
                  </a:lnTo>
                  <a:lnTo>
                    <a:pt x="2026" y="1639"/>
                  </a:lnTo>
                  <a:lnTo>
                    <a:pt x="2026" y="1639"/>
                  </a:lnTo>
                  <a:lnTo>
                    <a:pt x="2026" y="1639"/>
                  </a:lnTo>
                  <a:lnTo>
                    <a:pt x="2026" y="1639"/>
                  </a:lnTo>
                  <a:lnTo>
                    <a:pt x="2026" y="1639"/>
                  </a:lnTo>
                  <a:lnTo>
                    <a:pt x="2026" y="1639"/>
                  </a:lnTo>
                  <a:lnTo>
                    <a:pt x="2026" y="1641"/>
                  </a:lnTo>
                  <a:lnTo>
                    <a:pt x="2026" y="1641"/>
                  </a:lnTo>
                  <a:lnTo>
                    <a:pt x="2026" y="1641"/>
                  </a:lnTo>
                  <a:lnTo>
                    <a:pt x="2026" y="1641"/>
                  </a:lnTo>
                  <a:lnTo>
                    <a:pt x="2026" y="1641"/>
                  </a:lnTo>
                  <a:lnTo>
                    <a:pt x="2023" y="1641"/>
                  </a:lnTo>
                  <a:lnTo>
                    <a:pt x="2023" y="1639"/>
                  </a:lnTo>
                  <a:lnTo>
                    <a:pt x="2023" y="1639"/>
                  </a:lnTo>
                  <a:lnTo>
                    <a:pt x="2023" y="1639"/>
                  </a:lnTo>
                  <a:lnTo>
                    <a:pt x="2023" y="1639"/>
                  </a:lnTo>
                  <a:lnTo>
                    <a:pt x="2023" y="1639"/>
                  </a:lnTo>
                  <a:lnTo>
                    <a:pt x="2023" y="1641"/>
                  </a:lnTo>
                  <a:lnTo>
                    <a:pt x="2023" y="1641"/>
                  </a:lnTo>
                  <a:lnTo>
                    <a:pt x="2023" y="1641"/>
                  </a:lnTo>
                  <a:lnTo>
                    <a:pt x="2023" y="1641"/>
                  </a:lnTo>
                  <a:lnTo>
                    <a:pt x="2023" y="1641"/>
                  </a:lnTo>
                  <a:lnTo>
                    <a:pt x="2021" y="1641"/>
                  </a:lnTo>
                  <a:lnTo>
                    <a:pt x="2021" y="1641"/>
                  </a:lnTo>
                  <a:lnTo>
                    <a:pt x="2021" y="1641"/>
                  </a:lnTo>
                  <a:lnTo>
                    <a:pt x="2023" y="1641"/>
                  </a:lnTo>
                  <a:lnTo>
                    <a:pt x="2023" y="1641"/>
                  </a:lnTo>
                  <a:lnTo>
                    <a:pt x="2023" y="1641"/>
                  </a:lnTo>
                  <a:lnTo>
                    <a:pt x="2023" y="1644"/>
                  </a:lnTo>
                  <a:lnTo>
                    <a:pt x="2023" y="1644"/>
                  </a:lnTo>
                  <a:lnTo>
                    <a:pt x="2021" y="1641"/>
                  </a:lnTo>
                  <a:lnTo>
                    <a:pt x="2019" y="1644"/>
                  </a:lnTo>
                  <a:lnTo>
                    <a:pt x="2019" y="1644"/>
                  </a:lnTo>
                  <a:lnTo>
                    <a:pt x="2019" y="1641"/>
                  </a:lnTo>
                  <a:lnTo>
                    <a:pt x="2019" y="1641"/>
                  </a:lnTo>
                  <a:lnTo>
                    <a:pt x="2019" y="1641"/>
                  </a:lnTo>
                  <a:lnTo>
                    <a:pt x="2016" y="1641"/>
                  </a:lnTo>
                  <a:lnTo>
                    <a:pt x="2016" y="1641"/>
                  </a:lnTo>
                  <a:lnTo>
                    <a:pt x="2016" y="1641"/>
                  </a:lnTo>
                  <a:lnTo>
                    <a:pt x="2016" y="1641"/>
                  </a:lnTo>
                  <a:lnTo>
                    <a:pt x="2016" y="1641"/>
                  </a:lnTo>
                  <a:lnTo>
                    <a:pt x="2016" y="1641"/>
                  </a:lnTo>
                  <a:lnTo>
                    <a:pt x="2016" y="1641"/>
                  </a:lnTo>
                  <a:lnTo>
                    <a:pt x="2016" y="1641"/>
                  </a:lnTo>
                  <a:lnTo>
                    <a:pt x="2014" y="1641"/>
                  </a:lnTo>
                  <a:lnTo>
                    <a:pt x="2014" y="1641"/>
                  </a:lnTo>
                  <a:lnTo>
                    <a:pt x="2014" y="1641"/>
                  </a:lnTo>
                  <a:lnTo>
                    <a:pt x="2014" y="1641"/>
                  </a:lnTo>
                  <a:lnTo>
                    <a:pt x="2012" y="1641"/>
                  </a:lnTo>
                  <a:lnTo>
                    <a:pt x="2012" y="1641"/>
                  </a:lnTo>
                  <a:lnTo>
                    <a:pt x="2012" y="1641"/>
                  </a:lnTo>
                  <a:lnTo>
                    <a:pt x="2009" y="1639"/>
                  </a:lnTo>
                  <a:lnTo>
                    <a:pt x="2007" y="1639"/>
                  </a:lnTo>
                  <a:lnTo>
                    <a:pt x="2007" y="1639"/>
                  </a:lnTo>
                  <a:lnTo>
                    <a:pt x="2007" y="1641"/>
                  </a:lnTo>
                  <a:lnTo>
                    <a:pt x="2004" y="1641"/>
                  </a:lnTo>
                  <a:lnTo>
                    <a:pt x="2004" y="1641"/>
                  </a:lnTo>
                  <a:lnTo>
                    <a:pt x="2002" y="1641"/>
                  </a:lnTo>
                  <a:lnTo>
                    <a:pt x="2004" y="1641"/>
                  </a:lnTo>
                  <a:lnTo>
                    <a:pt x="2002" y="1641"/>
                  </a:lnTo>
                  <a:lnTo>
                    <a:pt x="2002" y="1641"/>
                  </a:lnTo>
                  <a:lnTo>
                    <a:pt x="2002" y="1639"/>
                  </a:lnTo>
                  <a:lnTo>
                    <a:pt x="2002" y="1639"/>
                  </a:lnTo>
                  <a:lnTo>
                    <a:pt x="2002" y="1639"/>
                  </a:lnTo>
                  <a:lnTo>
                    <a:pt x="2000" y="1641"/>
                  </a:lnTo>
                  <a:lnTo>
                    <a:pt x="1997" y="1641"/>
                  </a:lnTo>
                  <a:lnTo>
                    <a:pt x="1997" y="1641"/>
                  </a:lnTo>
                  <a:lnTo>
                    <a:pt x="1997" y="1641"/>
                  </a:lnTo>
                  <a:lnTo>
                    <a:pt x="1997" y="1641"/>
                  </a:lnTo>
                  <a:lnTo>
                    <a:pt x="1997" y="1641"/>
                  </a:lnTo>
                  <a:lnTo>
                    <a:pt x="1995" y="1639"/>
                  </a:lnTo>
                  <a:lnTo>
                    <a:pt x="1995" y="1639"/>
                  </a:lnTo>
                  <a:lnTo>
                    <a:pt x="1995" y="1639"/>
                  </a:lnTo>
                  <a:lnTo>
                    <a:pt x="1993" y="1637"/>
                  </a:lnTo>
                  <a:lnTo>
                    <a:pt x="1993" y="1637"/>
                  </a:lnTo>
                  <a:lnTo>
                    <a:pt x="1993" y="1639"/>
                  </a:lnTo>
                  <a:lnTo>
                    <a:pt x="1993" y="1639"/>
                  </a:lnTo>
                  <a:lnTo>
                    <a:pt x="1993" y="1639"/>
                  </a:lnTo>
                  <a:lnTo>
                    <a:pt x="1993" y="1641"/>
                  </a:lnTo>
                  <a:lnTo>
                    <a:pt x="1993" y="1641"/>
                  </a:lnTo>
                  <a:lnTo>
                    <a:pt x="1993" y="1641"/>
                  </a:lnTo>
                  <a:lnTo>
                    <a:pt x="1993" y="1641"/>
                  </a:lnTo>
                  <a:lnTo>
                    <a:pt x="1993" y="1641"/>
                  </a:lnTo>
                  <a:lnTo>
                    <a:pt x="1993" y="1641"/>
                  </a:lnTo>
                  <a:lnTo>
                    <a:pt x="1993" y="1641"/>
                  </a:lnTo>
                  <a:lnTo>
                    <a:pt x="1993" y="1641"/>
                  </a:lnTo>
                  <a:lnTo>
                    <a:pt x="1993" y="1639"/>
                  </a:lnTo>
                  <a:lnTo>
                    <a:pt x="1993" y="1639"/>
                  </a:lnTo>
                  <a:lnTo>
                    <a:pt x="1990" y="1639"/>
                  </a:lnTo>
                  <a:lnTo>
                    <a:pt x="1990" y="1639"/>
                  </a:lnTo>
                  <a:lnTo>
                    <a:pt x="1990" y="1639"/>
                  </a:lnTo>
                  <a:lnTo>
                    <a:pt x="1990" y="1639"/>
                  </a:lnTo>
                  <a:lnTo>
                    <a:pt x="1990" y="1639"/>
                  </a:lnTo>
                  <a:lnTo>
                    <a:pt x="1990" y="1639"/>
                  </a:lnTo>
                  <a:lnTo>
                    <a:pt x="1990" y="1639"/>
                  </a:lnTo>
                  <a:lnTo>
                    <a:pt x="1990" y="1639"/>
                  </a:lnTo>
                  <a:lnTo>
                    <a:pt x="1990" y="1637"/>
                  </a:lnTo>
                  <a:lnTo>
                    <a:pt x="1986" y="1637"/>
                  </a:lnTo>
                  <a:lnTo>
                    <a:pt x="1986" y="1637"/>
                  </a:lnTo>
                  <a:lnTo>
                    <a:pt x="1986" y="1637"/>
                  </a:lnTo>
                  <a:lnTo>
                    <a:pt x="1986" y="1634"/>
                  </a:lnTo>
                  <a:lnTo>
                    <a:pt x="1986" y="1634"/>
                  </a:lnTo>
                  <a:lnTo>
                    <a:pt x="1986" y="1632"/>
                  </a:lnTo>
                  <a:lnTo>
                    <a:pt x="1986" y="1632"/>
                  </a:lnTo>
                  <a:lnTo>
                    <a:pt x="1986" y="1632"/>
                  </a:lnTo>
                  <a:lnTo>
                    <a:pt x="1983" y="1632"/>
                  </a:lnTo>
                  <a:lnTo>
                    <a:pt x="1983" y="1632"/>
                  </a:lnTo>
                  <a:lnTo>
                    <a:pt x="1983" y="1632"/>
                  </a:lnTo>
                  <a:lnTo>
                    <a:pt x="1981" y="1632"/>
                  </a:lnTo>
                  <a:lnTo>
                    <a:pt x="1983" y="1632"/>
                  </a:lnTo>
                  <a:lnTo>
                    <a:pt x="1983" y="1632"/>
                  </a:lnTo>
                  <a:lnTo>
                    <a:pt x="1983" y="1632"/>
                  </a:lnTo>
                  <a:lnTo>
                    <a:pt x="1983" y="1632"/>
                  </a:lnTo>
                  <a:lnTo>
                    <a:pt x="1981" y="1632"/>
                  </a:lnTo>
                  <a:lnTo>
                    <a:pt x="1986" y="1632"/>
                  </a:lnTo>
                  <a:lnTo>
                    <a:pt x="1986" y="1629"/>
                  </a:lnTo>
                  <a:lnTo>
                    <a:pt x="1986" y="1629"/>
                  </a:lnTo>
                  <a:lnTo>
                    <a:pt x="1986" y="1629"/>
                  </a:lnTo>
                  <a:lnTo>
                    <a:pt x="1986" y="1629"/>
                  </a:lnTo>
                  <a:lnTo>
                    <a:pt x="1988" y="1629"/>
                  </a:lnTo>
                  <a:lnTo>
                    <a:pt x="1988" y="1627"/>
                  </a:lnTo>
                  <a:lnTo>
                    <a:pt x="1986" y="1627"/>
                  </a:lnTo>
                  <a:lnTo>
                    <a:pt x="1983" y="1629"/>
                  </a:lnTo>
                  <a:lnTo>
                    <a:pt x="1981" y="1629"/>
                  </a:lnTo>
                  <a:lnTo>
                    <a:pt x="1981" y="1629"/>
                  </a:lnTo>
                  <a:lnTo>
                    <a:pt x="1978" y="1629"/>
                  </a:lnTo>
                  <a:lnTo>
                    <a:pt x="1978" y="1629"/>
                  </a:lnTo>
                  <a:lnTo>
                    <a:pt x="1981" y="1627"/>
                  </a:lnTo>
                  <a:lnTo>
                    <a:pt x="1981" y="1627"/>
                  </a:lnTo>
                  <a:lnTo>
                    <a:pt x="1983" y="1625"/>
                  </a:lnTo>
                  <a:lnTo>
                    <a:pt x="1981" y="1625"/>
                  </a:lnTo>
                  <a:lnTo>
                    <a:pt x="1981" y="1625"/>
                  </a:lnTo>
                  <a:lnTo>
                    <a:pt x="1981" y="1625"/>
                  </a:lnTo>
                  <a:lnTo>
                    <a:pt x="1981" y="1625"/>
                  </a:lnTo>
                  <a:lnTo>
                    <a:pt x="1981" y="1625"/>
                  </a:lnTo>
                  <a:lnTo>
                    <a:pt x="1981" y="1622"/>
                  </a:lnTo>
                  <a:lnTo>
                    <a:pt x="1981" y="1622"/>
                  </a:lnTo>
                  <a:lnTo>
                    <a:pt x="1981" y="1622"/>
                  </a:lnTo>
                  <a:lnTo>
                    <a:pt x="1978" y="1622"/>
                  </a:lnTo>
                  <a:lnTo>
                    <a:pt x="1978" y="1622"/>
                  </a:lnTo>
                  <a:lnTo>
                    <a:pt x="1978" y="1622"/>
                  </a:lnTo>
                  <a:lnTo>
                    <a:pt x="1981" y="1622"/>
                  </a:lnTo>
                  <a:lnTo>
                    <a:pt x="1983" y="1620"/>
                  </a:lnTo>
                  <a:lnTo>
                    <a:pt x="1983" y="1620"/>
                  </a:lnTo>
                  <a:lnTo>
                    <a:pt x="1983" y="1620"/>
                  </a:lnTo>
                  <a:lnTo>
                    <a:pt x="1983" y="1620"/>
                  </a:lnTo>
                  <a:lnTo>
                    <a:pt x="1983" y="1620"/>
                  </a:lnTo>
                  <a:lnTo>
                    <a:pt x="1986" y="1618"/>
                  </a:lnTo>
                  <a:lnTo>
                    <a:pt x="1986" y="1620"/>
                  </a:lnTo>
                  <a:lnTo>
                    <a:pt x="1986" y="1618"/>
                  </a:lnTo>
                  <a:lnTo>
                    <a:pt x="1986" y="1618"/>
                  </a:lnTo>
                  <a:lnTo>
                    <a:pt x="1986" y="1618"/>
                  </a:lnTo>
                  <a:lnTo>
                    <a:pt x="1986" y="1618"/>
                  </a:lnTo>
                  <a:lnTo>
                    <a:pt x="1986" y="1618"/>
                  </a:lnTo>
                  <a:lnTo>
                    <a:pt x="1986" y="1615"/>
                  </a:lnTo>
                  <a:lnTo>
                    <a:pt x="1986" y="1615"/>
                  </a:lnTo>
                  <a:lnTo>
                    <a:pt x="1983" y="1615"/>
                  </a:lnTo>
                  <a:lnTo>
                    <a:pt x="1981" y="1613"/>
                  </a:lnTo>
                  <a:lnTo>
                    <a:pt x="1981" y="1613"/>
                  </a:lnTo>
                  <a:lnTo>
                    <a:pt x="1978" y="1613"/>
                  </a:lnTo>
                  <a:lnTo>
                    <a:pt x="1978" y="1613"/>
                  </a:lnTo>
                  <a:lnTo>
                    <a:pt x="1978" y="1613"/>
                  </a:lnTo>
                  <a:lnTo>
                    <a:pt x="1976" y="1613"/>
                  </a:lnTo>
                  <a:lnTo>
                    <a:pt x="1974" y="1613"/>
                  </a:lnTo>
                  <a:lnTo>
                    <a:pt x="1971" y="1613"/>
                  </a:lnTo>
                  <a:lnTo>
                    <a:pt x="1974" y="1613"/>
                  </a:lnTo>
                  <a:lnTo>
                    <a:pt x="1974" y="1613"/>
                  </a:lnTo>
                  <a:lnTo>
                    <a:pt x="1974" y="1615"/>
                  </a:lnTo>
                  <a:lnTo>
                    <a:pt x="1974" y="1615"/>
                  </a:lnTo>
                  <a:lnTo>
                    <a:pt x="1974" y="1615"/>
                  </a:lnTo>
                  <a:lnTo>
                    <a:pt x="1974" y="1615"/>
                  </a:lnTo>
                  <a:lnTo>
                    <a:pt x="1974" y="1615"/>
                  </a:lnTo>
                  <a:lnTo>
                    <a:pt x="1974" y="1618"/>
                  </a:lnTo>
                  <a:lnTo>
                    <a:pt x="1974" y="1618"/>
                  </a:lnTo>
                  <a:lnTo>
                    <a:pt x="1974" y="1618"/>
                  </a:lnTo>
                  <a:lnTo>
                    <a:pt x="1974" y="1618"/>
                  </a:lnTo>
                  <a:lnTo>
                    <a:pt x="1974" y="1618"/>
                  </a:lnTo>
                  <a:lnTo>
                    <a:pt x="1974" y="1620"/>
                  </a:lnTo>
                  <a:lnTo>
                    <a:pt x="1974" y="1620"/>
                  </a:lnTo>
                  <a:lnTo>
                    <a:pt x="1974" y="1620"/>
                  </a:lnTo>
                  <a:lnTo>
                    <a:pt x="1971" y="1620"/>
                  </a:lnTo>
                  <a:lnTo>
                    <a:pt x="1971" y="1620"/>
                  </a:lnTo>
                  <a:lnTo>
                    <a:pt x="1971" y="1620"/>
                  </a:lnTo>
                  <a:lnTo>
                    <a:pt x="1969" y="1620"/>
                  </a:lnTo>
                  <a:lnTo>
                    <a:pt x="1967" y="1620"/>
                  </a:lnTo>
                  <a:lnTo>
                    <a:pt x="1967" y="1622"/>
                  </a:lnTo>
                  <a:lnTo>
                    <a:pt x="1964" y="1625"/>
                  </a:lnTo>
                  <a:lnTo>
                    <a:pt x="1967" y="1622"/>
                  </a:lnTo>
                  <a:lnTo>
                    <a:pt x="1967" y="1620"/>
                  </a:lnTo>
                  <a:lnTo>
                    <a:pt x="1967" y="1620"/>
                  </a:lnTo>
                  <a:lnTo>
                    <a:pt x="1969" y="1620"/>
                  </a:lnTo>
                  <a:lnTo>
                    <a:pt x="1971" y="1620"/>
                  </a:lnTo>
                  <a:lnTo>
                    <a:pt x="1971" y="1620"/>
                  </a:lnTo>
                  <a:lnTo>
                    <a:pt x="1971" y="1620"/>
                  </a:lnTo>
                  <a:lnTo>
                    <a:pt x="1971" y="1618"/>
                  </a:lnTo>
                  <a:lnTo>
                    <a:pt x="1971" y="1615"/>
                  </a:lnTo>
                  <a:lnTo>
                    <a:pt x="1971" y="1615"/>
                  </a:lnTo>
                  <a:lnTo>
                    <a:pt x="1971" y="1615"/>
                  </a:lnTo>
                  <a:lnTo>
                    <a:pt x="1971" y="1615"/>
                  </a:lnTo>
                  <a:lnTo>
                    <a:pt x="1971" y="1615"/>
                  </a:lnTo>
                  <a:lnTo>
                    <a:pt x="1971" y="1613"/>
                  </a:lnTo>
                  <a:lnTo>
                    <a:pt x="1971" y="1613"/>
                  </a:lnTo>
                  <a:lnTo>
                    <a:pt x="1971" y="1613"/>
                  </a:lnTo>
                  <a:lnTo>
                    <a:pt x="1971" y="1613"/>
                  </a:lnTo>
                  <a:lnTo>
                    <a:pt x="1969" y="1613"/>
                  </a:lnTo>
                  <a:lnTo>
                    <a:pt x="1969" y="1611"/>
                  </a:lnTo>
                  <a:lnTo>
                    <a:pt x="1967" y="1611"/>
                  </a:lnTo>
                  <a:lnTo>
                    <a:pt x="1967" y="1611"/>
                  </a:lnTo>
                  <a:lnTo>
                    <a:pt x="1967" y="1613"/>
                  </a:lnTo>
                  <a:lnTo>
                    <a:pt x="1967" y="1613"/>
                  </a:lnTo>
                  <a:lnTo>
                    <a:pt x="1967" y="1613"/>
                  </a:lnTo>
                  <a:lnTo>
                    <a:pt x="1967" y="1613"/>
                  </a:lnTo>
                  <a:lnTo>
                    <a:pt x="1964" y="1613"/>
                  </a:lnTo>
                  <a:lnTo>
                    <a:pt x="1964" y="1611"/>
                  </a:lnTo>
                  <a:lnTo>
                    <a:pt x="1964" y="1611"/>
                  </a:lnTo>
                  <a:lnTo>
                    <a:pt x="1964" y="1611"/>
                  </a:lnTo>
                  <a:lnTo>
                    <a:pt x="1964" y="1611"/>
                  </a:lnTo>
                  <a:lnTo>
                    <a:pt x="1964" y="1611"/>
                  </a:lnTo>
                  <a:lnTo>
                    <a:pt x="1964" y="1611"/>
                  </a:lnTo>
                  <a:lnTo>
                    <a:pt x="1967" y="1608"/>
                  </a:lnTo>
                  <a:lnTo>
                    <a:pt x="1967" y="1608"/>
                  </a:lnTo>
                  <a:lnTo>
                    <a:pt x="1967" y="1608"/>
                  </a:lnTo>
                  <a:lnTo>
                    <a:pt x="1964" y="1608"/>
                  </a:lnTo>
                  <a:lnTo>
                    <a:pt x="1964" y="1608"/>
                  </a:lnTo>
                  <a:lnTo>
                    <a:pt x="1964" y="1606"/>
                  </a:lnTo>
                  <a:lnTo>
                    <a:pt x="1964" y="1606"/>
                  </a:lnTo>
                  <a:lnTo>
                    <a:pt x="1964" y="1606"/>
                  </a:lnTo>
                  <a:lnTo>
                    <a:pt x="1962" y="1606"/>
                  </a:lnTo>
                  <a:lnTo>
                    <a:pt x="1960" y="1606"/>
                  </a:lnTo>
                  <a:lnTo>
                    <a:pt x="1955" y="1603"/>
                  </a:lnTo>
                  <a:lnTo>
                    <a:pt x="1952" y="1603"/>
                  </a:lnTo>
                  <a:lnTo>
                    <a:pt x="1952" y="1603"/>
                  </a:lnTo>
                  <a:lnTo>
                    <a:pt x="1952" y="1603"/>
                  </a:lnTo>
                  <a:lnTo>
                    <a:pt x="1950" y="1606"/>
                  </a:lnTo>
                  <a:lnTo>
                    <a:pt x="1952" y="1606"/>
                  </a:lnTo>
                  <a:lnTo>
                    <a:pt x="1952" y="1608"/>
                  </a:lnTo>
                  <a:lnTo>
                    <a:pt x="1952" y="1611"/>
                  </a:lnTo>
                  <a:lnTo>
                    <a:pt x="1952" y="1611"/>
                  </a:lnTo>
                  <a:lnTo>
                    <a:pt x="1952" y="1611"/>
                  </a:lnTo>
                  <a:lnTo>
                    <a:pt x="1950" y="1611"/>
                  </a:lnTo>
                  <a:lnTo>
                    <a:pt x="1950" y="1608"/>
                  </a:lnTo>
                  <a:lnTo>
                    <a:pt x="1950" y="1608"/>
                  </a:lnTo>
                  <a:lnTo>
                    <a:pt x="1950" y="1611"/>
                  </a:lnTo>
                  <a:lnTo>
                    <a:pt x="1948" y="1611"/>
                  </a:lnTo>
                  <a:lnTo>
                    <a:pt x="1948" y="1611"/>
                  </a:lnTo>
                  <a:lnTo>
                    <a:pt x="1950" y="1606"/>
                  </a:lnTo>
                  <a:lnTo>
                    <a:pt x="1950" y="1606"/>
                  </a:lnTo>
                  <a:lnTo>
                    <a:pt x="1950" y="1606"/>
                  </a:lnTo>
                  <a:lnTo>
                    <a:pt x="1950" y="1603"/>
                  </a:lnTo>
                  <a:lnTo>
                    <a:pt x="1950" y="1603"/>
                  </a:lnTo>
                  <a:lnTo>
                    <a:pt x="1950" y="1603"/>
                  </a:lnTo>
                  <a:lnTo>
                    <a:pt x="1950" y="1603"/>
                  </a:lnTo>
                  <a:lnTo>
                    <a:pt x="1950" y="1601"/>
                  </a:lnTo>
                  <a:lnTo>
                    <a:pt x="1950" y="1601"/>
                  </a:lnTo>
                  <a:lnTo>
                    <a:pt x="1950" y="1601"/>
                  </a:lnTo>
                  <a:lnTo>
                    <a:pt x="1950" y="1599"/>
                  </a:lnTo>
                  <a:lnTo>
                    <a:pt x="1950" y="1599"/>
                  </a:lnTo>
                  <a:lnTo>
                    <a:pt x="1950" y="1599"/>
                  </a:lnTo>
                  <a:lnTo>
                    <a:pt x="1950" y="1599"/>
                  </a:lnTo>
                  <a:lnTo>
                    <a:pt x="1950" y="1599"/>
                  </a:lnTo>
                  <a:lnTo>
                    <a:pt x="1950" y="1596"/>
                  </a:lnTo>
                  <a:lnTo>
                    <a:pt x="1950" y="1596"/>
                  </a:lnTo>
                  <a:lnTo>
                    <a:pt x="1948" y="1596"/>
                  </a:lnTo>
                  <a:lnTo>
                    <a:pt x="1948" y="1596"/>
                  </a:lnTo>
                  <a:lnTo>
                    <a:pt x="1948" y="1594"/>
                  </a:lnTo>
                  <a:lnTo>
                    <a:pt x="1948" y="1594"/>
                  </a:lnTo>
                  <a:lnTo>
                    <a:pt x="1945" y="1594"/>
                  </a:lnTo>
                  <a:lnTo>
                    <a:pt x="1945" y="1594"/>
                  </a:lnTo>
                  <a:lnTo>
                    <a:pt x="1945" y="1592"/>
                  </a:lnTo>
                  <a:lnTo>
                    <a:pt x="1945" y="1592"/>
                  </a:lnTo>
                  <a:lnTo>
                    <a:pt x="1943" y="1594"/>
                  </a:lnTo>
                  <a:lnTo>
                    <a:pt x="1943" y="1594"/>
                  </a:lnTo>
                  <a:lnTo>
                    <a:pt x="1943" y="1594"/>
                  </a:lnTo>
                  <a:lnTo>
                    <a:pt x="1943" y="1596"/>
                  </a:lnTo>
                  <a:lnTo>
                    <a:pt x="1943" y="1596"/>
                  </a:lnTo>
                  <a:lnTo>
                    <a:pt x="1938" y="1596"/>
                  </a:lnTo>
                  <a:lnTo>
                    <a:pt x="1941" y="1596"/>
                  </a:lnTo>
                  <a:lnTo>
                    <a:pt x="1941" y="1594"/>
                  </a:lnTo>
                  <a:lnTo>
                    <a:pt x="1941" y="1594"/>
                  </a:lnTo>
                  <a:lnTo>
                    <a:pt x="1941" y="1594"/>
                  </a:lnTo>
                  <a:lnTo>
                    <a:pt x="1938" y="1594"/>
                  </a:lnTo>
                  <a:lnTo>
                    <a:pt x="1938" y="1594"/>
                  </a:lnTo>
                  <a:lnTo>
                    <a:pt x="1936" y="1592"/>
                  </a:lnTo>
                  <a:lnTo>
                    <a:pt x="1936" y="1592"/>
                  </a:lnTo>
                  <a:lnTo>
                    <a:pt x="1936" y="1592"/>
                  </a:lnTo>
                  <a:lnTo>
                    <a:pt x="1936" y="1592"/>
                  </a:lnTo>
                  <a:lnTo>
                    <a:pt x="1933" y="1592"/>
                  </a:lnTo>
                  <a:lnTo>
                    <a:pt x="1933" y="1592"/>
                  </a:lnTo>
                  <a:lnTo>
                    <a:pt x="1931" y="1589"/>
                  </a:lnTo>
                  <a:lnTo>
                    <a:pt x="1929" y="1589"/>
                  </a:lnTo>
                  <a:lnTo>
                    <a:pt x="1929" y="1587"/>
                  </a:lnTo>
                  <a:lnTo>
                    <a:pt x="1929" y="1587"/>
                  </a:lnTo>
                  <a:lnTo>
                    <a:pt x="1929" y="1587"/>
                  </a:lnTo>
                  <a:lnTo>
                    <a:pt x="1926" y="1587"/>
                  </a:lnTo>
                  <a:lnTo>
                    <a:pt x="1926" y="1585"/>
                  </a:lnTo>
                  <a:lnTo>
                    <a:pt x="1924" y="1585"/>
                  </a:lnTo>
                  <a:lnTo>
                    <a:pt x="1924" y="1585"/>
                  </a:lnTo>
                  <a:lnTo>
                    <a:pt x="1924" y="1585"/>
                  </a:lnTo>
                  <a:lnTo>
                    <a:pt x="1922" y="1585"/>
                  </a:lnTo>
                  <a:lnTo>
                    <a:pt x="1922" y="1585"/>
                  </a:lnTo>
                  <a:lnTo>
                    <a:pt x="1922" y="1585"/>
                  </a:lnTo>
                  <a:lnTo>
                    <a:pt x="1922" y="1585"/>
                  </a:lnTo>
                  <a:lnTo>
                    <a:pt x="1922" y="1585"/>
                  </a:lnTo>
                  <a:lnTo>
                    <a:pt x="1922" y="1585"/>
                  </a:lnTo>
                  <a:lnTo>
                    <a:pt x="1922" y="1585"/>
                  </a:lnTo>
                  <a:lnTo>
                    <a:pt x="1919" y="1585"/>
                  </a:lnTo>
                  <a:lnTo>
                    <a:pt x="1919" y="1585"/>
                  </a:lnTo>
                  <a:lnTo>
                    <a:pt x="1919" y="1585"/>
                  </a:lnTo>
                  <a:lnTo>
                    <a:pt x="1919" y="1585"/>
                  </a:lnTo>
                  <a:lnTo>
                    <a:pt x="1917" y="1582"/>
                  </a:lnTo>
                  <a:lnTo>
                    <a:pt x="1915" y="1580"/>
                  </a:lnTo>
                  <a:lnTo>
                    <a:pt x="1915" y="1580"/>
                  </a:lnTo>
                  <a:lnTo>
                    <a:pt x="1915" y="1580"/>
                  </a:lnTo>
                  <a:lnTo>
                    <a:pt x="1915" y="1580"/>
                  </a:lnTo>
                  <a:lnTo>
                    <a:pt x="1912" y="1580"/>
                  </a:lnTo>
                  <a:lnTo>
                    <a:pt x="1910" y="1582"/>
                  </a:lnTo>
                  <a:lnTo>
                    <a:pt x="1910" y="1582"/>
                  </a:lnTo>
                  <a:lnTo>
                    <a:pt x="1910" y="1582"/>
                  </a:lnTo>
                  <a:lnTo>
                    <a:pt x="1907" y="1585"/>
                  </a:lnTo>
                  <a:lnTo>
                    <a:pt x="1907" y="1585"/>
                  </a:lnTo>
                  <a:lnTo>
                    <a:pt x="1907" y="1587"/>
                  </a:lnTo>
                  <a:lnTo>
                    <a:pt x="1907" y="1587"/>
                  </a:lnTo>
                  <a:lnTo>
                    <a:pt x="1907" y="1589"/>
                  </a:lnTo>
                  <a:lnTo>
                    <a:pt x="1907" y="1589"/>
                  </a:lnTo>
                  <a:lnTo>
                    <a:pt x="1905" y="1589"/>
                  </a:lnTo>
                  <a:lnTo>
                    <a:pt x="1903" y="1592"/>
                  </a:lnTo>
                  <a:lnTo>
                    <a:pt x="1903" y="1592"/>
                  </a:lnTo>
                  <a:lnTo>
                    <a:pt x="1903" y="1592"/>
                  </a:lnTo>
                  <a:lnTo>
                    <a:pt x="1903" y="1592"/>
                  </a:lnTo>
                  <a:lnTo>
                    <a:pt x="1900" y="1592"/>
                  </a:lnTo>
                  <a:lnTo>
                    <a:pt x="1900" y="1592"/>
                  </a:lnTo>
                  <a:lnTo>
                    <a:pt x="1900" y="1592"/>
                  </a:lnTo>
                  <a:lnTo>
                    <a:pt x="1900" y="1592"/>
                  </a:lnTo>
                  <a:lnTo>
                    <a:pt x="1900" y="1594"/>
                  </a:lnTo>
                  <a:lnTo>
                    <a:pt x="1898" y="1596"/>
                  </a:lnTo>
                  <a:lnTo>
                    <a:pt x="1898" y="1596"/>
                  </a:lnTo>
                  <a:lnTo>
                    <a:pt x="1898" y="1596"/>
                  </a:lnTo>
                  <a:lnTo>
                    <a:pt x="1898" y="1596"/>
                  </a:lnTo>
                  <a:lnTo>
                    <a:pt x="1898" y="1596"/>
                  </a:lnTo>
                  <a:lnTo>
                    <a:pt x="1898" y="1596"/>
                  </a:lnTo>
                  <a:lnTo>
                    <a:pt x="1898" y="1599"/>
                  </a:lnTo>
                  <a:lnTo>
                    <a:pt x="1889" y="1599"/>
                  </a:lnTo>
                  <a:lnTo>
                    <a:pt x="1889" y="1601"/>
                  </a:lnTo>
                  <a:lnTo>
                    <a:pt x="1889" y="1601"/>
                  </a:lnTo>
                  <a:lnTo>
                    <a:pt x="1889" y="1603"/>
                  </a:lnTo>
                  <a:lnTo>
                    <a:pt x="1889" y="1603"/>
                  </a:lnTo>
                  <a:lnTo>
                    <a:pt x="1889" y="1603"/>
                  </a:lnTo>
                  <a:lnTo>
                    <a:pt x="1891" y="1606"/>
                  </a:lnTo>
                  <a:lnTo>
                    <a:pt x="1893" y="1606"/>
                  </a:lnTo>
                  <a:lnTo>
                    <a:pt x="1893" y="1606"/>
                  </a:lnTo>
                  <a:lnTo>
                    <a:pt x="1896" y="1606"/>
                  </a:lnTo>
                  <a:lnTo>
                    <a:pt x="1896" y="1608"/>
                  </a:lnTo>
                  <a:lnTo>
                    <a:pt x="1893" y="1608"/>
                  </a:lnTo>
                  <a:lnTo>
                    <a:pt x="1891" y="1608"/>
                  </a:lnTo>
                  <a:lnTo>
                    <a:pt x="1889" y="1606"/>
                  </a:lnTo>
                  <a:lnTo>
                    <a:pt x="1889" y="1606"/>
                  </a:lnTo>
                  <a:lnTo>
                    <a:pt x="1889" y="1606"/>
                  </a:lnTo>
                  <a:lnTo>
                    <a:pt x="1889" y="1606"/>
                  </a:lnTo>
                  <a:lnTo>
                    <a:pt x="1889" y="1603"/>
                  </a:lnTo>
                  <a:lnTo>
                    <a:pt x="1886" y="1603"/>
                  </a:lnTo>
                  <a:lnTo>
                    <a:pt x="1884" y="1601"/>
                  </a:lnTo>
                  <a:lnTo>
                    <a:pt x="1881" y="1601"/>
                  </a:lnTo>
                  <a:lnTo>
                    <a:pt x="1879" y="1601"/>
                  </a:lnTo>
                  <a:lnTo>
                    <a:pt x="1879" y="1601"/>
                  </a:lnTo>
                  <a:lnTo>
                    <a:pt x="1879" y="1601"/>
                  </a:lnTo>
                  <a:lnTo>
                    <a:pt x="1877" y="1601"/>
                  </a:lnTo>
                  <a:lnTo>
                    <a:pt x="1877" y="1603"/>
                  </a:lnTo>
                  <a:lnTo>
                    <a:pt x="1877" y="1603"/>
                  </a:lnTo>
                  <a:lnTo>
                    <a:pt x="1877" y="1603"/>
                  </a:lnTo>
                  <a:lnTo>
                    <a:pt x="1877" y="1601"/>
                  </a:lnTo>
                  <a:lnTo>
                    <a:pt x="1877" y="1601"/>
                  </a:lnTo>
                  <a:lnTo>
                    <a:pt x="1874" y="1601"/>
                  </a:lnTo>
                  <a:lnTo>
                    <a:pt x="1872" y="1599"/>
                  </a:lnTo>
                  <a:lnTo>
                    <a:pt x="1867" y="1601"/>
                  </a:lnTo>
                  <a:lnTo>
                    <a:pt x="1867" y="1601"/>
                  </a:lnTo>
                  <a:lnTo>
                    <a:pt x="1865" y="1606"/>
                  </a:lnTo>
                  <a:lnTo>
                    <a:pt x="1862" y="1608"/>
                  </a:lnTo>
                  <a:lnTo>
                    <a:pt x="1862" y="1608"/>
                  </a:lnTo>
                  <a:lnTo>
                    <a:pt x="1860" y="1611"/>
                  </a:lnTo>
                  <a:lnTo>
                    <a:pt x="1860" y="1611"/>
                  </a:lnTo>
                  <a:lnTo>
                    <a:pt x="1860" y="1611"/>
                  </a:lnTo>
                  <a:lnTo>
                    <a:pt x="1860" y="1613"/>
                  </a:lnTo>
                  <a:lnTo>
                    <a:pt x="1858" y="1613"/>
                  </a:lnTo>
                  <a:lnTo>
                    <a:pt x="1858" y="1611"/>
                  </a:lnTo>
                  <a:lnTo>
                    <a:pt x="1858" y="1611"/>
                  </a:lnTo>
                  <a:lnTo>
                    <a:pt x="1860" y="1611"/>
                  </a:lnTo>
                  <a:lnTo>
                    <a:pt x="1860" y="1608"/>
                  </a:lnTo>
                  <a:lnTo>
                    <a:pt x="1860" y="1608"/>
                  </a:lnTo>
                  <a:lnTo>
                    <a:pt x="1860" y="1606"/>
                  </a:lnTo>
                  <a:lnTo>
                    <a:pt x="1865" y="1603"/>
                  </a:lnTo>
                  <a:lnTo>
                    <a:pt x="1865" y="1603"/>
                  </a:lnTo>
                  <a:lnTo>
                    <a:pt x="1862" y="1603"/>
                  </a:lnTo>
                  <a:lnTo>
                    <a:pt x="1858" y="1603"/>
                  </a:lnTo>
                  <a:lnTo>
                    <a:pt x="1855" y="1603"/>
                  </a:lnTo>
                  <a:lnTo>
                    <a:pt x="1855" y="1603"/>
                  </a:lnTo>
                  <a:lnTo>
                    <a:pt x="1853" y="1601"/>
                  </a:lnTo>
                  <a:lnTo>
                    <a:pt x="1853" y="1601"/>
                  </a:lnTo>
                  <a:lnTo>
                    <a:pt x="1853" y="1601"/>
                  </a:lnTo>
                  <a:lnTo>
                    <a:pt x="1853" y="1603"/>
                  </a:lnTo>
                  <a:lnTo>
                    <a:pt x="1851" y="1603"/>
                  </a:lnTo>
                  <a:lnTo>
                    <a:pt x="1851" y="1603"/>
                  </a:lnTo>
                  <a:lnTo>
                    <a:pt x="1851" y="1601"/>
                  </a:lnTo>
                  <a:lnTo>
                    <a:pt x="1851" y="1601"/>
                  </a:lnTo>
                  <a:lnTo>
                    <a:pt x="1851" y="1603"/>
                  </a:lnTo>
                  <a:lnTo>
                    <a:pt x="1851" y="1603"/>
                  </a:lnTo>
                  <a:lnTo>
                    <a:pt x="1848" y="1603"/>
                  </a:lnTo>
                  <a:lnTo>
                    <a:pt x="1848" y="1603"/>
                  </a:lnTo>
                  <a:lnTo>
                    <a:pt x="1848" y="1603"/>
                  </a:lnTo>
                  <a:lnTo>
                    <a:pt x="1848" y="1601"/>
                  </a:lnTo>
                  <a:lnTo>
                    <a:pt x="1848" y="1601"/>
                  </a:lnTo>
                  <a:lnTo>
                    <a:pt x="1848" y="1601"/>
                  </a:lnTo>
                  <a:lnTo>
                    <a:pt x="1846" y="1601"/>
                  </a:lnTo>
                  <a:lnTo>
                    <a:pt x="1846" y="1601"/>
                  </a:lnTo>
                  <a:lnTo>
                    <a:pt x="1844" y="1601"/>
                  </a:lnTo>
                  <a:lnTo>
                    <a:pt x="1839" y="1599"/>
                  </a:lnTo>
                  <a:lnTo>
                    <a:pt x="1839" y="1599"/>
                  </a:lnTo>
                  <a:lnTo>
                    <a:pt x="1836" y="1599"/>
                  </a:lnTo>
                  <a:lnTo>
                    <a:pt x="1834" y="1599"/>
                  </a:lnTo>
                  <a:lnTo>
                    <a:pt x="1834" y="1599"/>
                  </a:lnTo>
                  <a:lnTo>
                    <a:pt x="1832" y="1599"/>
                  </a:lnTo>
                  <a:lnTo>
                    <a:pt x="1832" y="1599"/>
                  </a:lnTo>
                  <a:lnTo>
                    <a:pt x="1832" y="1599"/>
                  </a:lnTo>
                  <a:lnTo>
                    <a:pt x="1832" y="1599"/>
                  </a:lnTo>
                  <a:lnTo>
                    <a:pt x="1829" y="1599"/>
                  </a:lnTo>
                  <a:lnTo>
                    <a:pt x="1829" y="1596"/>
                  </a:lnTo>
                  <a:lnTo>
                    <a:pt x="1829" y="1596"/>
                  </a:lnTo>
                  <a:lnTo>
                    <a:pt x="1825" y="1596"/>
                  </a:lnTo>
                  <a:lnTo>
                    <a:pt x="1825" y="1596"/>
                  </a:lnTo>
                  <a:lnTo>
                    <a:pt x="1825" y="1596"/>
                  </a:lnTo>
                  <a:lnTo>
                    <a:pt x="1822" y="1596"/>
                  </a:lnTo>
                  <a:lnTo>
                    <a:pt x="1822" y="1596"/>
                  </a:lnTo>
                  <a:lnTo>
                    <a:pt x="1822" y="1596"/>
                  </a:lnTo>
                  <a:lnTo>
                    <a:pt x="1822" y="1596"/>
                  </a:lnTo>
                  <a:lnTo>
                    <a:pt x="1820" y="1599"/>
                  </a:lnTo>
                  <a:lnTo>
                    <a:pt x="1820" y="1599"/>
                  </a:lnTo>
                  <a:lnTo>
                    <a:pt x="1820" y="1599"/>
                  </a:lnTo>
                  <a:lnTo>
                    <a:pt x="1820" y="1596"/>
                  </a:lnTo>
                  <a:lnTo>
                    <a:pt x="1820" y="1596"/>
                  </a:lnTo>
                  <a:lnTo>
                    <a:pt x="1820" y="1599"/>
                  </a:lnTo>
                  <a:lnTo>
                    <a:pt x="1818" y="1599"/>
                  </a:lnTo>
                  <a:lnTo>
                    <a:pt x="1818" y="1599"/>
                  </a:lnTo>
                  <a:lnTo>
                    <a:pt x="1818" y="1599"/>
                  </a:lnTo>
                  <a:lnTo>
                    <a:pt x="1818" y="1599"/>
                  </a:lnTo>
                  <a:lnTo>
                    <a:pt x="1818" y="1596"/>
                  </a:lnTo>
                  <a:lnTo>
                    <a:pt x="1818" y="1596"/>
                  </a:lnTo>
                  <a:lnTo>
                    <a:pt x="1818" y="1596"/>
                  </a:lnTo>
                  <a:lnTo>
                    <a:pt x="1815" y="1599"/>
                  </a:lnTo>
                  <a:lnTo>
                    <a:pt x="1815" y="1596"/>
                  </a:lnTo>
                  <a:lnTo>
                    <a:pt x="1815" y="1596"/>
                  </a:lnTo>
                  <a:lnTo>
                    <a:pt x="1813" y="1599"/>
                  </a:lnTo>
                  <a:lnTo>
                    <a:pt x="1810" y="1599"/>
                  </a:lnTo>
                  <a:lnTo>
                    <a:pt x="1810" y="1599"/>
                  </a:lnTo>
                  <a:lnTo>
                    <a:pt x="1810" y="1599"/>
                  </a:lnTo>
                  <a:lnTo>
                    <a:pt x="1810" y="1599"/>
                  </a:lnTo>
                  <a:lnTo>
                    <a:pt x="1810" y="1596"/>
                  </a:lnTo>
                  <a:lnTo>
                    <a:pt x="1810" y="1596"/>
                  </a:lnTo>
                  <a:lnTo>
                    <a:pt x="1810" y="1596"/>
                  </a:lnTo>
                  <a:lnTo>
                    <a:pt x="1808" y="1596"/>
                  </a:lnTo>
                  <a:lnTo>
                    <a:pt x="1808" y="1596"/>
                  </a:lnTo>
                  <a:lnTo>
                    <a:pt x="1808" y="1596"/>
                  </a:lnTo>
                  <a:lnTo>
                    <a:pt x="1808" y="1599"/>
                  </a:lnTo>
                  <a:lnTo>
                    <a:pt x="1808" y="1599"/>
                  </a:lnTo>
                  <a:lnTo>
                    <a:pt x="1806" y="1601"/>
                  </a:lnTo>
                  <a:lnTo>
                    <a:pt x="1803" y="1601"/>
                  </a:lnTo>
                  <a:lnTo>
                    <a:pt x="1803" y="1603"/>
                  </a:lnTo>
                  <a:lnTo>
                    <a:pt x="1803" y="1603"/>
                  </a:lnTo>
                  <a:lnTo>
                    <a:pt x="1803" y="1606"/>
                  </a:lnTo>
                  <a:lnTo>
                    <a:pt x="1801" y="1606"/>
                  </a:lnTo>
                  <a:lnTo>
                    <a:pt x="1801" y="1606"/>
                  </a:lnTo>
                  <a:lnTo>
                    <a:pt x="1799" y="1608"/>
                  </a:lnTo>
                  <a:lnTo>
                    <a:pt x="1799" y="1608"/>
                  </a:lnTo>
                  <a:lnTo>
                    <a:pt x="1799" y="1608"/>
                  </a:lnTo>
                  <a:lnTo>
                    <a:pt x="1799" y="1611"/>
                  </a:lnTo>
                  <a:lnTo>
                    <a:pt x="1796" y="1611"/>
                  </a:lnTo>
                  <a:lnTo>
                    <a:pt x="1796" y="1611"/>
                  </a:lnTo>
                  <a:lnTo>
                    <a:pt x="1796" y="1611"/>
                  </a:lnTo>
                  <a:lnTo>
                    <a:pt x="1794" y="1615"/>
                  </a:lnTo>
                  <a:lnTo>
                    <a:pt x="1794" y="1615"/>
                  </a:lnTo>
                  <a:lnTo>
                    <a:pt x="1794" y="1615"/>
                  </a:lnTo>
                  <a:lnTo>
                    <a:pt x="1794" y="1615"/>
                  </a:lnTo>
                  <a:lnTo>
                    <a:pt x="1794" y="1618"/>
                  </a:lnTo>
                  <a:lnTo>
                    <a:pt x="1794" y="1618"/>
                  </a:lnTo>
                  <a:lnTo>
                    <a:pt x="1794" y="1618"/>
                  </a:lnTo>
                  <a:lnTo>
                    <a:pt x="1794" y="1620"/>
                  </a:lnTo>
                  <a:lnTo>
                    <a:pt x="1794" y="1622"/>
                  </a:lnTo>
                  <a:lnTo>
                    <a:pt x="1794" y="1622"/>
                  </a:lnTo>
                  <a:lnTo>
                    <a:pt x="1794" y="1625"/>
                  </a:lnTo>
                  <a:lnTo>
                    <a:pt x="1794" y="1625"/>
                  </a:lnTo>
                  <a:lnTo>
                    <a:pt x="1794" y="1627"/>
                  </a:lnTo>
                  <a:lnTo>
                    <a:pt x="1796" y="1627"/>
                  </a:lnTo>
                  <a:lnTo>
                    <a:pt x="1796" y="1629"/>
                  </a:lnTo>
                  <a:lnTo>
                    <a:pt x="1796" y="1634"/>
                  </a:lnTo>
                  <a:lnTo>
                    <a:pt x="1796" y="1634"/>
                  </a:lnTo>
                  <a:lnTo>
                    <a:pt x="1796" y="1637"/>
                  </a:lnTo>
                  <a:lnTo>
                    <a:pt x="1799" y="1637"/>
                  </a:lnTo>
                  <a:lnTo>
                    <a:pt x="1799" y="1637"/>
                  </a:lnTo>
                  <a:lnTo>
                    <a:pt x="1799" y="1639"/>
                  </a:lnTo>
                  <a:lnTo>
                    <a:pt x="1799" y="1639"/>
                  </a:lnTo>
                  <a:lnTo>
                    <a:pt x="1799" y="1641"/>
                  </a:lnTo>
                  <a:lnTo>
                    <a:pt x="1799" y="1641"/>
                  </a:lnTo>
                  <a:lnTo>
                    <a:pt x="1801" y="1644"/>
                  </a:lnTo>
                  <a:lnTo>
                    <a:pt x="1801" y="1644"/>
                  </a:lnTo>
                  <a:lnTo>
                    <a:pt x="1801" y="1644"/>
                  </a:lnTo>
                  <a:lnTo>
                    <a:pt x="1801" y="1646"/>
                  </a:lnTo>
                  <a:lnTo>
                    <a:pt x="1801" y="1646"/>
                  </a:lnTo>
                  <a:lnTo>
                    <a:pt x="1803" y="1646"/>
                  </a:lnTo>
                  <a:lnTo>
                    <a:pt x="1803" y="1646"/>
                  </a:lnTo>
                  <a:lnTo>
                    <a:pt x="1803" y="1648"/>
                  </a:lnTo>
                  <a:lnTo>
                    <a:pt x="1803" y="1648"/>
                  </a:lnTo>
                  <a:lnTo>
                    <a:pt x="1803" y="1648"/>
                  </a:lnTo>
                  <a:lnTo>
                    <a:pt x="1803" y="1648"/>
                  </a:lnTo>
                  <a:lnTo>
                    <a:pt x="1803" y="1648"/>
                  </a:lnTo>
                  <a:lnTo>
                    <a:pt x="1803" y="1651"/>
                  </a:lnTo>
                  <a:lnTo>
                    <a:pt x="1803" y="1651"/>
                  </a:lnTo>
                  <a:lnTo>
                    <a:pt x="1803" y="1651"/>
                  </a:lnTo>
                  <a:lnTo>
                    <a:pt x="1806" y="1653"/>
                  </a:lnTo>
                  <a:lnTo>
                    <a:pt x="1806" y="1653"/>
                  </a:lnTo>
                  <a:lnTo>
                    <a:pt x="1810" y="1651"/>
                  </a:lnTo>
                  <a:lnTo>
                    <a:pt x="1810" y="1651"/>
                  </a:lnTo>
                  <a:lnTo>
                    <a:pt x="1810" y="1651"/>
                  </a:lnTo>
                  <a:lnTo>
                    <a:pt x="1810" y="1653"/>
                  </a:lnTo>
                  <a:lnTo>
                    <a:pt x="1813" y="1653"/>
                  </a:lnTo>
                  <a:lnTo>
                    <a:pt x="1813" y="1653"/>
                  </a:lnTo>
                  <a:lnTo>
                    <a:pt x="1813" y="1656"/>
                  </a:lnTo>
                  <a:lnTo>
                    <a:pt x="1815" y="1656"/>
                  </a:lnTo>
                  <a:lnTo>
                    <a:pt x="1818" y="1656"/>
                  </a:lnTo>
                  <a:lnTo>
                    <a:pt x="1818" y="1656"/>
                  </a:lnTo>
                  <a:lnTo>
                    <a:pt x="1818" y="1656"/>
                  </a:lnTo>
                  <a:lnTo>
                    <a:pt x="1818" y="1656"/>
                  </a:lnTo>
                  <a:lnTo>
                    <a:pt x="1818" y="1656"/>
                  </a:lnTo>
                  <a:lnTo>
                    <a:pt x="1815" y="1656"/>
                  </a:lnTo>
                  <a:lnTo>
                    <a:pt x="1815" y="1658"/>
                  </a:lnTo>
                  <a:lnTo>
                    <a:pt x="1818" y="1658"/>
                  </a:lnTo>
                  <a:lnTo>
                    <a:pt x="1820" y="1658"/>
                  </a:lnTo>
                  <a:lnTo>
                    <a:pt x="1820" y="1658"/>
                  </a:lnTo>
                  <a:lnTo>
                    <a:pt x="1818" y="1658"/>
                  </a:lnTo>
                  <a:lnTo>
                    <a:pt x="1818" y="1658"/>
                  </a:lnTo>
                  <a:lnTo>
                    <a:pt x="1818" y="1658"/>
                  </a:lnTo>
                  <a:lnTo>
                    <a:pt x="1815" y="1658"/>
                  </a:lnTo>
                  <a:lnTo>
                    <a:pt x="1815" y="1658"/>
                  </a:lnTo>
                  <a:lnTo>
                    <a:pt x="1815" y="1660"/>
                  </a:lnTo>
                  <a:lnTo>
                    <a:pt x="1818" y="1663"/>
                  </a:lnTo>
                  <a:lnTo>
                    <a:pt x="1820" y="1663"/>
                  </a:lnTo>
                  <a:lnTo>
                    <a:pt x="1820" y="1663"/>
                  </a:lnTo>
                  <a:lnTo>
                    <a:pt x="1818" y="1665"/>
                  </a:lnTo>
                  <a:lnTo>
                    <a:pt x="1815" y="1665"/>
                  </a:lnTo>
                  <a:lnTo>
                    <a:pt x="1818" y="1665"/>
                  </a:lnTo>
                  <a:lnTo>
                    <a:pt x="1815" y="1667"/>
                  </a:lnTo>
                  <a:lnTo>
                    <a:pt x="1815" y="1667"/>
                  </a:lnTo>
                  <a:lnTo>
                    <a:pt x="1815" y="1665"/>
                  </a:lnTo>
                  <a:lnTo>
                    <a:pt x="1815" y="1665"/>
                  </a:lnTo>
                  <a:lnTo>
                    <a:pt x="1813" y="1665"/>
                  </a:lnTo>
                  <a:lnTo>
                    <a:pt x="1813" y="1665"/>
                  </a:lnTo>
                  <a:lnTo>
                    <a:pt x="1815" y="1670"/>
                  </a:lnTo>
                  <a:lnTo>
                    <a:pt x="1815" y="1670"/>
                  </a:lnTo>
                  <a:lnTo>
                    <a:pt x="1815" y="1672"/>
                  </a:lnTo>
                  <a:lnTo>
                    <a:pt x="1818" y="1674"/>
                  </a:lnTo>
                  <a:lnTo>
                    <a:pt x="1818" y="1674"/>
                  </a:lnTo>
                  <a:lnTo>
                    <a:pt x="1818" y="1677"/>
                  </a:lnTo>
                  <a:lnTo>
                    <a:pt x="1818" y="1677"/>
                  </a:lnTo>
                  <a:lnTo>
                    <a:pt x="1818" y="1677"/>
                  </a:lnTo>
                  <a:lnTo>
                    <a:pt x="1818" y="1677"/>
                  </a:lnTo>
                  <a:lnTo>
                    <a:pt x="1818" y="1677"/>
                  </a:lnTo>
                  <a:lnTo>
                    <a:pt x="1818" y="1679"/>
                  </a:lnTo>
                  <a:lnTo>
                    <a:pt x="1818" y="1679"/>
                  </a:lnTo>
                  <a:lnTo>
                    <a:pt x="1820" y="1679"/>
                  </a:lnTo>
                  <a:lnTo>
                    <a:pt x="1820" y="1682"/>
                  </a:lnTo>
                  <a:lnTo>
                    <a:pt x="1818" y="1682"/>
                  </a:lnTo>
                  <a:lnTo>
                    <a:pt x="1818" y="1682"/>
                  </a:lnTo>
                  <a:lnTo>
                    <a:pt x="1818" y="1684"/>
                  </a:lnTo>
                  <a:lnTo>
                    <a:pt x="1818" y="1684"/>
                  </a:lnTo>
                  <a:lnTo>
                    <a:pt x="1818" y="1684"/>
                  </a:lnTo>
                  <a:lnTo>
                    <a:pt x="1818" y="1686"/>
                  </a:lnTo>
                  <a:lnTo>
                    <a:pt x="1818" y="1689"/>
                  </a:lnTo>
                  <a:lnTo>
                    <a:pt x="1818" y="1689"/>
                  </a:lnTo>
                  <a:lnTo>
                    <a:pt x="1818" y="1689"/>
                  </a:lnTo>
                  <a:lnTo>
                    <a:pt x="1818" y="1689"/>
                  </a:lnTo>
                  <a:lnTo>
                    <a:pt x="1815" y="1689"/>
                  </a:lnTo>
                  <a:lnTo>
                    <a:pt x="1815" y="1689"/>
                  </a:lnTo>
                  <a:lnTo>
                    <a:pt x="1815" y="1691"/>
                  </a:lnTo>
                  <a:lnTo>
                    <a:pt x="1815" y="1691"/>
                  </a:lnTo>
                  <a:lnTo>
                    <a:pt x="1813" y="1696"/>
                  </a:lnTo>
                  <a:lnTo>
                    <a:pt x="1813" y="1696"/>
                  </a:lnTo>
                  <a:lnTo>
                    <a:pt x="1813" y="1696"/>
                  </a:lnTo>
                  <a:lnTo>
                    <a:pt x="1810" y="1698"/>
                  </a:lnTo>
                  <a:lnTo>
                    <a:pt x="1810" y="1700"/>
                  </a:lnTo>
                  <a:lnTo>
                    <a:pt x="1810" y="1703"/>
                  </a:lnTo>
                  <a:lnTo>
                    <a:pt x="1810" y="1703"/>
                  </a:lnTo>
                  <a:lnTo>
                    <a:pt x="1810" y="1703"/>
                  </a:lnTo>
                  <a:lnTo>
                    <a:pt x="1810" y="1708"/>
                  </a:lnTo>
                  <a:lnTo>
                    <a:pt x="1813" y="1705"/>
                  </a:lnTo>
                  <a:lnTo>
                    <a:pt x="1813" y="1705"/>
                  </a:lnTo>
                  <a:lnTo>
                    <a:pt x="1815" y="1703"/>
                  </a:lnTo>
                  <a:lnTo>
                    <a:pt x="1818" y="1703"/>
                  </a:lnTo>
                  <a:lnTo>
                    <a:pt x="1818" y="1703"/>
                  </a:lnTo>
                  <a:lnTo>
                    <a:pt x="1815" y="1705"/>
                  </a:lnTo>
                  <a:lnTo>
                    <a:pt x="1818" y="1705"/>
                  </a:lnTo>
                  <a:lnTo>
                    <a:pt x="1820" y="1705"/>
                  </a:lnTo>
                  <a:lnTo>
                    <a:pt x="1820" y="1705"/>
                  </a:lnTo>
                  <a:lnTo>
                    <a:pt x="1818" y="1708"/>
                  </a:lnTo>
                  <a:lnTo>
                    <a:pt x="1818" y="1708"/>
                  </a:lnTo>
                  <a:lnTo>
                    <a:pt x="1827" y="1700"/>
                  </a:lnTo>
                  <a:lnTo>
                    <a:pt x="1829" y="1700"/>
                  </a:lnTo>
                  <a:lnTo>
                    <a:pt x="1829" y="1700"/>
                  </a:lnTo>
                  <a:lnTo>
                    <a:pt x="1822" y="1705"/>
                  </a:lnTo>
                  <a:lnTo>
                    <a:pt x="1822" y="1705"/>
                  </a:lnTo>
                  <a:lnTo>
                    <a:pt x="1825" y="1705"/>
                  </a:lnTo>
                  <a:lnTo>
                    <a:pt x="1827" y="1705"/>
                  </a:lnTo>
                  <a:lnTo>
                    <a:pt x="1827" y="1705"/>
                  </a:lnTo>
                  <a:lnTo>
                    <a:pt x="1827" y="1705"/>
                  </a:lnTo>
                  <a:lnTo>
                    <a:pt x="1825" y="1708"/>
                  </a:lnTo>
                  <a:lnTo>
                    <a:pt x="1825" y="1710"/>
                  </a:lnTo>
                  <a:lnTo>
                    <a:pt x="1825" y="1710"/>
                  </a:lnTo>
                  <a:lnTo>
                    <a:pt x="1822" y="1710"/>
                  </a:lnTo>
                  <a:lnTo>
                    <a:pt x="1822" y="1712"/>
                  </a:lnTo>
                  <a:lnTo>
                    <a:pt x="1822" y="1712"/>
                  </a:lnTo>
                  <a:lnTo>
                    <a:pt x="1822" y="1712"/>
                  </a:lnTo>
                  <a:lnTo>
                    <a:pt x="1822" y="1715"/>
                  </a:lnTo>
                  <a:lnTo>
                    <a:pt x="1825" y="1717"/>
                  </a:lnTo>
                  <a:lnTo>
                    <a:pt x="1827" y="1717"/>
                  </a:lnTo>
                  <a:lnTo>
                    <a:pt x="1827" y="1717"/>
                  </a:lnTo>
                  <a:lnTo>
                    <a:pt x="1829" y="1717"/>
                  </a:lnTo>
                  <a:lnTo>
                    <a:pt x="1829" y="1717"/>
                  </a:lnTo>
                  <a:lnTo>
                    <a:pt x="1829" y="1717"/>
                  </a:lnTo>
                  <a:lnTo>
                    <a:pt x="1829" y="1717"/>
                  </a:lnTo>
                  <a:lnTo>
                    <a:pt x="1832" y="1715"/>
                  </a:lnTo>
                  <a:lnTo>
                    <a:pt x="1834" y="1715"/>
                  </a:lnTo>
                  <a:lnTo>
                    <a:pt x="1834" y="1717"/>
                  </a:lnTo>
                  <a:lnTo>
                    <a:pt x="1834" y="1717"/>
                  </a:lnTo>
                  <a:lnTo>
                    <a:pt x="1832" y="1717"/>
                  </a:lnTo>
                  <a:lnTo>
                    <a:pt x="1832" y="1717"/>
                  </a:lnTo>
                  <a:lnTo>
                    <a:pt x="1832" y="1717"/>
                  </a:lnTo>
                  <a:lnTo>
                    <a:pt x="1832" y="1719"/>
                  </a:lnTo>
                  <a:lnTo>
                    <a:pt x="1832" y="1719"/>
                  </a:lnTo>
                  <a:lnTo>
                    <a:pt x="1829" y="1719"/>
                  </a:lnTo>
                  <a:lnTo>
                    <a:pt x="1827" y="1724"/>
                  </a:lnTo>
                  <a:lnTo>
                    <a:pt x="1827" y="1724"/>
                  </a:lnTo>
                  <a:lnTo>
                    <a:pt x="1827" y="1726"/>
                  </a:lnTo>
                  <a:lnTo>
                    <a:pt x="1827" y="1726"/>
                  </a:lnTo>
                  <a:lnTo>
                    <a:pt x="1827" y="1729"/>
                  </a:lnTo>
                  <a:lnTo>
                    <a:pt x="1829" y="1729"/>
                  </a:lnTo>
                  <a:lnTo>
                    <a:pt x="1829" y="1729"/>
                  </a:lnTo>
                  <a:lnTo>
                    <a:pt x="1832" y="1729"/>
                  </a:lnTo>
                  <a:lnTo>
                    <a:pt x="1832" y="1729"/>
                  </a:lnTo>
                  <a:lnTo>
                    <a:pt x="1832" y="1729"/>
                  </a:lnTo>
                  <a:lnTo>
                    <a:pt x="1832" y="1729"/>
                  </a:lnTo>
                  <a:lnTo>
                    <a:pt x="1832" y="1729"/>
                  </a:lnTo>
                  <a:lnTo>
                    <a:pt x="1832" y="1731"/>
                  </a:lnTo>
                  <a:lnTo>
                    <a:pt x="1832" y="1731"/>
                  </a:lnTo>
                  <a:lnTo>
                    <a:pt x="1832" y="1734"/>
                  </a:lnTo>
                  <a:lnTo>
                    <a:pt x="1832" y="1734"/>
                  </a:lnTo>
                  <a:lnTo>
                    <a:pt x="1832" y="1734"/>
                  </a:lnTo>
                  <a:lnTo>
                    <a:pt x="1834" y="1734"/>
                  </a:lnTo>
                  <a:lnTo>
                    <a:pt x="1834" y="1734"/>
                  </a:lnTo>
                  <a:lnTo>
                    <a:pt x="1834" y="1734"/>
                  </a:lnTo>
                  <a:lnTo>
                    <a:pt x="1834" y="1734"/>
                  </a:lnTo>
                  <a:lnTo>
                    <a:pt x="1834" y="1734"/>
                  </a:lnTo>
                  <a:lnTo>
                    <a:pt x="1834" y="1734"/>
                  </a:lnTo>
                  <a:lnTo>
                    <a:pt x="1834" y="1734"/>
                  </a:lnTo>
                  <a:lnTo>
                    <a:pt x="1836" y="1736"/>
                  </a:lnTo>
                  <a:lnTo>
                    <a:pt x="1836" y="1736"/>
                  </a:lnTo>
                  <a:lnTo>
                    <a:pt x="1836" y="1736"/>
                  </a:lnTo>
                  <a:lnTo>
                    <a:pt x="1834" y="1736"/>
                  </a:lnTo>
                  <a:lnTo>
                    <a:pt x="1834" y="1738"/>
                  </a:lnTo>
                  <a:lnTo>
                    <a:pt x="1836" y="1738"/>
                  </a:lnTo>
                  <a:lnTo>
                    <a:pt x="1836" y="1738"/>
                  </a:lnTo>
                  <a:lnTo>
                    <a:pt x="1836" y="1741"/>
                  </a:lnTo>
                  <a:lnTo>
                    <a:pt x="1839" y="1741"/>
                  </a:lnTo>
                  <a:lnTo>
                    <a:pt x="1839" y="1741"/>
                  </a:lnTo>
                  <a:lnTo>
                    <a:pt x="1839" y="1741"/>
                  </a:lnTo>
                  <a:lnTo>
                    <a:pt x="1839" y="1741"/>
                  </a:lnTo>
                  <a:lnTo>
                    <a:pt x="1839" y="1741"/>
                  </a:lnTo>
                  <a:lnTo>
                    <a:pt x="1836" y="1741"/>
                  </a:lnTo>
                  <a:lnTo>
                    <a:pt x="1836" y="1741"/>
                  </a:lnTo>
                  <a:lnTo>
                    <a:pt x="1836" y="1741"/>
                  </a:lnTo>
                  <a:lnTo>
                    <a:pt x="1836" y="1741"/>
                  </a:lnTo>
                  <a:lnTo>
                    <a:pt x="1836" y="1741"/>
                  </a:lnTo>
                  <a:lnTo>
                    <a:pt x="1834" y="1743"/>
                  </a:lnTo>
                  <a:lnTo>
                    <a:pt x="1834" y="1743"/>
                  </a:lnTo>
                  <a:lnTo>
                    <a:pt x="1834" y="1743"/>
                  </a:lnTo>
                  <a:lnTo>
                    <a:pt x="1836" y="1743"/>
                  </a:lnTo>
                  <a:lnTo>
                    <a:pt x="1834" y="1745"/>
                  </a:lnTo>
                  <a:lnTo>
                    <a:pt x="1834" y="1745"/>
                  </a:lnTo>
                  <a:lnTo>
                    <a:pt x="1834" y="1745"/>
                  </a:lnTo>
                  <a:lnTo>
                    <a:pt x="1836" y="1745"/>
                  </a:lnTo>
                  <a:lnTo>
                    <a:pt x="1836" y="1745"/>
                  </a:lnTo>
                  <a:lnTo>
                    <a:pt x="1836" y="1745"/>
                  </a:lnTo>
                  <a:lnTo>
                    <a:pt x="1836" y="1745"/>
                  </a:lnTo>
                  <a:lnTo>
                    <a:pt x="1839" y="1745"/>
                  </a:lnTo>
                  <a:lnTo>
                    <a:pt x="1841" y="1745"/>
                  </a:lnTo>
                  <a:lnTo>
                    <a:pt x="1841" y="1745"/>
                  </a:lnTo>
                  <a:lnTo>
                    <a:pt x="1841" y="1745"/>
                  </a:lnTo>
                  <a:lnTo>
                    <a:pt x="1841" y="1745"/>
                  </a:lnTo>
                  <a:lnTo>
                    <a:pt x="1841" y="1743"/>
                  </a:lnTo>
                  <a:lnTo>
                    <a:pt x="1841" y="1743"/>
                  </a:lnTo>
                  <a:lnTo>
                    <a:pt x="1841" y="1745"/>
                  </a:lnTo>
                  <a:lnTo>
                    <a:pt x="1844" y="1745"/>
                  </a:lnTo>
                  <a:lnTo>
                    <a:pt x="1844" y="1745"/>
                  </a:lnTo>
                  <a:lnTo>
                    <a:pt x="1844" y="1745"/>
                  </a:lnTo>
                  <a:lnTo>
                    <a:pt x="1844" y="1745"/>
                  </a:lnTo>
                  <a:lnTo>
                    <a:pt x="1846" y="1743"/>
                  </a:lnTo>
                  <a:lnTo>
                    <a:pt x="1848" y="1743"/>
                  </a:lnTo>
                  <a:lnTo>
                    <a:pt x="1846" y="1745"/>
                  </a:lnTo>
                  <a:lnTo>
                    <a:pt x="1846" y="1745"/>
                  </a:lnTo>
                  <a:lnTo>
                    <a:pt x="1846" y="1745"/>
                  </a:lnTo>
                  <a:lnTo>
                    <a:pt x="1844" y="1745"/>
                  </a:lnTo>
                  <a:lnTo>
                    <a:pt x="1844" y="1748"/>
                  </a:lnTo>
                  <a:lnTo>
                    <a:pt x="1846" y="1748"/>
                  </a:lnTo>
                  <a:lnTo>
                    <a:pt x="1846" y="1748"/>
                  </a:lnTo>
                  <a:lnTo>
                    <a:pt x="1846" y="1748"/>
                  </a:lnTo>
                  <a:lnTo>
                    <a:pt x="1846" y="1748"/>
                  </a:lnTo>
                  <a:lnTo>
                    <a:pt x="1846" y="1748"/>
                  </a:lnTo>
                  <a:lnTo>
                    <a:pt x="1844" y="1748"/>
                  </a:lnTo>
                  <a:lnTo>
                    <a:pt x="1844" y="1748"/>
                  </a:lnTo>
                  <a:lnTo>
                    <a:pt x="1844" y="1748"/>
                  </a:lnTo>
                  <a:lnTo>
                    <a:pt x="1846" y="1750"/>
                  </a:lnTo>
                  <a:lnTo>
                    <a:pt x="1844" y="1750"/>
                  </a:lnTo>
                  <a:lnTo>
                    <a:pt x="1844" y="1750"/>
                  </a:lnTo>
                  <a:lnTo>
                    <a:pt x="1844" y="1750"/>
                  </a:lnTo>
                  <a:lnTo>
                    <a:pt x="1844" y="1752"/>
                  </a:lnTo>
                  <a:lnTo>
                    <a:pt x="1844" y="1752"/>
                  </a:lnTo>
                  <a:lnTo>
                    <a:pt x="1844" y="1752"/>
                  </a:lnTo>
                  <a:lnTo>
                    <a:pt x="1844" y="1752"/>
                  </a:lnTo>
                  <a:lnTo>
                    <a:pt x="1844" y="1752"/>
                  </a:lnTo>
                  <a:lnTo>
                    <a:pt x="1844" y="1752"/>
                  </a:lnTo>
                  <a:lnTo>
                    <a:pt x="1841" y="1752"/>
                  </a:lnTo>
                  <a:lnTo>
                    <a:pt x="1841" y="1752"/>
                  </a:lnTo>
                  <a:lnTo>
                    <a:pt x="1841" y="1752"/>
                  </a:lnTo>
                  <a:lnTo>
                    <a:pt x="1844" y="1752"/>
                  </a:lnTo>
                  <a:lnTo>
                    <a:pt x="1844" y="1755"/>
                  </a:lnTo>
                  <a:lnTo>
                    <a:pt x="1844" y="1755"/>
                  </a:lnTo>
                  <a:lnTo>
                    <a:pt x="1846" y="1755"/>
                  </a:lnTo>
                  <a:lnTo>
                    <a:pt x="1848" y="1760"/>
                  </a:lnTo>
                  <a:lnTo>
                    <a:pt x="1848" y="1760"/>
                  </a:lnTo>
                  <a:lnTo>
                    <a:pt x="1846" y="1760"/>
                  </a:lnTo>
                  <a:lnTo>
                    <a:pt x="1844" y="1760"/>
                  </a:lnTo>
                  <a:lnTo>
                    <a:pt x="1844" y="1760"/>
                  </a:lnTo>
                  <a:lnTo>
                    <a:pt x="1844" y="1762"/>
                  </a:lnTo>
                  <a:lnTo>
                    <a:pt x="1844" y="1762"/>
                  </a:lnTo>
                  <a:lnTo>
                    <a:pt x="1844" y="1762"/>
                  </a:lnTo>
                  <a:lnTo>
                    <a:pt x="1844" y="1764"/>
                  </a:lnTo>
                  <a:lnTo>
                    <a:pt x="1841" y="1764"/>
                  </a:lnTo>
                  <a:lnTo>
                    <a:pt x="1841" y="1764"/>
                  </a:lnTo>
                  <a:lnTo>
                    <a:pt x="1841" y="1762"/>
                  </a:lnTo>
                  <a:lnTo>
                    <a:pt x="1841" y="1762"/>
                  </a:lnTo>
                  <a:lnTo>
                    <a:pt x="1841" y="1764"/>
                  </a:lnTo>
                  <a:lnTo>
                    <a:pt x="1841" y="1764"/>
                  </a:lnTo>
                  <a:lnTo>
                    <a:pt x="1841" y="1764"/>
                  </a:lnTo>
                  <a:lnTo>
                    <a:pt x="1841" y="1764"/>
                  </a:lnTo>
                  <a:lnTo>
                    <a:pt x="1844" y="1764"/>
                  </a:lnTo>
                  <a:lnTo>
                    <a:pt x="1841" y="1767"/>
                  </a:lnTo>
                  <a:lnTo>
                    <a:pt x="1841" y="1767"/>
                  </a:lnTo>
                  <a:lnTo>
                    <a:pt x="1841" y="1767"/>
                  </a:lnTo>
                  <a:lnTo>
                    <a:pt x="1841" y="1767"/>
                  </a:lnTo>
                  <a:lnTo>
                    <a:pt x="1841" y="1767"/>
                  </a:lnTo>
                  <a:lnTo>
                    <a:pt x="1841" y="1767"/>
                  </a:lnTo>
                  <a:lnTo>
                    <a:pt x="1841" y="1767"/>
                  </a:lnTo>
                  <a:lnTo>
                    <a:pt x="1841" y="1767"/>
                  </a:lnTo>
                  <a:lnTo>
                    <a:pt x="1844" y="1767"/>
                  </a:lnTo>
                  <a:lnTo>
                    <a:pt x="1844" y="1767"/>
                  </a:lnTo>
                  <a:lnTo>
                    <a:pt x="1844" y="1769"/>
                  </a:lnTo>
                  <a:lnTo>
                    <a:pt x="1844" y="1769"/>
                  </a:lnTo>
                  <a:lnTo>
                    <a:pt x="1846" y="1769"/>
                  </a:lnTo>
                  <a:lnTo>
                    <a:pt x="1846" y="1771"/>
                  </a:lnTo>
                  <a:lnTo>
                    <a:pt x="1846" y="1771"/>
                  </a:lnTo>
                  <a:lnTo>
                    <a:pt x="1848" y="1771"/>
                  </a:lnTo>
                  <a:lnTo>
                    <a:pt x="1848" y="1771"/>
                  </a:lnTo>
                  <a:lnTo>
                    <a:pt x="1851" y="1774"/>
                  </a:lnTo>
                  <a:lnTo>
                    <a:pt x="1846" y="1774"/>
                  </a:lnTo>
                  <a:lnTo>
                    <a:pt x="1846" y="1774"/>
                  </a:lnTo>
                  <a:lnTo>
                    <a:pt x="1844" y="1771"/>
                  </a:lnTo>
                  <a:lnTo>
                    <a:pt x="1844" y="1771"/>
                  </a:lnTo>
                  <a:lnTo>
                    <a:pt x="1844" y="1769"/>
                  </a:lnTo>
                  <a:lnTo>
                    <a:pt x="1841" y="1767"/>
                  </a:lnTo>
                  <a:lnTo>
                    <a:pt x="1841" y="1767"/>
                  </a:lnTo>
                  <a:lnTo>
                    <a:pt x="1841" y="1767"/>
                  </a:lnTo>
                  <a:lnTo>
                    <a:pt x="1841" y="1767"/>
                  </a:lnTo>
                  <a:lnTo>
                    <a:pt x="1841" y="1767"/>
                  </a:lnTo>
                  <a:lnTo>
                    <a:pt x="1839" y="1769"/>
                  </a:lnTo>
                  <a:lnTo>
                    <a:pt x="1839" y="1769"/>
                  </a:lnTo>
                  <a:lnTo>
                    <a:pt x="1839" y="1769"/>
                  </a:lnTo>
                  <a:lnTo>
                    <a:pt x="1836" y="1769"/>
                  </a:lnTo>
                  <a:lnTo>
                    <a:pt x="1836" y="1767"/>
                  </a:lnTo>
                  <a:lnTo>
                    <a:pt x="1836" y="1767"/>
                  </a:lnTo>
                  <a:lnTo>
                    <a:pt x="1834" y="1767"/>
                  </a:lnTo>
                  <a:lnTo>
                    <a:pt x="1834" y="1767"/>
                  </a:lnTo>
                  <a:lnTo>
                    <a:pt x="1836" y="1767"/>
                  </a:lnTo>
                  <a:lnTo>
                    <a:pt x="1834" y="1769"/>
                  </a:lnTo>
                  <a:lnTo>
                    <a:pt x="1834" y="1769"/>
                  </a:lnTo>
                  <a:lnTo>
                    <a:pt x="1834" y="1769"/>
                  </a:lnTo>
                  <a:lnTo>
                    <a:pt x="1834" y="1769"/>
                  </a:lnTo>
                  <a:lnTo>
                    <a:pt x="1834" y="1769"/>
                  </a:lnTo>
                  <a:lnTo>
                    <a:pt x="1834" y="1769"/>
                  </a:lnTo>
                  <a:lnTo>
                    <a:pt x="1836" y="1771"/>
                  </a:lnTo>
                  <a:lnTo>
                    <a:pt x="1836" y="1771"/>
                  </a:lnTo>
                  <a:lnTo>
                    <a:pt x="1836" y="1771"/>
                  </a:lnTo>
                  <a:lnTo>
                    <a:pt x="1836" y="1771"/>
                  </a:lnTo>
                  <a:lnTo>
                    <a:pt x="1836" y="1774"/>
                  </a:lnTo>
                  <a:lnTo>
                    <a:pt x="1836" y="1776"/>
                  </a:lnTo>
                  <a:lnTo>
                    <a:pt x="1836" y="1776"/>
                  </a:lnTo>
                  <a:lnTo>
                    <a:pt x="1836" y="1776"/>
                  </a:lnTo>
                  <a:lnTo>
                    <a:pt x="1834" y="1779"/>
                  </a:lnTo>
                  <a:lnTo>
                    <a:pt x="1834" y="1781"/>
                  </a:lnTo>
                  <a:lnTo>
                    <a:pt x="1834" y="1783"/>
                  </a:lnTo>
                  <a:lnTo>
                    <a:pt x="1836" y="1783"/>
                  </a:lnTo>
                  <a:lnTo>
                    <a:pt x="1834" y="1783"/>
                  </a:lnTo>
                  <a:lnTo>
                    <a:pt x="1834" y="1783"/>
                  </a:lnTo>
                  <a:lnTo>
                    <a:pt x="1834" y="1783"/>
                  </a:lnTo>
                  <a:lnTo>
                    <a:pt x="1834" y="1786"/>
                  </a:lnTo>
                  <a:lnTo>
                    <a:pt x="1834" y="1786"/>
                  </a:lnTo>
                  <a:lnTo>
                    <a:pt x="1834" y="1786"/>
                  </a:lnTo>
                  <a:lnTo>
                    <a:pt x="1834" y="1786"/>
                  </a:lnTo>
                  <a:lnTo>
                    <a:pt x="1836" y="1786"/>
                  </a:lnTo>
                  <a:lnTo>
                    <a:pt x="1836" y="1783"/>
                  </a:lnTo>
                  <a:lnTo>
                    <a:pt x="1836" y="1783"/>
                  </a:lnTo>
                  <a:lnTo>
                    <a:pt x="1839" y="1783"/>
                  </a:lnTo>
                  <a:lnTo>
                    <a:pt x="1839" y="1783"/>
                  </a:lnTo>
                  <a:lnTo>
                    <a:pt x="1839" y="1783"/>
                  </a:lnTo>
                  <a:lnTo>
                    <a:pt x="1839" y="1786"/>
                  </a:lnTo>
                  <a:lnTo>
                    <a:pt x="1839" y="1786"/>
                  </a:lnTo>
                  <a:lnTo>
                    <a:pt x="1839" y="1786"/>
                  </a:lnTo>
                  <a:lnTo>
                    <a:pt x="1839" y="1786"/>
                  </a:lnTo>
                  <a:lnTo>
                    <a:pt x="1839" y="1786"/>
                  </a:lnTo>
                  <a:lnTo>
                    <a:pt x="1839" y="1783"/>
                  </a:lnTo>
                  <a:lnTo>
                    <a:pt x="1839" y="1783"/>
                  </a:lnTo>
                  <a:lnTo>
                    <a:pt x="1839" y="1783"/>
                  </a:lnTo>
                  <a:lnTo>
                    <a:pt x="1841" y="1783"/>
                  </a:lnTo>
                  <a:lnTo>
                    <a:pt x="1841" y="1783"/>
                  </a:lnTo>
                  <a:lnTo>
                    <a:pt x="1839" y="1786"/>
                  </a:lnTo>
                  <a:lnTo>
                    <a:pt x="1836" y="1788"/>
                  </a:lnTo>
                  <a:lnTo>
                    <a:pt x="1839" y="1788"/>
                  </a:lnTo>
                  <a:lnTo>
                    <a:pt x="1839" y="1788"/>
                  </a:lnTo>
                  <a:lnTo>
                    <a:pt x="1839" y="1790"/>
                  </a:lnTo>
                  <a:lnTo>
                    <a:pt x="1839" y="1790"/>
                  </a:lnTo>
                  <a:lnTo>
                    <a:pt x="1836" y="1790"/>
                  </a:lnTo>
                  <a:lnTo>
                    <a:pt x="1836" y="1790"/>
                  </a:lnTo>
                  <a:lnTo>
                    <a:pt x="1836" y="1790"/>
                  </a:lnTo>
                  <a:lnTo>
                    <a:pt x="1836" y="1790"/>
                  </a:lnTo>
                  <a:lnTo>
                    <a:pt x="1839" y="1790"/>
                  </a:lnTo>
                  <a:lnTo>
                    <a:pt x="1836" y="1793"/>
                  </a:lnTo>
                  <a:lnTo>
                    <a:pt x="1836" y="1793"/>
                  </a:lnTo>
                  <a:lnTo>
                    <a:pt x="1834" y="1793"/>
                  </a:lnTo>
                  <a:lnTo>
                    <a:pt x="1834" y="1795"/>
                  </a:lnTo>
                  <a:lnTo>
                    <a:pt x="1834" y="1795"/>
                  </a:lnTo>
                  <a:lnTo>
                    <a:pt x="1832" y="1797"/>
                  </a:lnTo>
                  <a:lnTo>
                    <a:pt x="1829" y="1797"/>
                  </a:lnTo>
                  <a:lnTo>
                    <a:pt x="1832" y="1797"/>
                  </a:lnTo>
                  <a:lnTo>
                    <a:pt x="1832" y="1800"/>
                  </a:lnTo>
                  <a:lnTo>
                    <a:pt x="1832" y="1800"/>
                  </a:lnTo>
                  <a:lnTo>
                    <a:pt x="1832" y="1802"/>
                  </a:lnTo>
                  <a:lnTo>
                    <a:pt x="1829" y="1800"/>
                  </a:lnTo>
                  <a:lnTo>
                    <a:pt x="1829" y="1802"/>
                  </a:lnTo>
                  <a:lnTo>
                    <a:pt x="1829" y="1802"/>
                  </a:lnTo>
                  <a:lnTo>
                    <a:pt x="1832" y="1802"/>
                  </a:lnTo>
                  <a:lnTo>
                    <a:pt x="1832" y="1805"/>
                  </a:lnTo>
                  <a:lnTo>
                    <a:pt x="1829" y="1805"/>
                  </a:lnTo>
                  <a:lnTo>
                    <a:pt x="1829" y="1805"/>
                  </a:lnTo>
                  <a:lnTo>
                    <a:pt x="1829" y="1805"/>
                  </a:lnTo>
                  <a:lnTo>
                    <a:pt x="1829" y="1805"/>
                  </a:lnTo>
                  <a:lnTo>
                    <a:pt x="1829" y="1807"/>
                  </a:lnTo>
                  <a:lnTo>
                    <a:pt x="1829" y="1807"/>
                  </a:lnTo>
                  <a:lnTo>
                    <a:pt x="1829" y="1807"/>
                  </a:lnTo>
                  <a:lnTo>
                    <a:pt x="1829" y="1807"/>
                  </a:lnTo>
                  <a:lnTo>
                    <a:pt x="1827" y="1807"/>
                  </a:lnTo>
                  <a:lnTo>
                    <a:pt x="1827" y="1807"/>
                  </a:lnTo>
                  <a:lnTo>
                    <a:pt x="1827" y="1807"/>
                  </a:lnTo>
                  <a:lnTo>
                    <a:pt x="1827" y="1807"/>
                  </a:lnTo>
                  <a:lnTo>
                    <a:pt x="1827" y="1807"/>
                  </a:lnTo>
                  <a:lnTo>
                    <a:pt x="1827" y="1807"/>
                  </a:lnTo>
                  <a:lnTo>
                    <a:pt x="1827" y="1809"/>
                  </a:lnTo>
                  <a:lnTo>
                    <a:pt x="1827" y="1809"/>
                  </a:lnTo>
                  <a:lnTo>
                    <a:pt x="1827" y="1809"/>
                  </a:lnTo>
                  <a:lnTo>
                    <a:pt x="1827" y="1809"/>
                  </a:lnTo>
                  <a:lnTo>
                    <a:pt x="1827" y="1809"/>
                  </a:lnTo>
                  <a:lnTo>
                    <a:pt x="1827" y="1812"/>
                  </a:lnTo>
                  <a:lnTo>
                    <a:pt x="1827" y="1812"/>
                  </a:lnTo>
                  <a:lnTo>
                    <a:pt x="1827" y="1812"/>
                  </a:lnTo>
                  <a:lnTo>
                    <a:pt x="1827" y="1812"/>
                  </a:lnTo>
                  <a:lnTo>
                    <a:pt x="1827" y="1812"/>
                  </a:lnTo>
                  <a:lnTo>
                    <a:pt x="1827" y="1812"/>
                  </a:lnTo>
                  <a:lnTo>
                    <a:pt x="1827" y="1812"/>
                  </a:lnTo>
                  <a:lnTo>
                    <a:pt x="1827" y="1812"/>
                  </a:lnTo>
                  <a:lnTo>
                    <a:pt x="1829" y="1812"/>
                  </a:lnTo>
                  <a:lnTo>
                    <a:pt x="1827" y="1812"/>
                  </a:lnTo>
                  <a:lnTo>
                    <a:pt x="1827" y="1814"/>
                  </a:lnTo>
                  <a:lnTo>
                    <a:pt x="1827" y="1814"/>
                  </a:lnTo>
                  <a:lnTo>
                    <a:pt x="1827" y="1814"/>
                  </a:lnTo>
                  <a:lnTo>
                    <a:pt x="1827" y="1814"/>
                  </a:lnTo>
                  <a:lnTo>
                    <a:pt x="1827" y="1816"/>
                  </a:lnTo>
                  <a:lnTo>
                    <a:pt x="1827" y="1816"/>
                  </a:lnTo>
                  <a:lnTo>
                    <a:pt x="1827" y="1816"/>
                  </a:lnTo>
                  <a:lnTo>
                    <a:pt x="1827" y="1816"/>
                  </a:lnTo>
                  <a:lnTo>
                    <a:pt x="1827" y="1814"/>
                  </a:lnTo>
                  <a:lnTo>
                    <a:pt x="1827" y="1814"/>
                  </a:lnTo>
                  <a:lnTo>
                    <a:pt x="1827" y="1814"/>
                  </a:lnTo>
                  <a:lnTo>
                    <a:pt x="1825" y="1814"/>
                  </a:lnTo>
                  <a:lnTo>
                    <a:pt x="1825" y="1814"/>
                  </a:lnTo>
                  <a:lnTo>
                    <a:pt x="1825" y="1814"/>
                  </a:lnTo>
                  <a:lnTo>
                    <a:pt x="1822" y="1816"/>
                  </a:lnTo>
                  <a:lnTo>
                    <a:pt x="1825" y="1816"/>
                  </a:lnTo>
                  <a:lnTo>
                    <a:pt x="1822" y="1816"/>
                  </a:lnTo>
                  <a:lnTo>
                    <a:pt x="1822" y="1816"/>
                  </a:lnTo>
                  <a:lnTo>
                    <a:pt x="1822" y="1814"/>
                  </a:lnTo>
                  <a:lnTo>
                    <a:pt x="1822" y="1814"/>
                  </a:lnTo>
                  <a:lnTo>
                    <a:pt x="1820" y="1814"/>
                  </a:lnTo>
                  <a:lnTo>
                    <a:pt x="1820" y="1814"/>
                  </a:lnTo>
                  <a:lnTo>
                    <a:pt x="1820" y="1816"/>
                  </a:lnTo>
                  <a:lnTo>
                    <a:pt x="1820" y="1816"/>
                  </a:lnTo>
                  <a:lnTo>
                    <a:pt x="1820" y="1816"/>
                  </a:lnTo>
                  <a:lnTo>
                    <a:pt x="1820" y="1816"/>
                  </a:lnTo>
                  <a:lnTo>
                    <a:pt x="1820" y="1816"/>
                  </a:lnTo>
                  <a:lnTo>
                    <a:pt x="1820" y="1819"/>
                  </a:lnTo>
                  <a:lnTo>
                    <a:pt x="1822" y="1819"/>
                  </a:lnTo>
                  <a:lnTo>
                    <a:pt x="1822" y="1821"/>
                  </a:lnTo>
                  <a:lnTo>
                    <a:pt x="1822" y="1821"/>
                  </a:lnTo>
                  <a:lnTo>
                    <a:pt x="1822" y="1821"/>
                  </a:lnTo>
                  <a:lnTo>
                    <a:pt x="1825" y="1823"/>
                  </a:lnTo>
                  <a:lnTo>
                    <a:pt x="1825" y="1823"/>
                  </a:lnTo>
                  <a:lnTo>
                    <a:pt x="1825" y="1823"/>
                  </a:lnTo>
                  <a:lnTo>
                    <a:pt x="1825" y="1823"/>
                  </a:lnTo>
                  <a:lnTo>
                    <a:pt x="1825" y="1826"/>
                  </a:lnTo>
                  <a:lnTo>
                    <a:pt x="1822" y="1826"/>
                  </a:lnTo>
                  <a:lnTo>
                    <a:pt x="1822" y="1823"/>
                  </a:lnTo>
                  <a:lnTo>
                    <a:pt x="1822" y="1823"/>
                  </a:lnTo>
                  <a:lnTo>
                    <a:pt x="1822" y="1823"/>
                  </a:lnTo>
                  <a:lnTo>
                    <a:pt x="1822" y="1826"/>
                  </a:lnTo>
                  <a:lnTo>
                    <a:pt x="1822" y="1826"/>
                  </a:lnTo>
                  <a:lnTo>
                    <a:pt x="1822" y="1826"/>
                  </a:lnTo>
                  <a:lnTo>
                    <a:pt x="1825" y="1828"/>
                  </a:lnTo>
                  <a:lnTo>
                    <a:pt x="1825" y="1828"/>
                  </a:lnTo>
                  <a:lnTo>
                    <a:pt x="1825" y="1828"/>
                  </a:lnTo>
                  <a:lnTo>
                    <a:pt x="1825" y="1828"/>
                  </a:lnTo>
                  <a:lnTo>
                    <a:pt x="1825" y="1828"/>
                  </a:lnTo>
                  <a:lnTo>
                    <a:pt x="1825" y="1831"/>
                  </a:lnTo>
                  <a:lnTo>
                    <a:pt x="1825" y="1828"/>
                  </a:lnTo>
                  <a:lnTo>
                    <a:pt x="1825" y="1831"/>
                  </a:lnTo>
                  <a:lnTo>
                    <a:pt x="1825" y="1831"/>
                  </a:lnTo>
                  <a:lnTo>
                    <a:pt x="1825" y="1831"/>
                  </a:lnTo>
                  <a:lnTo>
                    <a:pt x="1822" y="1831"/>
                  </a:lnTo>
                  <a:lnTo>
                    <a:pt x="1822" y="1831"/>
                  </a:lnTo>
                  <a:lnTo>
                    <a:pt x="1822" y="1831"/>
                  </a:lnTo>
                  <a:lnTo>
                    <a:pt x="1822" y="1833"/>
                  </a:lnTo>
                  <a:lnTo>
                    <a:pt x="1822" y="1833"/>
                  </a:lnTo>
                  <a:lnTo>
                    <a:pt x="1825" y="1835"/>
                  </a:lnTo>
                  <a:lnTo>
                    <a:pt x="1825" y="1835"/>
                  </a:lnTo>
                  <a:lnTo>
                    <a:pt x="1825" y="1835"/>
                  </a:lnTo>
                  <a:lnTo>
                    <a:pt x="1827" y="1835"/>
                  </a:lnTo>
                  <a:lnTo>
                    <a:pt x="1827" y="1835"/>
                  </a:lnTo>
                  <a:lnTo>
                    <a:pt x="1827" y="1835"/>
                  </a:lnTo>
                  <a:lnTo>
                    <a:pt x="1827" y="1835"/>
                  </a:lnTo>
                  <a:lnTo>
                    <a:pt x="1827" y="1835"/>
                  </a:lnTo>
                  <a:lnTo>
                    <a:pt x="1827" y="1835"/>
                  </a:lnTo>
                  <a:lnTo>
                    <a:pt x="1829" y="1835"/>
                  </a:lnTo>
                  <a:lnTo>
                    <a:pt x="1829" y="1835"/>
                  </a:lnTo>
                  <a:lnTo>
                    <a:pt x="1829" y="1838"/>
                  </a:lnTo>
                  <a:lnTo>
                    <a:pt x="1829" y="1838"/>
                  </a:lnTo>
                  <a:lnTo>
                    <a:pt x="1832" y="1838"/>
                  </a:lnTo>
                  <a:lnTo>
                    <a:pt x="1832" y="1838"/>
                  </a:lnTo>
                  <a:lnTo>
                    <a:pt x="1829" y="1835"/>
                  </a:lnTo>
                  <a:lnTo>
                    <a:pt x="1829" y="1835"/>
                  </a:lnTo>
                  <a:lnTo>
                    <a:pt x="1827" y="1833"/>
                  </a:lnTo>
                  <a:lnTo>
                    <a:pt x="1827" y="1833"/>
                  </a:lnTo>
                  <a:lnTo>
                    <a:pt x="1829" y="1833"/>
                  </a:lnTo>
                  <a:lnTo>
                    <a:pt x="1832" y="1835"/>
                  </a:lnTo>
                  <a:lnTo>
                    <a:pt x="1834" y="1838"/>
                  </a:lnTo>
                  <a:lnTo>
                    <a:pt x="1834" y="1838"/>
                  </a:lnTo>
                  <a:lnTo>
                    <a:pt x="1834" y="1838"/>
                  </a:lnTo>
                  <a:lnTo>
                    <a:pt x="1836" y="1838"/>
                  </a:lnTo>
                  <a:lnTo>
                    <a:pt x="1839" y="1840"/>
                  </a:lnTo>
                  <a:lnTo>
                    <a:pt x="1839" y="1840"/>
                  </a:lnTo>
                  <a:lnTo>
                    <a:pt x="1839" y="1840"/>
                  </a:lnTo>
                  <a:lnTo>
                    <a:pt x="1839" y="1840"/>
                  </a:lnTo>
                  <a:lnTo>
                    <a:pt x="1839" y="1840"/>
                  </a:lnTo>
                  <a:lnTo>
                    <a:pt x="1841" y="1840"/>
                  </a:lnTo>
                  <a:lnTo>
                    <a:pt x="1841" y="1842"/>
                  </a:lnTo>
                  <a:lnTo>
                    <a:pt x="1841" y="1842"/>
                  </a:lnTo>
                  <a:lnTo>
                    <a:pt x="1841" y="1842"/>
                  </a:lnTo>
                  <a:lnTo>
                    <a:pt x="1841" y="1842"/>
                  </a:lnTo>
                  <a:lnTo>
                    <a:pt x="1841" y="1845"/>
                  </a:lnTo>
                  <a:lnTo>
                    <a:pt x="1844" y="1845"/>
                  </a:lnTo>
                  <a:lnTo>
                    <a:pt x="1844" y="1845"/>
                  </a:lnTo>
                  <a:lnTo>
                    <a:pt x="1851" y="1847"/>
                  </a:lnTo>
                  <a:lnTo>
                    <a:pt x="1853" y="1847"/>
                  </a:lnTo>
                  <a:lnTo>
                    <a:pt x="1853" y="1847"/>
                  </a:lnTo>
                  <a:lnTo>
                    <a:pt x="1855" y="1847"/>
                  </a:lnTo>
                  <a:lnTo>
                    <a:pt x="1855" y="1849"/>
                  </a:lnTo>
                  <a:lnTo>
                    <a:pt x="1858" y="1849"/>
                  </a:lnTo>
                  <a:lnTo>
                    <a:pt x="1860" y="1852"/>
                  </a:lnTo>
                  <a:lnTo>
                    <a:pt x="1862" y="1852"/>
                  </a:lnTo>
                  <a:lnTo>
                    <a:pt x="1862" y="1852"/>
                  </a:lnTo>
                  <a:lnTo>
                    <a:pt x="1862" y="1852"/>
                  </a:lnTo>
                  <a:lnTo>
                    <a:pt x="1860" y="1852"/>
                  </a:lnTo>
                  <a:lnTo>
                    <a:pt x="1860" y="1854"/>
                  </a:lnTo>
                  <a:lnTo>
                    <a:pt x="1862" y="1854"/>
                  </a:lnTo>
                  <a:lnTo>
                    <a:pt x="1865" y="1854"/>
                  </a:lnTo>
                  <a:lnTo>
                    <a:pt x="1865" y="1854"/>
                  </a:lnTo>
                  <a:lnTo>
                    <a:pt x="1865" y="1854"/>
                  </a:lnTo>
                  <a:lnTo>
                    <a:pt x="1865" y="1857"/>
                  </a:lnTo>
                  <a:lnTo>
                    <a:pt x="1867" y="1857"/>
                  </a:lnTo>
                  <a:lnTo>
                    <a:pt x="1867" y="1857"/>
                  </a:lnTo>
                  <a:lnTo>
                    <a:pt x="1867" y="1857"/>
                  </a:lnTo>
                  <a:lnTo>
                    <a:pt x="1870" y="1857"/>
                  </a:lnTo>
                  <a:lnTo>
                    <a:pt x="1872" y="1859"/>
                  </a:lnTo>
                  <a:lnTo>
                    <a:pt x="1872" y="1859"/>
                  </a:lnTo>
                  <a:lnTo>
                    <a:pt x="1874" y="1861"/>
                  </a:lnTo>
                  <a:lnTo>
                    <a:pt x="1874" y="1861"/>
                  </a:lnTo>
                  <a:lnTo>
                    <a:pt x="1874" y="1861"/>
                  </a:lnTo>
                  <a:lnTo>
                    <a:pt x="1874" y="1861"/>
                  </a:lnTo>
                  <a:lnTo>
                    <a:pt x="1874" y="1864"/>
                  </a:lnTo>
                  <a:lnTo>
                    <a:pt x="1874" y="1864"/>
                  </a:lnTo>
                  <a:lnTo>
                    <a:pt x="1874" y="1864"/>
                  </a:lnTo>
                  <a:lnTo>
                    <a:pt x="1877" y="1864"/>
                  </a:lnTo>
                  <a:lnTo>
                    <a:pt x="1877" y="1864"/>
                  </a:lnTo>
                  <a:lnTo>
                    <a:pt x="1877" y="1864"/>
                  </a:lnTo>
                  <a:lnTo>
                    <a:pt x="1877" y="1864"/>
                  </a:lnTo>
                  <a:lnTo>
                    <a:pt x="1877" y="1864"/>
                  </a:lnTo>
                  <a:lnTo>
                    <a:pt x="1879" y="1868"/>
                  </a:lnTo>
                  <a:lnTo>
                    <a:pt x="1879" y="1868"/>
                  </a:lnTo>
                  <a:lnTo>
                    <a:pt x="1879" y="1868"/>
                  </a:lnTo>
                  <a:lnTo>
                    <a:pt x="1879" y="1868"/>
                  </a:lnTo>
                  <a:lnTo>
                    <a:pt x="1881" y="1868"/>
                  </a:lnTo>
                  <a:lnTo>
                    <a:pt x="1881" y="1871"/>
                  </a:lnTo>
                  <a:lnTo>
                    <a:pt x="1881" y="1871"/>
                  </a:lnTo>
                  <a:lnTo>
                    <a:pt x="1881" y="1871"/>
                  </a:lnTo>
                  <a:lnTo>
                    <a:pt x="1884" y="1873"/>
                  </a:lnTo>
                  <a:lnTo>
                    <a:pt x="1884" y="1873"/>
                  </a:lnTo>
                  <a:lnTo>
                    <a:pt x="1884" y="1873"/>
                  </a:lnTo>
                  <a:lnTo>
                    <a:pt x="1886" y="1875"/>
                  </a:lnTo>
                  <a:lnTo>
                    <a:pt x="1886" y="1878"/>
                  </a:lnTo>
                  <a:lnTo>
                    <a:pt x="1889" y="1880"/>
                  </a:lnTo>
                  <a:lnTo>
                    <a:pt x="1889" y="1880"/>
                  </a:lnTo>
                  <a:lnTo>
                    <a:pt x="1891" y="1883"/>
                  </a:lnTo>
                  <a:lnTo>
                    <a:pt x="1891" y="1887"/>
                  </a:lnTo>
                  <a:lnTo>
                    <a:pt x="1893" y="1887"/>
                  </a:lnTo>
                  <a:lnTo>
                    <a:pt x="1893" y="1887"/>
                  </a:lnTo>
                  <a:lnTo>
                    <a:pt x="1893" y="1887"/>
                  </a:lnTo>
                  <a:lnTo>
                    <a:pt x="1893" y="1887"/>
                  </a:lnTo>
                  <a:lnTo>
                    <a:pt x="1893" y="1887"/>
                  </a:lnTo>
                  <a:lnTo>
                    <a:pt x="1893" y="1887"/>
                  </a:lnTo>
                  <a:lnTo>
                    <a:pt x="1893" y="1887"/>
                  </a:lnTo>
                  <a:lnTo>
                    <a:pt x="1893" y="1890"/>
                  </a:lnTo>
                  <a:lnTo>
                    <a:pt x="1893" y="1890"/>
                  </a:lnTo>
                  <a:lnTo>
                    <a:pt x="1893" y="1890"/>
                  </a:lnTo>
                  <a:lnTo>
                    <a:pt x="1896" y="1890"/>
                  </a:lnTo>
                  <a:lnTo>
                    <a:pt x="1896" y="1892"/>
                  </a:lnTo>
                  <a:lnTo>
                    <a:pt x="1898" y="1899"/>
                  </a:lnTo>
                  <a:lnTo>
                    <a:pt x="1900" y="1902"/>
                  </a:lnTo>
                  <a:lnTo>
                    <a:pt x="1900" y="1904"/>
                  </a:lnTo>
                  <a:lnTo>
                    <a:pt x="1900" y="1904"/>
                  </a:lnTo>
                  <a:lnTo>
                    <a:pt x="1900" y="1906"/>
                  </a:lnTo>
                  <a:lnTo>
                    <a:pt x="1900" y="1906"/>
                  </a:lnTo>
                  <a:lnTo>
                    <a:pt x="1903" y="1906"/>
                  </a:lnTo>
                  <a:lnTo>
                    <a:pt x="1903" y="1906"/>
                  </a:lnTo>
                  <a:lnTo>
                    <a:pt x="1903" y="1906"/>
                  </a:lnTo>
                  <a:lnTo>
                    <a:pt x="1903" y="1909"/>
                  </a:lnTo>
                  <a:lnTo>
                    <a:pt x="1903" y="1911"/>
                  </a:lnTo>
                  <a:lnTo>
                    <a:pt x="1903" y="1911"/>
                  </a:lnTo>
                  <a:lnTo>
                    <a:pt x="1903" y="1913"/>
                  </a:lnTo>
                  <a:lnTo>
                    <a:pt x="1903" y="1913"/>
                  </a:lnTo>
                  <a:lnTo>
                    <a:pt x="1905" y="1916"/>
                  </a:lnTo>
                  <a:lnTo>
                    <a:pt x="1905" y="1918"/>
                  </a:lnTo>
                  <a:lnTo>
                    <a:pt x="1905" y="1920"/>
                  </a:lnTo>
                  <a:lnTo>
                    <a:pt x="1907" y="1923"/>
                  </a:lnTo>
                  <a:lnTo>
                    <a:pt x="1907" y="1925"/>
                  </a:lnTo>
                  <a:lnTo>
                    <a:pt x="1907" y="1925"/>
                  </a:lnTo>
                  <a:lnTo>
                    <a:pt x="1907" y="1925"/>
                  </a:lnTo>
                  <a:lnTo>
                    <a:pt x="1907" y="1928"/>
                  </a:lnTo>
                  <a:lnTo>
                    <a:pt x="1907" y="1930"/>
                  </a:lnTo>
                  <a:lnTo>
                    <a:pt x="1910" y="1935"/>
                  </a:lnTo>
                  <a:lnTo>
                    <a:pt x="1910" y="1939"/>
                  </a:lnTo>
                  <a:lnTo>
                    <a:pt x="1910" y="1939"/>
                  </a:lnTo>
                  <a:lnTo>
                    <a:pt x="1910" y="1939"/>
                  </a:lnTo>
                  <a:lnTo>
                    <a:pt x="1910" y="1942"/>
                  </a:lnTo>
                  <a:lnTo>
                    <a:pt x="1910" y="1942"/>
                  </a:lnTo>
                  <a:lnTo>
                    <a:pt x="1910" y="1942"/>
                  </a:lnTo>
                  <a:lnTo>
                    <a:pt x="1910" y="1942"/>
                  </a:lnTo>
                  <a:lnTo>
                    <a:pt x="1910" y="1944"/>
                  </a:lnTo>
                  <a:lnTo>
                    <a:pt x="1912" y="1946"/>
                  </a:lnTo>
                  <a:lnTo>
                    <a:pt x="1912" y="1946"/>
                  </a:lnTo>
                  <a:lnTo>
                    <a:pt x="1912" y="1949"/>
                  </a:lnTo>
                  <a:lnTo>
                    <a:pt x="1912" y="1949"/>
                  </a:lnTo>
                  <a:lnTo>
                    <a:pt x="1912" y="1951"/>
                  </a:lnTo>
                  <a:lnTo>
                    <a:pt x="1912" y="1951"/>
                  </a:lnTo>
                  <a:lnTo>
                    <a:pt x="1912" y="1954"/>
                  </a:lnTo>
                  <a:lnTo>
                    <a:pt x="1912" y="1956"/>
                  </a:lnTo>
                  <a:lnTo>
                    <a:pt x="1910" y="1958"/>
                  </a:lnTo>
                  <a:lnTo>
                    <a:pt x="1910" y="1961"/>
                  </a:lnTo>
                  <a:lnTo>
                    <a:pt x="1912" y="1961"/>
                  </a:lnTo>
                  <a:lnTo>
                    <a:pt x="1910" y="1965"/>
                  </a:lnTo>
                  <a:lnTo>
                    <a:pt x="1910" y="1968"/>
                  </a:lnTo>
                  <a:lnTo>
                    <a:pt x="1910" y="1968"/>
                  </a:lnTo>
                  <a:lnTo>
                    <a:pt x="1910" y="1970"/>
                  </a:lnTo>
                  <a:lnTo>
                    <a:pt x="1907" y="1970"/>
                  </a:lnTo>
                  <a:lnTo>
                    <a:pt x="1907" y="1970"/>
                  </a:lnTo>
                  <a:lnTo>
                    <a:pt x="1907" y="1970"/>
                  </a:lnTo>
                  <a:lnTo>
                    <a:pt x="1907" y="1972"/>
                  </a:lnTo>
                  <a:lnTo>
                    <a:pt x="1907" y="1972"/>
                  </a:lnTo>
                  <a:lnTo>
                    <a:pt x="1907" y="1972"/>
                  </a:lnTo>
                  <a:lnTo>
                    <a:pt x="1907" y="1975"/>
                  </a:lnTo>
                  <a:lnTo>
                    <a:pt x="1905" y="1977"/>
                  </a:lnTo>
                  <a:lnTo>
                    <a:pt x="1903" y="1984"/>
                  </a:lnTo>
                  <a:lnTo>
                    <a:pt x="1900" y="1989"/>
                  </a:lnTo>
                  <a:lnTo>
                    <a:pt x="1898" y="1991"/>
                  </a:lnTo>
                  <a:lnTo>
                    <a:pt x="1900" y="1989"/>
                  </a:lnTo>
                  <a:lnTo>
                    <a:pt x="1900" y="1989"/>
                  </a:lnTo>
                  <a:lnTo>
                    <a:pt x="1900" y="1989"/>
                  </a:lnTo>
                  <a:lnTo>
                    <a:pt x="1900" y="1989"/>
                  </a:lnTo>
                  <a:lnTo>
                    <a:pt x="1903" y="1989"/>
                  </a:lnTo>
                  <a:lnTo>
                    <a:pt x="1903" y="1989"/>
                  </a:lnTo>
                  <a:lnTo>
                    <a:pt x="1900" y="1989"/>
                  </a:lnTo>
                  <a:lnTo>
                    <a:pt x="1900" y="1991"/>
                  </a:lnTo>
                  <a:lnTo>
                    <a:pt x="1900" y="1991"/>
                  </a:lnTo>
                  <a:lnTo>
                    <a:pt x="1898" y="1996"/>
                  </a:lnTo>
                  <a:lnTo>
                    <a:pt x="1889" y="2010"/>
                  </a:lnTo>
                  <a:lnTo>
                    <a:pt x="1889" y="2010"/>
                  </a:lnTo>
                  <a:lnTo>
                    <a:pt x="1889" y="2010"/>
                  </a:lnTo>
                  <a:lnTo>
                    <a:pt x="1886" y="2017"/>
                  </a:lnTo>
                  <a:lnTo>
                    <a:pt x="1884" y="2017"/>
                  </a:lnTo>
                  <a:lnTo>
                    <a:pt x="1881" y="2017"/>
                  </a:lnTo>
                  <a:lnTo>
                    <a:pt x="1879" y="2022"/>
                  </a:lnTo>
                  <a:lnTo>
                    <a:pt x="1877" y="2025"/>
                  </a:lnTo>
                  <a:lnTo>
                    <a:pt x="1877" y="2025"/>
                  </a:lnTo>
                  <a:lnTo>
                    <a:pt x="1874" y="2027"/>
                  </a:lnTo>
                  <a:lnTo>
                    <a:pt x="1872" y="2029"/>
                  </a:lnTo>
                  <a:lnTo>
                    <a:pt x="1872" y="2029"/>
                  </a:lnTo>
                  <a:lnTo>
                    <a:pt x="1872" y="2029"/>
                  </a:lnTo>
                  <a:lnTo>
                    <a:pt x="1870" y="2032"/>
                  </a:lnTo>
                  <a:lnTo>
                    <a:pt x="1870" y="2034"/>
                  </a:lnTo>
                  <a:lnTo>
                    <a:pt x="1870" y="2034"/>
                  </a:lnTo>
                  <a:lnTo>
                    <a:pt x="1870" y="2034"/>
                  </a:lnTo>
                  <a:lnTo>
                    <a:pt x="1867" y="2034"/>
                  </a:lnTo>
                  <a:lnTo>
                    <a:pt x="1865" y="2036"/>
                  </a:lnTo>
                  <a:lnTo>
                    <a:pt x="1865" y="2036"/>
                  </a:lnTo>
                  <a:lnTo>
                    <a:pt x="1862" y="2039"/>
                  </a:lnTo>
                  <a:lnTo>
                    <a:pt x="1862" y="2039"/>
                  </a:lnTo>
                  <a:lnTo>
                    <a:pt x="1862" y="2039"/>
                  </a:lnTo>
                  <a:lnTo>
                    <a:pt x="1860" y="2041"/>
                  </a:lnTo>
                  <a:lnTo>
                    <a:pt x="1858" y="2041"/>
                  </a:lnTo>
                  <a:lnTo>
                    <a:pt x="1858" y="2041"/>
                  </a:lnTo>
                  <a:lnTo>
                    <a:pt x="1855" y="2043"/>
                  </a:lnTo>
                  <a:lnTo>
                    <a:pt x="1853" y="2043"/>
                  </a:lnTo>
                  <a:lnTo>
                    <a:pt x="1853" y="2046"/>
                  </a:lnTo>
                  <a:lnTo>
                    <a:pt x="1853" y="2048"/>
                  </a:lnTo>
                  <a:lnTo>
                    <a:pt x="1844" y="2053"/>
                  </a:lnTo>
                  <a:lnTo>
                    <a:pt x="1841" y="2053"/>
                  </a:lnTo>
                  <a:lnTo>
                    <a:pt x="1841" y="2053"/>
                  </a:lnTo>
                  <a:lnTo>
                    <a:pt x="1839" y="2053"/>
                  </a:lnTo>
                  <a:lnTo>
                    <a:pt x="1839" y="2053"/>
                  </a:lnTo>
                  <a:lnTo>
                    <a:pt x="1839" y="2055"/>
                  </a:lnTo>
                  <a:lnTo>
                    <a:pt x="1836" y="2055"/>
                  </a:lnTo>
                  <a:lnTo>
                    <a:pt x="1836" y="2055"/>
                  </a:lnTo>
                  <a:lnTo>
                    <a:pt x="1836" y="2055"/>
                  </a:lnTo>
                  <a:lnTo>
                    <a:pt x="1836" y="2055"/>
                  </a:lnTo>
                  <a:lnTo>
                    <a:pt x="1834" y="2058"/>
                  </a:lnTo>
                  <a:lnTo>
                    <a:pt x="1834" y="2058"/>
                  </a:lnTo>
                  <a:lnTo>
                    <a:pt x="1834" y="2058"/>
                  </a:lnTo>
                  <a:lnTo>
                    <a:pt x="1834" y="2058"/>
                  </a:lnTo>
                  <a:lnTo>
                    <a:pt x="1832" y="2058"/>
                  </a:lnTo>
                  <a:lnTo>
                    <a:pt x="1832" y="2058"/>
                  </a:lnTo>
                  <a:lnTo>
                    <a:pt x="1832" y="2058"/>
                  </a:lnTo>
                  <a:lnTo>
                    <a:pt x="1832" y="2058"/>
                  </a:lnTo>
                  <a:lnTo>
                    <a:pt x="1832" y="2058"/>
                  </a:lnTo>
                  <a:lnTo>
                    <a:pt x="1832" y="2058"/>
                  </a:lnTo>
                  <a:lnTo>
                    <a:pt x="1832" y="2058"/>
                  </a:lnTo>
                  <a:lnTo>
                    <a:pt x="1832" y="2058"/>
                  </a:lnTo>
                  <a:lnTo>
                    <a:pt x="1832" y="2060"/>
                  </a:lnTo>
                  <a:lnTo>
                    <a:pt x="1832" y="2060"/>
                  </a:lnTo>
                  <a:lnTo>
                    <a:pt x="1832" y="2060"/>
                  </a:lnTo>
                  <a:lnTo>
                    <a:pt x="1832" y="2060"/>
                  </a:lnTo>
                  <a:lnTo>
                    <a:pt x="1829" y="2062"/>
                  </a:lnTo>
                  <a:lnTo>
                    <a:pt x="1829" y="2062"/>
                  </a:lnTo>
                  <a:lnTo>
                    <a:pt x="1829" y="2062"/>
                  </a:lnTo>
                  <a:lnTo>
                    <a:pt x="1832" y="2062"/>
                  </a:lnTo>
                  <a:lnTo>
                    <a:pt x="1832" y="2062"/>
                  </a:lnTo>
                  <a:lnTo>
                    <a:pt x="1832" y="2062"/>
                  </a:lnTo>
                  <a:lnTo>
                    <a:pt x="1832" y="2062"/>
                  </a:lnTo>
                  <a:lnTo>
                    <a:pt x="1832" y="2062"/>
                  </a:lnTo>
                  <a:lnTo>
                    <a:pt x="1832" y="2062"/>
                  </a:lnTo>
                  <a:lnTo>
                    <a:pt x="1832" y="2062"/>
                  </a:lnTo>
                  <a:lnTo>
                    <a:pt x="1832" y="2062"/>
                  </a:lnTo>
                  <a:lnTo>
                    <a:pt x="1832" y="2065"/>
                  </a:lnTo>
                  <a:lnTo>
                    <a:pt x="1834" y="2062"/>
                  </a:lnTo>
                  <a:lnTo>
                    <a:pt x="1834" y="2065"/>
                  </a:lnTo>
                  <a:lnTo>
                    <a:pt x="1834" y="2065"/>
                  </a:lnTo>
                  <a:lnTo>
                    <a:pt x="1834" y="2065"/>
                  </a:lnTo>
                  <a:lnTo>
                    <a:pt x="1834" y="2067"/>
                  </a:lnTo>
                  <a:lnTo>
                    <a:pt x="1834" y="2067"/>
                  </a:lnTo>
                  <a:lnTo>
                    <a:pt x="1834" y="2065"/>
                  </a:lnTo>
                  <a:lnTo>
                    <a:pt x="1836" y="2065"/>
                  </a:lnTo>
                  <a:lnTo>
                    <a:pt x="1836" y="2065"/>
                  </a:lnTo>
                  <a:lnTo>
                    <a:pt x="1834" y="2065"/>
                  </a:lnTo>
                  <a:lnTo>
                    <a:pt x="1834" y="2065"/>
                  </a:lnTo>
                  <a:lnTo>
                    <a:pt x="1834" y="2065"/>
                  </a:lnTo>
                  <a:lnTo>
                    <a:pt x="1836" y="2065"/>
                  </a:lnTo>
                  <a:lnTo>
                    <a:pt x="1836" y="2065"/>
                  </a:lnTo>
                  <a:lnTo>
                    <a:pt x="1836" y="2065"/>
                  </a:lnTo>
                  <a:lnTo>
                    <a:pt x="1836" y="2065"/>
                  </a:lnTo>
                  <a:lnTo>
                    <a:pt x="1836" y="2065"/>
                  </a:lnTo>
                  <a:lnTo>
                    <a:pt x="1836" y="2067"/>
                  </a:lnTo>
                  <a:lnTo>
                    <a:pt x="1834" y="2067"/>
                  </a:lnTo>
                  <a:lnTo>
                    <a:pt x="1834" y="2067"/>
                  </a:lnTo>
                  <a:lnTo>
                    <a:pt x="1836" y="2067"/>
                  </a:lnTo>
                  <a:lnTo>
                    <a:pt x="1836" y="2067"/>
                  </a:lnTo>
                  <a:lnTo>
                    <a:pt x="1839" y="2069"/>
                  </a:lnTo>
                  <a:lnTo>
                    <a:pt x="1836" y="2069"/>
                  </a:lnTo>
                  <a:lnTo>
                    <a:pt x="1836" y="2069"/>
                  </a:lnTo>
                  <a:lnTo>
                    <a:pt x="1839" y="2069"/>
                  </a:lnTo>
                  <a:lnTo>
                    <a:pt x="1839" y="2069"/>
                  </a:lnTo>
                  <a:lnTo>
                    <a:pt x="1839" y="2069"/>
                  </a:lnTo>
                  <a:lnTo>
                    <a:pt x="1839" y="2069"/>
                  </a:lnTo>
                  <a:lnTo>
                    <a:pt x="1839" y="2072"/>
                  </a:lnTo>
                  <a:lnTo>
                    <a:pt x="1839" y="2072"/>
                  </a:lnTo>
                  <a:lnTo>
                    <a:pt x="1839" y="2072"/>
                  </a:lnTo>
                  <a:lnTo>
                    <a:pt x="1839" y="2072"/>
                  </a:lnTo>
                  <a:lnTo>
                    <a:pt x="1839" y="2072"/>
                  </a:lnTo>
                  <a:lnTo>
                    <a:pt x="1839" y="2074"/>
                  </a:lnTo>
                  <a:lnTo>
                    <a:pt x="1841" y="2074"/>
                  </a:lnTo>
                  <a:lnTo>
                    <a:pt x="1841" y="2074"/>
                  </a:lnTo>
                  <a:lnTo>
                    <a:pt x="1841" y="2074"/>
                  </a:lnTo>
                  <a:lnTo>
                    <a:pt x="1841" y="2074"/>
                  </a:lnTo>
                  <a:lnTo>
                    <a:pt x="1841" y="2074"/>
                  </a:lnTo>
                  <a:lnTo>
                    <a:pt x="1841" y="2074"/>
                  </a:lnTo>
                  <a:lnTo>
                    <a:pt x="1841" y="2074"/>
                  </a:lnTo>
                  <a:lnTo>
                    <a:pt x="1841" y="2077"/>
                  </a:lnTo>
                  <a:lnTo>
                    <a:pt x="1841" y="2077"/>
                  </a:lnTo>
                  <a:lnTo>
                    <a:pt x="1841" y="2077"/>
                  </a:lnTo>
                  <a:lnTo>
                    <a:pt x="1841" y="2077"/>
                  </a:lnTo>
                  <a:lnTo>
                    <a:pt x="1841" y="2077"/>
                  </a:lnTo>
                  <a:lnTo>
                    <a:pt x="1841" y="2077"/>
                  </a:lnTo>
                  <a:lnTo>
                    <a:pt x="1841" y="2077"/>
                  </a:lnTo>
                  <a:lnTo>
                    <a:pt x="1841" y="2077"/>
                  </a:lnTo>
                  <a:lnTo>
                    <a:pt x="1841" y="2079"/>
                  </a:lnTo>
                  <a:lnTo>
                    <a:pt x="1841" y="2079"/>
                  </a:lnTo>
                  <a:lnTo>
                    <a:pt x="1844" y="2079"/>
                  </a:lnTo>
                  <a:lnTo>
                    <a:pt x="1844" y="2079"/>
                  </a:lnTo>
                  <a:lnTo>
                    <a:pt x="1844" y="2081"/>
                  </a:lnTo>
                  <a:lnTo>
                    <a:pt x="1844" y="2081"/>
                  </a:lnTo>
                  <a:lnTo>
                    <a:pt x="1844" y="2081"/>
                  </a:lnTo>
                  <a:lnTo>
                    <a:pt x="1844" y="2081"/>
                  </a:lnTo>
                  <a:lnTo>
                    <a:pt x="1844" y="2081"/>
                  </a:lnTo>
                  <a:lnTo>
                    <a:pt x="1848" y="2081"/>
                  </a:lnTo>
                  <a:lnTo>
                    <a:pt x="1848" y="2081"/>
                  </a:lnTo>
                  <a:lnTo>
                    <a:pt x="1848" y="2081"/>
                  </a:lnTo>
                  <a:lnTo>
                    <a:pt x="1848" y="2084"/>
                  </a:lnTo>
                  <a:lnTo>
                    <a:pt x="1848" y="2084"/>
                  </a:lnTo>
                  <a:lnTo>
                    <a:pt x="1846" y="2081"/>
                  </a:lnTo>
                  <a:lnTo>
                    <a:pt x="1846" y="2084"/>
                  </a:lnTo>
                  <a:lnTo>
                    <a:pt x="1848" y="2084"/>
                  </a:lnTo>
                  <a:lnTo>
                    <a:pt x="1848" y="2084"/>
                  </a:lnTo>
                  <a:lnTo>
                    <a:pt x="1846" y="2084"/>
                  </a:lnTo>
                  <a:lnTo>
                    <a:pt x="1846" y="2086"/>
                  </a:lnTo>
                  <a:lnTo>
                    <a:pt x="1846" y="2086"/>
                  </a:lnTo>
                  <a:lnTo>
                    <a:pt x="1846" y="2086"/>
                  </a:lnTo>
                  <a:lnTo>
                    <a:pt x="1848" y="2086"/>
                  </a:lnTo>
                  <a:lnTo>
                    <a:pt x="1848" y="2086"/>
                  </a:lnTo>
                  <a:lnTo>
                    <a:pt x="1848" y="2086"/>
                  </a:lnTo>
                  <a:lnTo>
                    <a:pt x="1851" y="2086"/>
                  </a:lnTo>
                  <a:lnTo>
                    <a:pt x="1851" y="2086"/>
                  </a:lnTo>
                  <a:lnTo>
                    <a:pt x="1851" y="2086"/>
                  </a:lnTo>
                  <a:lnTo>
                    <a:pt x="1851" y="2086"/>
                  </a:lnTo>
                  <a:lnTo>
                    <a:pt x="1851" y="2086"/>
                  </a:lnTo>
                  <a:lnTo>
                    <a:pt x="1853" y="2086"/>
                  </a:lnTo>
                  <a:lnTo>
                    <a:pt x="1855" y="2084"/>
                  </a:lnTo>
                  <a:lnTo>
                    <a:pt x="1855" y="2084"/>
                  </a:lnTo>
                  <a:lnTo>
                    <a:pt x="1858" y="2084"/>
                  </a:lnTo>
                  <a:lnTo>
                    <a:pt x="1855" y="2084"/>
                  </a:lnTo>
                  <a:lnTo>
                    <a:pt x="1855" y="2086"/>
                  </a:lnTo>
                  <a:lnTo>
                    <a:pt x="1855" y="2086"/>
                  </a:lnTo>
                  <a:lnTo>
                    <a:pt x="1855" y="2086"/>
                  </a:lnTo>
                  <a:lnTo>
                    <a:pt x="1855" y="2086"/>
                  </a:lnTo>
                  <a:lnTo>
                    <a:pt x="1853" y="2086"/>
                  </a:lnTo>
                  <a:lnTo>
                    <a:pt x="1855" y="2086"/>
                  </a:lnTo>
                  <a:lnTo>
                    <a:pt x="1855" y="2086"/>
                  </a:lnTo>
                  <a:lnTo>
                    <a:pt x="1855" y="2086"/>
                  </a:lnTo>
                  <a:lnTo>
                    <a:pt x="1855" y="2086"/>
                  </a:lnTo>
                  <a:lnTo>
                    <a:pt x="1855" y="2088"/>
                  </a:lnTo>
                  <a:lnTo>
                    <a:pt x="1855" y="2088"/>
                  </a:lnTo>
                  <a:lnTo>
                    <a:pt x="1855" y="2088"/>
                  </a:lnTo>
                  <a:lnTo>
                    <a:pt x="1855" y="2088"/>
                  </a:lnTo>
                  <a:lnTo>
                    <a:pt x="1855" y="2088"/>
                  </a:lnTo>
                  <a:lnTo>
                    <a:pt x="1855" y="2088"/>
                  </a:lnTo>
                  <a:lnTo>
                    <a:pt x="1855" y="2088"/>
                  </a:lnTo>
                  <a:lnTo>
                    <a:pt x="1855" y="2088"/>
                  </a:lnTo>
                  <a:lnTo>
                    <a:pt x="1855" y="2088"/>
                  </a:lnTo>
                  <a:lnTo>
                    <a:pt x="1853" y="2088"/>
                  </a:lnTo>
                  <a:lnTo>
                    <a:pt x="1853" y="2088"/>
                  </a:lnTo>
                  <a:lnTo>
                    <a:pt x="1853" y="2091"/>
                  </a:lnTo>
                  <a:lnTo>
                    <a:pt x="1851" y="2091"/>
                  </a:lnTo>
                  <a:lnTo>
                    <a:pt x="1851" y="2091"/>
                  </a:lnTo>
                  <a:lnTo>
                    <a:pt x="1851" y="2091"/>
                  </a:lnTo>
                  <a:lnTo>
                    <a:pt x="1855" y="2091"/>
                  </a:lnTo>
                  <a:lnTo>
                    <a:pt x="1855" y="2091"/>
                  </a:lnTo>
                  <a:lnTo>
                    <a:pt x="1855" y="2091"/>
                  </a:lnTo>
                  <a:lnTo>
                    <a:pt x="1855" y="2091"/>
                  </a:lnTo>
                  <a:lnTo>
                    <a:pt x="1855" y="2091"/>
                  </a:lnTo>
                  <a:lnTo>
                    <a:pt x="1858" y="2091"/>
                  </a:lnTo>
                  <a:lnTo>
                    <a:pt x="1858" y="2091"/>
                  </a:lnTo>
                  <a:lnTo>
                    <a:pt x="1860" y="2093"/>
                  </a:lnTo>
                  <a:lnTo>
                    <a:pt x="1860" y="2093"/>
                  </a:lnTo>
                  <a:lnTo>
                    <a:pt x="1862" y="2093"/>
                  </a:lnTo>
                  <a:lnTo>
                    <a:pt x="1858" y="2093"/>
                  </a:lnTo>
                  <a:lnTo>
                    <a:pt x="1858" y="2093"/>
                  </a:lnTo>
                  <a:lnTo>
                    <a:pt x="1858" y="2095"/>
                  </a:lnTo>
                  <a:lnTo>
                    <a:pt x="1858" y="2095"/>
                  </a:lnTo>
                  <a:lnTo>
                    <a:pt x="1858" y="2095"/>
                  </a:lnTo>
                  <a:lnTo>
                    <a:pt x="1858" y="2095"/>
                  </a:lnTo>
                  <a:lnTo>
                    <a:pt x="1858" y="2095"/>
                  </a:lnTo>
                  <a:lnTo>
                    <a:pt x="1858" y="2095"/>
                  </a:lnTo>
                  <a:lnTo>
                    <a:pt x="1858" y="2095"/>
                  </a:lnTo>
                  <a:lnTo>
                    <a:pt x="1858" y="2095"/>
                  </a:lnTo>
                  <a:lnTo>
                    <a:pt x="1858" y="2095"/>
                  </a:lnTo>
                  <a:lnTo>
                    <a:pt x="1858" y="2095"/>
                  </a:lnTo>
                  <a:lnTo>
                    <a:pt x="1860" y="2095"/>
                  </a:lnTo>
                  <a:lnTo>
                    <a:pt x="1858" y="2095"/>
                  </a:lnTo>
                  <a:lnTo>
                    <a:pt x="1860" y="2095"/>
                  </a:lnTo>
                  <a:lnTo>
                    <a:pt x="1860" y="2095"/>
                  </a:lnTo>
                  <a:lnTo>
                    <a:pt x="1860" y="2098"/>
                  </a:lnTo>
                  <a:lnTo>
                    <a:pt x="1858" y="2098"/>
                  </a:lnTo>
                  <a:lnTo>
                    <a:pt x="1855" y="2098"/>
                  </a:lnTo>
                  <a:lnTo>
                    <a:pt x="1858" y="2098"/>
                  </a:lnTo>
                  <a:lnTo>
                    <a:pt x="1860" y="2098"/>
                  </a:lnTo>
                  <a:lnTo>
                    <a:pt x="1862" y="2098"/>
                  </a:lnTo>
                  <a:lnTo>
                    <a:pt x="1860" y="2098"/>
                  </a:lnTo>
                  <a:lnTo>
                    <a:pt x="1860" y="2098"/>
                  </a:lnTo>
                  <a:lnTo>
                    <a:pt x="1858" y="2098"/>
                  </a:lnTo>
                  <a:lnTo>
                    <a:pt x="1858" y="2100"/>
                  </a:lnTo>
                  <a:lnTo>
                    <a:pt x="1858" y="2100"/>
                  </a:lnTo>
                  <a:lnTo>
                    <a:pt x="1860" y="2100"/>
                  </a:lnTo>
                  <a:lnTo>
                    <a:pt x="1860" y="2100"/>
                  </a:lnTo>
                  <a:lnTo>
                    <a:pt x="1860" y="2103"/>
                  </a:lnTo>
                  <a:lnTo>
                    <a:pt x="1862" y="2103"/>
                  </a:lnTo>
                  <a:lnTo>
                    <a:pt x="1865" y="2103"/>
                  </a:lnTo>
                  <a:lnTo>
                    <a:pt x="1865" y="2103"/>
                  </a:lnTo>
                  <a:lnTo>
                    <a:pt x="1865" y="2103"/>
                  </a:lnTo>
                  <a:lnTo>
                    <a:pt x="1862" y="2103"/>
                  </a:lnTo>
                  <a:lnTo>
                    <a:pt x="1862" y="2103"/>
                  </a:lnTo>
                  <a:lnTo>
                    <a:pt x="1860" y="2103"/>
                  </a:lnTo>
                  <a:lnTo>
                    <a:pt x="1860" y="2103"/>
                  </a:lnTo>
                  <a:lnTo>
                    <a:pt x="1860" y="2103"/>
                  </a:lnTo>
                  <a:lnTo>
                    <a:pt x="1860" y="2103"/>
                  </a:lnTo>
                  <a:lnTo>
                    <a:pt x="1862" y="2103"/>
                  </a:lnTo>
                  <a:lnTo>
                    <a:pt x="1860" y="2105"/>
                  </a:lnTo>
                  <a:lnTo>
                    <a:pt x="1860" y="2105"/>
                  </a:lnTo>
                  <a:lnTo>
                    <a:pt x="1860" y="2105"/>
                  </a:lnTo>
                  <a:lnTo>
                    <a:pt x="1860" y="2105"/>
                  </a:lnTo>
                  <a:lnTo>
                    <a:pt x="1860" y="2107"/>
                  </a:lnTo>
                  <a:lnTo>
                    <a:pt x="1860" y="2107"/>
                  </a:lnTo>
                  <a:lnTo>
                    <a:pt x="1862" y="2107"/>
                  </a:lnTo>
                  <a:lnTo>
                    <a:pt x="1862" y="2110"/>
                  </a:lnTo>
                  <a:lnTo>
                    <a:pt x="1862" y="2110"/>
                  </a:lnTo>
                  <a:lnTo>
                    <a:pt x="1860" y="2110"/>
                  </a:lnTo>
                  <a:lnTo>
                    <a:pt x="1858" y="2110"/>
                  </a:lnTo>
                  <a:lnTo>
                    <a:pt x="1858" y="2110"/>
                  </a:lnTo>
                  <a:lnTo>
                    <a:pt x="1860" y="2110"/>
                  </a:lnTo>
                  <a:lnTo>
                    <a:pt x="1860" y="2112"/>
                  </a:lnTo>
                  <a:lnTo>
                    <a:pt x="1862" y="2112"/>
                  </a:lnTo>
                  <a:lnTo>
                    <a:pt x="1862" y="2110"/>
                  </a:lnTo>
                  <a:lnTo>
                    <a:pt x="1862" y="2110"/>
                  </a:lnTo>
                  <a:lnTo>
                    <a:pt x="1862" y="2112"/>
                  </a:lnTo>
                  <a:lnTo>
                    <a:pt x="1862" y="2112"/>
                  </a:lnTo>
                  <a:lnTo>
                    <a:pt x="1862" y="2112"/>
                  </a:lnTo>
                  <a:lnTo>
                    <a:pt x="1862" y="2112"/>
                  </a:lnTo>
                  <a:lnTo>
                    <a:pt x="1862" y="2112"/>
                  </a:lnTo>
                  <a:lnTo>
                    <a:pt x="1862" y="2112"/>
                  </a:lnTo>
                  <a:lnTo>
                    <a:pt x="1862" y="2112"/>
                  </a:lnTo>
                  <a:lnTo>
                    <a:pt x="1862" y="2112"/>
                  </a:lnTo>
                  <a:lnTo>
                    <a:pt x="1862" y="2112"/>
                  </a:lnTo>
                  <a:lnTo>
                    <a:pt x="1862" y="2112"/>
                  </a:lnTo>
                  <a:lnTo>
                    <a:pt x="1862" y="2114"/>
                  </a:lnTo>
                  <a:lnTo>
                    <a:pt x="1862" y="2114"/>
                  </a:lnTo>
                  <a:lnTo>
                    <a:pt x="1862" y="2114"/>
                  </a:lnTo>
                  <a:lnTo>
                    <a:pt x="1862" y="2114"/>
                  </a:lnTo>
                  <a:lnTo>
                    <a:pt x="1862" y="2114"/>
                  </a:lnTo>
                  <a:lnTo>
                    <a:pt x="1862" y="2114"/>
                  </a:lnTo>
                  <a:lnTo>
                    <a:pt x="1862" y="2117"/>
                  </a:lnTo>
                  <a:lnTo>
                    <a:pt x="1862" y="2117"/>
                  </a:lnTo>
                  <a:lnTo>
                    <a:pt x="1862" y="2117"/>
                  </a:lnTo>
                  <a:lnTo>
                    <a:pt x="1862" y="2117"/>
                  </a:lnTo>
                  <a:lnTo>
                    <a:pt x="1865" y="2114"/>
                  </a:lnTo>
                  <a:lnTo>
                    <a:pt x="1865" y="2114"/>
                  </a:lnTo>
                  <a:lnTo>
                    <a:pt x="1865" y="2114"/>
                  </a:lnTo>
                  <a:lnTo>
                    <a:pt x="1865" y="2114"/>
                  </a:lnTo>
                  <a:lnTo>
                    <a:pt x="1865" y="2117"/>
                  </a:lnTo>
                  <a:lnTo>
                    <a:pt x="1865" y="2117"/>
                  </a:lnTo>
                  <a:lnTo>
                    <a:pt x="1867" y="2117"/>
                  </a:lnTo>
                  <a:lnTo>
                    <a:pt x="1867" y="2117"/>
                  </a:lnTo>
                  <a:lnTo>
                    <a:pt x="1867" y="2117"/>
                  </a:lnTo>
                  <a:lnTo>
                    <a:pt x="1867" y="2119"/>
                  </a:lnTo>
                  <a:lnTo>
                    <a:pt x="1865" y="2117"/>
                  </a:lnTo>
                  <a:lnTo>
                    <a:pt x="1865" y="2117"/>
                  </a:lnTo>
                  <a:lnTo>
                    <a:pt x="1865" y="2117"/>
                  </a:lnTo>
                  <a:lnTo>
                    <a:pt x="1865" y="2119"/>
                  </a:lnTo>
                  <a:lnTo>
                    <a:pt x="1865" y="2119"/>
                  </a:lnTo>
                  <a:lnTo>
                    <a:pt x="1865" y="2119"/>
                  </a:lnTo>
                  <a:lnTo>
                    <a:pt x="1865" y="2119"/>
                  </a:lnTo>
                  <a:lnTo>
                    <a:pt x="1865" y="2119"/>
                  </a:lnTo>
                  <a:lnTo>
                    <a:pt x="1867" y="2119"/>
                  </a:lnTo>
                  <a:lnTo>
                    <a:pt x="1867" y="2119"/>
                  </a:lnTo>
                  <a:lnTo>
                    <a:pt x="1867" y="2122"/>
                  </a:lnTo>
                  <a:lnTo>
                    <a:pt x="1865" y="2122"/>
                  </a:lnTo>
                  <a:lnTo>
                    <a:pt x="1865" y="2122"/>
                  </a:lnTo>
                  <a:lnTo>
                    <a:pt x="1865" y="2122"/>
                  </a:lnTo>
                  <a:lnTo>
                    <a:pt x="1865" y="2119"/>
                  </a:lnTo>
                  <a:lnTo>
                    <a:pt x="1862" y="2119"/>
                  </a:lnTo>
                  <a:lnTo>
                    <a:pt x="1865" y="2119"/>
                  </a:lnTo>
                  <a:lnTo>
                    <a:pt x="1865" y="2119"/>
                  </a:lnTo>
                  <a:lnTo>
                    <a:pt x="1865" y="2119"/>
                  </a:lnTo>
                  <a:lnTo>
                    <a:pt x="1862" y="2119"/>
                  </a:lnTo>
                  <a:lnTo>
                    <a:pt x="1862" y="2122"/>
                  </a:lnTo>
                  <a:lnTo>
                    <a:pt x="1862" y="2122"/>
                  </a:lnTo>
                  <a:lnTo>
                    <a:pt x="1862" y="2122"/>
                  </a:lnTo>
                  <a:lnTo>
                    <a:pt x="1862" y="2124"/>
                  </a:lnTo>
                  <a:lnTo>
                    <a:pt x="1862" y="2124"/>
                  </a:lnTo>
                  <a:lnTo>
                    <a:pt x="1865" y="2124"/>
                  </a:lnTo>
                  <a:lnTo>
                    <a:pt x="1865" y="2124"/>
                  </a:lnTo>
                  <a:lnTo>
                    <a:pt x="1865" y="2124"/>
                  </a:lnTo>
                  <a:lnTo>
                    <a:pt x="1865" y="2124"/>
                  </a:lnTo>
                  <a:lnTo>
                    <a:pt x="1865" y="2124"/>
                  </a:lnTo>
                  <a:lnTo>
                    <a:pt x="1865" y="2124"/>
                  </a:lnTo>
                  <a:lnTo>
                    <a:pt x="1865" y="2124"/>
                  </a:lnTo>
                  <a:lnTo>
                    <a:pt x="1865" y="2124"/>
                  </a:lnTo>
                  <a:lnTo>
                    <a:pt x="1865" y="2124"/>
                  </a:lnTo>
                  <a:lnTo>
                    <a:pt x="1867" y="2124"/>
                  </a:lnTo>
                  <a:lnTo>
                    <a:pt x="1867" y="2124"/>
                  </a:lnTo>
                  <a:lnTo>
                    <a:pt x="1867" y="2126"/>
                  </a:lnTo>
                  <a:lnTo>
                    <a:pt x="1867" y="2126"/>
                  </a:lnTo>
                  <a:lnTo>
                    <a:pt x="1867" y="2126"/>
                  </a:lnTo>
                  <a:lnTo>
                    <a:pt x="1867" y="2126"/>
                  </a:lnTo>
                  <a:lnTo>
                    <a:pt x="1867" y="2126"/>
                  </a:lnTo>
                  <a:lnTo>
                    <a:pt x="1870" y="2126"/>
                  </a:lnTo>
                  <a:lnTo>
                    <a:pt x="1870" y="2129"/>
                  </a:lnTo>
                  <a:lnTo>
                    <a:pt x="1867" y="2129"/>
                  </a:lnTo>
                  <a:lnTo>
                    <a:pt x="1867" y="2129"/>
                  </a:lnTo>
                  <a:lnTo>
                    <a:pt x="1870" y="2129"/>
                  </a:lnTo>
                  <a:lnTo>
                    <a:pt x="1870" y="2131"/>
                  </a:lnTo>
                  <a:lnTo>
                    <a:pt x="1870" y="2131"/>
                  </a:lnTo>
                  <a:lnTo>
                    <a:pt x="1870" y="2131"/>
                  </a:lnTo>
                  <a:lnTo>
                    <a:pt x="1870" y="2131"/>
                  </a:lnTo>
                  <a:lnTo>
                    <a:pt x="1870" y="2131"/>
                  </a:lnTo>
                  <a:lnTo>
                    <a:pt x="1870" y="2133"/>
                  </a:lnTo>
                  <a:lnTo>
                    <a:pt x="1870" y="2133"/>
                  </a:lnTo>
                  <a:lnTo>
                    <a:pt x="1870" y="2133"/>
                  </a:lnTo>
                  <a:lnTo>
                    <a:pt x="1872" y="2133"/>
                  </a:lnTo>
                  <a:lnTo>
                    <a:pt x="1872" y="2133"/>
                  </a:lnTo>
                  <a:lnTo>
                    <a:pt x="1872" y="2133"/>
                  </a:lnTo>
                  <a:lnTo>
                    <a:pt x="1872" y="2133"/>
                  </a:lnTo>
                  <a:lnTo>
                    <a:pt x="1870" y="2133"/>
                  </a:lnTo>
                  <a:lnTo>
                    <a:pt x="1872" y="2133"/>
                  </a:lnTo>
                  <a:lnTo>
                    <a:pt x="1872" y="2133"/>
                  </a:lnTo>
                  <a:lnTo>
                    <a:pt x="1872" y="2133"/>
                  </a:lnTo>
                  <a:lnTo>
                    <a:pt x="1872" y="2136"/>
                  </a:lnTo>
                  <a:lnTo>
                    <a:pt x="1872" y="2136"/>
                  </a:lnTo>
                  <a:lnTo>
                    <a:pt x="1872" y="2136"/>
                  </a:lnTo>
                  <a:lnTo>
                    <a:pt x="1870" y="2136"/>
                  </a:lnTo>
                  <a:lnTo>
                    <a:pt x="1872" y="2136"/>
                  </a:lnTo>
                  <a:lnTo>
                    <a:pt x="1872" y="2136"/>
                  </a:lnTo>
                  <a:lnTo>
                    <a:pt x="1872" y="2136"/>
                  </a:lnTo>
                  <a:lnTo>
                    <a:pt x="1872" y="2136"/>
                  </a:lnTo>
                  <a:lnTo>
                    <a:pt x="1872" y="2138"/>
                  </a:lnTo>
                  <a:lnTo>
                    <a:pt x="1870" y="2138"/>
                  </a:lnTo>
                  <a:lnTo>
                    <a:pt x="1870" y="2138"/>
                  </a:lnTo>
                  <a:lnTo>
                    <a:pt x="1872" y="2138"/>
                  </a:lnTo>
                  <a:lnTo>
                    <a:pt x="1870" y="2145"/>
                  </a:lnTo>
                  <a:lnTo>
                    <a:pt x="1872" y="2145"/>
                  </a:lnTo>
                  <a:lnTo>
                    <a:pt x="1872" y="2143"/>
                  </a:lnTo>
                  <a:lnTo>
                    <a:pt x="1872" y="2143"/>
                  </a:lnTo>
                  <a:lnTo>
                    <a:pt x="1872" y="2145"/>
                  </a:lnTo>
                  <a:lnTo>
                    <a:pt x="1872" y="2145"/>
                  </a:lnTo>
                  <a:lnTo>
                    <a:pt x="1872" y="2145"/>
                  </a:lnTo>
                  <a:lnTo>
                    <a:pt x="1872" y="2145"/>
                  </a:lnTo>
                  <a:lnTo>
                    <a:pt x="1872" y="2148"/>
                  </a:lnTo>
                  <a:lnTo>
                    <a:pt x="1872" y="2148"/>
                  </a:lnTo>
                  <a:lnTo>
                    <a:pt x="1872" y="2148"/>
                  </a:lnTo>
                  <a:lnTo>
                    <a:pt x="1874" y="2148"/>
                  </a:lnTo>
                  <a:lnTo>
                    <a:pt x="1874" y="2148"/>
                  </a:lnTo>
                  <a:lnTo>
                    <a:pt x="1874" y="2148"/>
                  </a:lnTo>
                  <a:lnTo>
                    <a:pt x="1874" y="2148"/>
                  </a:lnTo>
                  <a:lnTo>
                    <a:pt x="1874" y="2148"/>
                  </a:lnTo>
                  <a:lnTo>
                    <a:pt x="1874" y="2148"/>
                  </a:lnTo>
                  <a:lnTo>
                    <a:pt x="1874" y="2145"/>
                  </a:lnTo>
                  <a:lnTo>
                    <a:pt x="1874" y="2148"/>
                  </a:lnTo>
                  <a:lnTo>
                    <a:pt x="1877" y="2148"/>
                  </a:lnTo>
                  <a:lnTo>
                    <a:pt x="1877" y="2148"/>
                  </a:lnTo>
                  <a:lnTo>
                    <a:pt x="1877" y="2148"/>
                  </a:lnTo>
                  <a:lnTo>
                    <a:pt x="1877" y="2148"/>
                  </a:lnTo>
                  <a:lnTo>
                    <a:pt x="1877" y="2148"/>
                  </a:lnTo>
                  <a:lnTo>
                    <a:pt x="1877" y="2148"/>
                  </a:lnTo>
                  <a:lnTo>
                    <a:pt x="1877" y="2148"/>
                  </a:lnTo>
                  <a:lnTo>
                    <a:pt x="1877" y="2150"/>
                  </a:lnTo>
                  <a:lnTo>
                    <a:pt x="1877" y="2150"/>
                  </a:lnTo>
                  <a:lnTo>
                    <a:pt x="1877" y="2150"/>
                  </a:lnTo>
                  <a:lnTo>
                    <a:pt x="1877" y="2150"/>
                  </a:lnTo>
                  <a:lnTo>
                    <a:pt x="1874" y="2150"/>
                  </a:lnTo>
                  <a:lnTo>
                    <a:pt x="1877" y="2150"/>
                  </a:lnTo>
                  <a:lnTo>
                    <a:pt x="1874" y="2150"/>
                  </a:lnTo>
                  <a:lnTo>
                    <a:pt x="1874" y="2152"/>
                  </a:lnTo>
                  <a:lnTo>
                    <a:pt x="1874" y="2152"/>
                  </a:lnTo>
                  <a:lnTo>
                    <a:pt x="1874" y="2152"/>
                  </a:lnTo>
                  <a:lnTo>
                    <a:pt x="1877" y="2152"/>
                  </a:lnTo>
                  <a:lnTo>
                    <a:pt x="1877" y="2155"/>
                  </a:lnTo>
                  <a:lnTo>
                    <a:pt x="1877" y="2155"/>
                  </a:lnTo>
                  <a:lnTo>
                    <a:pt x="1877" y="2155"/>
                  </a:lnTo>
                  <a:lnTo>
                    <a:pt x="1879" y="2155"/>
                  </a:lnTo>
                  <a:lnTo>
                    <a:pt x="1879" y="2155"/>
                  </a:lnTo>
                  <a:lnTo>
                    <a:pt x="1881" y="2152"/>
                  </a:lnTo>
                  <a:lnTo>
                    <a:pt x="1881" y="2152"/>
                  </a:lnTo>
                  <a:lnTo>
                    <a:pt x="1879" y="2157"/>
                  </a:lnTo>
                  <a:lnTo>
                    <a:pt x="1879" y="2157"/>
                  </a:lnTo>
                  <a:lnTo>
                    <a:pt x="1879" y="2157"/>
                  </a:lnTo>
                  <a:lnTo>
                    <a:pt x="1881" y="2157"/>
                  </a:lnTo>
                  <a:lnTo>
                    <a:pt x="1881" y="2157"/>
                  </a:lnTo>
                  <a:lnTo>
                    <a:pt x="1881" y="2155"/>
                  </a:lnTo>
                  <a:lnTo>
                    <a:pt x="1881" y="2157"/>
                  </a:lnTo>
                  <a:lnTo>
                    <a:pt x="1881" y="2157"/>
                  </a:lnTo>
                  <a:lnTo>
                    <a:pt x="1881" y="2157"/>
                  </a:lnTo>
                  <a:lnTo>
                    <a:pt x="1881" y="2159"/>
                  </a:lnTo>
                  <a:lnTo>
                    <a:pt x="1879" y="2159"/>
                  </a:lnTo>
                  <a:lnTo>
                    <a:pt x="1879" y="2159"/>
                  </a:lnTo>
                  <a:lnTo>
                    <a:pt x="1879" y="2159"/>
                  </a:lnTo>
                  <a:lnTo>
                    <a:pt x="1879" y="2162"/>
                  </a:lnTo>
                  <a:lnTo>
                    <a:pt x="1879" y="2162"/>
                  </a:lnTo>
                  <a:lnTo>
                    <a:pt x="1881" y="2162"/>
                  </a:lnTo>
                  <a:lnTo>
                    <a:pt x="1881" y="2162"/>
                  </a:lnTo>
                  <a:lnTo>
                    <a:pt x="1881" y="2162"/>
                  </a:lnTo>
                  <a:lnTo>
                    <a:pt x="1881" y="2162"/>
                  </a:lnTo>
                  <a:lnTo>
                    <a:pt x="1879" y="2162"/>
                  </a:lnTo>
                  <a:lnTo>
                    <a:pt x="1879" y="2164"/>
                  </a:lnTo>
                  <a:lnTo>
                    <a:pt x="1881" y="2164"/>
                  </a:lnTo>
                  <a:lnTo>
                    <a:pt x="1881" y="2164"/>
                  </a:lnTo>
                  <a:lnTo>
                    <a:pt x="1881" y="2164"/>
                  </a:lnTo>
                  <a:lnTo>
                    <a:pt x="1881" y="2164"/>
                  </a:lnTo>
                  <a:lnTo>
                    <a:pt x="1881" y="2166"/>
                  </a:lnTo>
                  <a:lnTo>
                    <a:pt x="1881" y="2166"/>
                  </a:lnTo>
                  <a:lnTo>
                    <a:pt x="1884" y="2166"/>
                  </a:lnTo>
                  <a:lnTo>
                    <a:pt x="1884" y="2164"/>
                  </a:lnTo>
                  <a:lnTo>
                    <a:pt x="1884" y="2166"/>
                  </a:lnTo>
                  <a:lnTo>
                    <a:pt x="1884" y="2166"/>
                  </a:lnTo>
                  <a:lnTo>
                    <a:pt x="1884" y="2166"/>
                  </a:lnTo>
                  <a:lnTo>
                    <a:pt x="1884" y="2166"/>
                  </a:lnTo>
                  <a:lnTo>
                    <a:pt x="1884" y="2166"/>
                  </a:lnTo>
                  <a:lnTo>
                    <a:pt x="1884" y="2166"/>
                  </a:lnTo>
                  <a:lnTo>
                    <a:pt x="1884" y="2166"/>
                  </a:lnTo>
                  <a:lnTo>
                    <a:pt x="1886" y="2169"/>
                  </a:lnTo>
                  <a:lnTo>
                    <a:pt x="1884" y="2169"/>
                  </a:lnTo>
                  <a:lnTo>
                    <a:pt x="1884" y="2169"/>
                  </a:lnTo>
                  <a:lnTo>
                    <a:pt x="1884" y="2169"/>
                  </a:lnTo>
                  <a:lnTo>
                    <a:pt x="1884" y="2169"/>
                  </a:lnTo>
                  <a:lnTo>
                    <a:pt x="1884" y="2169"/>
                  </a:lnTo>
                  <a:lnTo>
                    <a:pt x="1884" y="2169"/>
                  </a:lnTo>
                  <a:lnTo>
                    <a:pt x="1884" y="2169"/>
                  </a:lnTo>
                  <a:lnTo>
                    <a:pt x="1884" y="2171"/>
                  </a:lnTo>
                  <a:lnTo>
                    <a:pt x="1884" y="2171"/>
                  </a:lnTo>
                  <a:lnTo>
                    <a:pt x="1884" y="2171"/>
                  </a:lnTo>
                  <a:lnTo>
                    <a:pt x="1886" y="2171"/>
                  </a:lnTo>
                  <a:lnTo>
                    <a:pt x="1886" y="2171"/>
                  </a:lnTo>
                  <a:lnTo>
                    <a:pt x="1886" y="2169"/>
                  </a:lnTo>
                  <a:lnTo>
                    <a:pt x="1886" y="2171"/>
                  </a:lnTo>
                  <a:lnTo>
                    <a:pt x="1886" y="2171"/>
                  </a:lnTo>
                  <a:lnTo>
                    <a:pt x="1889" y="2171"/>
                  </a:lnTo>
                  <a:lnTo>
                    <a:pt x="1889" y="2171"/>
                  </a:lnTo>
                  <a:lnTo>
                    <a:pt x="1889" y="2171"/>
                  </a:lnTo>
                  <a:lnTo>
                    <a:pt x="1891" y="2171"/>
                  </a:lnTo>
                  <a:lnTo>
                    <a:pt x="1891" y="2171"/>
                  </a:lnTo>
                  <a:lnTo>
                    <a:pt x="1891" y="2171"/>
                  </a:lnTo>
                  <a:lnTo>
                    <a:pt x="1891" y="2171"/>
                  </a:lnTo>
                  <a:lnTo>
                    <a:pt x="1891" y="2171"/>
                  </a:lnTo>
                  <a:lnTo>
                    <a:pt x="1891" y="2174"/>
                  </a:lnTo>
                  <a:lnTo>
                    <a:pt x="1891" y="2174"/>
                  </a:lnTo>
                  <a:lnTo>
                    <a:pt x="1891" y="2174"/>
                  </a:lnTo>
                  <a:lnTo>
                    <a:pt x="1891" y="2174"/>
                  </a:lnTo>
                  <a:lnTo>
                    <a:pt x="1893" y="2174"/>
                  </a:lnTo>
                  <a:lnTo>
                    <a:pt x="1893" y="2174"/>
                  </a:lnTo>
                  <a:lnTo>
                    <a:pt x="1891" y="2176"/>
                  </a:lnTo>
                  <a:lnTo>
                    <a:pt x="1891" y="2176"/>
                  </a:lnTo>
                  <a:lnTo>
                    <a:pt x="1891" y="2176"/>
                  </a:lnTo>
                  <a:lnTo>
                    <a:pt x="1893" y="2176"/>
                  </a:lnTo>
                  <a:lnTo>
                    <a:pt x="1893" y="2176"/>
                  </a:lnTo>
                  <a:lnTo>
                    <a:pt x="1893" y="2176"/>
                  </a:lnTo>
                  <a:lnTo>
                    <a:pt x="1893" y="2178"/>
                  </a:lnTo>
                  <a:lnTo>
                    <a:pt x="1893" y="2178"/>
                  </a:lnTo>
                  <a:lnTo>
                    <a:pt x="1893" y="2178"/>
                  </a:lnTo>
                  <a:lnTo>
                    <a:pt x="1893" y="2178"/>
                  </a:lnTo>
                  <a:lnTo>
                    <a:pt x="1893" y="2181"/>
                  </a:lnTo>
                  <a:lnTo>
                    <a:pt x="1893" y="2181"/>
                  </a:lnTo>
                  <a:lnTo>
                    <a:pt x="1893" y="2183"/>
                  </a:lnTo>
                  <a:lnTo>
                    <a:pt x="1893" y="2183"/>
                  </a:lnTo>
                  <a:lnTo>
                    <a:pt x="1893" y="2185"/>
                  </a:lnTo>
                  <a:lnTo>
                    <a:pt x="1893" y="2183"/>
                  </a:lnTo>
                  <a:lnTo>
                    <a:pt x="1893" y="2183"/>
                  </a:lnTo>
                  <a:lnTo>
                    <a:pt x="1896" y="2183"/>
                  </a:lnTo>
                  <a:lnTo>
                    <a:pt x="1896" y="2183"/>
                  </a:lnTo>
                  <a:lnTo>
                    <a:pt x="1898" y="2183"/>
                  </a:lnTo>
                  <a:lnTo>
                    <a:pt x="1898" y="2185"/>
                  </a:lnTo>
                  <a:lnTo>
                    <a:pt x="1898" y="2185"/>
                  </a:lnTo>
                  <a:lnTo>
                    <a:pt x="1898" y="2185"/>
                  </a:lnTo>
                  <a:lnTo>
                    <a:pt x="1896" y="2185"/>
                  </a:lnTo>
                  <a:lnTo>
                    <a:pt x="1893" y="2185"/>
                  </a:lnTo>
                  <a:lnTo>
                    <a:pt x="1893" y="2185"/>
                  </a:lnTo>
                  <a:lnTo>
                    <a:pt x="1893" y="2185"/>
                  </a:lnTo>
                  <a:lnTo>
                    <a:pt x="1893" y="2188"/>
                  </a:lnTo>
                  <a:lnTo>
                    <a:pt x="1893" y="2188"/>
                  </a:lnTo>
                  <a:lnTo>
                    <a:pt x="1893" y="2190"/>
                  </a:lnTo>
                  <a:lnTo>
                    <a:pt x="1893" y="2190"/>
                  </a:lnTo>
                  <a:lnTo>
                    <a:pt x="1893" y="2190"/>
                  </a:lnTo>
                  <a:lnTo>
                    <a:pt x="1893" y="2192"/>
                  </a:lnTo>
                  <a:lnTo>
                    <a:pt x="1893" y="2192"/>
                  </a:lnTo>
                  <a:lnTo>
                    <a:pt x="1893" y="2192"/>
                  </a:lnTo>
                  <a:lnTo>
                    <a:pt x="1893" y="2195"/>
                  </a:lnTo>
                  <a:lnTo>
                    <a:pt x="1893" y="2195"/>
                  </a:lnTo>
                  <a:lnTo>
                    <a:pt x="1891" y="2195"/>
                  </a:lnTo>
                  <a:lnTo>
                    <a:pt x="1891" y="2195"/>
                  </a:lnTo>
                  <a:lnTo>
                    <a:pt x="1893" y="2195"/>
                  </a:lnTo>
                  <a:lnTo>
                    <a:pt x="1893" y="2195"/>
                  </a:lnTo>
                  <a:lnTo>
                    <a:pt x="1891" y="2197"/>
                  </a:lnTo>
                  <a:lnTo>
                    <a:pt x="1891" y="2197"/>
                  </a:lnTo>
                  <a:lnTo>
                    <a:pt x="1891" y="2197"/>
                  </a:lnTo>
                  <a:lnTo>
                    <a:pt x="1891" y="2197"/>
                  </a:lnTo>
                  <a:lnTo>
                    <a:pt x="1891" y="2197"/>
                  </a:lnTo>
                  <a:lnTo>
                    <a:pt x="1891" y="2197"/>
                  </a:lnTo>
                  <a:lnTo>
                    <a:pt x="1891" y="2200"/>
                  </a:lnTo>
                  <a:lnTo>
                    <a:pt x="1891" y="2200"/>
                  </a:lnTo>
                  <a:lnTo>
                    <a:pt x="1891" y="2200"/>
                  </a:lnTo>
                  <a:lnTo>
                    <a:pt x="1891" y="2200"/>
                  </a:lnTo>
                  <a:lnTo>
                    <a:pt x="1891" y="2202"/>
                  </a:lnTo>
                  <a:lnTo>
                    <a:pt x="1889" y="2202"/>
                  </a:lnTo>
                  <a:lnTo>
                    <a:pt x="1886" y="2202"/>
                  </a:lnTo>
                  <a:lnTo>
                    <a:pt x="1886" y="2204"/>
                  </a:lnTo>
                  <a:lnTo>
                    <a:pt x="1886" y="2204"/>
                  </a:lnTo>
                  <a:lnTo>
                    <a:pt x="1886" y="2204"/>
                  </a:lnTo>
                  <a:lnTo>
                    <a:pt x="1886" y="2207"/>
                  </a:lnTo>
                  <a:lnTo>
                    <a:pt x="1886" y="2207"/>
                  </a:lnTo>
                  <a:lnTo>
                    <a:pt x="1889" y="2209"/>
                  </a:lnTo>
                  <a:lnTo>
                    <a:pt x="1889" y="2209"/>
                  </a:lnTo>
                  <a:lnTo>
                    <a:pt x="1889" y="2209"/>
                  </a:lnTo>
                  <a:lnTo>
                    <a:pt x="1889" y="2211"/>
                  </a:lnTo>
                  <a:lnTo>
                    <a:pt x="1886" y="2211"/>
                  </a:lnTo>
                  <a:lnTo>
                    <a:pt x="1886" y="2211"/>
                  </a:lnTo>
                  <a:lnTo>
                    <a:pt x="1886" y="2211"/>
                  </a:lnTo>
                  <a:lnTo>
                    <a:pt x="1886" y="2211"/>
                  </a:lnTo>
                  <a:lnTo>
                    <a:pt x="1884" y="2211"/>
                  </a:lnTo>
                  <a:lnTo>
                    <a:pt x="1884" y="2211"/>
                  </a:lnTo>
                  <a:lnTo>
                    <a:pt x="1884" y="2211"/>
                  </a:lnTo>
                  <a:lnTo>
                    <a:pt x="1884" y="2211"/>
                  </a:lnTo>
                  <a:lnTo>
                    <a:pt x="1884" y="2214"/>
                  </a:lnTo>
                  <a:lnTo>
                    <a:pt x="1881" y="2214"/>
                  </a:lnTo>
                  <a:lnTo>
                    <a:pt x="1881" y="2214"/>
                  </a:lnTo>
                  <a:lnTo>
                    <a:pt x="1884" y="2214"/>
                  </a:lnTo>
                  <a:lnTo>
                    <a:pt x="1884" y="2216"/>
                  </a:lnTo>
                  <a:lnTo>
                    <a:pt x="1884" y="2216"/>
                  </a:lnTo>
                  <a:lnTo>
                    <a:pt x="1884" y="2216"/>
                  </a:lnTo>
                  <a:lnTo>
                    <a:pt x="1886" y="2216"/>
                  </a:lnTo>
                  <a:lnTo>
                    <a:pt x="1886" y="2219"/>
                  </a:lnTo>
                  <a:lnTo>
                    <a:pt x="1886" y="2219"/>
                  </a:lnTo>
                  <a:lnTo>
                    <a:pt x="1886" y="2219"/>
                  </a:lnTo>
                  <a:lnTo>
                    <a:pt x="1889" y="2221"/>
                  </a:lnTo>
                  <a:lnTo>
                    <a:pt x="1889" y="2221"/>
                  </a:lnTo>
                  <a:lnTo>
                    <a:pt x="1889" y="2221"/>
                  </a:lnTo>
                  <a:lnTo>
                    <a:pt x="1891" y="2221"/>
                  </a:lnTo>
                  <a:lnTo>
                    <a:pt x="1891" y="2221"/>
                  </a:lnTo>
                  <a:lnTo>
                    <a:pt x="1891" y="2221"/>
                  </a:lnTo>
                  <a:lnTo>
                    <a:pt x="1891" y="2221"/>
                  </a:lnTo>
                  <a:lnTo>
                    <a:pt x="1891" y="2221"/>
                  </a:lnTo>
                  <a:lnTo>
                    <a:pt x="1891" y="2223"/>
                  </a:lnTo>
                  <a:lnTo>
                    <a:pt x="1891" y="2223"/>
                  </a:lnTo>
                  <a:lnTo>
                    <a:pt x="1891" y="2226"/>
                  </a:lnTo>
                  <a:lnTo>
                    <a:pt x="1893" y="2226"/>
                  </a:lnTo>
                  <a:lnTo>
                    <a:pt x="1893" y="2228"/>
                  </a:lnTo>
                  <a:lnTo>
                    <a:pt x="1896" y="2226"/>
                  </a:lnTo>
                  <a:lnTo>
                    <a:pt x="1896" y="2228"/>
                  </a:lnTo>
                  <a:lnTo>
                    <a:pt x="1896" y="2228"/>
                  </a:lnTo>
                  <a:lnTo>
                    <a:pt x="1896" y="2228"/>
                  </a:lnTo>
                  <a:lnTo>
                    <a:pt x="1893" y="2228"/>
                  </a:lnTo>
                  <a:lnTo>
                    <a:pt x="1893" y="2230"/>
                  </a:lnTo>
                  <a:lnTo>
                    <a:pt x="1893" y="2230"/>
                  </a:lnTo>
                  <a:lnTo>
                    <a:pt x="1891" y="2233"/>
                  </a:lnTo>
                  <a:lnTo>
                    <a:pt x="1891" y="2233"/>
                  </a:lnTo>
                  <a:lnTo>
                    <a:pt x="1891" y="2233"/>
                  </a:lnTo>
                  <a:lnTo>
                    <a:pt x="1891" y="2235"/>
                  </a:lnTo>
                  <a:lnTo>
                    <a:pt x="1891" y="2235"/>
                  </a:lnTo>
                  <a:lnTo>
                    <a:pt x="1893" y="2235"/>
                  </a:lnTo>
                  <a:lnTo>
                    <a:pt x="1893" y="2235"/>
                  </a:lnTo>
                  <a:lnTo>
                    <a:pt x="1893" y="2235"/>
                  </a:lnTo>
                  <a:lnTo>
                    <a:pt x="1893" y="2235"/>
                  </a:lnTo>
                  <a:lnTo>
                    <a:pt x="1891" y="2237"/>
                  </a:lnTo>
                  <a:lnTo>
                    <a:pt x="1891" y="2237"/>
                  </a:lnTo>
                  <a:lnTo>
                    <a:pt x="1891" y="2240"/>
                  </a:lnTo>
                  <a:lnTo>
                    <a:pt x="1891" y="2240"/>
                  </a:lnTo>
                  <a:lnTo>
                    <a:pt x="1891" y="2242"/>
                  </a:lnTo>
                  <a:lnTo>
                    <a:pt x="1891" y="2242"/>
                  </a:lnTo>
                  <a:lnTo>
                    <a:pt x="1891" y="2242"/>
                  </a:lnTo>
                  <a:lnTo>
                    <a:pt x="1893" y="2245"/>
                  </a:lnTo>
                  <a:lnTo>
                    <a:pt x="1893" y="2245"/>
                  </a:lnTo>
                  <a:lnTo>
                    <a:pt x="1893" y="2245"/>
                  </a:lnTo>
                  <a:lnTo>
                    <a:pt x="1896" y="2245"/>
                  </a:lnTo>
                  <a:lnTo>
                    <a:pt x="1893" y="2245"/>
                  </a:lnTo>
                  <a:lnTo>
                    <a:pt x="1893" y="2245"/>
                  </a:lnTo>
                  <a:lnTo>
                    <a:pt x="1891" y="2242"/>
                  </a:lnTo>
                  <a:lnTo>
                    <a:pt x="1891" y="2242"/>
                  </a:lnTo>
                  <a:lnTo>
                    <a:pt x="1891" y="2242"/>
                  </a:lnTo>
                  <a:lnTo>
                    <a:pt x="1891" y="2242"/>
                  </a:lnTo>
                  <a:lnTo>
                    <a:pt x="1891" y="2240"/>
                  </a:lnTo>
                  <a:lnTo>
                    <a:pt x="1891" y="2240"/>
                  </a:lnTo>
                  <a:lnTo>
                    <a:pt x="1891" y="2240"/>
                  </a:lnTo>
                  <a:lnTo>
                    <a:pt x="1889" y="2237"/>
                  </a:lnTo>
                  <a:lnTo>
                    <a:pt x="1889" y="2235"/>
                  </a:lnTo>
                  <a:lnTo>
                    <a:pt x="1889" y="2235"/>
                  </a:lnTo>
                  <a:lnTo>
                    <a:pt x="1886" y="2233"/>
                  </a:lnTo>
                  <a:lnTo>
                    <a:pt x="1886" y="2233"/>
                  </a:lnTo>
                  <a:lnTo>
                    <a:pt x="1886" y="2233"/>
                  </a:lnTo>
                  <a:lnTo>
                    <a:pt x="1886" y="2230"/>
                  </a:lnTo>
                  <a:lnTo>
                    <a:pt x="1886" y="2230"/>
                  </a:lnTo>
                  <a:lnTo>
                    <a:pt x="1886" y="2230"/>
                  </a:lnTo>
                  <a:lnTo>
                    <a:pt x="1884" y="2228"/>
                  </a:lnTo>
                  <a:lnTo>
                    <a:pt x="1884" y="2228"/>
                  </a:lnTo>
                  <a:lnTo>
                    <a:pt x="1881" y="2228"/>
                  </a:lnTo>
                  <a:lnTo>
                    <a:pt x="1881" y="2228"/>
                  </a:lnTo>
                  <a:lnTo>
                    <a:pt x="1881" y="2228"/>
                  </a:lnTo>
                  <a:lnTo>
                    <a:pt x="1881" y="2228"/>
                  </a:lnTo>
                  <a:lnTo>
                    <a:pt x="1881" y="2228"/>
                  </a:lnTo>
                  <a:lnTo>
                    <a:pt x="1881" y="2228"/>
                  </a:lnTo>
                  <a:lnTo>
                    <a:pt x="1879" y="2228"/>
                  </a:lnTo>
                  <a:lnTo>
                    <a:pt x="1877" y="2228"/>
                  </a:lnTo>
                  <a:lnTo>
                    <a:pt x="1877" y="2228"/>
                  </a:lnTo>
                  <a:lnTo>
                    <a:pt x="1877" y="2228"/>
                  </a:lnTo>
                  <a:lnTo>
                    <a:pt x="1877" y="2226"/>
                  </a:lnTo>
                  <a:lnTo>
                    <a:pt x="1877" y="2226"/>
                  </a:lnTo>
                  <a:lnTo>
                    <a:pt x="1877" y="2223"/>
                  </a:lnTo>
                  <a:lnTo>
                    <a:pt x="1877" y="2223"/>
                  </a:lnTo>
                  <a:lnTo>
                    <a:pt x="1874" y="2223"/>
                  </a:lnTo>
                  <a:lnTo>
                    <a:pt x="1874" y="2221"/>
                  </a:lnTo>
                  <a:lnTo>
                    <a:pt x="1872" y="2223"/>
                  </a:lnTo>
                  <a:lnTo>
                    <a:pt x="1870" y="2228"/>
                  </a:lnTo>
                  <a:lnTo>
                    <a:pt x="1867" y="2228"/>
                  </a:lnTo>
                  <a:lnTo>
                    <a:pt x="1867" y="2230"/>
                  </a:lnTo>
                  <a:lnTo>
                    <a:pt x="1867" y="2230"/>
                  </a:lnTo>
                  <a:lnTo>
                    <a:pt x="1870" y="2230"/>
                  </a:lnTo>
                  <a:lnTo>
                    <a:pt x="1870" y="2233"/>
                  </a:lnTo>
                  <a:lnTo>
                    <a:pt x="1870" y="2233"/>
                  </a:lnTo>
                  <a:lnTo>
                    <a:pt x="1870" y="2233"/>
                  </a:lnTo>
                  <a:lnTo>
                    <a:pt x="1870" y="2235"/>
                  </a:lnTo>
                  <a:lnTo>
                    <a:pt x="1867" y="2235"/>
                  </a:lnTo>
                  <a:lnTo>
                    <a:pt x="1867" y="2235"/>
                  </a:lnTo>
                  <a:lnTo>
                    <a:pt x="1865" y="2237"/>
                  </a:lnTo>
                  <a:lnTo>
                    <a:pt x="1865" y="2237"/>
                  </a:lnTo>
                  <a:lnTo>
                    <a:pt x="1865" y="2237"/>
                  </a:lnTo>
                  <a:lnTo>
                    <a:pt x="1865" y="2237"/>
                  </a:lnTo>
                  <a:lnTo>
                    <a:pt x="1865" y="2240"/>
                  </a:lnTo>
                  <a:lnTo>
                    <a:pt x="1865" y="2240"/>
                  </a:lnTo>
                  <a:lnTo>
                    <a:pt x="1865" y="2240"/>
                  </a:lnTo>
                  <a:lnTo>
                    <a:pt x="1865" y="2242"/>
                  </a:lnTo>
                  <a:lnTo>
                    <a:pt x="1865" y="2242"/>
                  </a:lnTo>
                  <a:lnTo>
                    <a:pt x="1865" y="2245"/>
                  </a:lnTo>
                  <a:lnTo>
                    <a:pt x="1865" y="2247"/>
                  </a:lnTo>
                  <a:lnTo>
                    <a:pt x="1865" y="2249"/>
                  </a:lnTo>
                  <a:lnTo>
                    <a:pt x="1865" y="2252"/>
                  </a:lnTo>
                  <a:lnTo>
                    <a:pt x="1865" y="2254"/>
                  </a:lnTo>
                  <a:lnTo>
                    <a:pt x="1867" y="2254"/>
                  </a:lnTo>
                  <a:lnTo>
                    <a:pt x="1867" y="2256"/>
                  </a:lnTo>
                  <a:lnTo>
                    <a:pt x="1872" y="2259"/>
                  </a:lnTo>
                  <a:lnTo>
                    <a:pt x="1874" y="2259"/>
                  </a:lnTo>
                  <a:lnTo>
                    <a:pt x="1874" y="2261"/>
                  </a:lnTo>
                  <a:lnTo>
                    <a:pt x="1874" y="2261"/>
                  </a:lnTo>
                  <a:lnTo>
                    <a:pt x="1877" y="2263"/>
                  </a:lnTo>
                  <a:lnTo>
                    <a:pt x="1877" y="2263"/>
                  </a:lnTo>
                  <a:lnTo>
                    <a:pt x="1877" y="2263"/>
                  </a:lnTo>
                  <a:lnTo>
                    <a:pt x="1879" y="2266"/>
                  </a:lnTo>
                  <a:lnTo>
                    <a:pt x="1881" y="2268"/>
                  </a:lnTo>
                  <a:lnTo>
                    <a:pt x="1881" y="2268"/>
                  </a:lnTo>
                  <a:lnTo>
                    <a:pt x="1881" y="2268"/>
                  </a:lnTo>
                  <a:lnTo>
                    <a:pt x="1881" y="2271"/>
                  </a:lnTo>
                  <a:lnTo>
                    <a:pt x="1884" y="2273"/>
                  </a:lnTo>
                  <a:lnTo>
                    <a:pt x="1881" y="2271"/>
                  </a:lnTo>
                  <a:lnTo>
                    <a:pt x="1881" y="2271"/>
                  </a:lnTo>
                  <a:lnTo>
                    <a:pt x="1881" y="2271"/>
                  </a:lnTo>
                  <a:lnTo>
                    <a:pt x="1881" y="2271"/>
                  </a:lnTo>
                  <a:lnTo>
                    <a:pt x="1881" y="2268"/>
                  </a:lnTo>
                  <a:lnTo>
                    <a:pt x="1879" y="2268"/>
                  </a:lnTo>
                  <a:lnTo>
                    <a:pt x="1879" y="2268"/>
                  </a:lnTo>
                  <a:lnTo>
                    <a:pt x="1879" y="2266"/>
                  </a:lnTo>
                  <a:lnTo>
                    <a:pt x="1879" y="2266"/>
                  </a:lnTo>
                  <a:lnTo>
                    <a:pt x="1874" y="2261"/>
                  </a:lnTo>
                  <a:lnTo>
                    <a:pt x="1872" y="2259"/>
                  </a:lnTo>
                  <a:lnTo>
                    <a:pt x="1867" y="2256"/>
                  </a:lnTo>
                  <a:lnTo>
                    <a:pt x="1867" y="2256"/>
                  </a:lnTo>
                  <a:lnTo>
                    <a:pt x="1867" y="2256"/>
                  </a:lnTo>
                  <a:lnTo>
                    <a:pt x="1865" y="2254"/>
                  </a:lnTo>
                  <a:lnTo>
                    <a:pt x="1862" y="2252"/>
                  </a:lnTo>
                  <a:lnTo>
                    <a:pt x="1860" y="2252"/>
                  </a:lnTo>
                  <a:lnTo>
                    <a:pt x="1858" y="2249"/>
                  </a:lnTo>
                  <a:lnTo>
                    <a:pt x="1855" y="2247"/>
                  </a:lnTo>
                  <a:lnTo>
                    <a:pt x="1855" y="2247"/>
                  </a:lnTo>
                  <a:lnTo>
                    <a:pt x="1853" y="2247"/>
                  </a:lnTo>
                  <a:lnTo>
                    <a:pt x="1853" y="2247"/>
                  </a:lnTo>
                  <a:lnTo>
                    <a:pt x="1851" y="2247"/>
                  </a:lnTo>
                  <a:lnTo>
                    <a:pt x="1851" y="2247"/>
                  </a:lnTo>
                  <a:lnTo>
                    <a:pt x="1851" y="2247"/>
                  </a:lnTo>
                  <a:lnTo>
                    <a:pt x="1848" y="2247"/>
                  </a:lnTo>
                  <a:lnTo>
                    <a:pt x="1848" y="2247"/>
                  </a:lnTo>
                  <a:lnTo>
                    <a:pt x="1846" y="2247"/>
                  </a:lnTo>
                  <a:lnTo>
                    <a:pt x="1841" y="2245"/>
                  </a:lnTo>
                  <a:lnTo>
                    <a:pt x="1841" y="2247"/>
                  </a:lnTo>
                  <a:lnTo>
                    <a:pt x="1839" y="2247"/>
                  </a:lnTo>
                  <a:lnTo>
                    <a:pt x="1836" y="2249"/>
                  </a:lnTo>
                  <a:lnTo>
                    <a:pt x="1836" y="2252"/>
                  </a:lnTo>
                  <a:lnTo>
                    <a:pt x="1836" y="2252"/>
                  </a:lnTo>
                  <a:lnTo>
                    <a:pt x="1836" y="2254"/>
                  </a:lnTo>
                  <a:lnTo>
                    <a:pt x="1836" y="2254"/>
                  </a:lnTo>
                  <a:lnTo>
                    <a:pt x="1834" y="2256"/>
                  </a:lnTo>
                  <a:lnTo>
                    <a:pt x="1834" y="2256"/>
                  </a:lnTo>
                  <a:lnTo>
                    <a:pt x="1834" y="2256"/>
                  </a:lnTo>
                  <a:lnTo>
                    <a:pt x="1834" y="2256"/>
                  </a:lnTo>
                  <a:lnTo>
                    <a:pt x="1832" y="2256"/>
                  </a:lnTo>
                  <a:lnTo>
                    <a:pt x="1832" y="2256"/>
                  </a:lnTo>
                  <a:lnTo>
                    <a:pt x="1832" y="2259"/>
                  </a:lnTo>
                  <a:lnTo>
                    <a:pt x="1832" y="2259"/>
                  </a:lnTo>
                  <a:lnTo>
                    <a:pt x="1829" y="2259"/>
                  </a:lnTo>
                  <a:lnTo>
                    <a:pt x="1827" y="2261"/>
                  </a:lnTo>
                  <a:lnTo>
                    <a:pt x="1827" y="2261"/>
                  </a:lnTo>
                  <a:lnTo>
                    <a:pt x="1827" y="2266"/>
                  </a:lnTo>
                  <a:lnTo>
                    <a:pt x="1825" y="2266"/>
                  </a:lnTo>
                  <a:lnTo>
                    <a:pt x="1825" y="2266"/>
                  </a:lnTo>
                  <a:lnTo>
                    <a:pt x="1827" y="2266"/>
                  </a:lnTo>
                  <a:lnTo>
                    <a:pt x="1827" y="2266"/>
                  </a:lnTo>
                  <a:lnTo>
                    <a:pt x="1827" y="2266"/>
                  </a:lnTo>
                  <a:lnTo>
                    <a:pt x="1827" y="2263"/>
                  </a:lnTo>
                  <a:lnTo>
                    <a:pt x="1825" y="2263"/>
                  </a:lnTo>
                  <a:lnTo>
                    <a:pt x="1825" y="2266"/>
                  </a:lnTo>
                  <a:lnTo>
                    <a:pt x="1825" y="2266"/>
                  </a:lnTo>
                  <a:lnTo>
                    <a:pt x="1822" y="2266"/>
                  </a:lnTo>
                  <a:lnTo>
                    <a:pt x="1825" y="2266"/>
                  </a:lnTo>
                  <a:lnTo>
                    <a:pt x="1825" y="2263"/>
                  </a:lnTo>
                  <a:lnTo>
                    <a:pt x="1825" y="2263"/>
                  </a:lnTo>
                  <a:lnTo>
                    <a:pt x="1827" y="2261"/>
                  </a:lnTo>
                  <a:lnTo>
                    <a:pt x="1827" y="2261"/>
                  </a:lnTo>
                  <a:lnTo>
                    <a:pt x="1827" y="2259"/>
                  </a:lnTo>
                  <a:lnTo>
                    <a:pt x="1827" y="2259"/>
                  </a:lnTo>
                  <a:lnTo>
                    <a:pt x="1827" y="2259"/>
                  </a:lnTo>
                  <a:lnTo>
                    <a:pt x="1829" y="2256"/>
                  </a:lnTo>
                  <a:lnTo>
                    <a:pt x="1832" y="2256"/>
                  </a:lnTo>
                  <a:lnTo>
                    <a:pt x="1832" y="2256"/>
                  </a:lnTo>
                  <a:lnTo>
                    <a:pt x="1832" y="2254"/>
                  </a:lnTo>
                  <a:lnTo>
                    <a:pt x="1832" y="2254"/>
                  </a:lnTo>
                  <a:lnTo>
                    <a:pt x="1832" y="2254"/>
                  </a:lnTo>
                  <a:lnTo>
                    <a:pt x="1832" y="2254"/>
                  </a:lnTo>
                  <a:lnTo>
                    <a:pt x="1832" y="2252"/>
                  </a:lnTo>
                  <a:lnTo>
                    <a:pt x="1834" y="2249"/>
                  </a:lnTo>
                  <a:lnTo>
                    <a:pt x="1834" y="2249"/>
                  </a:lnTo>
                  <a:lnTo>
                    <a:pt x="1839" y="2247"/>
                  </a:lnTo>
                  <a:lnTo>
                    <a:pt x="1839" y="2245"/>
                  </a:lnTo>
                  <a:lnTo>
                    <a:pt x="1839" y="2245"/>
                  </a:lnTo>
                  <a:lnTo>
                    <a:pt x="1839" y="2245"/>
                  </a:lnTo>
                  <a:lnTo>
                    <a:pt x="1839" y="2242"/>
                  </a:lnTo>
                  <a:lnTo>
                    <a:pt x="1839" y="2240"/>
                  </a:lnTo>
                  <a:lnTo>
                    <a:pt x="1839" y="2240"/>
                  </a:lnTo>
                  <a:lnTo>
                    <a:pt x="1839" y="2237"/>
                  </a:lnTo>
                  <a:lnTo>
                    <a:pt x="1836" y="2237"/>
                  </a:lnTo>
                  <a:lnTo>
                    <a:pt x="1836" y="2237"/>
                  </a:lnTo>
                  <a:lnTo>
                    <a:pt x="1836" y="2237"/>
                  </a:lnTo>
                  <a:lnTo>
                    <a:pt x="1834" y="2235"/>
                  </a:lnTo>
                  <a:lnTo>
                    <a:pt x="1834" y="2233"/>
                  </a:lnTo>
                  <a:lnTo>
                    <a:pt x="1834" y="2233"/>
                  </a:lnTo>
                  <a:lnTo>
                    <a:pt x="1832" y="2230"/>
                  </a:lnTo>
                  <a:lnTo>
                    <a:pt x="1832" y="2228"/>
                  </a:lnTo>
                  <a:lnTo>
                    <a:pt x="1832" y="2228"/>
                  </a:lnTo>
                  <a:lnTo>
                    <a:pt x="1832" y="2228"/>
                  </a:lnTo>
                  <a:lnTo>
                    <a:pt x="1832" y="2228"/>
                  </a:lnTo>
                  <a:lnTo>
                    <a:pt x="1829" y="2226"/>
                  </a:lnTo>
                  <a:lnTo>
                    <a:pt x="1829" y="2226"/>
                  </a:lnTo>
                  <a:lnTo>
                    <a:pt x="1829" y="2226"/>
                  </a:lnTo>
                  <a:lnTo>
                    <a:pt x="1829" y="2226"/>
                  </a:lnTo>
                  <a:lnTo>
                    <a:pt x="1829" y="2226"/>
                  </a:lnTo>
                  <a:lnTo>
                    <a:pt x="1827" y="2223"/>
                  </a:lnTo>
                  <a:lnTo>
                    <a:pt x="1827" y="2223"/>
                  </a:lnTo>
                  <a:lnTo>
                    <a:pt x="1825" y="2221"/>
                  </a:lnTo>
                  <a:lnTo>
                    <a:pt x="1825" y="2221"/>
                  </a:lnTo>
                  <a:lnTo>
                    <a:pt x="1825" y="2221"/>
                  </a:lnTo>
                  <a:lnTo>
                    <a:pt x="1822" y="2221"/>
                  </a:lnTo>
                  <a:lnTo>
                    <a:pt x="1822" y="2221"/>
                  </a:lnTo>
                  <a:lnTo>
                    <a:pt x="1822" y="2219"/>
                  </a:lnTo>
                  <a:lnTo>
                    <a:pt x="1822" y="2219"/>
                  </a:lnTo>
                  <a:lnTo>
                    <a:pt x="1822" y="2219"/>
                  </a:lnTo>
                  <a:lnTo>
                    <a:pt x="1822" y="2219"/>
                  </a:lnTo>
                  <a:lnTo>
                    <a:pt x="1822" y="2219"/>
                  </a:lnTo>
                  <a:lnTo>
                    <a:pt x="1820" y="2219"/>
                  </a:lnTo>
                  <a:lnTo>
                    <a:pt x="1820" y="2219"/>
                  </a:lnTo>
                  <a:lnTo>
                    <a:pt x="1818" y="2219"/>
                  </a:lnTo>
                  <a:lnTo>
                    <a:pt x="1818" y="2219"/>
                  </a:lnTo>
                  <a:lnTo>
                    <a:pt x="1818" y="2216"/>
                  </a:lnTo>
                  <a:lnTo>
                    <a:pt x="1818" y="2216"/>
                  </a:lnTo>
                  <a:lnTo>
                    <a:pt x="1815" y="2214"/>
                  </a:lnTo>
                  <a:lnTo>
                    <a:pt x="1815" y="2214"/>
                  </a:lnTo>
                  <a:lnTo>
                    <a:pt x="1815" y="2214"/>
                  </a:lnTo>
                  <a:lnTo>
                    <a:pt x="1813" y="2214"/>
                  </a:lnTo>
                  <a:lnTo>
                    <a:pt x="1813" y="2211"/>
                  </a:lnTo>
                  <a:lnTo>
                    <a:pt x="1810" y="2211"/>
                  </a:lnTo>
                  <a:lnTo>
                    <a:pt x="1810" y="2211"/>
                  </a:lnTo>
                  <a:lnTo>
                    <a:pt x="1810" y="2211"/>
                  </a:lnTo>
                  <a:lnTo>
                    <a:pt x="1808" y="2214"/>
                  </a:lnTo>
                  <a:lnTo>
                    <a:pt x="1806" y="2211"/>
                  </a:lnTo>
                  <a:lnTo>
                    <a:pt x="1806" y="2211"/>
                  </a:lnTo>
                  <a:lnTo>
                    <a:pt x="1801" y="2211"/>
                  </a:lnTo>
                  <a:lnTo>
                    <a:pt x="1801" y="2209"/>
                  </a:lnTo>
                  <a:lnTo>
                    <a:pt x="1799" y="2207"/>
                  </a:lnTo>
                  <a:lnTo>
                    <a:pt x="1796" y="2204"/>
                  </a:lnTo>
                  <a:lnTo>
                    <a:pt x="1796" y="2204"/>
                  </a:lnTo>
                  <a:lnTo>
                    <a:pt x="1787" y="2204"/>
                  </a:lnTo>
                  <a:lnTo>
                    <a:pt x="1787" y="2207"/>
                  </a:lnTo>
                  <a:lnTo>
                    <a:pt x="1787" y="2207"/>
                  </a:lnTo>
                  <a:lnTo>
                    <a:pt x="1784" y="2209"/>
                  </a:lnTo>
                  <a:lnTo>
                    <a:pt x="1784" y="2209"/>
                  </a:lnTo>
                  <a:lnTo>
                    <a:pt x="1784" y="2209"/>
                  </a:lnTo>
                  <a:lnTo>
                    <a:pt x="1784" y="2207"/>
                  </a:lnTo>
                  <a:lnTo>
                    <a:pt x="1784" y="2207"/>
                  </a:lnTo>
                  <a:lnTo>
                    <a:pt x="1784" y="2204"/>
                  </a:lnTo>
                  <a:lnTo>
                    <a:pt x="1784" y="2207"/>
                  </a:lnTo>
                  <a:lnTo>
                    <a:pt x="1784" y="2207"/>
                  </a:lnTo>
                  <a:lnTo>
                    <a:pt x="1784" y="2207"/>
                  </a:lnTo>
                  <a:lnTo>
                    <a:pt x="1784" y="2204"/>
                  </a:lnTo>
                  <a:lnTo>
                    <a:pt x="1784" y="2204"/>
                  </a:lnTo>
                  <a:lnTo>
                    <a:pt x="1787" y="2204"/>
                  </a:lnTo>
                  <a:lnTo>
                    <a:pt x="1787" y="2204"/>
                  </a:lnTo>
                  <a:lnTo>
                    <a:pt x="1787" y="2204"/>
                  </a:lnTo>
                  <a:lnTo>
                    <a:pt x="1787" y="2204"/>
                  </a:lnTo>
                  <a:lnTo>
                    <a:pt x="1787" y="2204"/>
                  </a:lnTo>
                  <a:lnTo>
                    <a:pt x="1789" y="2204"/>
                  </a:lnTo>
                  <a:lnTo>
                    <a:pt x="1791" y="2200"/>
                  </a:lnTo>
                  <a:lnTo>
                    <a:pt x="1791" y="2200"/>
                  </a:lnTo>
                  <a:lnTo>
                    <a:pt x="1796" y="2200"/>
                  </a:lnTo>
                  <a:lnTo>
                    <a:pt x="1796" y="2200"/>
                  </a:lnTo>
                  <a:lnTo>
                    <a:pt x="1794" y="2200"/>
                  </a:lnTo>
                  <a:lnTo>
                    <a:pt x="1794" y="2200"/>
                  </a:lnTo>
                  <a:lnTo>
                    <a:pt x="1794" y="2197"/>
                  </a:lnTo>
                  <a:lnTo>
                    <a:pt x="1791" y="2195"/>
                  </a:lnTo>
                  <a:lnTo>
                    <a:pt x="1791" y="2195"/>
                  </a:lnTo>
                  <a:lnTo>
                    <a:pt x="1791" y="2195"/>
                  </a:lnTo>
                  <a:lnTo>
                    <a:pt x="1791" y="2192"/>
                  </a:lnTo>
                  <a:lnTo>
                    <a:pt x="1791" y="2192"/>
                  </a:lnTo>
                  <a:lnTo>
                    <a:pt x="1789" y="2190"/>
                  </a:lnTo>
                  <a:lnTo>
                    <a:pt x="1787" y="2190"/>
                  </a:lnTo>
                  <a:lnTo>
                    <a:pt x="1787" y="2190"/>
                  </a:lnTo>
                  <a:lnTo>
                    <a:pt x="1782" y="2185"/>
                  </a:lnTo>
                  <a:lnTo>
                    <a:pt x="1780" y="2183"/>
                  </a:lnTo>
                  <a:lnTo>
                    <a:pt x="1780" y="2183"/>
                  </a:lnTo>
                  <a:lnTo>
                    <a:pt x="1777" y="2183"/>
                  </a:lnTo>
                  <a:lnTo>
                    <a:pt x="1777" y="2178"/>
                  </a:lnTo>
                  <a:lnTo>
                    <a:pt x="1775" y="2178"/>
                  </a:lnTo>
                  <a:lnTo>
                    <a:pt x="1775" y="2178"/>
                  </a:lnTo>
                  <a:lnTo>
                    <a:pt x="1775" y="2176"/>
                  </a:lnTo>
                  <a:lnTo>
                    <a:pt x="1773" y="2174"/>
                  </a:lnTo>
                  <a:lnTo>
                    <a:pt x="1770" y="2174"/>
                  </a:lnTo>
                  <a:lnTo>
                    <a:pt x="1770" y="2171"/>
                  </a:lnTo>
                  <a:lnTo>
                    <a:pt x="1768" y="2171"/>
                  </a:lnTo>
                  <a:lnTo>
                    <a:pt x="1768" y="2171"/>
                  </a:lnTo>
                  <a:lnTo>
                    <a:pt x="1768" y="2171"/>
                  </a:lnTo>
                  <a:lnTo>
                    <a:pt x="1768" y="2171"/>
                  </a:lnTo>
                  <a:lnTo>
                    <a:pt x="1765" y="2171"/>
                  </a:lnTo>
                  <a:lnTo>
                    <a:pt x="1763" y="2169"/>
                  </a:lnTo>
                  <a:lnTo>
                    <a:pt x="1763" y="2169"/>
                  </a:lnTo>
                  <a:lnTo>
                    <a:pt x="1763" y="2169"/>
                  </a:lnTo>
                  <a:lnTo>
                    <a:pt x="1763" y="2166"/>
                  </a:lnTo>
                  <a:lnTo>
                    <a:pt x="1763" y="2166"/>
                  </a:lnTo>
                  <a:lnTo>
                    <a:pt x="1763" y="2166"/>
                  </a:lnTo>
                  <a:lnTo>
                    <a:pt x="1763" y="2166"/>
                  </a:lnTo>
                  <a:lnTo>
                    <a:pt x="1763" y="2162"/>
                  </a:lnTo>
                  <a:lnTo>
                    <a:pt x="1763" y="2159"/>
                  </a:lnTo>
                  <a:lnTo>
                    <a:pt x="1763" y="2157"/>
                  </a:lnTo>
                  <a:lnTo>
                    <a:pt x="1763" y="2155"/>
                  </a:lnTo>
                  <a:lnTo>
                    <a:pt x="1763" y="2155"/>
                  </a:lnTo>
                  <a:lnTo>
                    <a:pt x="1763" y="2155"/>
                  </a:lnTo>
                  <a:lnTo>
                    <a:pt x="1763" y="2155"/>
                  </a:lnTo>
                  <a:lnTo>
                    <a:pt x="1765" y="2155"/>
                  </a:lnTo>
                  <a:lnTo>
                    <a:pt x="1765" y="2152"/>
                  </a:lnTo>
                  <a:lnTo>
                    <a:pt x="1765" y="2152"/>
                  </a:lnTo>
                  <a:lnTo>
                    <a:pt x="1765" y="2150"/>
                  </a:lnTo>
                  <a:lnTo>
                    <a:pt x="1765" y="2150"/>
                  </a:lnTo>
                  <a:lnTo>
                    <a:pt x="1763" y="2143"/>
                  </a:lnTo>
                  <a:lnTo>
                    <a:pt x="1763" y="2143"/>
                  </a:lnTo>
                  <a:lnTo>
                    <a:pt x="1763" y="2140"/>
                  </a:lnTo>
                  <a:lnTo>
                    <a:pt x="1761" y="2138"/>
                  </a:lnTo>
                  <a:lnTo>
                    <a:pt x="1761" y="2138"/>
                  </a:lnTo>
                  <a:lnTo>
                    <a:pt x="1761" y="2138"/>
                  </a:lnTo>
                  <a:lnTo>
                    <a:pt x="1761" y="2136"/>
                  </a:lnTo>
                  <a:lnTo>
                    <a:pt x="1761" y="2136"/>
                  </a:lnTo>
                  <a:lnTo>
                    <a:pt x="1761" y="2136"/>
                  </a:lnTo>
                  <a:lnTo>
                    <a:pt x="1761" y="2133"/>
                  </a:lnTo>
                  <a:lnTo>
                    <a:pt x="1761" y="2133"/>
                  </a:lnTo>
                  <a:lnTo>
                    <a:pt x="1761" y="2131"/>
                  </a:lnTo>
                  <a:lnTo>
                    <a:pt x="1761" y="2131"/>
                  </a:lnTo>
                  <a:lnTo>
                    <a:pt x="1761" y="2129"/>
                  </a:lnTo>
                  <a:lnTo>
                    <a:pt x="1761" y="2126"/>
                  </a:lnTo>
                  <a:lnTo>
                    <a:pt x="1761" y="2126"/>
                  </a:lnTo>
                  <a:lnTo>
                    <a:pt x="1761" y="2124"/>
                  </a:lnTo>
                  <a:lnTo>
                    <a:pt x="1761" y="2122"/>
                  </a:lnTo>
                  <a:lnTo>
                    <a:pt x="1761" y="2122"/>
                  </a:lnTo>
                  <a:lnTo>
                    <a:pt x="1761" y="2122"/>
                  </a:lnTo>
                  <a:lnTo>
                    <a:pt x="1761" y="2119"/>
                  </a:lnTo>
                  <a:lnTo>
                    <a:pt x="1758" y="2117"/>
                  </a:lnTo>
                  <a:lnTo>
                    <a:pt x="1758" y="2117"/>
                  </a:lnTo>
                  <a:lnTo>
                    <a:pt x="1756" y="2110"/>
                  </a:lnTo>
                  <a:lnTo>
                    <a:pt x="1754" y="2107"/>
                  </a:lnTo>
                  <a:lnTo>
                    <a:pt x="1754" y="2107"/>
                  </a:lnTo>
                  <a:lnTo>
                    <a:pt x="1751" y="2107"/>
                  </a:lnTo>
                  <a:lnTo>
                    <a:pt x="1751" y="2105"/>
                  </a:lnTo>
                  <a:lnTo>
                    <a:pt x="1751" y="2107"/>
                  </a:lnTo>
                  <a:lnTo>
                    <a:pt x="1751" y="2107"/>
                  </a:lnTo>
                  <a:lnTo>
                    <a:pt x="1751" y="2107"/>
                  </a:lnTo>
                  <a:lnTo>
                    <a:pt x="1751" y="2107"/>
                  </a:lnTo>
                  <a:lnTo>
                    <a:pt x="1751" y="2105"/>
                  </a:lnTo>
                  <a:lnTo>
                    <a:pt x="1751" y="2105"/>
                  </a:lnTo>
                  <a:lnTo>
                    <a:pt x="1749" y="2103"/>
                  </a:lnTo>
                  <a:lnTo>
                    <a:pt x="1749" y="2103"/>
                  </a:lnTo>
                  <a:lnTo>
                    <a:pt x="1749" y="2103"/>
                  </a:lnTo>
                  <a:lnTo>
                    <a:pt x="1749" y="2100"/>
                  </a:lnTo>
                  <a:lnTo>
                    <a:pt x="1747" y="2098"/>
                  </a:lnTo>
                  <a:lnTo>
                    <a:pt x="1747" y="2095"/>
                  </a:lnTo>
                  <a:lnTo>
                    <a:pt x="1747" y="2095"/>
                  </a:lnTo>
                  <a:lnTo>
                    <a:pt x="1747" y="2095"/>
                  </a:lnTo>
                  <a:lnTo>
                    <a:pt x="1747" y="2095"/>
                  </a:lnTo>
                  <a:lnTo>
                    <a:pt x="1747" y="2093"/>
                  </a:lnTo>
                  <a:lnTo>
                    <a:pt x="1747" y="2093"/>
                  </a:lnTo>
                  <a:lnTo>
                    <a:pt x="1747" y="2093"/>
                  </a:lnTo>
                  <a:lnTo>
                    <a:pt x="1747" y="2093"/>
                  </a:lnTo>
                  <a:lnTo>
                    <a:pt x="1747" y="2091"/>
                  </a:lnTo>
                  <a:lnTo>
                    <a:pt x="1747" y="2091"/>
                  </a:lnTo>
                  <a:lnTo>
                    <a:pt x="1747" y="2086"/>
                  </a:lnTo>
                  <a:lnTo>
                    <a:pt x="1749" y="2081"/>
                  </a:lnTo>
                  <a:lnTo>
                    <a:pt x="1749" y="2074"/>
                  </a:lnTo>
                  <a:lnTo>
                    <a:pt x="1749" y="2067"/>
                  </a:lnTo>
                  <a:lnTo>
                    <a:pt x="1749" y="2065"/>
                  </a:lnTo>
                  <a:lnTo>
                    <a:pt x="1749" y="2065"/>
                  </a:lnTo>
                  <a:lnTo>
                    <a:pt x="1749" y="2065"/>
                  </a:lnTo>
                  <a:lnTo>
                    <a:pt x="1749" y="2065"/>
                  </a:lnTo>
                  <a:lnTo>
                    <a:pt x="1747" y="2065"/>
                  </a:lnTo>
                  <a:lnTo>
                    <a:pt x="1747" y="2062"/>
                  </a:lnTo>
                  <a:lnTo>
                    <a:pt x="1747" y="2062"/>
                  </a:lnTo>
                  <a:lnTo>
                    <a:pt x="1747" y="2062"/>
                  </a:lnTo>
                  <a:lnTo>
                    <a:pt x="1747" y="2060"/>
                  </a:lnTo>
                  <a:lnTo>
                    <a:pt x="1747" y="2060"/>
                  </a:lnTo>
                  <a:lnTo>
                    <a:pt x="1747" y="2060"/>
                  </a:lnTo>
                  <a:lnTo>
                    <a:pt x="1747" y="2060"/>
                  </a:lnTo>
                  <a:lnTo>
                    <a:pt x="1747" y="2060"/>
                  </a:lnTo>
                  <a:lnTo>
                    <a:pt x="1747" y="2060"/>
                  </a:lnTo>
                  <a:lnTo>
                    <a:pt x="1747" y="2060"/>
                  </a:lnTo>
                  <a:lnTo>
                    <a:pt x="1747" y="2060"/>
                  </a:lnTo>
                  <a:lnTo>
                    <a:pt x="1747" y="2058"/>
                  </a:lnTo>
                  <a:lnTo>
                    <a:pt x="1747" y="2058"/>
                  </a:lnTo>
                  <a:lnTo>
                    <a:pt x="1747" y="2055"/>
                  </a:lnTo>
                  <a:lnTo>
                    <a:pt x="1747" y="2055"/>
                  </a:lnTo>
                  <a:lnTo>
                    <a:pt x="1747" y="2053"/>
                  </a:lnTo>
                  <a:lnTo>
                    <a:pt x="1747" y="2053"/>
                  </a:lnTo>
                  <a:lnTo>
                    <a:pt x="1747" y="2051"/>
                  </a:lnTo>
                  <a:lnTo>
                    <a:pt x="1744" y="2051"/>
                  </a:lnTo>
                  <a:lnTo>
                    <a:pt x="1742" y="2048"/>
                  </a:lnTo>
                  <a:lnTo>
                    <a:pt x="1742" y="2048"/>
                  </a:lnTo>
                  <a:lnTo>
                    <a:pt x="1742" y="2051"/>
                  </a:lnTo>
                  <a:lnTo>
                    <a:pt x="1744" y="2051"/>
                  </a:lnTo>
                  <a:lnTo>
                    <a:pt x="1744" y="2051"/>
                  </a:lnTo>
                  <a:lnTo>
                    <a:pt x="1742" y="2053"/>
                  </a:lnTo>
                  <a:lnTo>
                    <a:pt x="1744" y="2053"/>
                  </a:lnTo>
                  <a:lnTo>
                    <a:pt x="1744" y="2053"/>
                  </a:lnTo>
                  <a:lnTo>
                    <a:pt x="1744" y="2053"/>
                  </a:lnTo>
                  <a:lnTo>
                    <a:pt x="1742" y="2053"/>
                  </a:lnTo>
                  <a:lnTo>
                    <a:pt x="1742" y="2053"/>
                  </a:lnTo>
                  <a:lnTo>
                    <a:pt x="1742" y="2053"/>
                  </a:lnTo>
                  <a:lnTo>
                    <a:pt x="1742" y="2053"/>
                  </a:lnTo>
                  <a:lnTo>
                    <a:pt x="1742" y="2053"/>
                  </a:lnTo>
                  <a:lnTo>
                    <a:pt x="1742" y="2053"/>
                  </a:lnTo>
                  <a:lnTo>
                    <a:pt x="1742" y="2053"/>
                  </a:lnTo>
                  <a:lnTo>
                    <a:pt x="1739" y="2053"/>
                  </a:lnTo>
                  <a:lnTo>
                    <a:pt x="1739" y="2053"/>
                  </a:lnTo>
                  <a:lnTo>
                    <a:pt x="1739" y="2051"/>
                  </a:lnTo>
                  <a:lnTo>
                    <a:pt x="1739" y="2051"/>
                  </a:lnTo>
                  <a:lnTo>
                    <a:pt x="1739" y="2051"/>
                  </a:lnTo>
                  <a:lnTo>
                    <a:pt x="1739" y="2051"/>
                  </a:lnTo>
                  <a:lnTo>
                    <a:pt x="1737" y="2051"/>
                  </a:lnTo>
                  <a:lnTo>
                    <a:pt x="1737" y="2051"/>
                  </a:lnTo>
                  <a:lnTo>
                    <a:pt x="1737" y="2051"/>
                  </a:lnTo>
                  <a:lnTo>
                    <a:pt x="1737" y="2051"/>
                  </a:lnTo>
                  <a:lnTo>
                    <a:pt x="1735" y="2051"/>
                  </a:lnTo>
                  <a:lnTo>
                    <a:pt x="1737" y="2051"/>
                  </a:lnTo>
                  <a:lnTo>
                    <a:pt x="1737" y="2051"/>
                  </a:lnTo>
                  <a:lnTo>
                    <a:pt x="1737" y="2051"/>
                  </a:lnTo>
                  <a:lnTo>
                    <a:pt x="1735" y="2051"/>
                  </a:lnTo>
                  <a:lnTo>
                    <a:pt x="1735" y="2051"/>
                  </a:lnTo>
                  <a:lnTo>
                    <a:pt x="1732" y="2051"/>
                  </a:lnTo>
                  <a:lnTo>
                    <a:pt x="1732" y="2051"/>
                  </a:lnTo>
                  <a:lnTo>
                    <a:pt x="1730" y="2053"/>
                  </a:lnTo>
                  <a:lnTo>
                    <a:pt x="1730" y="2053"/>
                  </a:lnTo>
                  <a:lnTo>
                    <a:pt x="1728" y="2053"/>
                  </a:lnTo>
                  <a:lnTo>
                    <a:pt x="1728" y="2053"/>
                  </a:lnTo>
                  <a:lnTo>
                    <a:pt x="1725" y="2053"/>
                  </a:lnTo>
                  <a:lnTo>
                    <a:pt x="1725" y="2053"/>
                  </a:lnTo>
                  <a:lnTo>
                    <a:pt x="1725" y="2053"/>
                  </a:lnTo>
                  <a:lnTo>
                    <a:pt x="1725" y="2055"/>
                  </a:lnTo>
                  <a:lnTo>
                    <a:pt x="1723" y="2055"/>
                  </a:lnTo>
                  <a:lnTo>
                    <a:pt x="1723" y="2053"/>
                  </a:lnTo>
                  <a:lnTo>
                    <a:pt x="1725" y="2053"/>
                  </a:lnTo>
                  <a:lnTo>
                    <a:pt x="1725" y="2053"/>
                  </a:lnTo>
                  <a:lnTo>
                    <a:pt x="1725" y="2053"/>
                  </a:lnTo>
                  <a:lnTo>
                    <a:pt x="1725" y="2051"/>
                  </a:lnTo>
                  <a:lnTo>
                    <a:pt x="1725" y="2051"/>
                  </a:lnTo>
                  <a:lnTo>
                    <a:pt x="1723" y="2048"/>
                  </a:lnTo>
                  <a:lnTo>
                    <a:pt x="1721" y="2048"/>
                  </a:lnTo>
                  <a:lnTo>
                    <a:pt x="1721" y="2048"/>
                  </a:lnTo>
                  <a:lnTo>
                    <a:pt x="1718" y="2048"/>
                  </a:lnTo>
                  <a:lnTo>
                    <a:pt x="1716" y="2051"/>
                  </a:lnTo>
                  <a:lnTo>
                    <a:pt x="1716" y="2051"/>
                  </a:lnTo>
                  <a:lnTo>
                    <a:pt x="1716" y="2051"/>
                  </a:lnTo>
                  <a:lnTo>
                    <a:pt x="1713" y="2051"/>
                  </a:lnTo>
                  <a:lnTo>
                    <a:pt x="1713" y="2051"/>
                  </a:lnTo>
                  <a:lnTo>
                    <a:pt x="1713" y="2051"/>
                  </a:lnTo>
                  <a:lnTo>
                    <a:pt x="1711" y="2051"/>
                  </a:lnTo>
                  <a:lnTo>
                    <a:pt x="1709" y="2051"/>
                  </a:lnTo>
                  <a:lnTo>
                    <a:pt x="1706" y="2051"/>
                  </a:lnTo>
                  <a:lnTo>
                    <a:pt x="1706" y="2051"/>
                  </a:lnTo>
                  <a:lnTo>
                    <a:pt x="1706" y="2051"/>
                  </a:lnTo>
                  <a:lnTo>
                    <a:pt x="1704" y="2051"/>
                  </a:lnTo>
                  <a:lnTo>
                    <a:pt x="1702" y="2048"/>
                  </a:lnTo>
                  <a:lnTo>
                    <a:pt x="1699" y="2048"/>
                  </a:lnTo>
                  <a:lnTo>
                    <a:pt x="1697" y="2051"/>
                  </a:lnTo>
                  <a:lnTo>
                    <a:pt x="1699" y="2051"/>
                  </a:lnTo>
                  <a:lnTo>
                    <a:pt x="1699" y="2051"/>
                  </a:lnTo>
                  <a:lnTo>
                    <a:pt x="1699" y="2051"/>
                  </a:lnTo>
                  <a:lnTo>
                    <a:pt x="1702" y="2051"/>
                  </a:lnTo>
                  <a:lnTo>
                    <a:pt x="1702" y="2051"/>
                  </a:lnTo>
                  <a:lnTo>
                    <a:pt x="1702" y="2051"/>
                  </a:lnTo>
                  <a:lnTo>
                    <a:pt x="1702" y="2053"/>
                  </a:lnTo>
                  <a:lnTo>
                    <a:pt x="1704" y="2053"/>
                  </a:lnTo>
                  <a:lnTo>
                    <a:pt x="1704" y="2053"/>
                  </a:lnTo>
                  <a:lnTo>
                    <a:pt x="1704" y="2055"/>
                  </a:lnTo>
                  <a:lnTo>
                    <a:pt x="1704" y="2055"/>
                  </a:lnTo>
                  <a:lnTo>
                    <a:pt x="1704" y="2055"/>
                  </a:lnTo>
                  <a:lnTo>
                    <a:pt x="1704" y="2055"/>
                  </a:lnTo>
                  <a:lnTo>
                    <a:pt x="1704" y="2058"/>
                  </a:lnTo>
                  <a:lnTo>
                    <a:pt x="1704" y="2055"/>
                  </a:lnTo>
                  <a:lnTo>
                    <a:pt x="1704" y="2055"/>
                  </a:lnTo>
                  <a:lnTo>
                    <a:pt x="1704" y="2055"/>
                  </a:lnTo>
                  <a:lnTo>
                    <a:pt x="1704" y="2055"/>
                  </a:lnTo>
                  <a:lnTo>
                    <a:pt x="1704" y="2053"/>
                  </a:lnTo>
                  <a:lnTo>
                    <a:pt x="1704" y="2053"/>
                  </a:lnTo>
                  <a:lnTo>
                    <a:pt x="1704" y="2053"/>
                  </a:lnTo>
                  <a:lnTo>
                    <a:pt x="1702" y="2053"/>
                  </a:lnTo>
                  <a:lnTo>
                    <a:pt x="1702" y="2053"/>
                  </a:lnTo>
                  <a:lnTo>
                    <a:pt x="1702" y="2053"/>
                  </a:lnTo>
                  <a:lnTo>
                    <a:pt x="1702" y="2051"/>
                  </a:lnTo>
                  <a:lnTo>
                    <a:pt x="1702" y="2051"/>
                  </a:lnTo>
                  <a:lnTo>
                    <a:pt x="1702" y="2051"/>
                  </a:lnTo>
                  <a:lnTo>
                    <a:pt x="1702" y="2051"/>
                  </a:lnTo>
                  <a:lnTo>
                    <a:pt x="1699" y="2053"/>
                  </a:lnTo>
                  <a:lnTo>
                    <a:pt x="1699" y="2051"/>
                  </a:lnTo>
                  <a:lnTo>
                    <a:pt x="1699" y="2051"/>
                  </a:lnTo>
                  <a:lnTo>
                    <a:pt x="1699" y="2051"/>
                  </a:lnTo>
                  <a:lnTo>
                    <a:pt x="1699" y="2051"/>
                  </a:lnTo>
                  <a:lnTo>
                    <a:pt x="1699" y="2051"/>
                  </a:lnTo>
                  <a:lnTo>
                    <a:pt x="1699" y="2053"/>
                  </a:lnTo>
                  <a:lnTo>
                    <a:pt x="1699" y="2053"/>
                  </a:lnTo>
                  <a:lnTo>
                    <a:pt x="1697" y="2053"/>
                  </a:lnTo>
                  <a:lnTo>
                    <a:pt x="1697" y="2053"/>
                  </a:lnTo>
                  <a:lnTo>
                    <a:pt x="1697" y="2051"/>
                  </a:lnTo>
                  <a:lnTo>
                    <a:pt x="1697" y="2051"/>
                  </a:lnTo>
                  <a:lnTo>
                    <a:pt x="1697" y="2051"/>
                  </a:lnTo>
                  <a:lnTo>
                    <a:pt x="1692" y="2048"/>
                  </a:lnTo>
                  <a:lnTo>
                    <a:pt x="1692" y="2048"/>
                  </a:lnTo>
                  <a:lnTo>
                    <a:pt x="1690" y="2048"/>
                  </a:lnTo>
                  <a:lnTo>
                    <a:pt x="1690" y="2048"/>
                  </a:lnTo>
                  <a:lnTo>
                    <a:pt x="1687" y="2051"/>
                  </a:lnTo>
                  <a:lnTo>
                    <a:pt x="1685" y="2051"/>
                  </a:lnTo>
                  <a:lnTo>
                    <a:pt x="1685" y="2051"/>
                  </a:lnTo>
                  <a:lnTo>
                    <a:pt x="1683" y="2051"/>
                  </a:lnTo>
                  <a:lnTo>
                    <a:pt x="1683" y="2051"/>
                  </a:lnTo>
                  <a:lnTo>
                    <a:pt x="1676" y="2053"/>
                  </a:lnTo>
                  <a:lnTo>
                    <a:pt x="1676" y="2053"/>
                  </a:lnTo>
                  <a:lnTo>
                    <a:pt x="1673" y="2053"/>
                  </a:lnTo>
                  <a:lnTo>
                    <a:pt x="1671" y="2055"/>
                  </a:lnTo>
                  <a:lnTo>
                    <a:pt x="1671" y="2055"/>
                  </a:lnTo>
                  <a:lnTo>
                    <a:pt x="1659" y="2053"/>
                  </a:lnTo>
                  <a:lnTo>
                    <a:pt x="1654" y="2055"/>
                  </a:lnTo>
                  <a:lnTo>
                    <a:pt x="1654" y="2055"/>
                  </a:lnTo>
                  <a:lnTo>
                    <a:pt x="1652" y="2055"/>
                  </a:lnTo>
                  <a:lnTo>
                    <a:pt x="1652" y="2058"/>
                  </a:lnTo>
                  <a:lnTo>
                    <a:pt x="1647" y="2065"/>
                  </a:lnTo>
                  <a:lnTo>
                    <a:pt x="1647" y="2067"/>
                  </a:lnTo>
                  <a:lnTo>
                    <a:pt x="1647" y="2069"/>
                  </a:lnTo>
                  <a:lnTo>
                    <a:pt x="1647" y="2072"/>
                  </a:lnTo>
                  <a:lnTo>
                    <a:pt x="1647" y="2072"/>
                  </a:lnTo>
                  <a:lnTo>
                    <a:pt x="1647" y="2072"/>
                  </a:lnTo>
                  <a:lnTo>
                    <a:pt x="1645" y="2072"/>
                  </a:lnTo>
                  <a:lnTo>
                    <a:pt x="1647" y="2069"/>
                  </a:lnTo>
                  <a:lnTo>
                    <a:pt x="1647" y="2069"/>
                  </a:lnTo>
                  <a:lnTo>
                    <a:pt x="1647" y="2069"/>
                  </a:lnTo>
                  <a:lnTo>
                    <a:pt x="1647" y="2067"/>
                  </a:lnTo>
                  <a:lnTo>
                    <a:pt x="1647" y="2067"/>
                  </a:lnTo>
                  <a:lnTo>
                    <a:pt x="1645" y="2067"/>
                  </a:lnTo>
                  <a:lnTo>
                    <a:pt x="1647" y="2067"/>
                  </a:lnTo>
                  <a:lnTo>
                    <a:pt x="1647" y="2062"/>
                  </a:lnTo>
                  <a:lnTo>
                    <a:pt x="1647" y="2062"/>
                  </a:lnTo>
                  <a:lnTo>
                    <a:pt x="1650" y="2060"/>
                  </a:lnTo>
                  <a:lnTo>
                    <a:pt x="1650" y="2060"/>
                  </a:lnTo>
                  <a:lnTo>
                    <a:pt x="1650" y="2058"/>
                  </a:lnTo>
                  <a:lnTo>
                    <a:pt x="1650" y="2058"/>
                  </a:lnTo>
                  <a:lnTo>
                    <a:pt x="1650" y="2058"/>
                  </a:lnTo>
                  <a:lnTo>
                    <a:pt x="1650" y="2058"/>
                  </a:lnTo>
                  <a:lnTo>
                    <a:pt x="1650" y="2055"/>
                  </a:lnTo>
                  <a:lnTo>
                    <a:pt x="1652" y="2055"/>
                  </a:lnTo>
                  <a:lnTo>
                    <a:pt x="1652" y="2055"/>
                  </a:lnTo>
                  <a:lnTo>
                    <a:pt x="1652" y="2055"/>
                  </a:lnTo>
                  <a:lnTo>
                    <a:pt x="1652" y="2055"/>
                  </a:lnTo>
                  <a:lnTo>
                    <a:pt x="1652" y="2053"/>
                  </a:lnTo>
                  <a:lnTo>
                    <a:pt x="1652" y="2053"/>
                  </a:lnTo>
                  <a:lnTo>
                    <a:pt x="1652" y="2051"/>
                  </a:lnTo>
                  <a:lnTo>
                    <a:pt x="1647" y="2051"/>
                  </a:lnTo>
                  <a:lnTo>
                    <a:pt x="1647" y="2051"/>
                  </a:lnTo>
                  <a:lnTo>
                    <a:pt x="1642" y="2048"/>
                  </a:lnTo>
                  <a:lnTo>
                    <a:pt x="1640" y="2046"/>
                  </a:lnTo>
                  <a:lnTo>
                    <a:pt x="1640" y="2046"/>
                  </a:lnTo>
                  <a:lnTo>
                    <a:pt x="1638" y="2046"/>
                  </a:lnTo>
                  <a:lnTo>
                    <a:pt x="1638" y="2043"/>
                  </a:lnTo>
                  <a:lnTo>
                    <a:pt x="1635" y="2043"/>
                  </a:lnTo>
                  <a:lnTo>
                    <a:pt x="1635" y="2041"/>
                  </a:lnTo>
                  <a:lnTo>
                    <a:pt x="1633" y="2041"/>
                  </a:lnTo>
                  <a:lnTo>
                    <a:pt x="1633" y="2041"/>
                  </a:lnTo>
                  <a:lnTo>
                    <a:pt x="1631" y="2039"/>
                  </a:lnTo>
                  <a:lnTo>
                    <a:pt x="1631" y="2039"/>
                  </a:lnTo>
                  <a:lnTo>
                    <a:pt x="1628" y="2039"/>
                  </a:lnTo>
                  <a:lnTo>
                    <a:pt x="1628" y="2039"/>
                  </a:lnTo>
                  <a:lnTo>
                    <a:pt x="1626" y="2039"/>
                  </a:lnTo>
                  <a:lnTo>
                    <a:pt x="1626" y="2039"/>
                  </a:lnTo>
                  <a:lnTo>
                    <a:pt x="1623" y="2036"/>
                  </a:lnTo>
                  <a:lnTo>
                    <a:pt x="1621" y="2036"/>
                  </a:lnTo>
                  <a:lnTo>
                    <a:pt x="1614" y="2036"/>
                  </a:lnTo>
                  <a:lnTo>
                    <a:pt x="1609" y="2034"/>
                  </a:lnTo>
                  <a:lnTo>
                    <a:pt x="1602" y="2032"/>
                  </a:lnTo>
                  <a:lnTo>
                    <a:pt x="1600" y="2029"/>
                  </a:lnTo>
                  <a:lnTo>
                    <a:pt x="1597" y="2029"/>
                  </a:lnTo>
                  <a:lnTo>
                    <a:pt x="1597" y="2029"/>
                  </a:lnTo>
                  <a:lnTo>
                    <a:pt x="1597" y="2029"/>
                  </a:lnTo>
                  <a:lnTo>
                    <a:pt x="1595" y="2029"/>
                  </a:lnTo>
                  <a:lnTo>
                    <a:pt x="1593" y="2027"/>
                  </a:lnTo>
                  <a:lnTo>
                    <a:pt x="1593" y="2027"/>
                  </a:lnTo>
                  <a:lnTo>
                    <a:pt x="1590" y="2027"/>
                  </a:lnTo>
                  <a:lnTo>
                    <a:pt x="1590" y="2027"/>
                  </a:lnTo>
                  <a:lnTo>
                    <a:pt x="1590" y="2027"/>
                  </a:lnTo>
                  <a:lnTo>
                    <a:pt x="1590" y="2027"/>
                  </a:lnTo>
                  <a:lnTo>
                    <a:pt x="1590" y="2027"/>
                  </a:lnTo>
                  <a:lnTo>
                    <a:pt x="1590" y="2027"/>
                  </a:lnTo>
                  <a:lnTo>
                    <a:pt x="1590" y="2027"/>
                  </a:lnTo>
                  <a:lnTo>
                    <a:pt x="1588" y="2027"/>
                  </a:lnTo>
                  <a:lnTo>
                    <a:pt x="1579" y="2027"/>
                  </a:lnTo>
                  <a:lnTo>
                    <a:pt x="1579" y="2027"/>
                  </a:lnTo>
                  <a:lnTo>
                    <a:pt x="1579" y="2025"/>
                  </a:lnTo>
                  <a:lnTo>
                    <a:pt x="1579" y="2025"/>
                  </a:lnTo>
                  <a:lnTo>
                    <a:pt x="1576" y="2025"/>
                  </a:lnTo>
                  <a:lnTo>
                    <a:pt x="1574" y="2025"/>
                  </a:lnTo>
                  <a:lnTo>
                    <a:pt x="1574" y="2025"/>
                  </a:lnTo>
                  <a:lnTo>
                    <a:pt x="1574" y="2022"/>
                  </a:lnTo>
                  <a:lnTo>
                    <a:pt x="1574" y="2022"/>
                  </a:lnTo>
                  <a:lnTo>
                    <a:pt x="1571" y="2022"/>
                  </a:lnTo>
                  <a:lnTo>
                    <a:pt x="1571" y="2022"/>
                  </a:lnTo>
                  <a:lnTo>
                    <a:pt x="1571" y="2022"/>
                  </a:lnTo>
                  <a:lnTo>
                    <a:pt x="1569" y="2022"/>
                  </a:lnTo>
                  <a:lnTo>
                    <a:pt x="1569" y="2025"/>
                  </a:lnTo>
                  <a:lnTo>
                    <a:pt x="1569" y="2025"/>
                  </a:lnTo>
                  <a:lnTo>
                    <a:pt x="1569" y="2025"/>
                  </a:lnTo>
                  <a:lnTo>
                    <a:pt x="1569" y="2025"/>
                  </a:lnTo>
                  <a:lnTo>
                    <a:pt x="1569" y="2022"/>
                  </a:lnTo>
                  <a:lnTo>
                    <a:pt x="1569" y="2022"/>
                  </a:lnTo>
                  <a:lnTo>
                    <a:pt x="1569" y="2020"/>
                  </a:lnTo>
                  <a:lnTo>
                    <a:pt x="1569" y="2020"/>
                  </a:lnTo>
                  <a:lnTo>
                    <a:pt x="1569" y="2020"/>
                  </a:lnTo>
                  <a:lnTo>
                    <a:pt x="1569" y="2020"/>
                  </a:lnTo>
                  <a:lnTo>
                    <a:pt x="1567" y="2017"/>
                  </a:lnTo>
                  <a:lnTo>
                    <a:pt x="1567" y="2017"/>
                  </a:lnTo>
                  <a:lnTo>
                    <a:pt x="1567" y="2017"/>
                  </a:lnTo>
                  <a:lnTo>
                    <a:pt x="1567" y="2017"/>
                  </a:lnTo>
                  <a:lnTo>
                    <a:pt x="1564" y="2015"/>
                  </a:lnTo>
                  <a:lnTo>
                    <a:pt x="1564" y="2015"/>
                  </a:lnTo>
                  <a:lnTo>
                    <a:pt x="1564" y="2015"/>
                  </a:lnTo>
                  <a:lnTo>
                    <a:pt x="1560" y="2008"/>
                  </a:lnTo>
                  <a:lnTo>
                    <a:pt x="1557" y="2006"/>
                  </a:lnTo>
                  <a:lnTo>
                    <a:pt x="1557" y="2003"/>
                  </a:lnTo>
                  <a:lnTo>
                    <a:pt x="1555" y="2003"/>
                  </a:lnTo>
                  <a:lnTo>
                    <a:pt x="1555" y="2003"/>
                  </a:lnTo>
                  <a:lnTo>
                    <a:pt x="1555" y="2001"/>
                  </a:lnTo>
                  <a:lnTo>
                    <a:pt x="1555" y="2001"/>
                  </a:lnTo>
                  <a:lnTo>
                    <a:pt x="1552" y="2001"/>
                  </a:lnTo>
                  <a:lnTo>
                    <a:pt x="1550" y="2001"/>
                  </a:lnTo>
                  <a:lnTo>
                    <a:pt x="1545" y="1996"/>
                  </a:lnTo>
                  <a:lnTo>
                    <a:pt x="1543" y="1996"/>
                  </a:lnTo>
                  <a:lnTo>
                    <a:pt x="1543" y="1996"/>
                  </a:lnTo>
                  <a:lnTo>
                    <a:pt x="1543" y="1996"/>
                  </a:lnTo>
                  <a:lnTo>
                    <a:pt x="1541" y="1994"/>
                  </a:lnTo>
                  <a:lnTo>
                    <a:pt x="1541" y="1994"/>
                  </a:lnTo>
                  <a:lnTo>
                    <a:pt x="1541" y="1994"/>
                  </a:lnTo>
                  <a:lnTo>
                    <a:pt x="1541" y="1994"/>
                  </a:lnTo>
                  <a:lnTo>
                    <a:pt x="1538" y="1994"/>
                  </a:lnTo>
                  <a:lnTo>
                    <a:pt x="1538" y="1991"/>
                  </a:lnTo>
                  <a:lnTo>
                    <a:pt x="1536" y="1991"/>
                  </a:lnTo>
                  <a:lnTo>
                    <a:pt x="1536" y="1991"/>
                  </a:lnTo>
                  <a:lnTo>
                    <a:pt x="1534" y="1989"/>
                  </a:lnTo>
                  <a:lnTo>
                    <a:pt x="1534" y="1989"/>
                  </a:lnTo>
                  <a:lnTo>
                    <a:pt x="1534" y="1989"/>
                  </a:lnTo>
                  <a:lnTo>
                    <a:pt x="1531" y="1987"/>
                  </a:lnTo>
                  <a:lnTo>
                    <a:pt x="1531" y="1987"/>
                  </a:lnTo>
                  <a:lnTo>
                    <a:pt x="1526" y="1984"/>
                  </a:lnTo>
                  <a:lnTo>
                    <a:pt x="1526" y="1984"/>
                  </a:lnTo>
                  <a:lnTo>
                    <a:pt x="1526" y="1982"/>
                  </a:lnTo>
                  <a:lnTo>
                    <a:pt x="1526" y="1982"/>
                  </a:lnTo>
                  <a:lnTo>
                    <a:pt x="1526" y="1982"/>
                  </a:lnTo>
                  <a:lnTo>
                    <a:pt x="1526" y="1982"/>
                  </a:lnTo>
                  <a:lnTo>
                    <a:pt x="1524" y="1982"/>
                  </a:lnTo>
                  <a:lnTo>
                    <a:pt x="1524" y="1982"/>
                  </a:lnTo>
                  <a:lnTo>
                    <a:pt x="1524" y="1982"/>
                  </a:lnTo>
                  <a:lnTo>
                    <a:pt x="1524" y="1982"/>
                  </a:lnTo>
                  <a:lnTo>
                    <a:pt x="1524" y="1982"/>
                  </a:lnTo>
                  <a:lnTo>
                    <a:pt x="1524" y="1982"/>
                  </a:lnTo>
                  <a:lnTo>
                    <a:pt x="1522" y="1982"/>
                  </a:lnTo>
                  <a:lnTo>
                    <a:pt x="1522" y="1982"/>
                  </a:lnTo>
                  <a:lnTo>
                    <a:pt x="1519" y="1982"/>
                  </a:lnTo>
                  <a:lnTo>
                    <a:pt x="1519" y="1982"/>
                  </a:lnTo>
                  <a:lnTo>
                    <a:pt x="1519" y="1982"/>
                  </a:lnTo>
                  <a:lnTo>
                    <a:pt x="1519" y="1982"/>
                  </a:lnTo>
                  <a:lnTo>
                    <a:pt x="1519" y="1982"/>
                  </a:lnTo>
                  <a:lnTo>
                    <a:pt x="1517" y="1982"/>
                  </a:lnTo>
                  <a:lnTo>
                    <a:pt x="1515" y="1982"/>
                  </a:lnTo>
                  <a:lnTo>
                    <a:pt x="1512" y="1980"/>
                  </a:lnTo>
                  <a:lnTo>
                    <a:pt x="1510" y="1980"/>
                  </a:lnTo>
                  <a:lnTo>
                    <a:pt x="1510" y="1980"/>
                  </a:lnTo>
                  <a:lnTo>
                    <a:pt x="1508" y="1980"/>
                  </a:lnTo>
                  <a:lnTo>
                    <a:pt x="1505" y="1980"/>
                  </a:lnTo>
                  <a:lnTo>
                    <a:pt x="1505" y="1980"/>
                  </a:lnTo>
                  <a:lnTo>
                    <a:pt x="1503" y="1977"/>
                  </a:lnTo>
                  <a:lnTo>
                    <a:pt x="1496" y="1977"/>
                  </a:lnTo>
                  <a:lnTo>
                    <a:pt x="1493" y="1977"/>
                  </a:lnTo>
                  <a:lnTo>
                    <a:pt x="1491" y="1975"/>
                  </a:lnTo>
                  <a:lnTo>
                    <a:pt x="1489" y="1975"/>
                  </a:lnTo>
                  <a:lnTo>
                    <a:pt x="1486" y="1972"/>
                  </a:lnTo>
                  <a:lnTo>
                    <a:pt x="1486" y="1972"/>
                  </a:lnTo>
                  <a:lnTo>
                    <a:pt x="1484" y="1972"/>
                  </a:lnTo>
                  <a:lnTo>
                    <a:pt x="1484" y="1972"/>
                  </a:lnTo>
                  <a:lnTo>
                    <a:pt x="1484" y="1972"/>
                  </a:lnTo>
                  <a:lnTo>
                    <a:pt x="1481" y="1970"/>
                  </a:lnTo>
                  <a:lnTo>
                    <a:pt x="1479" y="1970"/>
                  </a:lnTo>
                  <a:lnTo>
                    <a:pt x="1477" y="1968"/>
                  </a:lnTo>
                  <a:lnTo>
                    <a:pt x="1477" y="1968"/>
                  </a:lnTo>
                  <a:lnTo>
                    <a:pt x="1477" y="1968"/>
                  </a:lnTo>
                  <a:lnTo>
                    <a:pt x="1474" y="1965"/>
                  </a:lnTo>
                  <a:lnTo>
                    <a:pt x="1472" y="1965"/>
                  </a:lnTo>
                  <a:lnTo>
                    <a:pt x="1472" y="1965"/>
                  </a:lnTo>
                  <a:lnTo>
                    <a:pt x="1470" y="1965"/>
                  </a:lnTo>
                  <a:lnTo>
                    <a:pt x="1470" y="1965"/>
                  </a:lnTo>
                  <a:lnTo>
                    <a:pt x="1467" y="1965"/>
                  </a:lnTo>
                  <a:lnTo>
                    <a:pt x="1463" y="1963"/>
                  </a:lnTo>
                  <a:lnTo>
                    <a:pt x="1455" y="1963"/>
                  </a:lnTo>
                  <a:lnTo>
                    <a:pt x="1451" y="1965"/>
                  </a:lnTo>
                  <a:lnTo>
                    <a:pt x="1441" y="1970"/>
                  </a:lnTo>
                  <a:lnTo>
                    <a:pt x="1434" y="1975"/>
                  </a:lnTo>
                  <a:lnTo>
                    <a:pt x="1427" y="1977"/>
                  </a:lnTo>
                  <a:lnTo>
                    <a:pt x="1422" y="1980"/>
                  </a:lnTo>
                  <a:lnTo>
                    <a:pt x="1420" y="1980"/>
                  </a:lnTo>
                  <a:lnTo>
                    <a:pt x="1418" y="1984"/>
                  </a:lnTo>
                  <a:lnTo>
                    <a:pt x="1418" y="1984"/>
                  </a:lnTo>
                  <a:lnTo>
                    <a:pt x="1415" y="1984"/>
                  </a:lnTo>
                  <a:lnTo>
                    <a:pt x="1413" y="1987"/>
                  </a:lnTo>
                  <a:lnTo>
                    <a:pt x="1413" y="1987"/>
                  </a:lnTo>
                  <a:lnTo>
                    <a:pt x="1413" y="1984"/>
                  </a:lnTo>
                  <a:lnTo>
                    <a:pt x="1415" y="1984"/>
                  </a:lnTo>
                  <a:lnTo>
                    <a:pt x="1415" y="1984"/>
                  </a:lnTo>
                  <a:lnTo>
                    <a:pt x="1415" y="1984"/>
                  </a:lnTo>
                  <a:lnTo>
                    <a:pt x="1415" y="1984"/>
                  </a:lnTo>
                  <a:lnTo>
                    <a:pt x="1418" y="1982"/>
                  </a:lnTo>
                  <a:lnTo>
                    <a:pt x="1418" y="1980"/>
                  </a:lnTo>
                  <a:lnTo>
                    <a:pt x="1420" y="1980"/>
                  </a:lnTo>
                  <a:lnTo>
                    <a:pt x="1420" y="1980"/>
                  </a:lnTo>
                  <a:lnTo>
                    <a:pt x="1420" y="1980"/>
                  </a:lnTo>
                  <a:lnTo>
                    <a:pt x="1420" y="1977"/>
                  </a:lnTo>
                  <a:lnTo>
                    <a:pt x="1420" y="1977"/>
                  </a:lnTo>
                  <a:lnTo>
                    <a:pt x="1420" y="1977"/>
                  </a:lnTo>
                  <a:lnTo>
                    <a:pt x="1418" y="1977"/>
                  </a:lnTo>
                  <a:lnTo>
                    <a:pt x="1413" y="1980"/>
                  </a:lnTo>
                  <a:lnTo>
                    <a:pt x="1411" y="1982"/>
                  </a:lnTo>
                  <a:lnTo>
                    <a:pt x="1406" y="1987"/>
                  </a:lnTo>
                  <a:lnTo>
                    <a:pt x="1406" y="1987"/>
                  </a:lnTo>
                  <a:lnTo>
                    <a:pt x="1401" y="1989"/>
                  </a:lnTo>
                  <a:lnTo>
                    <a:pt x="1401" y="1989"/>
                  </a:lnTo>
                  <a:lnTo>
                    <a:pt x="1401" y="1987"/>
                  </a:lnTo>
                  <a:lnTo>
                    <a:pt x="1403" y="1987"/>
                  </a:lnTo>
                  <a:lnTo>
                    <a:pt x="1406" y="1987"/>
                  </a:lnTo>
                  <a:lnTo>
                    <a:pt x="1406" y="1984"/>
                  </a:lnTo>
                  <a:lnTo>
                    <a:pt x="1406" y="1984"/>
                  </a:lnTo>
                  <a:lnTo>
                    <a:pt x="1406" y="1982"/>
                  </a:lnTo>
                  <a:lnTo>
                    <a:pt x="1408" y="1980"/>
                  </a:lnTo>
                  <a:lnTo>
                    <a:pt x="1411" y="1977"/>
                  </a:lnTo>
                  <a:lnTo>
                    <a:pt x="1413" y="1970"/>
                  </a:lnTo>
                  <a:lnTo>
                    <a:pt x="1413" y="1968"/>
                  </a:lnTo>
                  <a:lnTo>
                    <a:pt x="1413" y="1965"/>
                  </a:lnTo>
                  <a:lnTo>
                    <a:pt x="1413" y="1963"/>
                  </a:lnTo>
                  <a:lnTo>
                    <a:pt x="1413" y="1963"/>
                  </a:lnTo>
                  <a:lnTo>
                    <a:pt x="1413" y="1961"/>
                  </a:lnTo>
                  <a:lnTo>
                    <a:pt x="1411" y="1958"/>
                  </a:lnTo>
                  <a:lnTo>
                    <a:pt x="1411" y="1956"/>
                  </a:lnTo>
                  <a:lnTo>
                    <a:pt x="1411" y="1956"/>
                  </a:lnTo>
                  <a:lnTo>
                    <a:pt x="1411" y="1956"/>
                  </a:lnTo>
                  <a:lnTo>
                    <a:pt x="1411" y="1956"/>
                  </a:lnTo>
                  <a:lnTo>
                    <a:pt x="1411" y="1954"/>
                  </a:lnTo>
                  <a:lnTo>
                    <a:pt x="1411" y="1954"/>
                  </a:lnTo>
                  <a:lnTo>
                    <a:pt x="1411" y="1954"/>
                  </a:lnTo>
                  <a:lnTo>
                    <a:pt x="1411" y="1954"/>
                  </a:lnTo>
                  <a:lnTo>
                    <a:pt x="1408" y="1954"/>
                  </a:lnTo>
                  <a:lnTo>
                    <a:pt x="1408" y="1951"/>
                  </a:lnTo>
                  <a:lnTo>
                    <a:pt x="1408" y="1951"/>
                  </a:lnTo>
                  <a:lnTo>
                    <a:pt x="1408" y="1951"/>
                  </a:lnTo>
                  <a:lnTo>
                    <a:pt x="1408" y="1949"/>
                  </a:lnTo>
                  <a:lnTo>
                    <a:pt x="1408" y="1949"/>
                  </a:lnTo>
                  <a:lnTo>
                    <a:pt x="1406" y="1946"/>
                  </a:lnTo>
                  <a:lnTo>
                    <a:pt x="1406" y="1944"/>
                  </a:lnTo>
                  <a:lnTo>
                    <a:pt x="1406" y="1944"/>
                  </a:lnTo>
                  <a:lnTo>
                    <a:pt x="1403" y="1944"/>
                  </a:lnTo>
                  <a:lnTo>
                    <a:pt x="1403" y="1942"/>
                  </a:lnTo>
                  <a:lnTo>
                    <a:pt x="1403" y="1939"/>
                  </a:lnTo>
                  <a:lnTo>
                    <a:pt x="1401" y="1937"/>
                  </a:lnTo>
                  <a:lnTo>
                    <a:pt x="1401" y="1937"/>
                  </a:lnTo>
                  <a:lnTo>
                    <a:pt x="1401" y="1935"/>
                  </a:lnTo>
                  <a:lnTo>
                    <a:pt x="1401" y="1935"/>
                  </a:lnTo>
                  <a:lnTo>
                    <a:pt x="1401" y="1935"/>
                  </a:lnTo>
                  <a:lnTo>
                    <a:pt x="1399" y="1935"/>
                  </a:lnTo>
                  <a:lnTo>
                    <a:pt x="1401" y="1932"/>
                  </a:lnTo>
                  <a:lnTo>
                    <a:pt x="1401" y="1930"/>
                  </a:lnTo>
                  <a:lnTo>
                    <a:pt x="1399" y="1925"/>
                  </a:lnTo>
                  <a:lnTo>
                    <a:pt x="1399" y="1923"/>
                  </a:lnTo>
                  <a:lnTo>
                    <a:pt x="1399" y="1920"/>
                  </a:lnTo>
                  <a:lnTo>
                    <a:pt x="1399" y="1920"/>
                  </a:lnTo>
                  <a:lnTo>
                    <a:pt x="1396" y="1920"/>
                  </a:lnTo>
                  <a:lnTo>
                    <a:pt x="1396" y="1920"/>
                  </a:lnTo>
                  <a:lnTo>
                    <a:pt x="1396" y="1918"/>
                  </a:lnTo>
                  <a:lnTo>
                    <a:pt x="1396" y="1918"/>
                  </a:lnTo>
                  <a:lnTo>
                    <a:pt x="1396" y="1918"/>
                  </a:lnTo>
                  <a:lnTo>
                    <a:pt x="1396" y="1918"/>
                  </a:lnTo>
                  <a:lnTo>
                    <a:pt x="1396" y="1916"/>
                  </a:lnTo>
                  <a:lnTo>
                    <a:pt x="1396" y="1916"/>
                  </a:lnTo>
                  <a:lnTo>
                    <a:pt x="1396" y="1916"/>
                  </a:lnTo>
                  <a:lnTo>
                    <a:pt x="1394" y="1916"/>
                  </a:lnTo>
                  <a:lnTo>
                    <a:pt x="1394" y="1916"/>
                  </a:lnTo>
                  <a:lnTo>
                    <a:pt x="1394" y="1913"/>
                  </a:lnTo>
                  <a:lnTo>
                    <a:pt x="1394" y="1913"/>
                  </a:lnTo>
                  <a:lnTo>
                    <a:pt x="1394" y="1913"/>
                  </a:lnTo>
                  <a:lnTo>
                    <a:pt x="1392" y="1911"/>
                  </a:lnTo>
                  <a:lnTo>
                    <a:pt x="1392" y="1911"/>
                  </a:lnTo>
                  <a:lnTo>
                    <a:pt x="1392" y="1909"/>
                  </a:lnTo>
                  <a:lnTo>
                    <a:pt x="1392" y="1909"/>
                  </a:lnTo>
                  <a:lnTo>
                    <a:pt x="1392" y="1906"/>
                  </a:lnTo>
                  <a:lnTo>
                    <a:pt x="1389" y="1906"/>
                  </a:lnTo>
                  <a:lnTo>
                    <a:pt x="1389" y="1904"/>
                  </a:lnTo>
                  <a:lnTo>
                    <a:pt x="1389" y="1902"/>
                  </a:lnTo>
                  <a:lnTo>
                    <a:pt x="1387" y="1899"/>
                  </a:lnTo>
                  <a:lnTo>
                    <a:pt x="1387" y="1897"/>
                  </a:lnTo>
                  <a:lnTo>
                    <a:pt x="1387" y="1897"/>
                  </a:lnTo>
                  <a:lnTo>
                    <a:pt x="1387" y="1894"/>
                  </a:lnTo>
                  <a:lnTo>
                    <a:pt x="1387" y="1894"/>
                  </a:lnTo>
                  <a:lnTo>
                    <a:pt x="1387" y="1894"/>
                  </a:lnTo>
                  <a:lnTo>
                    <a:pt x="1387" y="1892"/>
                  </a:lnTo>
                  <a:lnTo>
                    <a:pt x="1387" y="1892"/>
                  </a:lnTo>
                  <a:lnTo>
                    <a:pt x="1387" y="1890"/>
                  </a:lnTo>
                  <a:lnTo>
                    <a:pt x="1387" y="1887"/>
                  </a:lnTo>
                  <a:lnTo>
                    <a:pt x="1387" y="1887"/>
                  </a:lnTo>
                  <a:lnTo>
                    <a:pt x="1387" y="1887"/>
                  </a:lnTo>
                  <a:lnTo>
                    <a:pt x="1384" y="1885"/>
                  </a:lnTo>
                  <a:lnTo>
                    <a:pt x="1384" y="1883"/>
                  </a:lnTo>
                  <a:lnTo>
                    <a:pt x="1384" y="1883"/>
                  </a:lnTo>
                  <a:lnTo>
                    <a:pt x="1384" y="1883"/>
                  </a:lnTo>
                  <a:lnTo>
                    <a:pt x="1382" y="1883"/>
                  </a:lnTo>
                  <a:lnTo>
                    <a:pt x="1382" y="1883"/>
                  </a:lnTo>
                  <a:lnTo>
                    <a:pt x="1380" y="1883"/>
                  </a:lnTo>
                  <a:lnTo>
                    <a:pt x="1380" y="1883"/>
                  </a:lnTo>
                  <a:lnTo>
                    <a:pt x="1380" y="1885"/>
                  </a:lnTo>
                  <a:lnTo>
                    <a:pt x="1377" y="1885"/>
                  </a:lnTo>
                  <a:lnTo>
                    <a:pt x="1377" y="1887"/>
                  </a:lnTo>
                  <a:lnTo>
                    <a:pt x="1377" y="1887"/>
                  </a:lnTo>
                  <a:lnTo>
                    <a:pt x="1377" y="1885"/>
                  </a:lnTo>
                  <a:lnTo>
                    <a:pt x="1377" y="1885"/>
                  </a:lnTo>
                  <a:lnTo>
                    <a:pt x="1375" y="1885"/>
                  </a:lnTo>
                  <a:lnTo>
                    <a:pt x="1375" y="1885"/>
                  </a:lnTo>
                  <a:lnTo>
                    <a:pt x="1375" y="1883"/>
                  </a:lnTo>
                  <a:lnTo>
                    <a:pt x="1375" y="1883"/>
                  </a:lnTo>
                  <a:lnTo>
                    <a:pt x="1375" y="1883"/>
                  </a:lnTo>
                  <a:lnTo>
                    <a:pt x="1373" y="1883"/>
                  </a:lnTo>
                  <a:lnTo>
                    <a:pt x="1373" y="1883"/>
                  </a:lnTo>
                  <a:lnTo>
                    <a:pt x="1373" y="1883"/>
                  </a:lnTo>
                  <a:lnTo>
                    <a:pt x="1368" y="1883"/>
                  </a:lnTo>
                  <a:lnTo>
                    <a:pt x="1368" y="1883"/>
                  </a:lnTo>
                  <a:lnTo>
                    <a:pt x="1368" y="1883"/>
                  </a:lnTo>
                  <a:lnTo>
                    <a:pt x="1366" y="1883"/>
                  </a:lnTo>
                  <a:lnTo>
                    <a:pt x="1366" y="1883"/>
                  </a:lnTo>
                  <a:lnTo>
                    <a:pt x="1366" y="1883"/>
                  </a:lnTo>
                  <a:lnTo>
                    <a:pt x="1366" y="1883"/>
                  </a:lnTo>
                  <a:lnTo>
                    <a:pt x="1366" y="1883"/>
                  </a:lnTo>
                  <a:lnTo>
                    <a:pt x="1366" y="1883"/>
                  </a:lnTo>
                  <a:lnTo>
                    <a:pt x="1363" y="1883"/>
                  </a:lnTo>
                  <a:lnTo>
                    <a:pt x="1363" y="1885"/>
                  </a:lnTo>
                  <a:lnTo>
                    <a:pt x="1363" y="1885"/>
                  </a:lnTo>
                  <a:lnTo>
                    <a:pt x="1358" y="1883"/>
                  </a:lnTo>
                  <a:lnTo>
                    <a:pt x="1356" y="1885"/>
                  </a:lnTo>
                  <a:lnTo>
                    <a:pt x="1356" y="1883"/>
                  </a:lnTo>
                  <a:lnTo>
                    <a:pt x="1354" y="1883"/>
                  </a:lnTo>
                  <a:lnTo>
                    <a:pt x="1354" y="1885"/>
                  </a:lnTo>
                  <a:lnTo>
                    <a:pt x="1356" y="1885"/>
                  </a:lnTo>
                  <a:lnTo>
                    <a:pt x="1356" y="1885"/>
                  </a:lnTo>
                  <a:lnTo>
                    <a:pt x="1356" y="1885"/>
                  </a:lnTo>
                  <a:lnTo>
                    <a:pt x="1354" y="1887"/>
                  </a:lnTo>
                  <a:lnTo>
                    <a:pt x="1354" y="1887"/>
                  </a:lnTo>
                  <a:lnTo>
                    <a:pt x="1354" y="1887"/>
                  </a:lnTo>
                  <a:lnTo>
                    <a:pt x="1354" y="1890"/>
                  </a:lnTo>
                  <a:lnTo>
                    <a:pt x="1354" y="1890"/>
                  </a:lnTo>
                  <a:lnTo>
                    <a:pt x="1354" y="1892"/>
                  </a:lnTo>
                  <a:lnTo>
                    <a:pt x="1354" y="1894"/>
                  </a:lnTo>
                  <a:lnTo>
                    <a:pt x="1354" y="1894"/>
                  </a:lnTo>
                  <a:lnTo>
                    <a:pt x="1354" y="1894"/>
                  </a:lnTo>
                  <a:lnTo>
                    <a:pt x="1354" y="1897"/>
                  </a:lnTo>
                  <a:lnTo>
                    <a:pt x="1354" y="1897"/>
                  </a:lnTo>
                  <a:lnTo>
                    <a:pt x="1354" y="1897"/>
                  </a:lnTo>
                  <a:lnTo>
                    <a:pt x="1354" y="1897"/>
                  </a:lnTo>
                  <a:lnTo>
                    <a:pt x="1354" y="1899"/>
                  </a:lnTo>
                  <a:lnTo>
                    <a:pt x="1354" y="1902"/>
                  </a:lnTo>
                  <a:lnTo>
                    <a:pt x="1354" y="1904"/>
                  </a:lnTo>
                  <a:lnTo>
                    <a:pt x="1354" y="1904"/>
                  </a:lnTo>
                  <a:lnTo>
                    <a:pt x="1354" y="1904"/>
                  </a:lnTo>
                  <a:lnTo>
                    <a:pt x="1354" y="1906"/>
                  </a:lnTo>
                  <a:lnTo>
                    <a:pt x="1354" y="1906"/>
                  </a:lnTo>
                  <a:lnTo>
                    <a:pt x="1354" y="1906"/>
                  </a:lnTo>
                  <a:lnTo>
                    <a:pt x="1354" y="1909"/>
                  </a:lnTo>
                  <a:lnTo>
                    <a:pt x="1354" y="1909"/>
                  </a:lnTo>
                  <a:lnTo>
                    <a:pt x="1351" y="1909"/>
                  </a:lnTo>
                  <a:lnTo>
                    <a:pt x="1351" y="1909"/>
                  </a:lnTo>
                  <a:lnTo>
                    <a:pt x="1351" y="1911"/>
                  </a:lnTo>
                  <a:lnTo>
                    <a:pt x="1351" y="1911"/>
                  </a:lnTo>
                  <a:lnTo>
                    <a:pt x="1351" y="1911"/>
                  </a:lnTo>
                  <a:lnTo>
                    <a:pt x="1351" y="1913"/>
                  </a:lnTo>
                  <a:lnTo>
                    <a:pt x="1351" y="1916"/>
                  </a:lnTo>
                  <a:lnTo>
                    <a:pt x="1349" y="1916"/>
                  </a:lnTo>
                  <a:lnTo>
                    <a:pt x="1349" y="1916"/>
                  </a:lnTo>
                  <a:lnTo>
                    <a:pt x="1351" y="1911"/>
                  </a:lnTo>
                  <a:lnTo>
                    <a:pt x="1351" y="1911"/>
                  </a:lnTo>
                  <a:lnTo>
                    <a:pt x="1351" y="1909"/>
                  </a:lnTo>
                  <a:lnTo>
                    <a:pt x="1351" y="1909"/>
                  </a:lnTo>
                  <a:lnTo>
                    <a:pt x="1351" y="1909"/>
                  </a:lnTo>
                  <a:lnTo>
                    <a:pt x="1351" y="1906"/>
                  </a:lnTo>
                  <a:lnTo>
                    <a:pt x="1351" y="1906"/>
                  </a:lnTo>
                  <a:lnTo>
                    <a:pt x="1351" y="1906"/>
                  </a:lnTo>
                  <a:lnTo>
                    <a:pt x="1351" y="1904"/>
                  </a:lnTo>
                  <a:lnTo>
                    <a:pt x="1351" y="1904"/>
                  </a:lnTo>
                  <a:lnTo>
                    <a:pt x="1351" y="1902"/>
                  </a:lnTo>
                  <a:lnTo>
                    <a:pt x="1351" y="1902"/>
                  </a:lnTo>
                  <a:lnTo>
                    <a:pt x="1351" y="1899"/>
                  </a:lnTo>
                  <a:lnTo>
                    <a:pt x="1351" y="1894"/>
                  </a:lnTo>
                  <a:lnTo>
                    <a:pt x="1351" y="1894"/>
                  </a:lnTo>
                  <a:lnTo>
                    <a:pt x="1351" y="1892"/>
                  </a:lnTo>
                  <a:lnTo>
                    <a:pt x="1351" y="1892"/>
                  </a:lnTo>
                  <a:lnTo>
                    <a:pt x="1354" y="1890"/>
                  </a:lnTo>
                  <a:lnTo>
                    <a:pt x="1354" y="1890"/>
                  </a:lnTo>
                  <a:lnTo>
                    <a:pt x="1354" y="1890"/>
                  </a:lnTo>
                  <a:lnTo>
                    <a:pt x="1354" y="1887"/>
                  </a:lnTo>
                  <a:lnTo>
                    <a:pt x="1354" y="1887"/>
                  </a:lnTo>
                  <a:lnTo>
                    <a:pt x="1354" y="1887"/>
                  </a:lnTo>
                  <a:lnTo>
                    <a:pt x="1354" y="1887"/>
                  </a:lnTo>
                  <a:lnTo>
                    <a:pt x="1351" y="1885"/>
                  </a:lnTo>
                  <a:lnTo>
                    <a:pt x="1351" y="1885"/>
                  </a:lnTo>
                  <a:lnTo>
                    <a:pt x="1354" y="1885"/>
                  </a:lnTo>
                  <a:lnTo>
                    <a:pt x="1354" y="1883"/>
                  </a:lnTo>
                  <a:lnTo>
                    <a:pt x="1351" y="1883"/>
                  </a:lnTo>
                  <a:lnTo>
                    <a:pt x="1354" y="1883"/>
                  </a:lnTo>
                  <a:lnTo>
                    <a:pt x="1354" y="1883"/>
                  </a:lnTo>
                  <a:lnTo>
                    <a:pt x="1354" y="1883"/>
                  </a:lnTo>
                  <a:lnTo>
                    <a:pt x="1354" y="1883"/>
                  </a:lnTo>
                  <a:lnTo>
                    <a:pt x="1354" y="1883"/>
                  </a:lnTo>
                  <a:lnTo>
                    <a:pt x="1351" y="1883"/>
                  </a:lnTo>
                  <a:lnTo>
                    <a:pt x="1351" y="1883"/>
                  </a:lnTo>
                  <a:lnTo>
                    <a:pt x="1351" y="1883"/>
                  </a:lnTo>
                  <a:lnTo>
                    <a:pt x="1351" y="1885"/>
                  </a:lnTo>
                  <a:lnTo>
                    <a:pt x="1351" y="1885"/>
                  </a:lnTo>
                  <a:lnTo>
                    <a:pt x="1351" y="1885"/>
                  </a:lnTo>
                  <a:lnTo>
                    <a:pt x="1351" y="1885"/>
                  </a:lnTo>
                  <a:lnTo>
                    <a:pt x="1351" y="1885"/>
                  </a:lnTo>
                  <a:lnTo>
                    <a:pt x="1349" y="1887"/>
                  </a:lnTo>
                  <a:lnTo>
                    <a:pt x="1347" y="1887"/>
                  </a:lnTo>
                  <a:lnTo>
                    <a:pt x="1347" y="1887"/>
                  </a:lnTo>
                  <a:lnTo>
                    <a:pt x="1347" y="1885"/>
                  </a:lnTo>
                  <a:lnTo>
                    <a:pt x="1344" y="1883"/>
                  </a:lnTo>
                  <a:lnTo>
                    <a:pt x="1344" y="1880"/>
                  </a:lnTo>
                  <a:lnTo>
                    <a:pt x="1344" y="1880"/>
                  </a:lnTo>
                  <a:lnTo>
                    <a:pt x="1342" y="1880"/>
                  </a:lnTo>
                  <a:lnTo>
                    <a:pt x="1342" y="1878"/>
                  </a:lnTo>
                  <a:lnTo>
                    <a:pt x="1340" y="1878"/>
                  </a:lnTo>
                  <a:lnTo>
                    <a:pt x="1340" y="1878"/>
                  </a:lnTo>
                  <a:lnTo>
                    <a:pt x="1337" y="1880"/>
                  </a:lnTo>
                  <a:lnTo>
                    <a:pt x="1337" y="1880"/>
                  </a:lnTo>
                  <a:lnTo>
                    <a:pt x="1337" y="1880"/>
                  </a:lnTo>
                  <a:lnTo>
                    <a:pt x="1337" y="1878"/>
                  </a:lnTo>
                  <a:lnTo>
                    <a:pt x="1337" y="1878"/>
                  </a:lnTo>
                  <a:lnTo>
                    <a:pt x="1337" y="1878"/>
                  </a:lnTo>
                  <a:lnTo>
                    <a:pt x="1337" y="1878"/>
                  </a:lnTo>
                  <a:lnTo>
                    <a:pt x="1337" y="1878"/>
                  </a:lnTo>
                  <a:lnTo>
                    <a:pt x="1337" y="1875"/>
                  </a:lnTo>
                  <a:lnTo>
                    <a:pt x="1337" y="1875"/>
                  </a:lnTo>
                  <a:lnTo>
                    <a:pt x="1340" y="1873"/>
                  </a:lnTo>
                  <a:lnTo>
                    <a:pt x="1337" y="1873"/>
                  </a:lnTo>
                  <a:lnTo>
                    <a:pt x="1337" y="1871"/>
                  </a:lnTo>
                  <a:lnTo>
                    <a:pt x="1335" y="1871"/>
                  </a:lnTo>
                  <a:lnTo>
                    <a:pt x="1335" y="1871"/>
                  </a:lnTo>
                  <a:lnTo>
                    <a:pt x="1335" y="1871"/>
                  </a:lnTo>
                  <a:lnTo>
                    <a:pt x="1335" y="1871"/>
                  </a:lnTo>
                  <a:lnTo>
                    <a:pt x="1335" y="1868"/>
                  </a:lnTo>
                  <a:lnTo>
                    <a:pt x="1335" y="1868"/>
                  </a:lnTo>
                  <a:lnTo>
                    <a:pt x="1335" y="1868"/>
                  </a:lnTo>
                  <a:lnTo>
                    <a:pt x="1335" y="1868"/>
                  </a:lnTo>
                  <a:lnTo>
                    <a:pt x="1335" y="1868"/>
                  </a:lnTo>
                  <a:lnTo>
                    <a:pt x="1335" y="1868"/>
                  </a:lnTo>
                  <a:lnTo>
                    <a:pt x="1330" y="1868"/>
                  </a:lnTo>
                  <a:lnTo>
                    <a:pt x="1328" y="1868"/>
                  </a:lnTo>
                  <a:lnTo>
                    <a:pt x="1330" y="1866"/>
                  </a:lnTo>
                  <a:lnTo>
                    <a:pt x="1332" y="1866"/>
                  </a:lnTo>
                  <a:lnTo>
                    <a:pt x="1332" y="1866"/>
                  </a:lnTo>
                  <a:lnTo>
                    <a:pt x="1335" y="1866"/>
                  </a:lnTo>
                  <a:lnTo>
                    <a:pt x="1335" y="1866"/>
                  </a:lnTo>
                  <a:lnTo>
                    <a:pt x="1335" y="1864"/>
                  </a:lnTo>
                  <a:lnTo>
                    <a:pt x="1335" y="1864"/>
                  </a:lnTo>
                  <a:lnTo>
                    <a:pt x="1335" y="1861"/>
                  </a:lnTo>
                  <a:lnTo>
                    <a:pt x="1335" y="1861"/>
                  </a:lnTo>
                  <a:lnTo>
                    <a:pt x="1335" y="1861"/>
                  </a:lnTo>
                  <a:lnTo>
                    <a:pt x="1335" y="1861"/>
                  </a:lnTo>
                  <a:lnTo>
                    <a:pt x="1335" y="1861"/>
                  </a:lnTo>
                  <a:lnTo>
                    <a:pt x="1335" y="1859"/>
                  </a:lnTo>
                  <a:lnTo>
                    <a:pt x="1335" y="1859"/>
                  </a:lnTo>
                  <a:lnTo>
                    <a:pt x="1335" y="1859"/>
                  </a:lnTo>
                  <a:lnTo>
                    <a:pt x="1335" y="1859"/>
                  </a:lnTo>
                  <a:lnTo>
                    <a:pt x="1335" y="1859"/>
                  </a:lnTo>
                  <a:lnTo>
                    <a:pt x="1335" y="1859"/>
                  </a:lnTo>
                  <a:lnTo>
                    <a:pt x="1335" y="1857"/>
                  </a:lnTo>
                  <a:lnTo>
                    <a:pt x="1335" y="1857"/>
                  </a:lnTo>
                  <a:lnTo>
                    <a:pt x="1335" y="1857"/>
                  </a:lnTo>
                  <a:lnTo>
                    <a:pt x="1335" y="1857"/>
                  </a:lnTo>
                  <a:lnTo>
                    <a:pt x="1335" y="1857"/>
                  </a:lnTo>
                  <a:lnTo>
                    <a:pt x="1335" y="1857"/>
                  </a:lnTo>
                  <a:lnTo>
                    <a:pt x="1335" y="1854"/>
                  </a:lnTo>
                  <a:lnTo>
                    <a:pt x="1335" y="1854"/>
                  </a:lnTo>
                  <a:lnTo>
                    <a:pt x="1335" y="1854"/>
                  </a:lnTo>
                  <a:lnTo>
                    <a:pt x="1335" y="1854"/>
                  </a:lnTo>
                  <a:lnTo>
                    <a:pt x="1337" y="1852"/>
                  </a:lnTo>
                  <a:lnTo>
                    <a:pt x="1337" y="1852"/>
                  </a:lnTo>
                  <a:lnTo>
                    <a:pt x="1335" y="1852"/>
                  </a:lnTo>
                  <a:lnTo>
                    <a:pt x="1337" y="1852"/>
                  </a:lnTo>
                  <a:lnTo>
                    <a:pt x="1337" y="1852"/>
                  </a:lnTo>
                  <a:lnTo>
                    <a:pt x="1337" y="1852"/>
                  </a:lnTo>
                  <a:lnTo>
                    <a:pt x="1337" y="1852"/>
                  </a:lnTo>
                  <a:lnTo>
                    <a:pt x="1337" y="1849"/>
                  </a:lnTo>
                  <a:lnTo>
                    <a:pt x="1337" y="1849"/>
                  </a:lnTo>
                  <a:lnTo>
                    <a:pt x="1337" y="1849"/>
                  </a:lnTo>
                  <a:lnTo>
                    <a:pt x="1337" y="1849"/>
                  </a:lnTo>
                  <a:lnTo>
                    <a:pt x="1337" y="1852"/>
                  </a:lnTo>
                  <a:lnTo>
                    <a:pt x="1337" y="1852"/>
                  </a:lnTo>
                  <a:lnTo>
                    <a:pt x="1335" y="1852"/>
                  </a:lnTo>
                  <a:lnTo>
                    <a:pt x="1335" y="1849"/>
                  </a:lnTo>
                  <a:lnTo>
                    <a:pt x="1337" y="1849"/>
                  </a:lnTo>
                  <a:lnTo>
                    <a:pt x="1337" y="1849"/>
                  </a:lnTo>
                  <a:lnTo>
                    <a:pt x="1337" y="1849"/>
                  </a:lnTo>
                  <a:lnTo>
                    <a:pt x="1337" y="1847"/>
                  </a:lnTo>
                  <a:lnTo>
                    <a:pt x="1335" y="1847"/>
                  </a:lnTo>
                  <a:lnTo>
                    <a:pt x="1335" y="1847"/>
                  </a:lnTo>
                  <a:lnTo>
                    <a:pt x="1335" y="1847"/>
                  </a:lnTo>
                  <a:lnTo>
                    <a:pt x="1335" y="1845"/>
                  </a:lnTo>
                  <a:lnTo>
                    <a:pt x="1335" y="1845"/>
                  </a:lnTo>
                  <a:lnTo>
                    <a:pt x="1335" y="1845"/>
                  </a:lnTo>
                  <a:lnTo>
                    <a:pt x="1335" y="1845"/>
                  </a:lnTo>
                  <a:lnTo>
                    <a:pt x="1335" y="1845"/>
                  </a:lnTo>
                  <a:lnTo>
                    <a:pt x="1335" y="1845"/>
                  </a:lnTo>
                  <a:lnTo>
                    <a:pt x="1335" y="1845"/>
                  </a:lnTo>
                  <a:lnTo>
                    <a:pt x="1335" y="1842"/>
                  </a:lnTo>
                  <a:lnTo>
                    <a:pt x="1335" y="1842"/>
                  </a:lnTo>
                  <a:lnTo>
                    <a:pt x="1335" y="1842"/>
                  </a:lnTo>
                  <a:lnTo>
                    <a:pt x="1335" y="1842"/>
                  </a:lnTo>
                  <a:lnTo>
                    <a:pt x="1335" y="1842"/>
                  </a:lnTo>
                  <a:lnTo>
                    <a:pt x="1335" y="1842"/>
                  </a:lnTo>
                  <a:lnTo>
                    <a:pt x="1335" y="1842"/>
                  </a:lnTo>
                  <a:lnTo>
                    <a:pt x="1335" y="1842"/>
                  </a:lnTo>
                  <a:lnTo>
                    <a:pt x="1335" y="1842"/>
                  </a:lnTo>
                  <a:lnTo>
                    <a:pt x="1335" y="1840"/>
                  </a:lnTo>
                  <a:lnTo>
                    <a:pt x="1332" y="1840"/>
                  </a:lnTo>
                  <a:lnTo>
                    <a:pt x="1332" y="1840"/>
                  </a:lnTo>
                  <a:lnTo>
                    <a:pt x="1332" y="1840"/>
                  </a:lnTo>
                  <a:lnTo>
                    <a:pt x="1335" y="1838"/>
                  </a:lnTo>
                  <a:lnTo>
                    <a:pt x="1335" y="1838"/>
                  </a:lnTo>
                  <a:lnTo>
                    <a:pt x="1335" y="1838"/>
                  </a:lnTo>
                  <a:lnTo>
                    <a:pt x="1335" y="1838"/>
                  </a:lnTo>
                  <a:lnTo>
                    <a:pt x="1332" y="1838"/>
                  </a:lnTo>
                  <a:lnTo>
                    <a:pt x="1332" y="1838"/>
                  </a:lnTo>
                  <a:lnTo>
                    <a:pt x="1332" y="1835"/>
                  </a:lnTo>
                  <a:lnTo>
                    <a:pt x="1332" y="1835"/>
                  </a:lnTo>
                  <a:lnTo>
                    <a:pt x="1332" y="1835"/>
                  </a:lnTo>
                  <a:lnTo>
                    <a:pt x="1332" y="1835"/>
                  </a:lnTo>
                  <a:lnTo>
                    <a:pt x="1332" y="1833"/>
                  </a:lnTo>
                  <a:lnTo>
                    <a:pt x="1332" y="1833"/>
                  </a:lnTo>
                  <a:lnTo>
                    <a:pt x="1332" y="1833"/>
                  </a:lnTo>
                  <a:lnTo>
                    <a:pt x="1332" y="1833"/>
                  </a:lnTo>
                  <a:lnTo>
                    <a:pt x="1332" y="1833"/>
                  </a:lnTo>
                  <a:lnTo>
                    <a:pt x="1332" y="1831"/>
                  </a:lnTo>
                  <a:lnTo>
                    <a:pt x="1332" y="1828"/>
                  </a:lnTo>
                  <a:lnTo>
                    <a:pt x="1332" y="1828"/>
                  </a:lnTo>
                  <a:lnTo>
                    <a:pt x="1332" y="1828"/>
                  </a:lnTo>
                  <a:lnTo>
                    <a:pt x="1332" y="1826"/>
                  </a:lnTo>
                  <a:lnTo>
                    <a:pt x="1332" y="1826"/>
                  </a:lnTo>
                  <a:lnTo>
                    <a:pt x="1332" y="1826"/>
                  </a:lnTo>
                  <a:lnTo>
                    <a:pt x="1332" y="1823"/>
                  </a:lnTo>
                  <a:lnTo>
                    <a:pt x="1332" y="1823"/>
                  </a:lnTo>
                  <a:lnTo>
                    <a:pt x="1332" y="1821"/>
                  </a:lnTo>
                  <a:lnTo>
                    <a:pt x="1332" y="1819"/>
                  </a:lnTo>
                  <a:lnTo>
                    <a:pt x="1332" y="1819"/>
                  </a:lnTo>
                  <a:lnTo>
                    <a:pt x="1332" y="1819"/>
                  </a:lnTo>
                  <a:lnTo>
                    <a:pt x="1332" y="1816"/>
                  </a:lnTo>
                  <a:lnTo>
                    <a:pt x="1332" y="1816"/>
                  </a:lnTo>
                  <a:lnTo>
                    <a:pt x="1332" y="1816"/>
                  </a:lnTo>
                  <a:lnTo>
                    <a:pt x="1332" y="1816"/>
                  </a:lnTo>
                  <a:lnTo>
                    <a:pt x="1332" y="1816"/>
                  </a:lnTo>
                  <a:lnTo>
                    <a:pt x="1332" y="1814"/>
                  </a:lnTo>
                  <a:lnTo>
                    <a:pt x="1332" y="1814"/>
                  </a:lnTo>
                  <a:lnTo>
                    <a:pt x="1332" y="1814"/>
                  </a:lnTo>
                  <a:lnTo>
                    <a:pt x="1332" y="1812"/>
                  </a:lnTo>
                  <a:lnTo>
                    <a:pt x="1332" y="1812"/>
                  </a:lnTo>
                  <a:lnTo>
                    <a:pt x="1332" y="1812"/>
                  </a:lnTo>
                  <a:lnTo>
                    <a:pt x="1332" y="1812"/>
                  </a:lnTo>
                  <a:lnTo>
                    <a:pt x="1332" y="1812"/>
                  </a:lnTo>
                  <a:lnTo>
                    <a:pt x="1332" y="1812"/>
                  </a:lnTo>
                  <a:lnTo>
                    <a:pt x="1332" y="1812"/>
                  </a:lnTo>
                  <a:lnTo>
                    <a:pt x="1332" y="1812"/>
                  </a:lnTo>
                  <a:lnTo>
                    <a:pt x="1332" y="1809"/>
                  </a:lnTo>
                  <a:lnTo>
                    <a:pt x="1332" y="1809"/>
                  </a:lnTo>
                  <a:lnTo>
                    <a:pt x="1332" y="1809"/>
                  </a:lnTo>
                  <a:lnTo>
                    <a:pt x="1332" y="1809"/>
                  </a:lnTo>
                  <a:lnTo>
                    <a:pt x="1332" y="1809"/>
                  </a:lnTo>
                  <a:lnTo>
                    <a:pt x="1335" y="1807"/>
                  </a:lnTo>
                  <a:lnTo>
                    <a:pt x="1335" y="1807"/>
                  </a:lnTo>
                  <a:lnTo>
                    <a:pt x="1335" y="1807"/>
                  </a:lnTo>
                  <a:lnTo>
                    <a:pt x="1335" y="1807"/>
                  </a:lnTo>
                  <a:lnTo>
                    <a:pt x="1335" y="1805"/>
                  </a:lnTo>
                  <a:lnTo>
                    <a:pt x="1335" y="1805"/>
                  </a:lnTo>
                  <a:lnTo>
                    <a:pt x="1335" y="1805"/>
                  </a:lnTo>
                  <a:lnTo>
                    <a:pt x="1335" y="1805"/>
                  </a:lnTo>
                  <a:lnTo>
                    <a:pt x="1335" y="1805"/>
                  </a:lnTo>
                  <a:lnTo>
                    <a:pt x="1335" y="1805"/>
                  </a:lnTo>
                  <a:lnTo>
                    <a:pt x="1335" y="1802"/>
                  </a:lnTo>
                  <a:lnTo>
                    <a:pt x="1335" y="1802"/>
                  </a:lnTo>
                  <a:lnTo>
                    <a:pt x="1335" y="1802"/>
                  </a:lnTo>
                  <a:lnTo>
                    <a:pt x="1335" y="1800"/>
                  </a:lnTo>
                  <a:lnTo>
                    <a:pt x="1335" y="1800"/>
                  </a:lnTo>
                  <a:lnTo>
                    <a:pt x="1335" y="1797"/>
                  </a:lnTo>
                  <a:lnTo>
                    <a:pt x="1335" y="1797"/>
                  </a:lnTo>
                  <a:lnTo>
                    <a:pt x="1335" y="1797"/>
                  </a:lnTo>
                  <a:lnTo>
                    <a:pt x="1335" y="1797"/>
                  </a:lnTo>
                  <a:lnTo>
                    <a:pt x="1335" y="1797"/>
                  </a:lnTo>
                  <a:lnTo>
                    <a:pt x="1335" y="1795"/>
                  </a:lnTo>
                  <a:lnTo>
                    <a:pt x="1335" y="1795"/>
                  </a:lnTo>
                  <a:lnTo>
                    <a:pt x="1335" y="1793"/>
                  </a:lnTo>
                  <a:lnTo>
                    <a:pt x="1335" y="1793"/>
                  </a:lnTo>
                  <a:lnTo>
                    <a:pt x="1335" y="1790"/>
                  </a:lnTo>
                  <a:lnTo>
                    <a:pt x="1337" y="1790"/>
                  </a:lnTo>
                  <a:lnTo>
                    <a:pt x="1337" y="1790"/>
                  </a:lnTo>
                  <a:lnTo>
                    <a:pt x="1337" y="1788"/>
                  </a:lnTo>
                  <a:lnTo>
                    <a:pt x="1335" y="1788"/>
                  </a:lnTo>
                  <a:lnTo>
                    <a:pt x="1335" y="1788"/>
                  </a:lnTo>
                  <a:lnTo>
                    <a:pt x="1335" y="1786"/>
                  </a:lnTo>
                  <a:lnTo>
                    <a:pt x="1332" y="1783"/>
                  </a:lnTo>
                  <a:lnTo>
                    <a:pt x="1330" y="1783"/>
                  </a:lnTo>
                  <a:lnTo>
                    <a:pt x="1332" y="1783"/>
                  </a:lnTo>
                  <a:lnTo>
                    <a:pt x="1335" y="1783"/>
                  </a:lnTo>
                  <a:lnTo>
                    <a:pt x="1335" y="1783"/>
                  </a:lnTo>
                  <a:lnTo>
                    <a:pt x="1335" y="1781"/>
                  </a:lnTo>
                  <a:lnTo>
                    <a:pt x="1332" y="1781"/>
                  </a:lnTo>
                  <a:lnTo>
                    <a:pt x="1332" y="1781"/>
                  </a:lnTo>
                  <a:lnTo>
                    <a:pt x="1335" y="1781"/>
                  </a:lnTo>
                  <a:lnTo>
                    <a:pt x="1337" y="1781"/>
                  </a:lnTo>
                  <a:lnTo>
                    <a:pt x="1340" y="1781"/>
                  </a:lnTo>
                  <a:lnTo>
                    <a:pt x="1340" y="1779"/>
                  </a:lnTo>
                  <a:lnTo>
                    <a:pt x="1340" y="1779"/>
                  </a:lnTo>
                  <a:lnTo>
                    <a:pt x="1340" y="1779"/>
                  </a:lnTo>
                  <a:lnTo>
                    <a:pt x="1340" y="1779"/>
                  </a:lnTo>
                  <a:lnTo>
                    <a:pt x="1340" y="1779"/>
                  </a:lnTo>
                  <a:lnTo>
                    <a:pt x="1340" y="1776"/>
                  </a:lnTo>
                  <a:lnTo>
                    <a:pt x="1340" y="1776"/>
                  </a:lnTo>
                  <a:lnTo>
                    <a:pt x="1340" y="1776"/>
                  </a:lnTo>
                  <a:lnTo>
                    <a:pt x="1340" y="1776"/>
                  </a:lnTo>
                  <a:lnTo>
                    <a:pt x="1340" y="1774"/>
                  </a:lnTo>
                  <a:lnTo>
                    <a:pt x="1340" y="1774"/>
                  </a:lnTo>
                  <a:lnTo>
                    <a:pt x="1340" y="1774"/>
                  </a:lnTo>
                  <a:lnTo>
                    <a:pt x="1340" y="1774"/>
                  </a:lnTo>
                  <a:lnTo>
                    <a:pt x="1342" y="1769"/>
                  </a:lnTo>
                  <a:lnTo>
                    <a:pt x="1342" y="1769"/>
                  </a:lnTo>
                  <a:lnTo>
                    <a:pt x="1342" y="1769"/>
                  </a:lnTo>
                  <a:lnTo>
                    <a:pt x="1342" y="1767"/>
                  </a:lnTo>
                  <a:lnTo>
                    <a:pt x="1342" y="1767"/>
                  </a:lnTo>
                  <a:lnTo>
                    <a:pt x="1342" y="1762"/>
                  </a:lnTo>
                  <a:lnTo>
                    <a:pt x="1342" y="1762"/>
                  </a:lnTo>
                  <a:lnTo>
                    <a:pt x="1342" y="1762"/>
                  </a:lnTo>
                  <a:lnTo>
                    <a:pt x="1342" y="1762"/>
                  </a:lnTo>
                  <a:lnTo>
                    <a:pt x="1342" y="1762"/>
                  </a:lnTo>
                  <a:lnTo>
                    <a:pt x="1342" y="1762"/>
                  </a:lnTo>
                  <a:lnTo>
                    <a:pt x="1342" y="1762"/>
                  </a:lnTo>
                  <a:lnTo>
                    <a:pt x="1342" y="1762"/>
                  </a:lnTo>
                  <a:lnTo>
                    <a:pt x="1344" y="1760"/>
                  </a:lnTo>
                  <a:lnTo>
                    <a:pt x="1344" y="1760"/>
                  </a:lnTo>
                  <a:lnTo>
                    <a:pt x="1344" y="1760"/>
                  </a:lnTo>
                  <a:lnTo>
                    <a:pt x="1344" y="1760"/>
                  </a:lnTo>
                  <a:lnTo>
                    <a:pt x="1347" y="1760"/>
                  </a:lnTo>
                  <a:lnTo>
                    <a:pt x="1347" y="1757"/>
                  </a:lnTo>
                  <a:lnTo>
                    <a:pt x="1347" y="1757"/>
                  </a:lnTo>
                  <a:lnTo>
                    <a:pt x="1347" y="1757"/>
                  </a:lnTo>
                  <a:lnTo>
                    <a:pt x="1347" y="1755"/>
                  </a:lnTo>
                  <a:lnTo>
                    <a:pt x="1347" y="1752"/>
                  </a:lnTo>
                  <a:lnTo>
                    <a:pt x="1347" y="1752"/>
                  </a:lnTo>
                  <a:lnTo>
                    <a:pt x="1347" y="1752"/>
                  </a:lnTo>
                  <a:lnTo>
                    <a:pt x="1347" y="1750"/>
                  </a:lnTo>
                  <a:lnTo>
                    <a:pt x="1349" y="1750"/>
                  </a:lnTo>
                  <a:lnTo>
                    <a:pt x="1349" y="1748"/>
                  </a:lnTo>
                  <a:lnTo>
                    <a:pt x="1349" y="1748"/>
                  </a:lnTo>
                  <a:lnTo>
                    <a:pt x="1349" y="1748"/>
                  </a:lnTo>
                  <a:lnTo>
                    <a:pt x="1349" y="1748"/>
                  </a:lnTo>
                  <a:lnTo>
                    <a:pt x="1349" y="1748"/>
                  </a:lnTo>
                  <a:lnTo>
                    <a:pt x="1349" y="1748"/>
                  </a:lnTo>
                  <a:lnTo>
                    <a:pt x="1351" y="1748"/>
                  </a:lnTo>
                  <a:lnTo>
                    <a:pt x="1351" y="1748"/>
                  </a:lnTo>
                  <a:lnTo>
                    <a:pt x="1351" y="1748"/>
                  </a:lnTo>
                  <a:lnTo>
                    <a:pt x="1351" y="1745"/>
                  </a:lnTo>
                  <a:lnTo>
                    <a:pt x="1351" y="1745"/>
                  </a:lnTo>
                  <a:lnTo>
                    <a:pt x="1351" y="1745"/>
                  </a:lnTo>
                  <a:lnTo>
                    <a:pt x="1351" y="1745"/>
                  </a:lnTo>
                  <a:lnTo>
                    <a:pt x="1351" y="1745"/>
                  </a:lnTo>
                  <a:lnTo>
                    <a:pt x="1349" y="1745"/>
                  </a:lnTo>
                  <a:lnTo>
                    <a:pt x="1349" y="1745"/>
                  </a:lnTo>
                  <a:lnTo>
                    <a:pt x="1351" y="1743"/>
                  </a:lnTo>
                  <a:lnTo>
                    <a:pt x="1351" y="1743"/>
                  </a:lnTo>
                  <a:lnTo>
                    <a:pt x="1349" y="1743"/>
                  </a:lnTo>
                  <a:lnTo>
                    <a:pt x="1349" y="1741"/>
                  </a:lnTo>
                  <a:lnTo>
                    <a:pt x="1351" y="1741"/>
                  </a:lnTo>
                  <a:lnTo>
                    <a:pt x="1351" y="1741"/>
                  </a:lnTo>
                  <a:lnTo>
                    <a:pt x="1351" y="1738"/>
                  </a:lnTo>
                  <a:lnTo>
                    <a:pt x="1351" y="1738"/>
                  </a:lnTo>
                  <a:lnTo>
                    <a:pt x="1351" y="1738"/>
                  </a:lnTo>
                  <a:lnTo>
                    <a:pt x="1351" y="1738"/>
                  </a:lnTo>
                  <a:lnTo>
                    <a:pt x="1351" y="1738"/>
                  </a:lnTo>
                  <a:lnTo>
                    <a:pt x="1351" y="1738"/>
                  </a:lnTo>
                  <a:lnTo>
                    <a:pt x="1351" y="1738"/>
                  </a:lnTo>
                  <a:lnTo>
                    <a:pt x="1351" y="1738"/>
                  </a:lnTo>
                  <a:lnTo>
                    <a:pt x="1351" y="1736"/>
                  </a:lnTo>
                  <a:lnTo>
                    <a:pt x="1351" y="1736"/>
                  </a:lnTo>
                  <a:lnTo>
                    <a:pt x="1349" y="1736"/>
                  </a:lnTo>
                  <a:lnTo>
                    <a:pt x="1349" y="1734"/>
                  </a:lnTo>
                  <a:lnTo>
                    <a:pt x="1349" y="1734"/>
                  </a:lnTo>
                  <a:lnTo>
                    <a:pt x="1349" y="1734"/>
                  </a:lnTo>
                  <a:lnTo>
                    <a:pt x="1351" y="1734"/>
                  </a:lnTo>
                  <a:lnTo>
                    <a:pt x="1354" y="1734"/>
                  </a:lnTo>
                  <a:lnTo>
                    <a:pt x="1354" y="1734"/>
                  </a:lnTo>
                  <a:lnTo>
                    <a:pt x="1356" y="1734"/>
                  </a:lnTo>
                  <a:lnTo>
                    <a:pt x="1356" y="1731"/>
                  </a:lnTo>
                  <a:lnTo>
                    <a:pt x="1356" y="1731"/>
                  </a:lnTo>
                  <a:lnTo>
                    <a:pt x="1356" y="1731"/>
                  </a:lnTo>
                  <a:lnTo>
                    <a:pt x="1356" y="1731"/>
                  </a:lnTo>
                  <a:lnTo>
                    <a:pt x="1356" y="1731"/>
                  </a:lnTo>
                  <a:lnTo>
                    <a:pt x="1356" y="1729"/>
                  </a:lnTo>
                  <a:lnTo>
                    <a:pt x="1354" y="1729"/>
                  </a:lnTo>
                  <a:lnTo>
                    <a:pt x="1354" y="1729"/>
                  </a:lnTo>
                  <a:lnTo>
                    <a:pt x="1354" y="1729"/>
                  </a:lnTo>
                  <a:lnTo>
                    <a:pt x="1354" y="1729"/>
                  </a:lnTo>
                  <a:lnTo>
                    <a:pt x="1354" y="1729"/>
                  </a:lnTo>
                  <a:lnTo>
                    <a:pt x="1351" y="1729"/>
                  </a:lnTo>
                  <a:lnTo>
                    <a:pt x="1351" y="1729"/>
                  </a:lnTo>
                  <a:lnTo>
                    <a:pt x="1354" y="1726"/>
                  </a:lnTo>
                  <a:lnTo>
                    <a:pt x="1351" y="1726"/>
                  </a:lnTo>
                  <a:lnTo>
                    <a:pt x="1351" y="1726"/>
                  </a:lnTo>
                  <a:lnTo>
                    <a:pt x="1351" y="1726"/>
                  </a:lnTo>
                  <a:lnTo>
                    <a:pt x="1351" y="1726"/>
                  </a:lnTo>
                  <a:lnTo>
                    <a:pt x="1351" y="1726"/>
                  </a:lnTo>
                  <a:lnTo>
                    <a:pt x="1351" y="1726"/>
                  </a:lnTo>
                  <a:lnTo>
                    <a:pt x="1351" y="1724"/>
                  </a:lnTo>
                  <a:lnTo>
                    <a:pt x="1351" y="1724"/>
                  </a:lnTo>
                  <a:lnTo>
                    <a:pt x="1354" y="1722"/>
                  </a:lnTo>
                  <a:lnTo>
                    <a:pt x="1354" y="1722"/>
                  </a:lnTo>
                  <a:lnTo>
                    <a:pt x="1354" y="1722"/>
                  </a:lnTo>
                  <a:lnTo>
                    <a:pt x="1354" y="1722"/>
                  </a:lnTo>
                  <a:lnTo>
                    <a:pt x="1354" y="1722"/>
                  </a:lnTo>
                  <a:lnTo>
                    <a:pt x="1356" y="1719"/>
                  </a:lnTo>
                  <a:lnTo>
                    <a:pt x="1356" y="1717"/>
                  </a:lnTo>
                  <a:lnTo>
                    <a:pt x="1356" y="1717"/>
                  </a:lnTo>
                  <a:lnTo>
                    <a:pt x="1356" y="1719"/>
                  </a:lnTo>
                  <a:lnTo>
                    <a:pt x="1356" y="1719"/>
                  </a:lnTo>
                  <a:lnTo>
                    <a:pt x="1356" y="1719"/>
                  </a:lnTo>
                  <a:lnTo>
                    <a:pt x="1358" y="1717"/>
                  </a:lnTo>
                  <a:lnTo>
                    <a:pt x="1358" y="1715"/>
                  </a:lnTo>
                  <a:lnTo>
                    <a:pt x="1358" y="1715"/>
                  </a:lnTo>
                  <a:lnTo>
                    <a:pt x="1363" y="1710"/>
                  </a:lnTo>
                  <a:lnTo>
                    <a:pt x="1366" y="1710"/>
                  </a:lnTo>
                  <a:lnTo>
                    <a:pt x="1366" y="1710"/>
                  </a:lnTo>
                  <a:lnTo>
                    <a:pt x="1366" y="1710"/>
                  </a:lnTo>
                  <a:lnTo>
                    <a:pt x="1370" y="1708"/>
                  </a:lnTo>
                  <a:lnTo>
                    <a:pt x="1368" y="1708"/>
                  </a:lnTo>
                  <a:lnTo>
                    <a:pt x="1368" y="1708"/>
                  </a:lnTo>
                  <a:lnTo>
                    <a:pt x="1366" y="1708"/>
                  </a:lnTo>
                  <a:lnTo>
                    <a:pt x="1366" y="1708"/>
                  </a:lnTo>
                  <a:lnTo>
                    <a:pt x="1366" y="1705"/>
                  </a:lnTo>
                  <a:lnTo>
                    <a:pt x="1366" y="1705"/>
                  </a:lnTo>
                  <a:lnTo>
                    <a:pt x="1366" y="1705"/>
                  </a:lnTo>
                  <a:lnTo>
                    <a:pt x="1366" y="1705"/>
                  </a:lnTo>
                  <a:lnTo>
                    <a:pt x="1368" y="1705"/>
                  </a:lnTo>
                  <a:lnTo>
                    <a:pt x="1368" y="1705"/>
                  </a:lnTo>
                  <a:lnTo>
                    <a:pt x="1370" y="1705"/>
                  </a:lnTo>
                  <a:lnTo>
                    <a:pt x="1370" y="1705"/>
                  </a:lnTo>
                  <a:lnTo>
                    <a:pt x="1370" y="1708"/>
                  </a:lnTo>
                  <a:lnTo>
                    <a:pt x="1370" y="1708"/>
                  </a:lnTo>
                  <a:lnTo>
                    <a:pt x="1370" y="1708"/>
                  </a:lnTo>
                  <a:lnTo>
                    <a:pt x="1370" y="1705"/>
                  </a:lnTo>
                  <a:lnTo>
                    <a:pt x="1370" y="1705"/>
                  </a:lnTo>
                  <a:lnTo>
                    <a:pt x="1370" y="1703"/>
                  </a:lnTo>
                  <a:lnTo>
                    <a:pt x="1370" y="1703"/>
                  </a:lnTo>
                  <a:lnTo>
                    <a:pt x="1370" y="1703"/>
                  </a:lnTo>
                  <a:lnTo>
                    <a:pt x="1368" y="1703"/>
                  </a:lnTo>
                  <a:lnTo>
                    <a:pt x="1368" y="1705"/>
                  </a:lnTo>
                  <a:lnTo>
                    <a:pt x="1368" y="1703"/>
                  </a:lnTo>
                  <a:lnTo>
                    <a:pt x="1366" y="1703"/>
                  </a:lnTo>
                  <a:lnTo>
                    <a:pt x="1366" y="1703"/>
                  </a:lnTo>
                  <a:lnTo>
                    <a:pt x="1366" y="1703"/>
                  </a:lnTo>
                  <a:lnTo>
                    <a:pt x="1368" y="1703"/>
                  </a:lnTo>
                  <a:lnTo>
                    <a:pt x="1368" y="1703"/>
                  </a:lnTo>
                  <a:lnTo>
                    <a:pt x="1368" y="1703"/>
                  </a:lnTo>
                  <a:lnTo>
                    <a:pt x="1366" y="1700"/>
                  </a:lnTo>
                  <a:lnTo>
                    <a:pt x="1366" y="1700"/>
                  </a:lnTo>
                  <a:lnTo>
                    <a:pt x="1363" y="1700"/>
                  </a:lnTo>
                  <a:lnTo>
                    <a:pt x="1363" y="1700"/>
                  </a:lnTo>
                  <a:lnTo>
                    <a:pt x="1361" y="1700"/>
                  </a:lnTo>
                  <a:lnTo>
                    <a:pt x="1361" y="1700"/>
                  </a:lnTo>
                  <a:lnTo>
                    <a:pt x="1361" y="1698"/>
                  </a:lnTo>
                  <a:lnTo>
                    <a:pt x="1361" y="1698"/>
                  </a:lnTo>
                  <a:lnTo>
                    <a:pt x="1363" y="1698"/>
                  </a:lnTo>
                  <a:lnTo>
                    <a:pt x="1363" y="1698"/>
                  </a:lnTo>
                  <a:lnTo>
                    <a:pt x="1361" y="1696"/>
                  </a:lnTo>
                  <a:lnTo>
                    <a:pt x="1361" y="1693"/>
                  </a:lnTo>
                  <a:lnTo>
                    <a:pt x="1361" y="1693"/>
                  </a:lnTo>
                  <a:lnTo>
                    <a:pt x="1363" y="1696"/>
                  </a:lnTo>
                  <a:lnTo>
                    <a:pt x="1368" y="1698"/>
                  </a:lnTo>
                  <a:lnTo>
                    <a:pt x="1368" y="1698"/>
                  </a:lnTo>
                  <a:lnTo>
                    <a:pt x="1370" y="1698"/>
                  </a:lnTo>
                  <a:lnTo>
                    <a:pt x="1370" y="1696"/>
                  </a:lnTo>
                  <a:lnTo>
                    <a:pt x="1370" y="1696"/>
                  </a:lnTo>
                  <a:lnTo>
                    <a:pt x="1368" y="1696"/>
                  </a:lnTo>
                  <a:lnTo>
                    <a:pt x="1368" y="1696"/>
                  </a:lnTo>
                  <a:lnTo>
                    <a:pt x="1368" y="1696"/>
                  </a:lnTo>
                  <a:lnTo>
                    <a:pt x="1366" y="1693"/>
                  </a:lnTo>
                  <a:lnTo>
                    <a:pt x="1368" y="1693"/>
                  </a:lnTo>
                  <a:lnTo>
                    <a:pt x="1373" y="1693"/>
                  </a:lnTo>
                  <a:lnTo>
                    <a:pt x="1373" y="1693"/>
                  </a:lnTo>
                  <a:lnTo>
                    <a:pt x="1366" y="1689"/>
                  </a:lnTo>
                  <a:lnTo>
                    <a:pt x="1366" y="1689"/>
                  </a:lnTo>
                  <a:lnTo>
                    <a:pt x="1370" y="1691"/>
                  </a:lnTo>
                  <a:lnTo>
                    <a:pt x="1368" y="1689"/>
                  </a:lnTo>
                  <a:lnTo>
                    <a:pt x="1368" y="1689"/>
                  </a:lnTo>
                  <a:lnTo>
                    <a:pt x="1368" y="1689"/>
                  </a:lnTo>
                  <a:lnTo>
                    <a:pt x="1368" y="1689"/>
                  </a:lnTo>
                  <a:lnTo>
                    <a:pt x="1368" y="1689"/>
                  </a:lnTo>
                  <a:lnTo>
                    <a:pt x="1370" y="1689"/>
                  </a:lnTo>
                  <a:lnTo>
                    <a:pt x="1370" y="1689"/>
                  </a:lnTo>
                  <a:lnTo>
                    <a:pt x="1370" y="1689"/>
                  </a:lnTo>
                  <a:lnTo>
                    <a:pt x="1373" y="1691"/>
                  </a:lnTo>
                  <a:lnTo>
                    <a:pt x="1373" y="1691"/>
                  </a:lnTo>
                  <a:lnTo>
                    <a:pt x="1373" y="1691"/>
                  </a:lnTo>
                  <a:lnTo>
                    <a:pt x="1373" y="1691"/>
                  </a:lnTo>
                  <a:lnTo>
                    <a:pt x="1373" y="1691"/>
                  </a:lnTo>
                  <a:lnTo>
                    <a:pt x="1373" y="1689"/>
                  </a:lnTo>
                  <a:lnTo>
                    <a:pt x="1373" y="1689"/>
                  </a:lnTo>
                  <a:lnTo>
                    <a:pt x="1373" y="1689"/>
                  </a:lnTo>
                  <a:lnTo>
                    <a:pt x="1373" y="1689"/>
                  </a:lnTo>
                  <a:lnTo>
                    <a:pt x="1373" y="1689"/>
                  </a:lnTo>
                  <a:lnTo>
                    <a:pt x="1373" y="1689"/>
                  </a:lnTo>
                  <a:lnTo>
                    <a:pt x="1373" y="1689"/>
                  </a:lnTo>
                  <a:lnTo>
                    <a:pt x="1375" y="1689"/>
                  </a:lnTo>
                  <a:lnTo>
                    <a:pt x="1375" y="1689"/>
                  </a:lnTo>
                  <a:lnTo>
                    <a:pt x="1375" y="1689"/>
                  </a:lnTo>
                  <a:lnTo>
                    <a:pt x="1375" y="1689"/>
                  </a:lnTo>
                  <a:lnTo>
                    <a:pt x="1375" y="1689"/>
                  </a:lnTo>
                  <a:lnTo>
                    <a:pt x="1375" y="1686"/>
                  </a:lnTo>
                  <a:lnTo>
                    <a:pt x="1375" y="1686"/>
                  </a:lnTo>
                  <a:lnTo>
                    <a:pt x="1375" y="1686"/>
                  </a:lnTo>
                  <a:lnTo>
                    <a:pt x="1375" y="1686"/>
                  </a:lnTo>
                  <a:lnTo>
                    <a:pt x="1375" y="1686"/>
                  </a:lnTo>
                  <a:lnTo>
                    <a:pt x="1375" y="1686"/>
                  </a:lnTo>
                  <a:lnTo>
                    <a:pt x="1377" y="1686"/>
                  </a:lnTo>
                  <a:lnTo>
                    <a:pt x="1377" y="1686"/>
                  </a:lnTo>
                  <a:lnTo>
                    <a:pt x="1377" y="1686"/>
                  </a:lnTo>
                  <a:lnTo>
                    <a:pt x="1380" y="1684"/>
                  </a:lnTo>
                  <a:lnTo>
                    <a:pt x="1380" y="1684"/>
                  </a:lnTo>
                  <a:lnTo>
                    <a:pt x="1377" y="1684"/>
                  </a:lnTo>
                  <a:lnTo>
                    <a:pt x="1377" y="1684"/>
                  </a:lnTo>
                  <a:lnTo>
                    <a:pt x="1377" y="1684"/>
                  </a:lnTo>
                  <a:lnTo>
                    <a:pt x="1375" y="1684"/>
                  </a:lnTo>
                  <a:lnTo>
                    <a:pt x="1375" y="1684"/>
                  </a:lnTo>
                  <a:lnTo>
                    <a:pt x="1373" y="1684"/>
                  </a:lnTo>
                  <a:lnTo>
                    <a:pt x="1373" y="1682"/>
                  </a:lnTo>
                  <a:lnTo>
                    <a:pt x="1373" y="1682"/>
                  </a:lnTo>
                  <a:lnTo>
                    <a:pt x="1373" y="1682"/>
                  </a:lnTo>
                  <a:lnTo>
                    <a:pt x="1375" y="1682"/>
                  </a:lnTo>
                  <a:lnTo>
                    <a:pt x="1375" y="1679"/>
                  </a:lnTo>
                  <a:lnTo>
                    <a:pt x="1375" y="1679"/>
                  </a:lnTo>
                  <a:lnTo>
                    <a:pt x="1377" y="1679"/>
                  </a:lnTo>
                  <a:lnTo>
                    <a:pt x="1377" y="1679"/>
                  </a:lnTo>
                  <a:lnTo>
                    <a:pt x="1377" y="1679"/>
                  </a:lnTo>
                  <a:lnTo>
                    <a:pt x="1377" y="1679"/>
                  </a:lnTo>
                  <a:lnTo>
                    <a:pt x="1377" y="1679"/>
                  </a:lnTo>
                  <a:lnTo>
                    <a:pt x="1377" y="1679"/>
                  </a:lnTo>
                  <a:lnTo>
                    <a:pt x="1377" y="1679"/>
                  </a:lnTo>
                  <a:lnTo>
                    <a:pt x="1380" y="1677"/>
                  </a:lnTo>
                  <a:lnTo>
                    <a:pt x="1380" y="1677"/>
                  </a:lnTo>
                  <a:lnTo>
                    <a:pt x="1380" y="1679"/>
                  </a:lnTo>
                  <a:lnTo>
                    <a:pt x="1380" y="1679"/>
                  </a:lnTo>
                  <a:lnTo>
                    <a:pt x="1380" y="1679"/>
                  </a:lnTo>
                  <a:lnTo>
                    <a:pt x="1380" y="1679"/>
                  </a:lnTo>
                  <a:lnTo>
                    <a:pt x="1382" y="1679"/>
                  </a:lnTo>
                  <a:lnTo>
                    <a:pt x="1382" y="1679"/>
                  </a:lnTo>
                  <a:lnTo>
                    <a:pt x="1382" y="1679"/>
                  </a:lnTo>
                  <a:lnTo>
                    <a:pt x="1382" y="1679"/>
                  </a:lnTo>
                  <a:lnTo>
                    <a:pt x="1382" y="1677"/>
                  </a:lnTo>
                  <a:lnTo>
                    <a:pt x="1382" y="1677"/>
                  </a:lnTo>
                  <a:lnTo>
                    <a:pt x="1384" y="1677"/>
                  </a:lnTo>
                  <a:lnTo>
                    <a:pt x="1382" y="1677"/>
                  </a:lnTo>
                  <a:lnTo>
                    <a:pt x="1382" y="1674"/>
                  </a:lnTo>
                  <a:lnTo>
                    <a:pt x="1380" y="1674"/>
                  </a:lnTo>
                  <a:lnTo>
                    <a:pt x="1380" y="1674"/>
                  </a:lnTo>
                  <a:lnTo>
                    <a:pt x="1380" y="1674"/>
                  </a:lnTo>
                  <a:lnTo>
                    <a:pt x="1380" y="1674"/>
                  </a:lnTo>
                  <a:lnTo>
                    <a:pt x="1380" y="1674"/>
                  </a:lnTo>
                  <a:lnTo>
                    <a:pt x="1380" y="1674"/>
                  </a:lnTo>
                  <a:lnTo>
                    <a:pt x="1380" y="1672"/>
                  </a:lnTo>
                  <a:lnTo>
                    <a:pt x="1380" y="1672"/>
                  </a:lnTo>
                  <a:lnTo>
                    <a:pt x="1377" y="1672"/>
                  </a:lnTo>
                  <a:lnTo>
                    <a:pt x="1377" y="1672"/>
                  </a:lnTo>
                  <a:lnTo>
                    <a:pt x="1375" y="1670"/>
                  </a:lnTo>
                  <a:lnTo>
                    <a:pt x="1373" y="1670"/>
                  </a:lnTo>
                  <a:lnTo>
                    <a:pt x="1370" y="1670"/>
                  </a:lnTo>
                  <a:lnTo>
                    <a:pt x="1368" y="1670"/>
                  </a:lnTo>
                  <a:lnTo>
                    <a:pt x="1373" y="1670"/>
                  </a:lnTo>
                  <a:lnTo>
                    <a:pt x="1377" y="1670"/>
                  </a:lnTo>
                  <a:lnTo>
                    <a:pt x="1380" y="1672"/>
                  </a:lnTo>
                  <a:lnTo>
                    <a:pt x="1380" y="1672"/>
                  </a:lnTo>
                  <a:lnTo>
                    <a:pt x="1380" y="1672"/>
                  </a:lnTo>
                  <a:lnTo>
                    <a:pt x="1382" y="1672"/>
                  </a:lnTo>
                  <a:lnTo>
                    <a:pt x="1382" y="1672"/>
                  </a:lnTo>
                  <a:lnTo>
                    <a:pt x="1382" y="1672"/>
                  </a:lnTo>
                  <a:lnTo>
                    <a:pt x="1382" y="1672"/>
                  </a:lnTo>
                  <a:lnTo>
                    <a:pt x="1382" y="1672"/>
                  </a:lnTo>
                  <a:lnTo>
                    <a:pt x="1384" y="1672"/>
                  </a:lnTo>
                  <a:lnTo>
                    <a:pt x="1384" y="1672"/>
                  </a:lnTo>
                  <a:lnTo>
                    <a:pt x="1384" y="1672"/>
                  </a:lnTo>
                  <a:lnTo>
                    <a:pt x="1384" y="1672"/>
                  </a:lnTo>
                  <a:lnTo>
                    <a:pt x="1384" y="1674"/>
                  </a:lnTo>
                  <a:lnTo>
                    <a:pt x="1384" y="1674"/>
                  </a:lnTo>
                  <a:lnTo>
                    <a:pt x="1384" y="1674"/>
                  </a:lnTo>
                  <a:lnTo>
                    <a:pt x="1384" y="1674"/>
                  </a:lnTo>
                  <a:lnTo>
                    <a:pt x="1384" y="1674"/>
                  </a:lnTo>
                  <a:lnTo>
                    <a:pt x="1384" y="1674"/>
                  </a:lnTo>
                  <a:lnTo>
                    <a:pt x="1384" y="1677"/>
                  </a:lnTo>
                  <a:lnTo>
                    <a:pt x="1384" y="1677"/>
                  </a:lnTo>
                  <a:lnTo>
                    <a:pt x="1387" y="1677"/>
                  </a:lnTo>
                  <a:lnTo>
                    <a:pt x="1387" y="1679"/>
                  </a:lnTo>
                  <a:lnTo>
                    <a:pt x="1387" y="1679"/>
                  </a:lnTo>
                  <a:lnTo>
                    <a:pt x="1389" y="1679"/>
                  </a:lnTo>
                  <a:lnTo>
                    <a:pt x="1389" y="1679"/>
                  </a:lnTo>
                  <a:lnTo>
                    <a:pt x="1392" y="1679"/>
                  </a:lnTo>
                  <a:lnTo>
                    <a:pt x="1392" y="1682"/>
                  </a:lnTo>
                  <a:lnTo>
                    <a:pt x="1392" y="1679"/>
                  </a:lnTo>
                  <a:lnTo>
                    <a:pt x="1392" y="1679"/>
                  </a:lnTo>
                  <a:lnTo>
                    <a:pt x="1389" y="1679"/>
                  </a:lnTo>
                  <a:lnTo>
                    <a:pt x="1389" y="1677"/>
                  </a:lnTo>
                  <a:lnTo>
                    <a:pt x="1389" y="1677"/>
                  </a:lnTo>
                  <a:lnTo>
                    <a:pt x="1389" y="1677"/>
                  </a:lnTo>
                  <a:lnTo>
                    <a:pt x="1389" y="1674"/>
                  </a:lnTo>
                  <a:lnTo>
                    <a:pt x="1387" y="1674"/>
                  </a:lnTo>
                  <a:lnTo>
                    <a:pt x="1387" y="1674"/>
                  </a:lnTo>
                  <a:lnTo>
                    <a:pt x="1387" y="1674"/>
                  </a:lnTo>
                  <a:lnTo>
                    <a:pt x="1387" y="1674"/>
                  </a:lnTo>
                  <a:lnTo>
                    <a:pt x="1387" y="1672"/>
                  </a:lnTo>
                  <a:lnTo>
                    <a:pt x="1387" y="1672"/>
                  </a:lnTo>
                  <a:lnTo>
                    <a:pt x="1387" y="1672"/>
                  </a:lnTo>
                  <a:lnTo>
                    <a:pt x="1387" y="1672"/>
                  </a:lnTo>
                  <a:lnTo>
                    <a:pt x="1387" y="1672"/>
                  </a:lnTo>
                  <a:lnTo>
                    <a:pt x="1387" y="1672"/>
                  </a:lnTo>
                  <a:lnTo>
                    <a:pt x="1387" y="1670"/>
                  </a:lnTo>
                  <a:lnTo>
                    <a:pt x="1387" y="1670"/>
                  </a:lnTo>
                  <a:lnTo>
                    <a:pt x="1387" y="1670"/>
                  </a:lnTo>
                  <a:lnTo>
                    <a:pt x="1384" y="1670"/>
                  </a:lnTo>
                  <a:lnTo>
                    <a:pt x="1382" y="1670"/>
                  </a:lnTo>
                  <a:lnTo>
                    <a:pt x="1382" y="1670"/>
                  </a:lnTo>
                  <a:lnTo>
                    <a:pt x="1382" y="1667"/>
                  </a:lnTo>
                  <a:lnTo>
                    <a:pt x="1382" y="1667"/>
                  </a:lnTo>
                  <a:lnTo>
                    <a:pt x="1382" y="1667"/>
                  </a:lnTo>
                  <a:lnTo>
                    <a:pt x="1384" y="1667"/>
                  </a:lnTo>
                  <a:lnTo>
                    <a:pt x="1384" y="1667"/>
                  </a:lnTo>
                  <a:lnTo>
                    <a:pt x="1384" y="1667"/>
                  </a:lnTo>
                  <a:lnTo>
                    <a:pt x="1384" y="1667"/>
                  </a:lnTo>
                  <a:lnTo>
                    <a:pt x="1384" y="1667"/>
                  </a:lnTo>
                  <a:lnTo>
                    <a:pt x="1384" y="1667"/>
                  </a:lnTo>
                  <a:lnTo>
                    <a:pt x="1384" y="1665"/>
                  </a:lnTo>
                  <a:lnTo>
                    <a:pt x="1384" y="1665"/>
                  </a:lnTo>
                  <a:lnTo>
                    <a:pt x="1384" y="1665"/>
                  </a:lnTo>
                  <a:lnTo>
                    <a:pt x="1384" y="1665"/>
                  </a:lnTo>
                  <a:lnTo>
                    <a:pt x="1384" y="1663"/>
                  </a:lnTo>
                  <a:lnTo>
                    <a:pt x="1384" y="1663"/>
                  </a:lnTo>
                  <a:lnTo>
                    <a:pt x="1384" y="1663"/>
                  </a:lnTo>
                  <a:lnTo>
                    <a:pt x="1384" y="1663"/>
                  </a:lnTo>
                  <a:lnTo>
                    <a:pt x="1387" y="1663"/>
                  </a:lnTo>
                  <a:lnTo>
                    <a:pt x="1387" y="1663"/>
                  </a:lnTo>
                  <a:lnTo>
                    <a:pt x="1389" y="1663"/>
                  </a:lnTo>
                  <a:lnTo>
                    <a:pt x="1389" y="1663"/>
                  </a:lnTo>
                  <a:lnTo>
                    <a:pt x="1389" y="1663"/>
                  </a:lnTo>
                  <a:lnTo>
                    <a:pt x="1389" y="1663"/>
                  </a:lnTo>
                  <a:lnTo>
                    <a:pt x="1389" y="1663"/>
                  </a:lnTo>
                  <a:lnTo>
                    <a:pt x="1389" y="1663"/>
                  </a:lnTo>
                  <a:lnTo>
                    <a:pt x="1389" y="1660"/>
                  </a:lnTo>
                  <a:lnTo>
                    <a:pt x="1389" y="1660"/>
                  </a:lnTo>
                  <a:lnTo>
                    <a:pt x="1389" y="1660"/>
                  </a:lnTo>
                  <a:lnTo>
                    <a:pt x="1389" y="1660"/>
                  </a:lnTo>
                  <a:lnTo>
                    <a:pt x="1389" y="1660"/>
                  </a:lnTo>
                  <a:lnTo>
                    <a:pt x="1389" y="1660"/>
                  </a:lnTo>
                  <a:lnTo>
                    <a:pt x="1389" y="1660"/>
                  </a:lnTo>
                  <a:lnTo>
                    <a:pt x="1389" y="1658"/>
                  </a:lnTo>
                  <a:lnTo>
                    <a:pt x="1389" y="1658"/>
                  </a:lnTo>
                  <a:lnTo>
                    <a:pt x="1389" y="1658"/>
                  </a:lnTo>
                  <a:lnTo>
                    <a:pt x="1389" y="1658"/>
                  </a:lnTo>
                  <a:lnTo>
                    <a:pt x="1389" y="1660"/>
                  </a:lnTo>
                  <a:lnTo>
                    <a:pt x="1387" y="1660"/>
                  </a:lnTo>
                  <a:lnTo>
                    <a:pt x="1387" y="1660"/>
                  </a:lnTo>
                  <a:lnTo>
                    <a:pt x="1387" y="1658"/>
                  </a:lnTo>
                  <a:lnTo>
                    <a:pt x="1387" y="1658"/>
                  </a:lnTo>
                  <a:lnTo>
                    <a:pt x="1389" y="1658"/>
                  </a:lnTo>
                  <a:lnTo>
                    <a:pt x="1389" y="1658"/>
                  </a:lnTo>
                  <a:lnTo>
                    <a:pt x="1389" y="1656"/>
                  </a:lnTo>
                  <a:lnTo>
                    <a:pt x="1387" y="1656"/>
                  </a:lnTo>
                  <a:lnTo>
                    <a:pt x="1387" y="1656"/>
                  </a:lnTo>
                  <a:lnTo>
                    <a:pt x="1387" y="1656"/>
                  </a:lnTo>
                  <a:lnTo>
                    <a:pt x="1387" y="1656"/>
                  </a:lnTo>
                  <a:lnTo>
                    <a:pt x="1387" y="1653"/>
                  </a:lnTo>
                  <a:lnTo>
                    <a:pt x="1387" y="1653"/>
                  </a:lnTo>
                  <a:lnTo>
                    <a:pt x="1387" y="1653"/>
                  </a:lnTo>
                  <a:lnTo>
                    <a:pt x="1387" y="1653"/>
                  </a:lnTo>
                  <a:lnTo>
                    <a:pt x="1387" y="1653"/>
                  </a:lnTo>
                  <a:lnTo>
                    <a:pt x="1387" y="1653"/>
                  </a:lnTo>
                  <a:lnTo>
                    <a:pt x="1387" y="1653"/>
                  </a:lnTo>
                  <a:lnTo>
                    <a:pt x="1389" y="1653"/>
                  </a:lnTo>
                  <a:lnTo>
                    <a:pt x="1389" y="1656"/>
                  </a:lnTo>
                  <a:lnTo>
                    <a:pt x="1389" y="1656"/>
                  </a:lnTo>
                  <a:lnTo>
                    <a:pt x="1389" y="1656"/>
                  </a:lnTo>
                  <a:lnTo>
                    <a:pt x="1389" y="1656"/>
                  </a:lnTo>
                  <a:lnTo>
                    <a:pt x="1389" y="1653"/>
                  </a:lnTo>
                  <a:lnTo>
                    <a:pt x="1389" y="1653"/>
                  </a:lnTo>
                  <a:lnTo>
                    <a:pt x="1392" y="1653"/>
                  </a:lnTo>
                  <a:lnTo>
                    <a:pt x="1389" y="1656"/>
                  </a:lnTo>
                  <a:lnTo>
                    <a:pt x="1389" y="1656"/>
                  </a:lnTo>
                  <a:lnTo>
                    <a:pt x="1392" y="1656"/>
                  </a:lnTo>
                  <a:lnTo>
                    <a:pt x="1392" y="1656"/>
                  </a:lnTo>
                  <a:lnTo>
                    <a:pt x="1392" y="1658"/>
                  </a:lnTo>
                  <a:lnTo>
                    <a:pt x="1394" y="1656"/>
                  </a:lnTo>
                  <a:lnTo>
                    <a:pt x="1394" y="1656"/>
                  </a:lnTo>
                  <a:lnTo>
                    <a:pt x="1394" y="1656"/>
                  </a:lnTo>
                  <a:lnTo>
                    <a:pt x="1394" y="1656"/>
                  </a:lnTo>
                  <a:lnTo>
                    <a:pt x="1394" y="1656"/>
                  </a:lnTo>
                  <a:lnTo>
                    <a:pt x="1396" y="1656"/>
                  </a:lnTo>
                  <a:lnTo>
                    <a:pt x="1396" y="1656"/>
                  </a:lnTo>
                  <a:lnTo>
                    <a:pt x="1396" y="1653"/>
                  </a:lnTo>
                  <a:lnTo>
                    <a:pt x="1396" y="1653"/>
                  </a:lnTo>
                  <a:lnTo>
                    <a:pt x="1396" y="1653"/>
                  </a:lnTo>
                  <a:lnTo>
                    <a:pt x="1396" y="1653"/>
                  </a:lnTo>
                  <a:lnTo>
                    <a:pt x="1399" y="1651"/>
                  </a:lnTo>
                  <a:lnTo>
                    <a:pt x="1399" y="1653"/>
                  </a:lnTo>
                  <a:lnTo>
                    <a:pt x="1399" y="1653"/>
                  </a:lnTo>
                  <a:lnTo>
                    <a:pt x="1399" y="1653"/>
                  </a:lnTo>
                  <a:lnTo>
                    <a:pt x="1399" y="1653"/>
                  </a:lnTo>
                  <a:lnTo>
                    <a:pt x="1399" y="1656"/>
                  </a:lnTo>
                  <a:lnTo>
                    <a:pt x="1399" y="1656"/>
                  </a:lnTo>
                  <a:lnTo>
                    <a:pt x="1399" y="1656"/>
                  </a:lnTo>
                  <a:lnTo>
                    <a:pt x="1401" y="1656"/>
                  </a:lnTo>
                  <a:lnTo>
                    <a:pt x="1403" y="1656"/>
                  </a:lnTo>
                  <a:lnTo>
                    <a:pt x="1403" y="1656"/>
                  </a:lnTo>
                  <a:lnTo>
                    <a:pt x="1406" y="1656"/>
                  </a:lnTo>
                  <a:lnTo>
                    <a:pt x="1406" y="1656"/>
                  </a:lnTo>
                  <a:lnTo>
                    <a:pt x="1406" y="1656"/>
                  </a:lnTo>
                  <a:lnTo>
                    <a:pt x="1406" y="1656"/>
                  </a:lnTo>
                  <a:lnTo>
                    <a:pt x="1406" y="1653"/>
                  </a:lnTo>
                  <a:lnTo>
                    <a:pt x="1406" y="1653"/>
                  </a:lnTo>
                  <a:lnTo>
                    <a:pt x="1406" y="1653"/>
                  </a:lnTo>
                  <a:lnTo>
                    <a:pt x="1406" y="1653"/>
                  </a:lnTo>
                  <a:lnTo>
                    <a:pt x="1406" y="1651"/>
                  </a:lnTo>
                  <a:lnTo>
                    <a:pt x="1406" y="1651"/>
                  </a:lnTo>
                  <a:lnTo>
                    <a:pt x="1406" y="1648"/>
                  </a:lnTo>
                  <a:lnTo>
                    <a:pt x="1403" y="1648"/>
                  </a:lnTo>
                  <a:lnTo>
                    <a:pt x="1396" y="1648"/>
                  </a:lnTo>
                  <a:lnTo>
                    <a:pt x="1396" y="1648"/>
                  </a:lnTo>
                  <a:lnTo>
                    <a:pt x="1394" y="1648"/>
                  </a:lnTo>
                  <a:lnTo>
                    <a:pt x="1396" y="1646"/>
                  </a:lnTo>
                  <a:lnTo>
                    <a:pt x="1396" y="1648"/>
                  </a:lnTo>
                  <a:lnTo>
                    <a:pt x="1396" y="1648"/>
                  </a:lnTo>
                  <a:lnTo>
                    <a:pt x="1396" y="1648"/>
                  </a:lnTo>
                  <a:lnTo>
                    <a:pt x="1396" y="1646"/>
                  </a:lnTo>
                  <a:lnTo>
                    <a:pt x="1394" y="1646"/>
                  </a:lnTo>
                  <a:lnTo>
                    <a:pt x="1392" y="1644"/>
                  </a:lnTo>
                  <a:lnTo>
                    <a:pt x="1392" y="1644"/>
                  </a:lnTo>
                  <a:lnTo>
                    <a:pt x="1392" y="1641"/>
                  </a:lnTo>
                  <a:lnTo>
                    <a:pt x="1389" y="1641"/>
                  </a:lnTo>
                  <a:lnTo>
                    <a:pt x="1389" y="1641"/>
                  </a:lnTo>
                  <a:lnTo>
                    <a:pt x="1389" y="1641"/>
                  </a:lnTo>
                  <a:lnTo>
                    <a:pt x="1389" y="1639"/>
                  </a:lnTo>
                  <a:lnTo>
                    <a:pt x="1389" y="1639"/>
                  </a:lnTo>
                  <a:lnTo>
                    <a:pt x="1394" y="1639"/>
                  </a:lnTo>
                  <a:lnTo>
                    <a:pt x="1394" y="1639"/>
                  </a:lnTo>
                  <a:lnTo>
                    <a:pt x="1396" y="1639"/>
                  </a:lnTo>
                  <a:lnTo>
                    <a:pt x="1399" y="1639"/>
                  </a:lnTo>
                  <a:lnTo>
                    <a:pt x="1399" y="1641"/>
                  </a:lnTo>
                  <a:lnTo>
                    <a:pt x="1399" y="1639"/>
                  </a:lnTo>
                  <a:lnTo>
                    <a:pt x="1401" y="1639"/>
                  </a:lnTo>
                  <a:lnTo>
                    <a:pt x="1399" y="1639"/>
                  </a:lnTo>
                  <a:lnTo>
                    <a:pt x="1399" y="1639"/>
                  </a:lnTo>
                  <a:lnTo>
                    <a:pt x="1399" y="1637"/>
                  </a:lnTo>
                  <a:lnTo>
                    <a:pt x="1399" y="1637"/>
                  </a:lnTo>
                  <a:lnTo>
                    <a:pt x="1399" y="1637"/>
                  </a:lnTo>
                  <a:lnTo>
                    <a:pt x="1399" y="1637"/>
                  </a:lnTo>
                  <a:lnTo>
                    <a:pt x="1399" y="1637"/>
                  </a:lnTo>
                  <a:lnTo>
                    <a:pt x="1399" y="1637"/>
                  </a:lnTo>
                  <a:lnTo>
                    <a:pt x="1399" y="1637"/>
                  </a:lnTo>
                  <a:lnTo>
                    <a:pt x="1403" y="1637"/>
                  </a:lnTo>
                  <a:lnTo>
                    <a:pt x="1406" y="1639"/>
                  </a:lnTo>
                  <a:lnTo>
                    <a:pt x="1411" y="1637"/>
                  </a:lnTo>
                  <a:lnTo>
                    <a:pt x="1411" y="1639"/>
                  </a:lnTo>
                  <a:lnTo>
                    <a:pt x="1413" y="1639"/>
                  </a:lnTo>
                  <a:lnTo>
                    <a:pt x="1418" y="1639"/>
                  </a:lnTo>
                  <a:lnTo>
                    <a:pt x="1420" y="1639"/>
                  </a:lnTo>
                  <a:lnTo>
                    <a:pt x="1420" y="1639"/>
                  </a:lnTo>
                  <a:lnTo>
                    <a:pt x="1420" y="1639"/>
                  </a:lnTo>
                  <a:lnTo>
                    <a:pt x="1420" y="1639"/>
                  </a:lnTo>
                  <a:lnTo>
                    <a:pt x="1418" y="1637"/>
                  </a:lnTo>
                  <a:lnTo>
                    <a:pt x="1420" y="1637"/>
                  </a:lnTo>
                  <a:lnTo>
                    <a:pt x="1422" y="1637"/>
                  </a:lnTo>
                  <a:lnTo>
                    <a:pt x="1422" y="1637"/>
                  </a:lnTo>
                  <a:lnTo>
                    <a:pt x="1425" y="1634"/>
                  </a:lnTo>
                  <a:lnTo>
                    <a:pt x="1425" y="1634"/>
                  </a:lnTo>
                  <a:lnTo>
                    <a:pt x="1425" y="1632"/>
                  </a:lnTo>
                  <a:lnTo>
                    <a:pt x="1425" y="1632"/>
                  </a:lnTo>
                  <a:lnTo>
                    <a:pt x="1425" y="1632"/>
                  </a:lnTo>
                  <a:lnTo>
                    <a:pt x="1427" y="1632"/>
                  </a:lnTo>
                  <a:lnTo>
                    <a:pt x="1427" y="1629"/>
                  </a:lnTo>
                  <a:lnTo>
                    <a:pt x="1427" y="1629"/>
                  </a:lnTo>
                  <a:lnTo>
                    <a:pt x="1429" y="1629"/>
                  </a:lnTo>
                  <a:lnTo>
                    <a:pt x="1434" y="1629"/>
                  </a:lnTo>
                  <a:lnTo>
                    <a:pt x="1437" y="1629"/>
                  </a:lnTo>
                  <a:lnTo>
                    <a:pt x="1437" y="1627"/>
                  </a:lnTo>
                  <a:lnTo>
                    <a:pt x="1437" y="1627"/>
                  </a:lnTo>
                  <a:lnTo>
                    <a:pt x="1437" y="1627"/>
                  </a:lnTo>
                  <a:lnTo>
                    <a:pt x="1437" y="1627"/>
                  </a:lnTo>
                  <a:lnTo>
                    <a:pt x="1437" y="1627"/>
                  </a:lnTo>
                  <a:lnTo>
                    <a:pt x="1437" y="1627"/>
                  </a:lnTo>
                  <a:lnTo>
                    <a:pt x="1437" y="1625"/>
                  </a:lnTo>
                  <a:lnTo>
                    <a:pt x="1437" y="1625"/>
                  </a:lnTo>
                  <a:lnTo>
                    <a:pt x="1437" y="1625"/>
                  </a:lnTo>
                  <a:lnTo>
                    <a:pt x="1437" y="1625"/>
                  </a:lnTo>
                  <a:lnTo>
                    <a:pt x="1437" y="1625"/>
                  </a:lnTo>
                  <a:lnTo>
                    <a:pt x="1439" y="1625"/>
                  </a:lnTo>
                  <a:lnTo>
                    <a:pt x="1437" y="1625"/>
                  </a:lnTo>
                  <a:lnTo>
                    <a:pt x="1437" y="1622"/>
                  </a:lnTo>
                  <a:lnTo>
                    <a:pt x="1437" y="1622"/>
                  </a:lnTo>
                  <a:lnTo>
                    <a:pt x="1437" y="1622"/>
                  </a:lnTo>
                  <a:lnTo>
                    <a:pt x="1439" y="1622"/>
                  </a:lnTo>
                  <a:lnTo>
                    <a:pt x="1439" y="1622"/>
                  </a:lnTo>
                  <a:lnTo>
                    <a:pt x="1439" y="1620"/>
                  </a:lnTo>
                  <a:lnTo>
                    <a:pt x="1439" y="1620"/>
                  </a:lnTo>
                  <a:lnTo>
                    <a:pt x="1439" y="1620"/>
                  </a:lnTo>
                  <a:lnTo>
                    <a:pt x="1437" y="1620"/>
                  </a:lnTo>
                  <a:lnTo>
                    <a:pt x="1439" y="1620"/>
                  </a:lnTo>
                  <a:lnTo>
                    <a:pt x="1439" y="1620"/>
                  </a:lnTo>
                  <a:lnTo>
                    <a:pt x="1437" y="1618"/>
                  </a:lnTo>
                  <a:lnTo>
                    <a:pt x="1437" y="1618"/>
                  </a:lnTo>
                  <a:lnTo>
                    <a:pt x="1437" y="1615"/>
                  </a:lnTo>
                  <a:lnTo>
                    <a:pt x="1437" y="1615"/>
                  </a:lnTo>
                  <a:lnTo>
                    <a:pt x="1437" y="1615"/>
                  </a:lnTo>
                  <a:lnTo>
                    <a:pt x="1437" y="1615"/>
                  </a:lnTo>
                  <a:lnTo>
                    <a:pt x="1437" y="1615"/>
                  </a:lnTo>
                  <a:lnTo>
                    <a:pt x="1437" y="1615"/>
                  </a:lnTo>
                  <a:lnTo>
                    <a:pt x="1437" y="1613"/>
                  </a:lnTo>
                  <a:lnTo>
                    <a:pt x="1437" y="1613"/>
                  </a:lnTo>
                  <a:lnTo>
                    <a:pt x="1437" y="1613"/>
                  </a:lnTo>
                  <a:lnTo>
                    <a:pt x="1437" y="1613"/>
                  </a:lnTo>
                  <a:lnTo>
                    <a:pt x="1437" y="1613"/>
                  </a:lnTo>
                  <a:lnTo>
                    <a:pt x="1437" y="1613"/>
                  </a:lnTo>
                  <a:lnTo>
                    <a:pt x="1437" y="1613"/>
                  </a:lnTo>
                  <a:lnTo>
                    <a:pt x="1437" y="1613"/>
                  </a:lnTo>
                  <a:lnTo>
                    <a:pt x="1437" y="1613"/>
                  </a:lnTo>
                  <a:lnTo>
                    <a:pt x="1437" y="1613"/>
                  </a:lnTo>
                  <a:lnTo>
                    <a:pt x="1437" y="1611"/>
                  </a:lnTo>
                  <a:lnTo>
                    <a:pt x="1437" y="1611"/>
                  </a:lnTo>
                  <a:lnTo>
                    <a:pt x="1437" y="1611"/>
                  </a:lnTo>
                  <a:lnTo>
                    <a:pt x="1437" y="1611"/>
                  </a:lnTo>
                  <a:lnTo>
                    <a:pt x="1437" y="1608"/>
                  </a:lnTo>
                  <a:lnTo>
                    <a:pt x="1437" y="1608"/>
                  </a:lnTo>
                  <a:lnTo>
                    <a:pt x="1437" y="1608"/>
                  </a:lnTo>
                  <a:lnTo>
                    <a:pt x="1437" y="1608"/>
                  </a:lnTo>
                  <a:lnTo>
                    <a:pt x="1434" y="1606"/>
                  </a:lnTo>
                  <a:lnTo>
                    <a:pt x="1434" y="1606"/>
                  </a:lnTo>
                  <a:lnTo>
                    <a:pt x="1434" y="1606"/>
                  </a:lnTo>
                  <a:lnTo>
                    <a:pt x="1434" y="1606"/>
                  </a:lnTo>
                  <a:lnTo>
                    <a:pt x="1437" y="1606"/>
                  </a:lnTo>
                  <a:lnTo>
                    <a:pt x="1437" y="1603"/>
                  </a:lnTo>
                  <a:lnTo>
                    <a:pt x="1437" y="1603"/>
                  </a:lnTo>
                  <a:lnTo>
                    <a:pt x="1437" y="1603"/>
                  </a:lnTo>
                  <a:lnTo>
                    <a:pt x="1434" y="1603"/>
                  </a:lnTo>
                  <a:lnTo>
                    <a:pt x="1432" y="1603"/>
                  </a:lnTo>
                  <a:lnTo>
                    <a:pt x="1432" y="1601"/>
                  </a:lnTo>
                  <a:lnTo>
                    <a:pt x="1429" y="1601"/>
                  </a:lnTo>
                  <a:lnTo>
                    <a:pt x="1429" y="1601"/>
                  </a:lnTo>
                  <a:lnTo>
                    <a:pt x="1429" y="1601"/>
                  </a:lnTo>
                  <a:lnTo>
                    <a:pt x="1427" y="1599"/>
                  </a:lnTo>
                  <a:lnTo>
                    <a:pt x="1429" y="1599"/>
                  </a:lnTo>
                  <a:lnTo>
                    <a:pt x="1432" y="1601"/>
                  </a:lnTo>
                  <a:lnTo>
                    <a:pt x="1432" y="1601"/>
                  </a:lnTo>
                  <a:lnTo>
                    <a:pt x="1434" y="1601"/>
                  </a:lnTo>
                  <a:lnTo>
                    <a:pt x="1429" y="1599"/>
                  </a:lnTo>
                  <a:lnTo>
                    <a:pt x="1427" y="1596"/>
                  </a:lnTo>
                  <a:lnTo>
                    <a:pt x="1427" y="1596"/>
                  </a:lnTo>
                  <a:lnTo>
                    <a:pt x="1427" y="1596"/>
                  </a:lnTo>
                  <a:lnTo>
                    <a:pt x="1427" y="1596"/>
                  </a:lnTo>
                  <a:lnTo>
                    <a:pt x="1425" y="1599"/>
                  </a:lnTo>
                  <a:lnTo>
                    <a:pt x="1425" y="1599"/>
                  </a:lnTo>
                  <a:lnTo>
                    <a:pt x="1425" y="1599"/>
                  </a:lnTo>
                  <a:lnTo>
                    <a:pt x="1425" y="1599"/>
                  </a:lnTo>
                  <a:lnTo>
                    <a:pt x="1422" y="1596"/>
                  </a:lnTo>
                  <a:lnTo>
                    <a:pt x="1422" y="1596"/>
                  </a:lnTo>
                  <a:lnTo>
                    <a:pt x="1418" y="1596"/>
                  </a:lnTo>
                  <a:lnTo>
                    <a:pt x="1418" y="1596"/>
                  </a:lnTo>
                  <a:lnTo>
                    <a:pt x="1418" y="1596"/>
                  </a:lnTo>
                  <a:lnTo>
                    <a:pt x="1418" y="1596"/>
                  </a:lnTo>
                  <a:lnTo>
                    <a:pt x="1415" y="1596"/>
                  </a:lnTo>
                  <a:lnTo>
                    <a:pt x="1415" y="1596"/>
                  </a:lnTo>
                  <a:lnTo>
                    <a:pt x="1415" y="1594"/>
                  </a:lnTo>
                  <a:lnTo>
                    <a:pt x="1415" y="1594"/>
                  </a:lnTo>
                  <a:lnTo>
                    <a:pt x="1415" y="1594"/>
                  </a:lnTo>
                  <a:lnTo>
                    <a:pt x="1413" y="1592"/>
                  </a:lnTo>
                  <a:lnTo>
                    <a:pt x="1413" y="1592"/>
                  </a:lnTo>
                  <a:lnTo>
                    <a:pt x="1411" y="1592"/>
                  </a:lnTo>
                  <a:lnTo>
                    <a:pt x="1411" y="1592"/>
                  </a:lnTo>
                  <a:lnTo>
                    <a:pt x="1411" y="1592"/>
                  </a:lnTo>
                  <a:lnTo>
                    <a:pt x="1411" y="1592"/>
                  </a:lnTo>
                  <a:lnTo>
                    <a:pt x="1408" y="1589"/>
                  </a:lnTo>
                  <a:lnTo>
                    <a:pt x="1408" y="1589"/>
                  </a:lnTo>
                  <a:lnTo>
                    <a:pt x="1408" y="1589"/>
                  </a:lnTo>
                  <a:lnTo>
                    <a:pt x="1408" y="1587"/>
                  </a:lnTo>
                  <a:lnTo>
                    <a:pt x="1408" y="1587"/>
                  </a:lnTo>
                  <a:lnTo>
                    <a:pt x="1408" y="1587"/>
                  </a:lnTo>
                  <a:lnTo>
                    <a:pt x="1408" y="1587"/>
                  </a:lnTo>
                  <a:lnTo>
                    <a:pt x="1408" y="1585"/>
                  </a:lnTo>
                  <a:lnTo>
                    <a:pt x="1403" y="1582"/>
                  </a:lnTo>
                  <a:lnTo>
                    <a:pt x="1403" y="1582"/>
                  </a:lnTo>
                  <a:lnTo>
                    <a:pt x="1403" y="1585"/>
                  </a:lnTo>
                  <a:lnTo>
                    <a:pt x="1401" y="1585"/>
                  </a:lnTo>
                  <a:lnTo>
                    <a:pt x="1399" y="1585"/>
                  </a:lnTo>
                  <a:lnTo>
                    <a:pt x="1399" y="1587"/>
                  </a:lnTo>
                  <a:lnTo>
                    <a:pt x="1399" y="1587"/>
                  </a:lnTo>
                  <a:lnTo>
                    <a:pt x="1399" y="1589"/>
                  </a:lnTo>
                  <a:lnTo>
                    <a:pt x="1396" y="1587"/>
                  </a:lnTo>
                  <a:lnTo>
                    <a:pt x="1396" y="1589"/>
                  </a:lnTo>
                  <a:lnTo>
                    <a:pt x="1396" y="1589"/>
                  </a:lnTo>
                  <a:lnTo>
                    <a:pt x="1396" y="1589"/>
                  </a:lnTo>
                  <a:lnTo>
                    <a:pt x="1394" y="1589"/>
                  </a:lnTo>
                  <a:lnTo>
                    <a:pt x="1394" y="1592"/>
                  </a:lnTo>
                  <a:lnTo>
                    <a:pt x="1394" y="1592"/>
                  </a:lnTo>
                  <a:lnTo>
                    <a:pt x="1394" y="1594"/>
                  </a:lnTo>
                  <a:lnTo>
                    <a:pt x="1394" y="1594"/>
                  </a:lnTo>
                  <a:lnTo>
                    <a:pt x="1392" y="1594"/>
                  </a:lnTo>
                  <a:lnTo>
                    <a:pt x="1392" y="1594"/>
                  </a:lnTo>
                  <a:lnTo>
                    <a:pt x="1392" y="1594"/>
                  </a:lnTo>
                  <a:lnTo>
                    <a:pt x="1389" y="1594"/>
                  </a:lnTo>
                  <a:lnTo>
                    <a:pt x="1389" y="1594"/>
                  </a:lnTo>
                  <a:lnTo>
                    <a:pt x="1389" y="1594"/>
                  </a:lnTo>
                  <a:lnTo>
                    <a:pt x="1389" y="1594"/>
                  </a:lnTo>
                  <a:lnTo>
                    <a:pt x="1389" y="1594"/>
                  </a:lnTo>
                  <a:lnTo>
                    <a:pt x="1389" y="1594"/>
                  </a:lnTo>
                  <a:lnTo>
                    <a:pt x="1389" y="1594"/>
                  </a:lnTo>
                  <a:lnTo>
                    <a:pt x="1389" y="1594"/>
                  </a:lnTo>
                  <a:lnTo>
                    <a:pt x="1387" y="1594"/>
                  </a:lnTo>
                  <a:lnTo>
                    <a:pt x="1387" y="1594"/>
                  </a:lnTo>
                  <a:lnTo>
                    <a:pt x="1387" y="1596"/>
                  </a:lnTo>
                  <a:lnTo>
                    <a:pt x="1387" y="1596"/>
                  </a:lnTo>
                  <a:lnTo>
                    <a:pt x="1387" y="1596"/>
                  </a:lnTo>
                  <a:lnTo>
                    <a:pt x="1384" y="1594"/>
                  </a:lnTo>
                  <a:lnTo>
                    <a:pt x="1384" y="1594"/>
                  </a:lnTo>
                  <a:lnTo>
                    <a:pt x="1387" y="1592"/>
                  </a:lnTo>
                  <a:lnTo>
                    <a:pt x="1389" y="1592"/>
                  </a:lnTo>
                  <a:lnTo>
                    <a:pt x="1389" y="1592"/>
                  </a:lnTo>
                  <a:lnTo>
                    <a:pt x="1389" y="1589"/>
                  </a:lnTo>
                  <a:lnTo>
                    <a:pt x="1389" y="1589"/>
                  </a:lnTo>
                  <a:lnTo>
                    <a:pt x="1389" y="1589"/>
                  </a:lnTo>
                  <a:lnTo>
                    <a:pt x="1389" y="1589"/>
                  </a:lnTo>
                  <a:lnTo>
                    <a:pt x="1392" y="1589"/>
                  </a:lnTo>
                  <a:lnTo>
                    <a:pt x="1389" y="1589"/>
                  </a:lnTo>
                  <a:lnTo>
                    <a:pt x="1392" y="1589"/>
                  </a:lnTo>
                  <a:lnTo>
                    <a:pt x="1394" y="1589"/>
                  </a:lnTo>
                  <a:lnTo>
                    <a:pt x="1394" y="1589"/>
                  </a:lnTo>
                  <a:lnTo>
                    <a:pt x="1394" y="1587"/>
                  </a:lnTo>
                  <a:lnTo>
                    <a:pt x="1394" y="1587"/>
                  </a:lnTo>
                  <a:lnTo>
                    <a:pt x="1394" y="1587"/>
                  </a:lnTo>
                  <a:lnTo>
                    <a:pt x="1394" y="1587"/>
                  </a:lnTo>
                  <a:lnTo>
                    <a:pt x="1394" y="1585"/>
                  </a:lnTo>
                  <a:lnTo>
                    <a:pt x="1394" y="1585"/>
                  </a:lnTo>
                  <a:lnTo>
                    <a:pt x="1396" y="1585"/>
                  </a:lnTo>
                  <a:lnTo>
                    <a:pt x="1394" y="1585"/>
                  </a:lnTo>
                  <a:lnTo>
                    <a:pt x="1392" y="1585"/>
                  </a:lnTo>
                  <a:lnTo>
                    <a:pt x="1392" y="1582"/>
                  </a:lnTo>
                  <a:lnTo>
                    <a:pt x="1392" y="1582"/>
                  </a:lnTo>
                  <a:lnTo>
                    <a:pt x="1392" y="1582"/>
                  </a:lnTo>
                  <a:lnTo>
                    <a:pt x="1392" y="1582"/>
                  </a:lnTo>
                  <a:lnTo>
                    <a:pt x="1389" y="1582"/>
                  </a:lnTo>
                  <a:lnTo>
                    <a:pt x="1387" y="1582"/>
                  </a:lnTo>
                  <a:lnTo>
                    <a:pt x="1387" y="1582"/>
                  </a:lnTo>
                  <a:lnTo>
                    <a:pt x="1387" y="1580"/>
                  </a:lnTo>
                  <a:lnTo>
                    <a:pt x="1384" y="1580"/>
                  </a:lnTo>
                  <a:lnTo>
                    <a:pt x="1384" y="1577"/>
                  </a:lnTo>
                  <a:lnTo>
                    <a:pt x="1382" y="1577"/>
                  </a:lnTo>
                  <a:lnTo>
                    <a:pt x="1382" y="1580"/>
                  </a:lnTo>
                  <a:lnTo>
                    <a:pt x="1382" y="1580"/>
                  </a:lnTo>
                  <a:lnTo>
                    <a:pt x="1382" y="1580"/>
                  </a:lnTo>
                  <a:lnTo>
                    <a:pt x="1380" y="1580"/>
                  </a:lnTo>
                  <a:lnTo>
                    <a:pt x="1377" y="1577"/>
                  </a:lnTo>
                  <a:lnTo>
                    <a:pt x="1373" y="1577"/>
                  </a:lnTo>
                  <a:lnTo>
                    <a:pt x="1370" y="1575"/>
                  </a:lnTo>
                  <a:lnTo>
                    <a:pt x="1368" y="1575"/>
                  </a:lnTo>
                  <a:lnTo>
                    <a:pt x="1368" y="1575"/>
                  </a:lnTo>
                  <a:lnTo>
                    <a:pt x="1366" y="1575"/>
                  </a:lnTo>
                  <a:lnTo>
                    <a:pt x="1366" y="1575"/>
                  </a:lnTo>
                  <a:lnTo>
                    <a:pt x="1363" y="1573"/>
                  </a:lnTo>
                  <a:lnTo>
                    <a:pt x="1361" y="1570"/>
                  </a:lnTo>
                  <a:lnTo>
                    <a:pt x="1358" y="1570"/>
                  </a:lnTo>
                  <a:lnTo>
                    <a:pt x="1358" y="1570"/>
                  </a:lnTo>
                  <a:lnTo>
                    <a:pt x="1358" y="1573"/>
                  </a:lnTo>
                  <a:lnTo>
                    <a:pt x="1358" y="1573"/>
                  </a:lnTo>
                  <a:lnTo>
                    <a:pt x="1358" y="1573"/>
                  </a:lnTo>
                  <a:lnTo>
                    <a:pt x="1358" y="1573"/>
                  </a:lnTo>
                  <a:lnTo>
                    <a:pt x="1358" y="1573"/>
                  </a:lnTo>
                  <a:lnTo>
                    <a:pt x="1358" y="1575"/>
                  </a:lnTo>
                  <a:lnTo>
                    <a:pt x="1361" y="1577"/>
                  </a:lnTo>
                  <a:lnTo>
                    <a:pt x="1361" y="1577"/>
                  </a:lnTo>
                  <a:lnTo>
                    <a:pt x="1361" y="1577"/>
                  </a:lnTo>
                  <a:lnTo>
                    <a:pt x="1363" y="1577"/>
                  </a:lnTo>
                  <a:lnTo>
                    <a:pt x="1363" y="1577"/>
                  </a:lnTo>
                  <a:lnTo>
                    <a:pt x="1363" y="1577"/>
                  </a:lnTo>
                  <a:lnTo>
                    <a:pt x="1366" y="1577"/>
                  </a:lnTo>
                  <a:lnTo>
                    <a:pt x="1363" y="1580"/>
                  </a:lnTo>
                  <a:lnTo>
                    <a:pt x="1361" y="1580"/>
                  </a:lnTo>
                  <a:lnTo>
                    <a:pt x="1361" y="1577"/>
                  </a:lnTo>
                  <a:lnTo>
                    <a:pt x="1361" y="1577"/>
                  </a:lnTo>
                  <a:lnTo>
                    <a:pt x="1361" y="1580"/>
                  </a:lnTo>
                  <a:lnTo>
                    <a:pt x="1361" y="1580"/>
                  </a:lnTo>
                  <a:lnTo>
                    <a:pt x="1361" y="1580"/>
                  </a:lnTo>
                  <a:lnTo>
                    <a:pt x="1361" y="1580"/>
                  </a:lnTo>
                  <a:lnTo>
                    <a:pt x="1361" y="1580"/>
                  </a:lnTo>
                  <a:lnTo>
                    <a:pt x="1358" y="1577"/>
                  </a:lnTo>
                  <a:lnTo>
                    <a:pt x="1358" y="1577"/>
                  </a:lnTo>
                  <a:lnTo>
                    <a:pt x="1356" y="1577"/>
                  </a:lnTo>
                  <a:lnTo>
                    <a:pt x="1356" y="1577"/>
                  </a:lnTo>
                  <a:lnTo>
                    <a:pt x="1351" y="1577"/>
                  </a:lnTo>
                  <a:lnTo>
                    <a:pt x="1351" y="1575"/>
                  </a:lnTo>
                  <a:lnTo>
                    <a:pt x="1351" y="1575"/>
                  </a:lnTo>
                  <a:lnTo>
                    <a:pt x="1351" y="1575"/>
                  </a:lnTo>
                  <a:lnTo>
                    <a:pt x="1351" y="1575"/>
                  </a:lnTo>
                  <a:lnTo>
                    <a:pt x="1351" y="1573"/>
                  </a:lnTo>
                  <a:lnTo>
                    <a:pt x="1351" y="1573"/>
                  </a:lnTo>
                  <a:lnTo>
                    <a:pt x="1351" y="1573"/>
                  </a:lnTo>
                  <a:lnTo>
                    <a:pt x="1349" y="1570"/>
                  </a:lnTo>
                  <a:lnTo>
                    <a:pt x="1349" y="1573"/>
                  </a:lnTo>
                  <a:lnTo>
                    <a:pt x="1349" y="1573"/>
                  </a:lnTo>
                  <a:lnTo>
                    <a:pt x="1349" y="1570"/>
                  </a:lnTo>
                  <a:lnTo>
                    <a:pt x="1349" y="1570"/>
                  </a:lnTo>
                  <a:lnTo>
                    <a:pt x="1349" y="1570"/>
                  </a:lnTo>
                  <a:lnTo>
                    <a:pt x="1349" y="1570"/>
                  </a:lnTo>
                  <a:lnTo>
                    <a:pt x="1354" y="1570"/>
                  </a:lnTo>
                  <a:lnTo>
                    <a:pt x="1354" y="1568"/>
                  </a:lnTo>
                  <a:lnTo>
                    <a:pt x="1354" y="1568"/>
                  </a:lnTo>
                  <a:lnTo>
                    <a:pt x="1354" y="1568"/>
                  </a:lnTo>
                  <a:lnTo>
                    <a:pt x="1354" y="1568"/>
                  </a:lnTo>
                  <a:lnTo>
                    <a:pt x="1354" y="1568"/>
                  </a:lnTo>
                  <a:lnTo>
                    <a:pt x="1354" y="1568"/>
                  </a:lnTo>
                  <a:lnTo>
                    <a:pt x="1354" y="1566"/>
                  </a:lnTo>
                  <a:lnTo>
                    <a:pt x="1354" y="1566"/>
                  </a:lnTo>
                  <a:lnTo>
                    <a:pt x="1354" y="1566"/>
                  </a:lnTo>
                  <a:lnTo>
                    <a:pt x="1354" y="1566"/>
                  </a:lnTo>
                  <a:lnTo>
                    <a:pt x="1354" y="1566"/>
                  </a:lnTo>
                  <a:lnTo>
                    <a:pt x="1351" y="1563"/>
                  </a:lnTo>
                  <a:lnTo>
                    <a:pt x="1351" y="1563"/>
                  </a:lnTo>
                  <a:lnTo>
                    <a:pt x="1351" y="1563"/>
                  </a:lnTo>
                  <a:lnTo>
                    <a:pt x="1351" y="1561"/>
                  </a:lnTo>
                  <a:lnTo>
                    <a:pt x="1351" y="1561"/>
                  </a:lnTo>
                  <a:lnTo>
                    <a:pt x="1351" y="1561"/>
                  </a:lnTo>
                  <a:lnTo>
                    <a:pt x="1351" y="1561"/>
                  </a:lnTo>
                  <a:lnTo>
                    <a:pt x="1351" y="1561"/>
                  </a:lnTo>
                  <a:lnTo>
                    <a:pt x="1349" y="1559"/>
                  </a:lnTo>
                  <a:lnTo>
                    <a:pt x="1347" y="1556"/>
                  </a:lnTo>
                  <a:lnTo>
                    <a:pt x="1349" y="1556"/>
                  </a:lnTo>
                  <a:lnTo>
                    <a:pt x="1349" y="1559"/>
                  </a:lnTo>
                  <a:lnTo>
                    <a:pt x="1349" y="1559"/>
                  </a:lnTo>
                  <a:lnTo>
                    <a:pt x="1349" y="1559"/>
                  </a:lnTo>
                  <a:lnTo>
                    <a:pt x="1351" y="1559"/>
                  </a:lnTo>
                  <a:lnTo>
                    <a:pt x="1351" y="1559"/>
                  </a:lnTo>
                  <a:lnTo>
                    <a:pt x="1351" y="1559"/>
                  </a:lnTo>
                  <a:lnTo>
                    <a:pt x="1351" y="1561"/>
                  </a:lnTo>
                  <a:lnTo>
                    <a:pt x="1351" y="1563"/>
                  </a:lnTo>
                  <a:lnTo>
                    <a:pt x="1354" y="1563"/>
                  </a:lnTo>
                  <a:lnTo>
                    <a:pt x="1354" y="1563"/>
                  </a:lnTo>
                  <a:lnTo>
                    <a:pt x="1354" y="1563"/>
                  </a:lnTo>
                  <a:lnTo>
                    <a:pt x="1356" y="1566"/>
                  </a:lnTo>
                  <a:lnTo>
                    <a:pt x="1356" y="1566"/>
                  </a:lnTo>
                  <a:lnTo>
                    <a:pt x="1358" y="1568"/>
                  </a:lnTo>
                  <a:lnTo>
                    <a:pt x="1358" y="1568"/>
                  </a:lnTo>
                  <a:lnTo>
                    <a:pt x="1361" y="1568"/>
                  </a:lnTo>
                  <a:lnTo>
                    <a:pt x="1361" y="1568"/>
                  </a:lnTo>
                  <a:lnTo>
                    <a:pt x="1366" y="1570"/>
                  </a:lnTo>
                  <a:lnTo>
                    <a:pt x="1366" y="1570"/>
                  </a:lnTo>
                  <a:lnTo>
                    <a:pt x="1368" y="1573"/>
                  </a:lnTo>
                  <a:lnTo>
                    <a:pt x="1368" y="1573"/>
                  </a:lnTo>
                  <a:lnTo>
                    <a:pt x="1370" y="1573"/>
                  </a:lnTo>
                  <a:lnTo>
                    <a:pt x="1370" y="1573"/>
                  </a:lnTo>
                  <a:lnTo>
                    <a:pt x="1370" y="1573"/>
                  </a:lnTo>
                  <a:lnTo>
                    <a:pt x="1373" y="1573"/>
                  </a:lnTo>
                  <a:lnTo>
                    <a:pt x="1373" y="1573"/>
                  </a:lnTo>
                  <a:lnTo>
                    <a:pt x="1373" y="1573"/>
                  </a:lnTo>
                  <a:lnTo>
                    <a:pt x="1375" y="1573"/>
                  </a:lnTo>
                  <a:lnTo>
                    <a:pt x="1375" y="1573"/>
                  </a:lnTo>
                  <a:lnTo>
                    <a:pt x="1375" y="1573"/>
                  </a:lnTo>
                  <a:lnTo>
                    <a:pt x="1375" y="1573"/>
                  </a:lnTo>
                  <a:lnTo>
                    <a:pt x="1377" y="1575"/>
                  </a:lnTo>
                  <a:lnTo>
                    <a:pt x="1377" y="1575"/>
                  </a:lnTo>
                  <a:lnTo>
                    <a:pt x="1384" y="1577"/>
                  </a:lnTo>
                  <a:lnTo>
                    <a:pt x="1384" y="1577"/>
                  </a:lnTo>
                  <a:lnTo>
                    <a:pt x="1387" y="1580"/>
                  </a:lnTo>
                  <a:lnTo>
                    <a:pt x="1387" y="1580"/>
                  </a:lnTo>
                  <a:lnTo>
                    <a:pt x="1389" y="1580"/>
                  </a:lnTo>
                  <a:lnTo>
                    <a:pt x="1394" y="1580"/>
                  </a:lnTo>
                  <a:lnTo>
                    <a:pt x="1394" y="1582"/>
                  </a:lnTo>
                  <a:lnTo>
                    <a:pt x="1394" y="1582"/>
                  </a:lnTo>
                  <a:lnTo>
                    <a:pt x="1396" y="1582"/>
                  </a:lnTo>
                  <a:lnTo>
                    <a:pt x="1396" y="1582"/>
                  </a:lnTo>
                  <a:lnTo>
                    <a:pt x="1396" y="1582"/>
                  </a:lnTo>
                  <a:lnTo>
                    <a:pt x="1396" y="1582"/>
                  </a:lnTo>
                  <a:lnTo>
                    <a:pt x="1396" y="1580"/>
                  </a:lnTo>
                  <a:lnTo>
                    <a:pt x="1396" y="1580"/>
                  </a:lnTo>
                  <a:lnTo>
                    <a:pt x="1396" y="1580"/>
                  </a:lnTo>
                  <a:lnTo>
                    <a:pt x="1399" y="1580"/>
                  </a:lnTo>
                  <a:lnTo>
                    <a:pt x="1399" y="1580"/>
                  </a:lnTo>
                  <a:lnTo>
                    <a:pt x="1399" y="1577"/>
                  </a:lnTo>
                  <a:lnTo>
                    <a:pt x="1399" y="1577"/>
                  </a:lnTo>
                  <a:lnTo>
                    <a:pt x="1399" y="1577"/>
                  </a:lnTo>
                  <a:lnTo>
                    <a:pt x="1399" y="1577"/>
                  </a:lnTo>
                  <a:lnTo>
                    <a:pt x="1399" y="1577"/>
                  </a:lnTo>
                  <a:lnTo>
                    <a:pt x="1401" y="1577"/>
                  </a:lnTo>
                  <a:lnTo>
                    <a:pt x="1401" y="1577"/>
                  </a:lnTo>
                  <a:lnTo>
                    <a:pt x="1399" y="1580"/>
                  </a:lnTo>
                  <a:lnTo>
                    <a:pt x="1399" y="1580"/>
                  </a:lnTo>
                  <a:lnTo>
                    <a:pt x="1399" y="1582"/>
                  </a:lnTo>
                  <a:lnTo>
                    <a:pt x="1401" y="1582"/>
                  </a:lnTo>
                  <a:lnTo>
                    <a:pt x="1406" y="1582"/>
                  </a:lnTo>
                  <a:lnTo>
                    <a:pt x="1406" y="1580"/>
                  </a:lnTo>
                  <a:lnTo>
                    <a:pt x="1406" y="1580"/>
                  </a:lnTo>
                  <a:lnTo>
                    <a:pt x="1406" y="1580"/>
                  </a:lnTo>
                  <a:lnTo>
                    <a:pt x="1406" y="1580"/>
                  </a:lnTo>
                  <a:lnTo>
                    <a:pt x="1408" y="1580"/>
                  </a:lnTo>
                  <a:lnTo>
                    <a:pt x="1408" y="1582"/>
                  </a:lnTo>
                  <a:lnTo>
                    <a:pt x="1408" y="1582"/>
                  </a:lnTo>
                  <a:lnTo>
                    <a:pt x="1408" y="1582"/>
                  </a:lnTo>
                  <a:lnTo>
                    <a:pt x="1406" y="1582"/>
                  </a:lnTo>
                  <a:lnTo>
                    <a:pt x="1408" y="1582"/>
                  </a:lnTo>
                  <a:lnTo>
                    <a:pt x="1408" y="1582"/>
                  </a:lnTo>
                  <a:lnTo>
                    <a:pt x="1411" y="1582"/>
                  </a:lnTo>
                  <a:lnTo>
                    <a:pt x="1411" y="1582"/>
                  </a:lnTo>
                  <a:lnTo>
                    <a:pt x="1411" y="1582"/>
                  </a:lnTo>
                  <a:lnTo>
                    <a:pt x="1411" y="1582"/>
                  </a:lnTo>
                  <a:lnTo>
                    <a:pt x="1413" y="1582"/>
                  </a:lnTo>
                  <a:lnTo>
                    <a:pt x="1415" y="1582"/>
                  </a:lnTo>
                  <a:lnTo>
                    <a:pt x="1415" y="1585"/>
                  </a:lnTo>
                  <a:lnTo>
                    <a:pt x="1418" y="1585"/>
                  </a:lnTo>
                  <a:lnTo>
                    <a:pt x="1415" y="1585"/>
                  </a:lnTo>
                  <a:lnTo>
                    <a:pt x="1415" y="1585"/>
                  </a:lnTo>
                  <a:lnTo>
                    <a:pt x="1415" y="1585"/>
                  </a:lnTo>
                  <a:lnTo>
                    <a:pt x="1415" y="1585"/>
                  </a:lnTo>
                  <a:lnTo>
                    <a:pt x="1415" y="1585"/>
                  </a:lnTo>
                  <a:lnTo>
                    <a:pt x="1415" y="1585"/>
                  </a:lnTo>
                  <a:lnTo>
                    <a:pt x="1418" y="1585"/>
                  </a:lnTo>
                  <a:lnTo>
                    <a:pt x="1418" y="1585"/>
                  </a:lnTo>
                  <a:lnTo>
                    <a:pt x="1418" y="1587"/>
                  </a:lnTo>
                  <a:lnTo>
                    <a:pt x="1420" y="1587"/>
                  </a:lnTo>
                  <a:lnTo>
                    <a:pt x="1420" y="1587"/>
                  </a:lnTo>
                  <a:lnTo>
                    <a:pt x="1422" y="1587"/>
                  </a:lnTo>
                  <a:lnTo>
                    <a:pt x="1422" y="1587"/>
                  </a:lnTo>
                  <a:lnTo>
                    <a:pt x="1422" y="1587"/>
                  </a:lnTo>
                  <a:lnTo>
                    <a:pt x="1425" y="1587"/>
                  </a:lnTo>
                  <a:lnTo>
                    <a:pt x="1425" y="1587"/>
                  </a:lnTo>
                  <a:lnTo>
                    <a:pt x="1425" y="1589"/>
                  </a:lnTo>
                  <a:lnTo>
                    <a:pt x="1427" y="1589"/>
                  </a:lnTo>
                  <a:lnTo>
                    <a:pt x="1429" y="1589"/>
                  </a:lnTo>
                  <a:lnTo>
                    <a:pt x="1434" y="1589"/>
                  </a:lnTo>
                  <a:lnTo>
                    <a:pt x="1434" y="1589"/>
                  </a:lnTo>
                  <a:lnTo>
                    <a:pt x="1434" y="1589"/>
                  </a:lnTo>
                  <a:lnTo>
                    <a:pt x="1437" y="1587"/>
                  </a:lnTo>
                  <a:lnTo>
                    <a:pt x="1437" y="1587"/>
                  </a:lnTo>
                  <a:lnTo>
                    <a:pt x="1439" y="1587"/>
                  </a:lnTo>
                  <a:lnTo>
                    <a:pt x="1439" y="1587"/>
                  </a:lnTo>
                  <a:lnTo>
                    <a:pt x="1439" y="1587"/>
                  </a:lnTo>
                  <a:lnTo>
                    <a:pt x="1439" y="1587"/>
                  </a:lnTo>
                  <a:lnTo>
                    <a:pt x="1439" y="1585"/>
                  </a:lnTo>
                  <a:lnTo>
                    <a:pt x="1439" y="1585"/>
                  </a:lnTo>
                  <a:lnTo>
                    <a:pt x="1437" y="1582"/>
                  </a:lnTo>
                  <a:lnTo>
                    <a:pt x="1437" y="1582"/>
                  </a:lnTo>
                  <a:lnTo>
                    <a:pt x="1437" y="1585"/>
                  </a:lnTo>
                  <a:lnTo>
                    <a:pt x="1437" y="1585"/>
                  </a:lnTo>
                  <a:lnTo>
                    <a:pt x="1437" y="1585"/>
                  </a:lnTo>
                  <a:lnTo>
                    <a:pt x="1437" y="1585"/>
                  </a:lnTo>
                  <a:lnTo>
                    <a:pt x="1434" y="1585"/>
                  </a:lnTo>
                  <a:lnTo>
                    <a:pt x="1434" y="1585"/>
                  </a:lnTo>
                  <a:lnTo>
                    <a:pt x="1434" y="1585"/>
                  </a:lnTo>
                  <a:lnTo>
                    <a:pt x="1434" y="1585"/>
                  </a:lnTo>
                  <a:lnTo>
                    <a:pt x="1437" y="1582"/>
                  </a:lnTo>
                  <a:lnTo>
                    <a:pt x="1437" y="1582"/>
                  </a:lnTo>
                  <a:lnTo>
                    <a:pt x="1437" y="1582"/>
                  </a:lnTo>
                  <a:lnTo>
                    <a:pt x="1437" y="1582"/>
                  </a:lnTo>
                  <a:lnTo>
                    <a:pt x="1439" y="1582"/>
                  </a:lnTo>
                  <a:lnTo>
                    <a:pt x="1441" y="1582"/>
                  </a:lnTo>
                  <a:lnTo>
                    <a:pt x="1439" y="1585"/>
                  </a:lnTo>
                  <a:lnTo>
                    <a:pt x="1439" y="1585"/>
                  </a:lnTo>
                  <a:lnTo>
                    <a:pt x="1439" y="1585"/>
                  </a:lnTo>
                  <a:lnTo>
                    <a:pt x="1439" y="1585"/>
                  </a:lnTo>
                  <a:lnTo>
                    <a:pt x="1441" y="1585"/>
                  </a:lnTo>
                  <a:lnTo>
                    <a:pt x="1441" y="1585"/>
                  </a:lnTo>
                  <a:lnTo>
                    <a:pt x="1441" y="1587"/>
                  </a:lnTo>
                  <a:lnTo>
                    <a:pt x="1444" y="1587"/>
                  </a:lnTo>
                  <a:lnTo>
                    <a:pt x="1444" y="1587"/>
                  </a:lnTo>
                  <a:lnTo>
                    <a:pt x="1446" y="1585"/>
                  </a:lnTo>
                  <a:lnTo>
                    <a:pt x="1446" y="1585"/>
                  </a:lnTo>
                  <a:lnTo>
                    <a:pt x="1446" y="1585"/>
                  </a:lnTo>
                  <a:lnTo>
                    <a:pt x="1446" y="1585"/>
                  </a:lnTo>
                  <a:lnTo>
                    <a:pt x="1446" y="1585"/>
                  </a:lnTo>
                  <a:lnTo>
                    <a:pt x="1446" y="1585"/>
                  </a:lnTo>
                  <a:lnTo>
                    <a:pt x="1448" y="1585"/>
                  </a:lnTo>
                  <a:lnTo>
                    <a:pt x="1446" y="1585"/>
                  </a:lnTo>
                  <a:lnTo>
                    <a:pt x="1446" y="1585"/>
                  </a:lnTo>
                  <a:lnTo>
                    <a:pt x="1446" y="1585"/>
                  </a:lnTo>
                  <a:lnTo>
                    <a:pt x="1446" y="1587"/>
                  </a:lnTo>
                  <a:lnTo>
                    <a:pt x="1448" y="1587"/>
                  </a:lnTo>
                  <a:lnTo>
                    <a:pt x="1448" y="1585"/>
                  </a:lnTo>
                  <a:lnTo>
                    <a:pt x="1451" y="1585"/>
                  </a:lnTo>
                  <a:lnTo>
                    <a:pt x="1448" y="1585"/>
                  </a:lnTo>
                  <a:lnTo>
                    <a:pt x="1448" y="1582"/>
                  </a:lnTo>
                  <a:lnTo>
                    <a:pt x="1448" y="1580"/>
                  </a:lnTo>
                  <a:lnTo>
                    <a:pt x="1448" y="1580"/>
                  </a:lnTo>
                  <a:lnTo>
                    <a:pt x="1451" y="1580"/>
                  </a:lnTo>
                  <a:lnTo>
                    <a:pt x="1451" y="1580"/>
                  </a:lnTo>
                  <a:lnTo>
                    <a:pt x="1451" y="1580"/>
                  </a:lnTo>
                  <a:lnTo>
                    <a:pt x="1451" y="1580"/>
                  </a:lnTo>
                  <a:lnTo>
                    <a:pt x="1451" y="1577"/>
                  </a:lnTo>
                  <a:lnTo>
                    <a:pt x="1451" y="1577"/>
                  </a:lnTo>
                  <a:lnTo>
                    <a:pt x="1451" y="1577"/>
                  </a:lnTo>
                  <a:lnTo>
                    <a:pt x="1451" y="1577"/>
                  </a:lnTo>
                  <a:lnTo>
                    <a:pt x="1451" y="1575"/>
                  </a:lnTo>
                  <a:lnTo>
                    <a:pt x="1448" y="1575"/>
                  </a:lnTo>
                  <a:lnTo>
                    <a:pt x="1453" y="1575"/>
                  </a:lnTo>
                  <a:lnTo>
                    <a:pt x="1453" y="1575"/>
                  </a:lnTo>
                  <a:lnTo>
                    <a:pt x="1453" y="1575"/>
                  </a:lnTo>
                  <a:lnTo>
                    <a:pt x="1453" y="1575"/>
                  </a:lnTo>
                  <a:lnTo>
                    <a:pt x="1453" y="1573"/>
                  </a:lnTo>
                  <a:lnTo>
                    <a:pt x="1453" y="1573"/>
                  </a:lnTo>
                  <a:lnTo>
                    <a:pt x="1453" y="1573"/>
                  </a:lnTo>
                  <a:lnTo>
                    <a:pt x="1453" y="1573"/>
                  </a:lnTo>
                  <a:lnTo>
                    <a:pt x="1453" y="1570"/>
                  </a:lnTo>
                  <a:lnTo>
                    <a:pt x="1451" y="1568"/>
                  </a:lnTo>
                  <a:lnTo>
                    <a:pt x="1448" y="1568"/>
                  </a:lnTo>
                  <a:lnTo>
                    <a:pt x="1448" y="1568"/>
                  </a:lnTo>
                  <a:lnTo>
                    <a:pt x="1448" y="1568"/>
                  </a:lnTo>
                  <a:lnTo>
                    <a:pt x="1448" y="1568"/>
                  </a:lnTo>
                  <a:lnTo>
                    <a:pt x="1448" y="1568"/>
                  </a:lnTo>
                  <a:lnTo>
                    <a:pt x="1451" y="1566"/>
                  </a:lnTo>
                  <a:lnTo>
                    <a:pt x="1448" y="1566"/>
                  </a:lnTo>
                  <a:lnTo>
                    <a:pt x="1446" y="1563"/>
                  </a:lnTo>
                  <a:lnTo>
                    <a:pt x="1444" y="1563"/>
                  </a:lnTo>
                  <a:lnTo>
                    <a:pt x="1444" y="1561"/>
                  </a:lnTo>
                  <a:lnTo>
                    <a:pt x="1444" y="1561"/>
                  </a:lnTo>
                  <a:lnTo>
                    <a:pt x="1446" y="1561"/>
                  </a:lnTo>
                  <a:lnTo>
                    <a:pt x="1446" y="1561"/>
                  </a:lnTo>
                  <a:lnTo>
                    <a:pt x="1446" y="1561"/>
                  </a:lnTo>
                  <a:lnTo>
                    <a:pt x="1448" y="1563"/>
                  </a:lnTo>
                  <a:lnTo>
                    <a:pt x="1448" y="1563"/>
                  </a:lnTo>
                  <a:lnTo>
                    <a:pt x="1448" y="1566"/>
                  </a:lnTo>
                  <a:lnTo>
                    <a:pt x="1448" y="1563"/>
                  </a:lnTo>
                  <a:lnTo>
                    <a:pt x="1451" y="1563"/>
                  </a:lnTo>
                  <a:lnTo>
                    <a:pt x="1451" y="1563"/>
                  </a:lnTo>
                  <a:lnTo>
                    <a:pt x="1451" y="1563"/>
                  </a:lnTo>
                  <a:lnTo>
                    <a:pt x="1451" y="1563"/>
                  </a:lnTo>
                  <a:lnTo>
                    <a:pt x="1451" y="1563"/>
                  </a:lnTo>
                  <a:lnTo>
                    <a:pt x="1451" y="1563"/>
                  </a:lnTo>
                  <a:lnTo>
                    <a:pt x="1453" y="1563"/>
                  </a:lnTo>
                  <a:lnTo>
                    <a:pt x="1453" y="1563"/>
                  </a:lnTo>
                  <a:lnTo>
                    <a:pt x="1453" y="1566"/>
                  </a:lnTo>
                  <a:lnTo>
                    <a:pt x="1453" y="1566"/>
                  </a:lnTo>
                  <a:lnTo>
                    <a:pt x="1453" y="1566"/>
                  </a:lnTo>
                  <a:lnTo>
                    <a:pt x="1453" y="1566"/>
                  </a:lnTo>
                  <a:lnTo>
                    <a:pt x="1453" y="1566"/>
                  </a:lnTo>
                  <a:lnTo>
                    <a:pt x="1453" y="1566"/>
                  </a:lnTo>
                  <a:lnTo>
                    <a:pt x="1453" y="1566"/>
                  </a:lnTo>
                  <a:lnTo>
                    <a:pt x="1455" y="1566"/>
                  </a:lnTo>
                  <a:lnTo>
                    <a:pt x="1455" y="1566"/>
                  </a:lnTo>
                  <a:lnTo>
                    <a:pt x="1455" y="1566"/>
                  </a:lnTo>
                  <a:lnTo>
                    <a:pt x="1458" y="1566"/>
                  </a:lnTo>
                  <a:lnTo>
                    <a:pt x="1458" y="1566"/>
                  </a:lnTo>
                  <a:lnTo>
                    <a:pt x="1458" y="1563"/>
                  </a:lnTo>
                  <a:lnTo>
                    <a:pt x="1458" y="1563"/>
                  </a:lnTo>
                  <a:lnTo>
                    <a:pt x="1455" y="1561"/>
                  </a:lnTo>
                  <a:lnTo>
                    <a:pt x="1455" y="1561"/>
                  </a:lnTo>
                  <a:lnTo>
                    <a:pt x="1453" y="1561"/>
                  </a:lnTo>
                  <a:lnTo>
                    <a:pt x="1453" y="1561"/>
                  </a:lnTo>
                  <a:lnTo>
                    <a:pt x="1453" y="1561"/>
                  </a:lnTo>
                  <a:lnTo>
                    <a:pt x="1453" y="1561"/>
                  </a:lnTo>
                  <a:lnTo>
                    <a:pt x="1453" y="1561"/>
                  </a:lnTo>
                  <a:lnTo>
                    <a:pt x="1453" y="1561"/>
                  </a:lnTo>
                  <a:lnTo>
                    <a:pt x="1455" y="1561"/>
                  </a:lnTo>
                  <a:lnTo>
                    <a:pt x="1455" y="1561"/>
                  </a:lnTo>
                  <a:lnTo>
                    <a:pt x="1455" y="1559"/>
                  </a:lnTo>
                  <a:lnTo>
                    <a:pt x="1455" y="1559"/>
                  </a:lnTo>
                  <a:lnTo>
                    <a:pt x="1453" y="1559"/>
                  </a:lnTo>
                  <a:lnTo>
                    <a:pt x="1453" y="1559"/>
                  </a:lnTo>
                  <a:lnTo>
                    <a:pt x="1453" y="1559"/>
                  </a:lnTo>
                  <a:lnTo>
                    <a:pt x="1453" y="1559"/>
                  </a:lnTo>
                  <a:lnTo>
                    <a:pt x="1453" y="1559"/>
                  </a:lnTo>
                  <a:lnTo>
                    <a:pt x="1453" y="1559"/>
                  </a:lnTo>
                  <a:lnTo>
                    <a:pt x="1453" y="1559"/>
                  </a:lnTo>
                  <a:lnTo>
                    <a:pt x="1453" y="1556"/>
                  </a:lnTo>
                  <a:lnTo>
                    <a:pt x="1453" y="1556"/>
                  </a:lnTo>
                  <a:lnTo>
                    <a:pt x="1453" y="1556"/>
                  </a:lnTo>
                  <a:lnTo>
                    <a:pt x="1453" y="1556"/>
                  </a:lnTo>
                  <a:lnTo>
                    <a:pt x="1453" y="1554"/>
                  </a:lnTo>
                  <a:lnTo>
                    <a:pt x="1451" y="1554"/>
                  </a:lnTo>
                  <a:lnTo>
                    <a:pt x="1451" y="1554"/>
                  </a:lnTo>
                  <a:lnTo>
                    <a:pt x="1451" y="1556"/>
                  </a:lnTo>
                  <a:lnTo>
                    <a:pt x="1451" y="1556"/>
                  </a:lnTo>
                  <a:lnTo>
                    <a:pt x="1451" y="1556"/>
                  </a:lnTo>
                  <a:lnTo>
                    <a:pt x="1448" y="1556"/>
                  </a:lnTo>
                  <a:lnTo>
                    <a:pt x="1448" y="1554"/>
                  </a:lnTo>
                  <a:lnTo>
                    <a:pt x="1448" y="1554"/>
                  </a:lnTo>
                  <a:lnTo>
                    <a:pt x="1448" y="1554"/>
                  </a:lnTo>
                  <a:lnTo>
                    <a:pt x="1451" y="1551"/>
                  </a:lnTo>
                  <a:lnTo>
                    <a:pt x="1451" y="1551"/>
                  </a:lnTo>
                  <a:lnTo>
                    <a:pt x="1453" y="1551"/>
                  </a:lnTo>
                  <a:lnTo>
                    <a:pt x="1453" y="1551"/>
                  </a:lnTo>
                  <a:lnTo>
                    <a:pt x="1455" y="1551"/>
                  </a:lnTo>
                  <a:lnTo>
                    <a:pt x="1455" y="1551"/>
                  </a:lnTo>
                  <a:lnTo>
                    <a:pt x="1455" y="1551"/>
                  </a:lnTo>
                  <a:lnTo>
                    <a:pt x="1455" y="1549"/>
                  </a:lnTo>
                  <a:lnTo>
                    <a:pt x="1455" y="1549"/>
                  </a:lnTo>
                  <a:lnTo>
                    <a:pt x="1453" y="1549"/>
                  </a:lnTo>
                  <a:lnTo>
                    <a:pt x="1453" y="1549"/>
                  </a:lnTo>
                  <a:lnTo>
                    <a:pt x="1453" y="1549"/>
                  </a:lnTo>
                  <a:lnTo>
                    <a:pt x="1455" y="1549"/>
                  </a:lnTo>
                  <a:lnTo>
                    <a:pt x="1455" y="1549"/>
                  </a:lnTo>
                  <a:lnTo>
                    <a:pt x="1455" y="1549"/>
                  </a:lnTo>
                  <a:lnTo>
                    <a:pt x="1455" y="1547"/>
                  </a:lnTo>
                  <a:lnTo>
                    <a:pt x="1455" y="1547"/>
                  </a:lnTo>
                  <a:lnTo>
                    <a:pt x="1455" y="1547"/>
                  </a:lnTo>
                  <a:lnTo>
                    <a:pt x="1455" y="1547"/>
                  </a:lnTo>
                  <a:lnTo>
                    <a:pt x="1455" y="1547"/>
                  </a:lnTo>
                  <a:lnTo>
                    <a:pt x="1458" y="1547"/>
                  </a:lnTo>
                  <a:lnTo>
                    <a:pt x="1458" y="1547"/>
                  </a:lnTo>
                  <a:lnTo>
                    <a:pt x="1458" y="1547"/>
                  </a:lnTo>
                  <a:lnTo>
                    <a:pt x="1458" y="1549"/>
                  </a:lnTo>
                  <a:lnTo>
                    <a:pt x="1458" y="1549"/>
                  </a:lnTo>
                  <a:lnTo>
                    <a:pt x="1458" y="1551"/>
                  </a:lnTo>
                  <a:lnTo>
                    <a:pt x="1458" y="1551"/>
                  </a:lnTo>
                  <a:lnTo>
                    <a:pt x="1458" y="1551"/>
                  </a:lnTo>
                  <a:lnTo>
                    <a:pt x="1458" y="1551"/>
                  </a:lnTo>
                  <a:lnTo>
                    <a:pt x="1458" y="1551"/>
                  </a:lnTo>
                  <a:lnTo>
                    <a:pt x="1455" y="1551"/>
                  </a:lnTo>
                  <a:lnTo>
                    <a:pt x="1455" y="1554"/>
                  </a:lnTo>
                  <a:lnTo>
                    <a:pt x="1455" y="1554"/>
                  </a:lnTo>
                  <a:lnTo>
                    <a:pt x="1455" y="1554"/>
                  </a:lnTo>
                  <a:lnTo>
                    <a:pt x="1455" y="1554"/>
                  </a:lnTo>
                  <a:lnTo>
                    <a:pt x="1458" y="1556"/>
                  </a:lnTo>
                  <a:lnTo>
                    <a:pt x="1458" y="1556"/>
                  </a:lnTo>
                  <a:lnTo>
                    <a:pt x="1460" y="1559"/>
                  </a:lnTo>
                  <a:lnTo>
                    <a:pt x="1460" y="1559"/>
                  </a:lnTo>
                  <a:lnTo>
                    <a:pt x="1460" y="1559"/>
                  </a:lnTo>
                  <a:lnTo>
                    <a:pt x="1460" y="1559"/>
                  </a:lnTo>
                  <a:lnTo>
                    <a:pt x="1460" y="1556"/>
                  </a:lnTo>
                  <a:lnTo>
                    <a:pt x="1458" y="1556"/>
                  </a:lnTo>
                  <a:lnTo>
                    <a:pt x="1458" y="1556"/>
                  </a:lnTo>
                  <a:lnTo>
                    <a:pt x="1460" y="1556"/>
                  </a:lnTo>
                  <a:lnTo>
                    <a:pt x="1460" y="1556"/>
                  </a:lnTo>
                  <a:lnTo>
                    <a:pt x="1463" y="1559"/>
                  </a:lnTo>
                  <a:lnTo>
                    <a:pt x="1465" y="1563"/>
                  </a:lnTo>
                  <a:lnTo>
                    <a:pt x="1465" y="1563"/>
                  </a:lnTo>
                  <a:lnTo>
                    <a:pt x="1465" y="1563"/>
                  </a:lnTo>
                  <a:lnTo>
                    <a:pt x="1465" y="1561"/>
                  </a:lnTo>
                  <a:lnTo>
                    <a:pt x="1463" y="1561"/>
                  </a:lnTo>
                  <a:lnTo>
                    <a:pt x="1463" y="1559"/>
                  </a:lnTo>
                  <a:lnTo>
                    <a:pt x="1463" y="1556"/>
                  </a:lnTo>
                  <a:lnTo>
                    <a:pt x="1463" y="1556"/>
                  </a:lnTo>
                  <a:lnTo>
                    <a:pt x="1463" y="1556"/>
                  </a:lnTo>
                  <a:lnTo>
                    <a:pt x="1465" y="1556"/>
                  </a:lnTo>
                  <a:lnTo>
                    <a:pt x="1465" y="1556"/>
                  </a:lnTo>
                  <a:lnTo>
                    <a:pt x="1465" y="1559"/>
                  </a:lnTo>
                  <a:lnTo>
                    <a:pt x="1467" y="1559"/>
                  </a:lnTo>
                  <a:lnTo>
                    <a:pt x="1467" y="1559"/>
                  </a:lnTo>
                  <a:lnTo>
                    <a:pt x="1470" y="1559"/>
                  </a:lnTo>
                  <a:lnTo>
                    <a:pt x="1472" y="1561"/>
                  </a:lnTo>
                  <a:lnTo>
                    <a:pt x="1472" y="1561"/>
                  </a:lnTo>
                  <a:lnTo>
                    <a:pt x="1472" y="1561"/>
                  </a:lnTo>
                  <a:lnTo>
                    <a:pt x="1472" y="1561"/>
                  </a:lnTo>
                  <a:lnTo>
                    <a:pt x="1472" y="1561"/>
                  </a:lnTo>
                  <a:lnTo>
                    <a:pt x="1472" y="1561"/>
                  </a:lnTo>
                  <a:lnTo>
                    <a:pt x="1472" y="1559"/>
                  </a:lnTo>
                  <a:lnTo>
                    <a:pt x="1472" y="1559"/>
                  </a:lnTo>
                  <a:lnTo>
                    <a:pt x="1472" y="1559"/>
                  </a:lnTo>
                  <a:lnTo>
                    <a:pt x="1472" y="1559"/>
                  </a:lnTo>
                  <a:lnTo>
                    <a:pt x="1472" y="1559"/>
                  </a:lnTo>
                  <a:lnTo>
                    <a:pt x="1472" y="1559"/>
                  </a:lnTo>
                  <a:lnTo>
                    <a:pt x="1472" y="1559"/>
                  </a:lnTo>
                  <a:lnTo>
                    <a:pt x="1474" y="1561"/>
                  </a:lnTo>
                  <a:lnTo>
                    <a:pt x="1474" y="1561"/>
                  </a:lnTo>
                  <a:lnTo>
                    <a:pt x="1474" y="1561"/>
                  </a:lnTo>
                  <a:lnTo>
                    <a:pt x="1474" y="1561"/>
                  </a:lnTo>
                  <a:lnTo>
                    <a:pt x="1477" y="1561"/>
                  </a:lnTo>
                  <a:lnTo>
                    <a:pt x="1474" y="1563"/>
                  </a:lnTo>
                  <a:lnTo>
                    <a:pt x="1474" y="1563"/>
                  </a:lnTo>
                  <a:lnTo>
                    <a:pt x="1477" y="1563"/>
                  </a:lnTo>
                  <a:lnTo>
                    <a:pt x="1479" y="1561"/>
                  </a:lnTo>
                  <a:lnTo>
                    <a:pt x="1479" y="1561"/>
                  </a:lnTo>
                  <a:lnTo>
                    <a:pt x="1477" y="1561"/>
                  </a:lnTo>
                  <a:lnTo>
                    <a:pt x="1477" y="1561"/>
                  </a:lnTo>
                  <a:lnTo>
                    <a:pt x="1477" y="1561"/>
                  </a:lnTo>
                  <a:lnTo>
                    <a:pt x="1477" y="1561"/>
                  </a:lnTo>
                  <a:lnTo>
                    <a:pt x="1477" y="1561"/>
                  </a:lnTo>
                  <a:lnTo>
                    <a:pt x="1477" y="1561"/>
                  </a:lnTo>
                  <a:lnTo>
                    <a:pt x="1474" y="1559"/>
                  </a:lnTo>
                  <a:lnTo>
                    <a:pt x="1474" y="1556"/>
                  </a:lnTo>
                  <a:lnTo>
                    <a:pt x="1472" y="1554"/>
                  </a:lnTo>
                  <a:lnTo>
                    <a:pt x="1472" y="1554"/>
                  </a:lnTo>
                  <a:lnTo>
                    <a:pt x="1470" y="1551"/>
                  </a:lnTo>
                  <a:lnTo>
                    <a:pt x="1470" y="1551"/>
                  </a:lnTo>
                  <a:lnTo>
                    <a:pt x="1470" y="1549"/>
                  </a:lnTo>
                  <a:lnTo>
                    <a:pt x="1472" y="1549"/>
                  </a:lnTo>
                  <a:lnTo>
                    <a:pt x="1472" y="1549"/>
                  </a:lnTo>
                  <a:lnTo>
                    <a:pt x="1472" y="1549"/>
                  </a:lnTo>
                  <a:lnTo>
                    <a:pt x="1472" y="1551"/>
                  </a:lnTo>
                  <a:lnTo>
                    <a:pt x="1472" y="1551"/>
                  </a:lnTo>
                  <a:lnTo>
                    <a:pt x="1472" y="1551"/>
                  </a:lnTo>
                  <a:lnTo>
                    <a:pt x="1472" y="1551"/>
                  </a:lnTo>
                  <a:lnTo>
                    <a:pt x="1472" y="1554"/>
                  </a:lnTo>
                  <a:lnTo>
                    <a:pt x="1474" y="1554"/>
                  </a:lnTo>
                  <a:lnTo>
                    <a:pt x="1474" y="1556"/>
                  </a:lnTo>
                  <a:lnTo>
                    <a:pt x="1477" y="1556"/>
                  </a:lnTo>
                  <a:lnTo>
                    <a:pt x="1477" y="1559"/>
                  </a:lnTo>
                  <a:lnTo>
                    <a:pt x="1479" y="1559"/>
                  </a:lnTo>
                  <a:lnTo>
                    <a:pt x="1479" y="1559"/>
                  </a:lnTo>
                  <a:lnTo>
                    <a:pt x="1479" y="1559"/>
                  </a:lnTo>
                  <a:lnTo>
                    <a:pt x="1479" y="1559"/>
                  </a:lnTo>
                  <a:lnTo>
                    <a:pt x="1479" y="1559"/>
                  </a:lnTo>
                  <a:lnTo>
                    <a:pt x="1479" y="1559"/>
                  </a:lnTo>
                  <a:lnTo>
                    <a:pt x="1479" y="1559"/>
                  </a:lnTo>
                  <a:lnTo>
                    <a:pt x="1481" y="1559"/>
                  </a:lnTo>
                  <a:lnTo>
                    <a:pt x="1481" y="1559"/>
                  </a:lnTo>
                  <a:lnTo>
                    <a:pt x="1481" y="1559"/>
                  </a:lnTo>
                  <a:lnTo>
                    <a:pt x="1481" y="1559"/>
                  </a:lnTo>
                  <a:lnTo>
                    <a:pt x="1481" y="1561"/>
                  </a:lnTo>
                  <a:lnTo>
                    <a:pt x="1484" y="1561"/>
                  </a:lnTo>
                  <a:lnTo>
                    <a:pt x="1484" y="1559"/>
                  </a:lnTo>
                  <a:lnTo>
                    <a:pt x="1484" y="1559"/>
                  </a:lnTo>
                  <a:lnTo>
                    <a:pt x="1484" y="1559"/>
                  </a:lnTo>
                  <a:lnTo>
                    <a:pt x="1484" y="1561"/>
                  </a:lnTo>
                  <a:lnTo>
                    <a:pt x="1486" y="1561"/>
                  </a:lnTo>
                  <a:lnTo>
                    <a:pt x="1486" y="1561"/>
                  </a:lnTo>
                  <a:lnTo>
                    <a:pt x="1489" y="1559"/>
                  </a:lnTo>
                  <a:lnTo>
                    <a:pt x="1489" y="1559"/>
                  </a:lnTo>
                  <a:lnTo>
                    <a:pt x="1489" y="1559"/>
                  </a:lnTo>
                  <a:lnTo>
                    <a:pt x="1489" y="1559"/>
                  </a:lnTo>
                  <a:lnTo>
                    <a:pt x="1491" y="1556"/>
                  </a:lnTo>
                  <a:lnTo>
                    <a:pt x="1491" y="1556"/>
                  </a:lnTo>
                  <a:lnTo>
                    <a:pt x="1491" y="1556"/>
                  </a:lnTo>
                  <a:lnTo>
                    <a:pt x="1491" y="1554"/>
                  </a:lnTo>
                  <a:lnTo>
                    <a:pt x="1491" y="1554"/>
                  </a:lnTo>
                  <a:lnTo>
                    <a:pt x="1493" y="1554"/>
                  </a:lnTo>
                  <a:lnTo>
                    <a:pt x="1498" y="1551"/>
                  </a:lnTo>
                  <a:lnTo>
                    <a:pt x="1498" y="1549"/>
                  </a:lnTo>
                  <a:lnTo>
                    <a:pt x="1498" y="1549"/>
                  </a:lnTo>
                  <a:lnTo>
                    <a:pt x="1498" y="1549"/>
                  </a:lnTo>
                  <a:lnTo>
                    <a:pt x="1498" y="1547"/>
                  </a:lnTo>
                  <a:lnTo>
                    <a:pt x="1500" y="1549"/>
                  </a:lnTo>
                  <a:lnTo>
                    <a:pt x="1503" y="1547"/>
                  </a:lnTo>
                  <a:lnTo>
                    <a:pt x="1503" y="1547"/>
                  </a:lnTo>
                  <a:lnTo>
                    <a:pt x="1503" y="1547"/>
                  </a:lnTo>
                  <a:lnTo>
                    <a:pt x="1503" y="1544"/>
                  </a:lnTo>
                  <a:lnTo>
                    <a:pt x="1503" y="1544"/>
                  </a:lnTo>
                  <a:lnTo>
                    <a:pt x="1505" y="1544"/>
                  </a:lnTo>
                  <a:lnTo>
                    <a:pt x="1505" y="1544"/>
                  </a:lnTo>
                  <a:lnTo>
                    <a:pt x="1503" y="1542"/>
                  </a:lnTo>
                  <a:lnTo>
                    <a:pt x="1503" y="1540"/>
                  </a:lnTo>
                  <a:lnTo>
                    <a:pt x="1503" y="1540"/>
                  </a:lnTo>
                  <a:lnTo>
                    <a:pt x="1508" y="1535"/>
                  </a:lnTo>
                  <a:lnTo>
                    <a:pt x="1508" y="1532"/>
                  </a:lnTo>
                  <a:lnTo>
                    <a:pt x="1508" y="1530"/>
                  </a:lnTo>
                  <a:lnTo>
                    <a:pt x="1508" y="1530"/>
                  </a:lnTo>
                  <a:lnTo>
                    <a:pt x="1508" y="1528"/>
                  </a:lnTo>
                  <a:lnTo>
                    <a:pt x="1508" y="1528"/>
                  </a:lnTo>
                  <a:lnTo>
                    <a:pt x="1508" y="1528"/>
                  </a:lnTo>
                  <a:lnTo>
                    <a:pt x="1508" y="1525"/>
                  </a:lnTo>
                  <a:lnTo>
                    <a:pt x="1508" y="1525"/>
                  </a:lnTo>
                  <a:lnTo>
                    <a:pt x="1508" y="1525"/>
                  </a:lnTo>
                  <a:lnTo>
                    <a:pt x="1508" y="1523"/>
                  </a:lnTo>
                  <a:lnTo>
                    <a:pt x="1508" y="1523"/>
                  </a:lnTo>
                  <a:lnTo>
                    <a:pt x="1508" y="1523"/>
                  </a:lnTo>
                  <a:lnTo>
                    <a:pt x="1510" y="1523"/>
                  </a:lnTo>
                  <a:lnTo>
                    <a:pt x="1512" y="1521"/>
                  </a:lnTo>
                  <a:lnTo>
                    <a:pt x="1515" y="1518"/>
                  </a:lnTo>
                  <a:lnTo>
                    <a:pt x="1515" y="1518"/>
                  </a:lnTo>
                  <a:lnTo>
                    <a:pt x="1515" y="1518"/>
                  </a:lnTo>
                  <a:lnTo>
                    <a:pt x="1515" y="1516"/>
                  </a:lnTo>
                  <a:lnTo>
                    <a:pt x="1515" y="1516"/>
                  </a:lnTo>
                  <a:lnTo>
                    <a:pt x="1515" y="1516"/>
                  </a:lnTo>
                  <a:lnTo>
                    <a:pt x="1515" y="1514"/>
                  </a:lnTo>
                  <a:lnTo>
                    <a:pt x="1515" y="1514"/>
                  </a:lnTo>
                  <a:lnTo>
                    <a:pt x="1515" y="1511"/>
                  </a:lnTo>
                  <a:lnTo>
                    <a:pt x="1515" y="1511"/>
                  </a:lnTo>
                  <a:lnTo>
                    <a:pt x="1515" y="1509"/>
                  </a:lnTo>
                  <a:lnTo>
                    <a:pt x="1515" y="1509"/>
                  </a:lnTo>
                  <a:lnTo>
                    <a:pt x="1515" y="1509"/>
                  </a:lnTo>
                  <a:lnTo>
                    <a:pt x="1515" y="1509"/>
                  </a:lnTo>
                  <a:lnTo>
                    <a:pt x="1515" y="1509"/>
                  </a:lnTo>
                  <a:lnTo>
                    <a:pt x="1515" y="1509"/>
                  </a:lnTo>
                  <a:lnTo>
                    <a:pt x="1515" y="1509"/>
                  </a:lnTo>
                  <a:lnTo>
                    <a:pt x="1515" y="1509"/>
                  </a:lnTo>
                  <a:lnTo>
                    <a:pt x="1517" y="1511"/>
                  </a:lnTo>
                  <a:lnTo>
                    <a:pt x="1517" y="1509"/>
                  </a:lnTo>
                  <a:lnTo>
                    <a:pt x="1517" y="1506"/>
                  </a:lnTo>
                  <a:lnTo>
                    <a:pt x="1517" y="1506"/>
                  </a:lnTo>
                  <a:lnTo>
                    <a:pt x="1519" y="1506"/>
                  </a:lnTo>
                  <a:lnTo>
                    <a:pt x="1519" y="1506"/>
                  </a:lnTo>
                  <a:lnTo>
                    <a:pt x="1519" y="1506"/>
                  </a:lnTo>
                  <a:lnTo>
                    <a:pt x="1519" y="1504"/>
                  </a:lnTo>
                  <a:lnTo>
                    <a:pt x="1519" y="1504"/>
                  </a:lnTo>
                  <a:lnTo>
                    <a:pt x="1519" y="1504"/>
                  </a:lnTo>
                  <a:lnTo>
                    <a:pt x="1519" y="1502"/>
                  </a:lnTo>
                  <a:lnTo>
                    <a:pt x="1519" y="1499"/>
                  </a:lnTo>
                  <a:lnTo>
                    <a:pt x="1522" y="1497"/>
                  </a:lnTo>
                  <a:lnTo>
                    <a:pt x="1522" y="1495"/>
                  </a:lnTo>
                  <a:lnTo>
                    <a:pt x="1522" y="1495"/>
                  </a:lnTo>
                  <a:lnTo>
                    <a:pt x="1522" y="1495"/>
                  </a:lnTo>
                  <a:lnTo>
                    <a:pt x="1522" y="1495"/>
                  </a:lnTo>
                  <a:lnTo>
                    <a:pt x="1524" y="1495"/>
                  </a:lnTo>
                  <a:lnTo>
                    <a:pt x="1524" y="1495"/>
                  </a:lnTo>
                  <a:lnTo>
                    <a:pt x="1524" y="1492"/>
                  </a:lnTo>
                  <a:lnTo>
                    <a:pt x="1524" y="1492"/>
                  </a:lnTo>
                  <a:lnTo>
                    <a:pt x="1524" y="1492"/>
                  </a:lnTo>
                  <a:lnTo>
                    <a:pt x="1524" y="1492"/>
                  </a:lnTo>
                  <a:lnTo>
                    <a:pt x="1522" y="1490"/>
                  </a:lnTo>
                  <a:lnTo>
                    <a:pt x="1524" y="1490"/>
                  </a:lnTo>
                  <a:lnTo>
                    <a:pt x="1526" y="1488"/>
                  </a:lnTo>
                  <a:lnTo>
                    <a:pt x="1526" y="1488"/>
                  </a:lnTo>
                  <a:lnTo>
                    <a:pt x="1526" y="1485"/>
                  </a:lnTo>
                  <a:lnTo>
                    <a:pt x="1526" y="1485"/>
                  </a:lnTo>
                  <a:lnTo>
                    <a:pt x="1524" y="1485"/>
                  </a:lnTo>
                  <a:lnTo>
                    <a:pt x="1526" y="1483"/>
                  </a:lnTo>
                  <a:lnTo>
                    <a:pt x="1526" y="1483"/>
                  </a:lnTo>
                  <a:lnTo>
                    <a:pt x="1526" y="1480"/>
                  </a:lnTo>
                  <a:lnTo>
                    <a:pt x="1526" y="1480"/>
                  </a:lnTo>
                  <a:lnTo>
                    <a:pt x="1524" y="1480"/>
                  </a:lnTo>
                  <a:lnTo>
                    <a:pt x="1524" y="1478"/>
                  </a:lnTo>
                  <a:lnTo>
                    <a:pt x="1522" y="1478"/>
                  </a:lnTo>
                  <a:lnTo>
                    <a:pt x="1524" y="1478"/>
                  </a:lnTo>
                  <a:lnTo>
                    <a:pt x="1524" y="1476"/>
                  </a:lnTo>
                  <a:lnTo>
                    <a:pt x="1522" y="1476"/>
                  </a:lnTo>
                  <a:lnTo>
                    <a:pt x="1515" y="1473"/>
                  </a:lnTo>
                  <a:lnTo>
                    <a:pt x="1510" y="1476"/>
                  </a:lnTo>
                  <a:lnTo>
                    <a:pt x="1508" y="1473"/>
                  </a:lnTo>
                  <a:lnTo>
                    <a:pt x="1505" y="1473"/>
                  </a:lnTo>
                  <a:lnTo>
                    <a:pt x="1505" y="1473"/>
                  </a:lnTo>
                  <a:lnTo>
                    <a:pt x="1503" y="1476"/>
                  </a:lnTo>
                  <a:lnTo>
                    <a:pt x="1505" y="1476"/>
                  </a:lnTo>
                  <a:lnTo>
                    <a:pt x="1503" y="1476"/>
                  </a:lnTo>
                  <a:lnTo>
                    <a:pt x="1503" y="1476"/>
                  </a:lnTo>
                  <a:lnTo>
                    <a:pt x="1503" y="1476"/>
                  </a:lnTo>
                  <a:lnTo>
                    <a:pt x="1498" y="1476"/>
                  </a:lnTo>
                  <a:lnTo>
                    <a:pt x="1498" y="1476"/>
                  </a:lnTo>
                  <a:lnTo>
                    <a:pt x="1496" y="1478"/>
                  </a:lnTo>
                  <a:lnTo>
                    <a:pt x="1496" y="1478"/>
                  </a:lnTo>
                  <a:lnTo>
                    <a:pt x="1493" y="1476"/>
                  </a:lnTo>
                  <a:lnTo>
                    <a:pt x="1481" y="1476"/>
                  </a:lnTo>
                  <a:lnTo>
                    <a:pt x="1481" y="1476"/>
                  </a:lnTo>
                  <a:lnTo>
                    <a:pt x="1474" y="1476"/>
                  </a:lnTo>
                  <a:lnTo>
                    <a:pt x="1474" y="1476"/>
                  </a:lnTo>
                  <a:lnTo>
                    <a:pt x="1472" y="1476"/>
                  </a:lnTo>
                  <a:lnTo>
                    <a:pt x="1472" y="1476"/>
                  </a:lnTo>
                  <a:lnTo>
                    <a:pt x="1470" y="1476"/>
                  </a:lnTo>
                  <a:lnTo>
                    <a:pt x="1470" y="1476"/>
                  </a:lnTo>
                  <a:lnTo>
                    <a:pt x="1467" y="1473"/>
                  </a:lnTo>
                  <a:lnTo>
                    <a:pt x="1467" y="1473"/>
                  </a:lnTo>
                  <a:lnTo>
                    <a:pt x="1467" y="1471"/>
                  </a:lnTo>
                  <a:lnTo>
                    <a:pt x="1467" y="1471"/>
                  </a:lnTo>
                  <a:lnTo>
                    <a:pt x="1465" y="1471"/>
                  </a:lnTo>
                  <a:lnTo>
                    <a:pt x="1465" y="1471"/>
                  </a:lnTo>
                  <a:lnTo>
                    <a:pt x="1465" y="1471"/>
                  </a:lnTo>
                  <a:lnTo>
                    <a:pt x="1465" y="1471"/>
                  </a:lnTo>
                  <a:lnTo>
                    <a:pt x="1465" y="1469"/>
                  </a:lnTo>
                  <a:lnTo>
                    <a:pt x="1465" y="1469"/>
                  </a:lnTo>
                  <a:lnTo>
                    <a:pt x="1465" y="1469"/>
                  </a:lnTo>
                  <a:lnTo>
                    <a:pt x="1463" y="1469"/>
                  </a:lnTo>
                  <a:lnTo>
                    <a:pt x="1458" y="1466"/>
                  </a:lnTo>
                  <a:lnTo>
                    <a:pt x="1458" y="1466"/>
                  </a:lnTo>
                  <a:lnTo>
                    <a:pt x="1458" y="1464"/>
                  </a:lnTo>
                  <a:lnTo>
                    <a:pt x="1458" y="1464"/>
                  </a:lnTo>
                  <a:lnTo>
                    <a:pt x="1458" y="1462"/>
                  </a:lnTo>
                  <a:lnTo>
                    <a:pt x="1458" y="1462"/>
                  </a:lnTo>
                  <a:lnTo>
                    <a:pt x="1455" y="1459"/>
                  </a:lnTo>
                  <a:lnTo>
                    <a:pt x="1455" y="1459"/>
                  </a:lnTo>
                  <a:lnTo>
                    <a:pt x="1453" y="1457"/>
                  </a:lnTo>
                  <a:lnTo>
                    <a:pt x="1453" y="1457"/>
                  </a:lnTo>
                  <a:lnTo>
                    <a:pt x="1453" y="1457"/>
                  </a:lnTo>
                  <a:lnTo>
                    <a:pt x="1451" y="1457"/>
                  </a:lnTo>
                  <a:lnTo>
                    <a:pt x="1451" y="1454"/>
                  </a:lnTo>
                  <a:lnTo>
                    <a:pt x="1448" y="1452"/>
                  </a:lnTo>
                  <a:lnTo>
                    <a:pt x="1448" y="1452"/>
                  </a:lnTo>
                  <a:lnTo>
                    <a:pt x="1446" y="1452"/>
                  </a:lnTo>
                  <a:lnTo>
                    <a:pt x="1441" y="1450"/>
                  </a:lnTo>
                  <a:lnTo>
                    <a:pt x="1439" y="1447"/>
                  </a:lnTo>
                  <a:lnTo>
                    <a:pt x="1434" y="1447"/>
                  </a:lnTo>
                  <a:lnTo>
                    <a:pt x="1427" y="1445"/>
                  </a:lnTo>
                  <a:lnTo>
                    <a:pt x="1422" y="1445"/>
                  </a:lnTo>
                  <a:lnTo>
                    <a:pt x="1418" y="1443"/>
                  </a:lnTo>
                  <a:lnTo>
                    <a:pt x="1415" y="1443"/>
                  </a:lnTo>
                  <a:lnTo>
                    <a:pt x="1413" y="1443"/>
                  </a:lnTo>
                  <a:lnTo>
                    <a:pt x="1411" y="1443"/>
                  </a:lnTo>
                  <a:lnTo>
                    <a:pt x="1411" y="1445"/>
                  </a:lnTo>
                  <a:lnTo>
                    <a:pt x="1411" y="1445"/>
                  </a:lnTo>
                  <a:lnTo>
                    <a:pt x="1413" y="1445"/>
                  </a:lnTo>
                  <a:lnTo>
                    <a:pt x="1413" y="1447"/>
                  </a:lnTo>
                  <a:lnTo>
                    <a:pt x="1415" y="1450"/>
                  </a:lnTo>
                  <a:lnTo>
                    <a:pt x="1415" y="1450"/>
                  </a:lnTo>
                  <a:lnTo>
                    <a:pt x="1413" y="1450"/>
                  </a:lnTo>
                  <a:lnTo>
                    <a:pt x="1411" y="1447"/>
                  </a:lnTo>
                  <a:lnTo>
                    <a:pt x="1401" y="1443"/>
                  </a:lnTo>
                  <a:lnTo>
                    <a:pt x="1401" y="1440"/>
                  </a:lnTo>
                  <a:lnTo>
                    <a:pt x="1403" y="1440"/>
                  </a:lnTo>
                  <a:lnTo>
                    <a:pt x="1406" y="1440"/>
                  </a:lnTo>
                  <a:lnTo>
                    <a:pt x="1406" y="1440"/>
                  </a:lnTo>
                  <a:lnTo>
                    <a:pt x="1411" y="1443"/>
                  </a:lnTo>
                  <a:lnTo>
                    <a:pt x="1411" y="1440"/>
                  </a:lnTo>
                  <a:lnTo>
                    <a:pt x="1413" y="1440"/>
                  </a:lnTo>
                  <a:lnTo>
                    <a:pt x="1413" y="1443"/>
                  </a:lnTo>
                  <a:lnTo>
                    <a:pt x="1422" y="1443"/>
                  </a:lnTo>
                  <a:lnTo>
                    <a:pt x="1429" y="1443"/>
                  </a:lnTo>
                  <a:lnTo>
                    <a:pt x="1434" y="1440"/>
                  </a:lnTo>
                  <a:lnTo>
                    <a:pt x="1434" y="1440"/>
                  </a:lnTo>
                  <a:lnTo>
                    <a:pt x="1434" y="1440"/>
                  </a:lnTo>
                  <a:lnTo>
                    <a:pt x="1434" y="1440"/>
                  </a:lnTo>
                  <a:lnTo>
                    <a:pt x="1434" y="1443"/>
                  </a:lnTo>
                  <a:lnTo>
                    <a:pt x="1434" y="1443"/>
                  </a:lnTo>
                  <a:lnTo>
                    <a:pt x="1434" y="1443"/>
                  </a:lnTo>
                  <a:lnTo>
                    <a:pt x="1434" y="1443"/>
                  </a:lnTo>
                  <a:lnTo>
                    <a:pt x="1432" y="1443"/>
                  </a:lnTo>
                  <a:lnTo>
                    <a:pt x="1429" y="1443"/>
                  </a:lnTo>
                  <a:lnTo>
                    <a:pt x="1429" y="1445"/>
                  </a:lnTo>
                  <a:lnTo>
                    <a:pt x="1434" y="1445"/>
                  </a:lnTo>
                  <a:lnTo>
                    <a:pt x="1434" y="1445"/>
                  </a:lnTo>
                  <a:lnTo>
                    <a:pt x="1437" y="1445"/>
                  </a:lnTo>
                  <a:lnTo>
                    <a:pt x="1437" y="1443"/>
                  </a:lnTo>
                  <a:lnTo>
                    <a:pt x="1439" y="1443"/>
                  </a:lnTo>
                  <a:lnTo>
                    <a:pt x="1439" y="1443"/>
                  </a:lnTo>
                  <a:lnTo>
                    <a:pt x="1439" y="1443"/>
                  </a:lnTo>
                  <a:lnTo>
                    <a:pt x="1441" y="1443"/>
                  </a:lnTo>
                  <a:lnTo>
                    <a:pt x="1444" y="1445"/>
                  </a:lnTo>
                  <a:lnTo>
                    <a:pt x="1444" y="1445"/>
                  </a:lnTo>
                  <a:lnTo>
                    <a:pt x="1444" y="1445"/>
                  </a:lnTo>
                  <a:lnTo>
                    <a:pt x="1446" y="1445"/>
                  </a:lnTo>
                  <a:lnTo>
                    <a:pt x="1446" y="1447"/>
                  </a:lnTo>
                  <a:lnTo>
                    <a:pt x="1446" y="1447"/>
                  </a:lnTo>
                  <a:lnTo>
                    <a:pt x="1448" y="1445"/>
                  </a:lnTo>
                  <a:lnTo>
                    <a:pt x="1448" y="1445"/>
                  </a:lnTo>
                  <a:lnTo>
                    <a:pt x="1448" y="1445"/>
                  </a:lnTo>
                  <a:lnTo>
                    <a:pt x="1448" y="1443"/>
                  </a:lnTo>
                  <a:lnTo>
                    <a:pt x="1446" y="1443"/>
                  </a:lnTo>
                  <a:lnTo>
                    <a:pt x="1441" y="1438"/>
                  </a:lnTo>
                  <a:lnTo>
                    <a:pt x="1441" y="1438"/>
                  </a:lnTo>
                  <a:lnTo>
                    <a:pt x="1446" y="1438"/>
                  </a:lnTo>
                  <a:lnTo>
                    <a:pt x="1446" y="1438"/>
                  </a:lnTo>
                  <a:lnTo>
                    <a:pt x="1448" y="1438"/>
                  </a:lnTo>
                  <a:lnTo>
                    <a:pt x="1448" y="1438"/>
                  </a:lnTo>
                  <a:lnTo>
                    <a:pt x="1448" y="1438"/>
                  </a:lnTo>
                  <a:lnTo>
                    <a:pt x="1451" y="1440"/>
                  </a:lnTo>
                  <a:lnTo>
                    <a:pt x="1453" y="1440"/>
                  </a:lnTo>
                  <a:lnTo>
                    <a:pt x="1453" y="1440"/>
                  </a:lnTo>
                  <a:lnTo>
                    <a:pt x="1453" y="1443"/>
                  </a:lnTo>
                  <a:lnTo>
                    <a:pt x="1453" y="1443"/>
                  </a:lnTo>
                  <a:lnTo>
                    <a:pt x="1453" y="1443"/>
                  </a:lnTo>
                  <a:lnTo>
                    <a:pt x="1453" y="1443"/>
                  </a:lnTo>
                  <a:lnTo>
                    <a:pt x="1455" y="1443"/>
                  </a:lnTo>
                  <a:lnTo>
                    <a:pt x="1455" y="1443"/>
                  </a:lnTo>
                  <a:lnTo>
                    <a:pt x="1455" y="1443"/>
                  </a:lnTo>
                  <a:lnTo>
                    <a:pt x="1455" y="1443"/>
                  </a:lnTo>
                  <a:lnTo>
                    <a:pt x="1455" y="1443"/>
                  </a:lnTo>
                  <a:lnTo>
                    <a:pt x="1458" y="1445"/>
                  </a:lnTo>
                  <a:lnTo>
                    <a:pt x="1458" y="1445"/>
                  </a:lnTo>
                  <a:lnTo>
                    <a:pt x="1458" y="1445"/>
                  </a:lnTo>
                  <a:lnTo>
                    <a:pt x="1460" y="1445"/>
                  </a:lnTo>
                  <a:lnTo>
                    <a:pt x="1460" y="1445"/>
                  </a:lnTo>
                  <a:lnTo>
                    <a:pt x="1460" y="1445"/>
                  </a:lnTo>
                  <a:lnTo>
                    <a:pt x="1463" y="1447"/>
                  </a:lnTo>
                  <a:lnTo>
                    <a:pt x="1463" y="1447"/>
                  </a:lnTo>
                  <a:lnTo>
                    <a:pt x="1465" y="1447"/>
                  </a:lnTo>
                  <a:lnTo>
                    <a:pt x="1465" y="1450"/>
                  </a:lnTo>
                  <a:lnTo>
                    <a:pt x="1465" y="1450"/>
                  </a:lnTo>
                  <a:lnTo>
                    <a:pt x="1465" y="1450"/>
                  </a:lnTo>
                  <a:lnTo>
                    <a:pt x="1465" y="1450"/>
                  </a:lnTo>
                  <a:lnTo>
                    <a:pt x="1465" y="1450"/>
                  </a:lnTo>
                  <a:lnTo>
                    <a:pt x="1467" y="1452"/>
                  </a:lnTo>
                  <a:lnTo>
                    <a:pt x="1467" y="1452"/>
                  </a:lnTo>
                  <a:lnTo>
                    <a:pt x="1470" y="1452"/>
                  </a:lnTo>
                  <a:lnTo>
                    <a:pt x="1472" y="1452"/>
                  </a:lnTo>
                  <a:lnTo>
                    <a:pt x="1472" y="1452"/>
                  </a:lnTo>
                  <a:lnTo>
                    <a:pt x="1472" y="1452"/>
                  </a:lnTo>
                  <a:lnTo>
                    <a:pt x="1472" y="1452"/>
                  </a:lnTo>
                  <a:lnTo>
                    <a:pt x="1474" y="1452"/>
                  </a:lnTo>
                  <a:lnTo>
                    <a:pt x="1474" y="1452"/>
                  </a:lnTo>
                  <a:lnTo>
                    <a:pt x="1474" y="1452"/>
                  </a:lnTo>
                  <a:lnTo>
                    <a:pt x="1484" y="1454"/>
                  </a:lnTo>
                  <a:lnTo>
                    <a:pt x="1484" y="1454"/>
                  </a:lnTo>
                  <a:lnTo>
                    <a:pt x="1484" y="1454"/>
                  </a:lnTo>
                  <a:lnTo>
                    <a:pt x="1481" y="1454"/>
                  </a:lnTo>
                  <a:lnTo>
                    <a:pt x="1479" y="1454"/>
                  </a:lnTo>
                  <a:lnTo>
                    <a:pt x="1472" y="1454"/>
                  </a:lnTo>
                  <a:lnTo>
                    <a:pt x="1474" y="1457"/>
                  </a:lnTo>
                  <a:lnTo>
                    <a:pt x="1477" y="1457"/>
                  </a:lnTo>
                  <a:lnTo>
                    <a:pt x="1477" y="1457"/>
                  </a:lnTo>
                  <a:lnTo>
                    <a:pt x="1477" y="1457"/>
                  </a:lnTo>
                  <a:lnTo>
                    <a:pt x="1479" y="1459"/>
                  </a:lnTo>
                  <a:lnTo>
                    <a:pt x="1481" y="1459"/>
                  </a:lnTo>
                  <a:lnTo>
                    <a:pt x="1484" y="1459"/>
                  </a:lnTo>
                  <a:lnTo>
                    <a:pt x="1484" y="1462"/>
                  </a:lnTo>
                  <a:lnTo>
                    <a:pt x="1486" y="1464"/>
                  </a:lnTo>
                  <a:lnTo>
                    <a:pt x="1486" y="1464"/>
                  </a:lnTo>
                  <a:lnTo>
                    <a:pt x="1486" y="1464"/>
                  </a:lnTo>
                  <a:lnTo>
                    <a:pt x="1489" y="1464"/>
                  </a:lnTo>
                  <a:lnTo>
                    <a:pt x="1489" y="1464"/>
                  </a:lnTo>
                  <a:lnTo>
                    <a:pt x="1489" y="1466"/>
                  </a:lnTo>
                  <a:lnTo>
                    <a:pt x="1489" y="1466"/>
                  </a:lnTo>
                  <a:lnTo>
                    <a:pt x="1489" y="1466"/>
                  </a:lnTo>
                  <a:lnTo>
                    <a:pt x="1491" y="1469"/>
                  </a:lnTo>
                  <a:lnTo>
                    <a:pt x="1491" y="1469"/>
                  </a:lnTo>
                  <a:lnTo>
                    <a:pt x="1491" y="1469"/>
                  </a:lnTo>
                  <a:lnTo>
                    <a:pt x="1491" y="1469"/>
                  </a:lnTo>
                  <a:lnTo>
                    <a:pt x="1496" y="1471"/>
                  </a:lnTo>
                  <a:lnTo>
                    <a:pt x="1498" y="1473"/>
                  </a:lnTo>
                  <a:lnTo>
                    <a:pt x="1505" y="1471"/>
                  </a:lnTo>
                  <a:lnTo>
                    <a:pt x="1512" y="1471"/>
                  </a:lnTo>
                  <a:lnTo>
                    <a:pt x="1515" y="1471"/>
                  </a:lnTo>
                  <a:lnTo>
                    <a:pt x="1517" y="1469"/>
                  </a:lnTo>
                  <a:lnTo>
                    <a:pt x="1517" y="1469"/>
                  </a:lnTo>
                  <a:lnTo>
                    <a:pt x="1517" y="1469"/>
                  </a:lnTo>
                  <a:lnTo>
                    <a:pt x="1517" y="1466"/>
                  </a:lnTo>
                  <a:lnTo>
                    <a:pt x="1519" y="1466"/>
                  </a:lnTo>
                  <a:lnTo>
                    <a:pt x="1522" y="1466"/>
                  </a:lnTo>
                  <a:lnTo>
                    <a:pt x="1522" y="1464"/>
                  </a:lnTo>
                  <a:lnTo>
                    <a:pt x="1522" y="1464"/>
                  </a:lnTo>
                  <a:lnTo>
                    <a:pt x="1519" y="1464"/>
                  </a:lnTo>
                  <a:lnTo>
                    <a:pt x="1519" y="1462"/>
                  </a:lnTo>
                  <a:lnTo>
                    <a:pt x="1519" y="1462"/>
                  </a:lnTo>
                  <a:lnTo>
                    <a:pt x="1519" y="1462"/>
                  </a:lnTo>
                  <a:lnTo>
                    <a:pt x="1519" y="1462"/>
                  </a:lnTo>
                  <a:lnTo>
                    <a:pt x="1519" y="1462"/>
                  </a:lnTo>
                  <a:lnTo>
                    <a:pt x="1519" y="1459"/>
                  </a:lnTo>
                  <a:lnTo>
                    <a:pt x="1522" y="1459"/>
                  </a:lnTo>
                  <a:lnTo>
                    <a:pt x="1522" y="1459"/>
                  </a:lnTo>
                  <a:lnTo>
                    <a:pt x="1522" y="1459"/>
                  </a:lnTo>
                  <a:lnTo>
                    <a:pt x="1522" y="1459"/>
                  </a:lnTo>
                  <a:lnTo>
                    <a:pt x="1522" y="1459"/>
                  </a:lnTo>
                  <a:lnTo>
                    <a:pt x="1522" y="1459"/>
                  </a:lnTo>
                  <a:lnTo>
                    <a:pt x="1522" y="1459"/>
                  </a:lnTo>
                  <a:lnTo>
                    <a:pt x="1522" y="1459"/>
                  </a:lnTo>
                  <a:lnTo>
                    <a:pt x="1522" y="1457"/>
                  </a:lnTo>
                  <a:lnTo>
                    <a:pt x="1522" y="1457"/>
                  </a:lnTo>
                  <a:lnTo>
                    <a:pt x="1522" y="1457"/>
                  </a:lnTo>
                  <a:lnTo>
                    <a:pt x="1522" y="1457"/>
                  </a:lnTo>
                  <a:lnTo>
                    <a:pt x="1524" y="1454"/>
                  </a:lnTo>
                  <a:lnTo>
                    <a:pt x="1526" y="1454"/>
                  </a:lnTo>
                  <a:lnTo>
                    <a:pt x="1526" y="1454"/>
                  </a:lnTo>
                  <a:lnTo>
                    <a:pt x="1526" y="1454"/>
                  </a:lnTo>
                  <a:lnTo>
                    <a:pt x="1526" y="1452"/>
                  </a:lnTo>
                  <a:lnTo>
                    <a:pt x="1529" y="1452"/>
                  </a:lnTo>
                  <a:lnTo>
                    <a:pt x="1529" y="1450"/>
                  </a:lnTo>
                  <a:lnTo>
                    <a:pt x="1529" y="1450"/>
                  </a:lnTo>
                  <a:lnTo>
                    <a:pt x="1529" y="1450"/>
                  </a:lnTo>
                  <a:lnTo>
                    <a:pt x="1529" y="1447"/>
                  </a:lnTo>
                  <a:lnTo>
                    <a:pt x="1531" y="1447"/>
                  </a:lnTo>
                  <a:lnTo>
                    <a:pt x="1531" y="1447"/>
                  </a:lnTo>
                  <a:lnTo>
                    <a:pt x="1534" y="1447"/>
                  </a:lnTo>
                  <a:lnTo>
                    <a:pt x="1534" y="1447"/>
                  </a:lnTo>
                  <a:lnTo>
                    <a:pt x="1534" y="1447"/>
                  </a:lnTo>
                  <a:lnTo>
                    <a:pt x="1534" y="1445"/>
                  </a:lnTo>
                  <a:lnTo>
                    <a:pt x="1534" y="1445"/>
                  </a:lnTo>
                  <a:lnTo>
                    <a:pt x="1534" y="1445"/>
                  </a:lnTo>
                  <a:lnTo>
                    <a:pt x="1534" y="1445"/>
                  </a:lnTo>
                  <a:lnTo>
                    <a:pt x="1534" y="1443"/>
                  </a:lnTo>
                  <a:lnTo>
                    <a:pt x="1534" y="1443"/>
                  </a:lnTo>
                  <a:lnTo>
                    <a:pt x="1534" y="1443"/>
                  </a:lnTo>
                  <a:lnTo>
                    <a:pt x="1534" y="1440"/>
                  </a:lnTo>
                  <a:lnTo>
                    <a:pt x="1534" y="1440"/>
                  </a:lnTo>
                  <a:lnTo>
                    <a:pt x="1534" y="1440"/>
                  </a:lnTo>
                  <a:lnTo>
                    <a:pt x="1534" y="1440"/>
                  </a:lnTo>
                  <a:lnTo>
                    <a:pt x="1534" y="1440"/>
                  </a:lnTo>
                  <a:lnTo>
                    <a:pt x="1534" y="1440"/>
                  </a:lnTo>
                  <a:lnTo>
                    <a:pt x="1534" y="1438"/>
                  </a:lnTo>
                  <a:lnTo>
                    <a:pt x="1534" y="1438"/>
                  </a:lnTo>
                  <a:lnTo>
                    <a:pt x="1534" y="1438"/>
                  </a:lnTo>
                  <a:lnTo>
                    <a:pt x="1534" y="1438"/>
                  </a:lnTo>
                  <a:lnTo>
                    <a:pt x="1534" y="1438"/>
                  </a:lnTo>
                  <a:lnTo>
                    <a:pt x="1534" y="1438"/>
                  </a:lnTo>
                  <a:lnTo>
                    <a:pt x="1534" y="1436"/>
                  </a:lnTo>
                  <a:lnTo>
                    <a:pt x="1534" y="1436"/>
                  </a:lnTo>
                  <a:lnTo>
                    <a:pt x="1534" y="1436"/>
                  </a:lnTo>
                  <a:lnTo>
                    <a:pt x="1534" y="1436"/>
                  </a:lnTo>
                  <a:lnTo>
                    <a:pt x="1534" y="1436"/>
                  </a:lnTo>
                  <a:lnTo>
                    <a:pt x="1534" y="1436"/>
                  </a:lnTo>
                  <a:lnTo>
                    <a:pt x="1534" y="1433"/>
                  </a:lnTo>
                  <a:lnTo>
                    <a:pt x="1534" y="1433"/>
                  </a:lnTo>
                  <a:lnTo>
                    <a:pt x="1534" y="1433"/>
                  </a:lnTo>
                  <a:lnTo>
                    <a:pt x="1534" y="1431"/>
                  </a:lnTo>
                  <a:lnTo>
                    <a:pt x="1536" y="1431"/>
                  </a:lnTo>
                  <a:lnTo>
                    <a:pt x="1536" y="1431"/>
                  </a:lnTo>
                  <a:lnTo>
                    <a:pt x="1536" y="1431"/>
                  </a:lnTo>
                  <a:lnTo>
                    <a:pt x="1536" y="1431"/>
                  </a:lnTo>
                  <a:lnTo>
                    <a:pt x="1536" y="1431"/>
                  </a:lnTo>
                  <a:lnTo>
                    <a:pt x="1536" y="1431"/>
                  </a:lnTo>
                  <a:lnTo>
                    <a:pt x="1536" y="1431"/>
                  </a:lnTo>
                  <a:lnTo>
                    <a:pt x="1536" y="1431"/>
                  </a:lnTo>
                  <a:lnTo>
                    <a:pt x="1538" y="1428"/>
                  </a:lnTo>
                  <a:lnTo>
                    <a:pt x="1538" y="1428"/>
                  </a:lnTo>
                  <a:lnTo>
                    <a:pt x="1538" y="1428"/>
                  </a:lnTo>
                  <a:lnTo>
                    <a:pt x="1541" y="1428"/>
                  </a:lnTo>
                  <a:lnTo>
                    <a:pt x="1541" y="1428"/>
                  </a:lnTo>
                  <a:lnTo>
                    <a:pt x="1538" y="1426"/>
                  </a:lnTo>
                  <a:lnTo>
                    <a:pt x="1538" y="1426"/>
                  </a:lnTo>
                  <a:lnTo>
                    <a:pt x="1541" y="1426"/>
                  </a:lnTo>
                  <a:lnTo>
                    <a:pt x="1543" y="1424"/>
                  </a:lnTo>
                  <a:lnTo>
                    <a:pt x="1543" y="1424"/>
                  </a:lnTo>
                  <a:lnTo>
                    <a:pt x="1545" y="1421"/>
                  </a:lnTo>
                  <a:lnTo>
                    <a:pt x="1545" y="1421"/>
                  </a:lnTo>
                  <a:lnTo>
                    <a:pt x="1545" y="1421"/>
                  </a:lnTo>
                  <a:lnTo>
                    <a:pt x="1545" y="1419"/>
                  </a:lnTo>
                  <a:lnTo>
                    <a:pt x="1545" y="1419"/>
                  </a:lnTo>
                  <a:lnTo>
                    <a:pt x="1545" y="1417"/>
                  </a:lnTo>
                  <a:lnTo>
                    <a:pt x="1545" y="1417"/>
                  </a:lnTo>
                  <a:lnTo>
                    <a:pt x="1545" y="1414"/>
                  </a:lnTo>
                  <a:lnTo>
                    <a:pt x="1548" y="1414"/>
                  </a:lnTo>
                  <a:lnTo>
                    <a:pt x="1545" y="1412"/>
                  </a:lnTo>
                  <a:lnTo>
                    <a:pt x="1543" y="1412"/>
                  </a:lnTo>
                  <a:lnTo>
                    <a:pt x="1536" y="1407"/>
                  </a:lnTo>
                  <a:lnTo>
                    <a:pt x="1534" y="1407"/>
                  </a:lnTo>
                  <a:lnTo>
                    <a:pt x="1534" y="1407"/>
                  </a:lnTo>
                  <a:lnTo>
                    <a:pt x="1529" y="1407"/>
                  </a:lnTo>
                  <a:lnTo>
                    <a:pt x="1529" y="1405"/>
                  </a:lnTo>
                  <a:lnTo>
                    <a:pt x="1526" y="1407"/>
                  </a:lnTo>
                  <a:lnTo>
                    <a:pt x="1524" y="1405"/>
                  </a:lnTo>
                  <a:lnTo>
                    <a:pt x="1524" y="1402"/>
                  </a:lnTo>
                  <a:lnTo>
                    <a:pt x="1519" y="1400"/>
                  </a:lnTo>
                  <a:lnTo>
                    <a:pt x="1519" y="1398"/>
                  </a:lnTo>
                  <a:lnTo>
                    <a:pt x="1519" y="1398"/>
                  </a:lnTo>
                  <a:lnTo>
                    <a:pt x="1524" y="1398"/>
                  </a:lnTo>
                  <a:lnTo>
                    <a:pt x="1524" y="1398"/>
                  </a:lnTo>
                  <a:lnTo>
                    <a:pt x="1522" y="1395"/>
                  </a:lnTo>
                  <a:lnTo>
                    <a:pt x="1519" y="1393"/>
                  </a:lnTo>
                  <a:lnTo>
                    <a:pt x="1522" y="1393"/>
                  </a:lnTo>
                  <a:lnTo>
                    <a:pt x="1522" y="1393"/>
                  </a:lnTo>
                  <a:lnTo>
                    <a:pt x="1524" y="1393"/>
                  </a:lnTo>
                  <a:lnTo>
                    <a:pt x="1524" y="1391"/>
                  </a:lnTo>
                  <a:lnTo>
                    <a:pt x="1524" y="1391"/>
                  </a:lnTo>
                  <a:lnTo>
                    <a:pt x="1524" y="1391"/>
                  </a:lnTo>
                  <a:lnTo>
                    <a:pt x="1524" y="1391"/>
                  </a:lnTo>
                  <a:lnTo>
                    <a:pt x="1526" y="1391"/>
                  </a:lnTo>
                  <a:lnTo>
                    <a:pt x="1529" y="1393"/>
                  </a:lnTo>
                  <a:lnTo>
                    <a:pt x="1531" y="1393"/>
                  </a:lnTo>
                  <a:lnTo>
                    <a:pt x="1531" y="1391"/>
                  </a:lnTo>
                  <a:lnTo>
                    <a:pt x="1531" y="1391"/>
                  </a:lnTo>
                  <a:lnTo>
                    <a:pt x="1531" y="1391"/>
                  </a:lnTo>
                  <a:lnTo>
                    <a:pt x="1531" y="1391"/>
                  </a:lnTo>
                  <a:lnTo>
                    <a:pt x="1531" y="1391"/>
                  </a:lnTo>
                  <a:lnTo>
                    <a:pt x="1531" y="1391"/>
                  </a:lnTo>
                  <a:lnTo>
                    <a:pt x="1534" y="1391"/>
                  </a:lnTo>
                  <a:lnTo>
                    <a:pt x="1534" y="1391"/>
                  </a:lnTo>
                  <a:lnTo>
                    <a:pt x="1536" y="1391"/>
                  </a:lnTo>
                  <a:lnTo>
                    <a:pt x="1536" y="1391"/>
                  </a:lnTo>
                  <a:lnTo>
                    <a:pt x="1536" y="1393"/>
                  </a:lnTo>
                  <a:lnTo>
                    <a:pt x="1536" y="1393"/>
                  </a:lnTo>
                  <a:lnTo>
                    <a:pt x="1543" y="1391"/>
                  </a:lnTo>
                  <a:lnTo>
                    <a:pt x="1543" y="1391"/>
                  </a:lnTo>
                  <a:lnTo>
                    <a:pt x="1545" y="1391"/>
                  </a:lnTo>
                  <a:lnTo>
                    <a:pt x="1545" y="1391"/>
                  </a:lnTo>
                  <a:lnTo>
                    <a:pt x="1545" y="1391"/>
                  </a:lnTo>
                  <a:lnTo>
                    <a:pt x="1548" y="1388"/>
                  </a:lnTo>
                  <a:lnTo>
                    <a:pt x="1552" y="1386"/>
                  </a:lnTo>
                  <a:lnTo>
                    <a:pt x="1552" y="1386"/>
                  </a:lnTo>
                  <a:lnTo>
                    <a:pt x="1555" y="1386"/>
                  </a:lnTo>
                  <a:lnTo>
                    <a:pt x="1555" y="1388"/>
                  </a:lnTo>
                  <a:lnTo>
                    <a:pt x="1557" y="1388"/>
                  </a:lnTo>
                  <a:lnTo>
                    <a:pt x="1557" y="1391"/>
                  </a:lnTo>
                  <a:lnTo>
                    <a:pt x="1557" y="1391"/>
                  </a:lnTo>
                  <a:lnTo>
                    <a:pt x="1557" y="1393"/>
                  </a:lnTo>
                  <a:lnTo>
                    <a:pt x="1560" y="1395"/>
                  </a:lnTo>
                  <a:lnTo>
                    <a:pt x="1560" y="1398"/>
                  </a:lnTo>
                  <a:lnTo>
                    <a:pt x="1560" y="1398"/>
                  </a:lnTo>
                  <a:lnTo>
                    <a:pt x="1560" y="1398"/>
                  </a:lnTo>
                  <a:lnTo>
                    <a:pt x="1560" y="1400"/>
                  </a:lnTo>
                  <a:lnTo>
                    <a:pt x="1562" y="1402"/>
                  </a:lnTo>
                  <a:lnTo>
                    <a:pt x="1562" y="1405"/>
                  </a:lnTo>
                  <a:lnTo>
                    <a:pt x="1562" y="1405"/>
                  </a:lnTo>
                  <a:lnTo>
                    <a:pt x="1562" y="1405"/>
                  </a:lnTo>
                  <a:lnTo>
                    <a:pt x="1562" y="1405"/>
                  </a:lnTo>
                  <a:lnTo>
                    <a:pt x="1564" y="1405"/>
                  </a:lnTo>
                  <a:lnTo>
                    <a:pt x="1564" y="1402"/>
                  </a:lnTo>
                  <a:lnTo>
                    <a:pt x="1564" y="1402"/>
                  </a:lnTo>
                  <a:lnTo>
                    <a:pt x="1564" y="1402"/>
                  </a:lnTo>
                  <a:lnTo>
                    <a:pt x="1564" y="1400"/>
                  </a:lnTo>
                  <a:lnTo>
                    <a:pt x="1564" y="1400"/>
                  </a:lnTo>
                  <a:lnTo>
                    <a:pt x="1564" y="1400"/>
                  </a:lnTo>
                  <a:lnTo>
                    <a:pt x="1564" y="1400"/>
                  </a:lnTo>
                  <a:lnTo>
                    <a:pt x="1564" y="1400"/>
                  </a:lnTo>
                  <a:lnTo>
                    <a:pt x="1564" y="1400"/>
                  </a:lnTo>
                  <a:lnTo>
                    <a:pt x="1567" y="1402"/>
                  </a:lnTo>
                  <a:lnTo>
                    <a:pt x="1567" y="1402"/>
                  </a:lnTo>
                  <a:lnTo>
                    <a:pt x="1567" y="1402"/>
                  </a:lnTo>
                  <a:lnTo>
                    <a:pt x="1567" y="1402"/>
                  </a:lnTo>
                  <a:lnTo>
                    <a:pt x="1567" y="1402"/>
                  </a:lnTo>
                  <a:lnTo>
                    <a:pt x="1569" y="1405"/>
                  </a:lnTo>
                  <a:lnTo>
                    <a:pt x="1569" y="1405"/>
                  </a:lnTo>
                  <a:lnTo>
                    <a:pt x="1569" y="1405"/>
                  </a:lnTo>
                  <a:lnTo>
                    <a:pt x="1569" y="1405"/>
                  </a:lnTo>
                  <a:lnTo>
                    <a:pt x="1571" y="1402"/>
                  </a:lnTo>
                  <a:lnTo>
                    <a:pt x="1571" y="1402"/>
                  </a:lnTo>
                  <a:lnTo>
                    <a:pt x="1571" y="1402"/>
                  </a:lnTo>
                  <a:lnTo>
                    <a:pt x="1574" y="1405"/>
                  </a:lnTo>
                  <a:lnTo>
                    <a:pt x="1574" y="1405"/>
                  </a:lnTo>
                  <a:lnTo>
                    <a:pt x="1574" y="1405"/>
                  </a:lnTo>
                  <a:lnTo>
                    <a:pt x="1579" y="1405"/>
                  </a:lnTo>
                  <a:lnTo>
                    <a:pt x="1581" y="1407"/>
                  </a:lnTo>
                  <a:lnTo>
                    <a:pt x="1581" y="1407"/>
                  </a:lnTo>
                  <a:lnTo>
                    <a:pt x="1583" y="1407"/>
                  </a:lnTo>
                  <a:lnTo>
                    <a:pt x="1583" y="1407"/>
                  </a:lnTo>
                  <a:lnTo>
                    <a:pt x="1586" y="1407"/>
                  </a:lnTo>
                  <a:lnTo>
                    <a:pt x="1586" y="1407"/>
                  </a:lnTo>
                  <a:lnTo>
                    <a:pt x="1583" y="1405"/>
                  </a:lnTo>
                  <a:lnTo>
                    <a:pt x="1583" y="1405"/>
                  </a:lnTo>
                  <a:lnTo>
                    <a:pt x="1581" y="1402"/>
                  </a:lnTo>
                  <a:lnTo>
                    <a:pt x="1579" y="1400"/>
                  </a:lnTo>
                  <a:lnTo>
                    <a:pt x="1579" y="1400"/>
                  </a:lnTo>
                  <a:lnTo>
                    <a:pt x="1579" y="1400"/>
                  </a:lnTo>
                  <a:lnTo>
                    <a:pt x="1579" y="1400"/>
                  </a:lnTo>
                  <a:lnTo>
                    <a:pt x="1579" y="1400"/>
                  </a:lnTo>
                  <a:lnTo>
                    <a:pt x="1576" y="1398"/>
                  </a:lnTo>
                  <a:lnTo>
                    <a:pt x="1576" y="1398"/>
                  </a:lnTo>
                  <a:lnTo>
                    <a:pt x="1579" y="1395"/>
                  </a:lnTo>
                  <a:lnTo>
                    <a:pt x="1579" y="1395"/>
                  </a:lnTo>
                  <a:lnTo>
                    <a:pt x="1579" y="1393"/>
                  </a:lnTo>
                  <a:lnTo>
                    <a:pt x="1581" y="1393"/>
                  </a:lnTo>
                  <a:lnTo>
                    <a:pt x="1579" y="1395"/>
                  </a:lnTo>
                  <a:lnTo>
                    <a:pt x="1581" y="1395"/>
                  </a:lnTo>
                  <a:lnTo>
                    <a:pt x="1581" y="1395"/>
                  </a:lnTo>
                  <a:lnTo>
                    <a:pt x="1581" y="1395"/>
                  </a:lnTo>
                  <a:lnTo>
                    <a:pt x="1583" y="1398"/>
                  </a:lnTo>
                  <a:lnTo>
                    <a:pt x="1583" y="1398"/>
                  </a:lnTo>
                  <a:lnTo>
                    <a:pt x="1583" y="1398"/>
                  </a:lnTo>
                  <a:lnTo>
                    <a:pt x="1583" y="1400"/>
                  </a:lnTo>
                  <a:lnTo>
                    <a:pt x="1583" y="1400"/>
                  </a:lnTo>
                  <a:lnTo>
                    <a:pt x="1583" y="1400"/>
                  </a:lnTo>
                  <a:lnTo>
                    <a:pt x="1586" y="1400"/>
                  </a:lnTo>
                  <a:lnTo>
                    <a:pt x="1586" y="1400"/>
                  </a:lnTo>
                  <a:lnTo>
                    <a:pt x="1586" y="1400"/>
                  </a:lnTo>
                  <a:lnTo>
                    <a:pt x="1586" y="1400"/>
                  </a:lnTo>
                  <a:lnTo>
                    <a:pt x="1586" y="1398"/>
                  </a:lnTo>
                  <a:lnTo>
                    <a:pt x="1588" y="1398"/>
                  </a:lnTo>
                  <a:lnTo>
                    <a:pt x="1588" y="1398"/>
                  </a:lnTo>
                  <a:lnTo>
                    <a:pt x="1588" y="1398"/>
                  </a:lnTo>
                  <a:lnTo>
                    <a:pt x="1588" y="1398"/>
                  </a:lnTo>
                  <a:lnTo>
                    <a:pt x="1590" y="1398"/>
                  </a:lnTo>
                  <a:lnTo>
                    <a:pt x="1590" y="1398"/>
                  </a:lnTo>
                  <a:lnTo>
                    <a:pt x="1590" y="1400"/>
                  </a:lnTo>
                  <a:lnTo>
                    <a:pt x="1590" y="1400"/>
                  </a:lnTo>
                  <a:lnTo>
                    <a:pt x="1590" y="1400"/>
                  </a:lnTo>
                  <a:lnTo>
                    <a:pt x="1590" y="1400"/>
                  </a:lnTo>
                  <a:lnTo>
                    <a:pt x="1593" y="1402"/>
                  </a:lnTo>
                  <a:lnTo>
                    <a:pt x="1595" y="1402"/>
                  </a:lnTo>
                  <a:lnTo>
                    <a:pt x="1595" y="1402"/>
                  </a:lnTo>
                  <a:lnTo>
                    <a:pt x="1595" y="1405"/>
                  </a:lnTo>
                  <a:lnTo>
                    <a:pt x="1597" y="1405"/>
                  </a:lnTo>
                  <a:lnTo>
                    <a:pt x="1600" y="1402"/>
                  </a:lnTo>
                  <a:lnTo>
                    <a:pt x="1600" y="1402"/>
                  </a:lnTo>
                  <a:lnTo>
                    <a:pt x="1600" y="1402"/>
                  </a:lnTo>
                  <a:lnTo>
                    <a:pt x="1600" y="1402"/>
                  </a:lnTo>
                  <a:lnTo>
                    <a:pt x="1600" y="1405"/>
                  </a:lnTo>
                  <a:lnTo>
                    <a:pt x="1600" y="1405"/>
                  </a:lnTo>
                  <a:lnTo>
                    <a:pt x="1600" y="1405"/>
                  </a:lnTo>
                  <a:lnTo>
                    <a:pt x="1600" y="1405"/>
                  </a:lnTo>
                  <a:lnTo>
                    <a:pt x="1600" y="1405"/>
                  </a:lnTo>
                  <a:lnTo>
                    <a:pt x="1597" y="1407"/>
                  </a:lnTo>
                  <a:lnTo>
                    <a:pt x="1600" y="1407"/>
                  </a:lnTo>
                  <a:lnTo>
                    <a:pt x="1600" y="1405"/>
                  </a:lnTo>
                  <a:lnTo>
                    <a:pt x="1600" y="1405"/>
                  </a:lnTo>
                  <a:lnTo>
                    <a:pt x="1602" y="1405"/>
                  </a:lnTo>
                  <a:lnTo>
                    <a:pt x="1602" y="1402"/>
                  </a:lnTo>
                  <a:lnTo>
                    <a:pt x="1602" y="1402"/>
                  </a:lnTo>
                  <a:lnTo>
                    <a:pt x="1602" y="1402"/>
                  </a:lnTo>
                  <a:lnTo>
                    <a:pt x="1600" y="1400"/>
                  </a:lnTo>
                  <a:lnTo>
                    <a:pt x="1600" y="1398"/>
                  </a:lnTo>
                  <a:lnTo>
                    <a:pt x="1600" y="1398"/>
                  </a:lnTo>
                  <a:lnTo>
                    <a:pt x="1597" y="1398"/>
                  </a:lnTo>
                  <a:lnTo>
                    <a:pt x="1597" y="1398"/>
                  </a:lnTo>
                  <a:lnTo>
                    <a:pt x="1597" y="1395"/>
                  </a:lnTo>
                  <a:lnTo>
                    <a:pt x="1597" y="1395"/>
                  </a:lnTo>
                  <a:lnTo>
                    <a:pt x="1597" y="1393"/>
                  </a:lnTo>
                  <a:lnTo>
                    <a:pt x="1595" y="1391"/>
                  </a:lnTo>
                  <a:lnTo>
                    <a:pt x="1595" y="1391"/>
                  </a:lnTo>
                  <a:lnTo>
                    <a:pt x="1595" y="1388"/>
                  </a:lnTo>
                  <a:lnTo>
                    <a:pt x="1593" y="1388"/>
                  </a:lnTo>
                  <a:lnTo>
                    <a:pt x="1593" y="1386"/>
                  </a:lnTo>
                  <a:lnTo>
                    <a:pt x="1593" y="1386"/>
                  </a:lnTo>
                  <a:lnTo>
                    <a:pt x="1593" y="1386"/>
                  </a:lnTo>
                  <a:lnTo>
                    <a:pt x="1590" y="1386"/>
                  </a:lnTo>
                  <a:lnTo>
                    <a:pt x="1590" y="1383"/>
                  </a:lnTo>
                  <a:lnTo>
                    <a:pt x="1590" y="1383"/>
                  </a:lnTo>
                  <a:lnTo>
                    <a:pt x="1586" y="1379"/>
                  </a:lnTo>
                  <a:lnTo>
                    <a:pt x="1586" y="1379"/>
                  </a:lnTo>
                  <a:lnTo>
                    <a:pt x="1586" y="1379"/>
                  </a:lnTo>
                  <a:lnTo>
                    <a:pt x="1586" y="1379"/>
                  </a:lnTo>
                  <a:lnTo>
                    <a:pt x="1586" y="1379"/>
                  </a:lnTo>
                  <a:lnTo>
                    <a:pt x="1586" y="1376"/>
                  </a:lnTo>
                  <a:lnTo>
                    <a:pt x="1586" y="1376"/>
                  </a:lnTo>
                  <a:lnTo>
                    <a:pt x="1586" y="1376"/>
                  </a:lnTo>
                  <a:lnTo>
                    <a:pt x="1586" y="1374"/>
                  </a:lnTo>
                  <a:lnTo>
                    <a:pt x="1586" y="1374"/>
                  </a:lnTo>
                  <a:lnTo>
                    <a:pt x="1586" y="1374"/>
                  </a:lnTo>
                  <a:lnTo>
                    <a:pt x="1586" y="1374"/>
                  </a:lnTo>
                  <a:lnTo>
                    <a:pt x="1586" y="1374"/>
                  </a:lnTo>
                  <a:lnTo>
                    <a:pt x="1583" y="1374"/>
                  </a:lnTo>
                  <a:lnTo>
                    <a:pt x="1583" y="1374"/>
                  </a:lnTo>
                  <a:lnTo>
                    <a:pt x="1583" y="1374"/>
                  </a:lnTo>
                  <a:lnTo>
                    <a:pt x="1583" y="1374"/>
                  </a:lnTo>
                  <a:lnTo>
                    <a:pt x="1583" y="1374"/>
                  </a:lnTo>
                  <a:lnTo>
                    <a:pt x="1583" y="1374"/>
                  </a:lnTo>
                  <a:lnTo>
                    <a:pt x="1581" y="1374"/>
                  </a:lnTo>
                  <a:lnTo>
                    <a:pt x="1581" y="1374"/>
                  </a:lnTo>
                  <a:lnTo>
                    <a:pt x="1581" y="1374"/>
                  </a:lnTo>
                  <a:lnTo>
                    <a:pt x="1581" y="1374"/>
                  </a:lnTo>
                  <a:lnTo>
                    <a:pt x="1579" y="1374"/>
                  </a:lnTo>
                  <a:lnTo>
                    <a:pt x="1579" y="1372"/>
                  </a:lnTo>
                  <a:lnTo>
                    <a:pt x="1579" y="1372"/>
                  </a:lnTo>
                  <a:lnTo>
                    <a:pt x="1581" y="1369"/>
                  </a:lnTo>
                  <a:lnTo>
                    <a:pt x="1581" y="1369"/>
                  </a:lnTo>
                  <a:lnTo>
                    <a:pt x="1581" y="1367"/>
                  </a:lnTo>
                  <a:lnTo>
                    <a:pt x="1579" y="1369"/>
                  </a:lnTo>
                  <a:lnTo>
                    <a:pt x="1579" y="1369"/>
                  </a:lnTo>
                  <a:lnTo>
                    <a:pt x="1576" y="1367"/>
                  </a:lnTo>
                  <a:lnTo>
                    <a:pt x="1574" y="1367"/>
                  </a:lnTo>
                  <a:lnTo>
                    <a:pt x="1571" y="1367"/>
                  </a:lnTo>
                  <a:lnTo>
                    <a:pt x="1571" y="1365"/>
                  </a:lnTo>
                  <a:lnTo>
                    <a:pt x="1571" y="1365"/>
                  </a:lnTo>
                  <a:lnTo>
                    <a:pt x="1574" y="1367"/>
                  </a:lnTo>
                  <a:lnTo>
                    <a:pt x="1576" y="1367"/>
                  </a:lnTo>
                  <a:lnTo>
                    <a:pt x="1574" y="1365"/>
                  </a:lnTo>
                  <a:lnTo>
                    <a:pt x="1571" y="1362"/>
                  </a:lnTo>
                  <a:lnTo>
                    <a:pt x="1571" y="1362"/>
                  </a:lnTo>
                  <a:lnTo>
                    <a:pt x="1569" y="1362"/>
                  </a:lnTo>
                  <a:lnTo>
                    <a:pt x="1574" y="1362"/>
                  </a:lnTo>
                  <a:lnTo>
                    <a:pt x="1571" y="1360"/>
                  </a:lnTo>
                  <a:lnTo>
                    <a:pt x="1571" y="1360"/>
                  </a:lnTo>
                  <a:lnTo>
                    <a:pt x="1571" y="1360"/>
                  </a:lnTo>
                  <a:lnTo>
                    <a:pt x="1569" y="1360"/>
                  </a:lnTo>
                  <a:lnTo>
                    <a:pt x="1569" y="1360"/>
                  </a:lnTo>
                  <a:lnTo>
                    <a:pt x="1569" y="1360"/>
                  </a:lnTo>
                  <a:lnTo>
                    <a:pt x="1569" y="1357"/>
                  </a:lnTo>
                  <a:lnTo>
                    <a:pt x="1567" y="1357"/>
                  </a:lnTo>
                  <a:lnTo>
                    <a:pt x="1564" y="1360"/>
                  </a:lnTo>
                  <a:lnTo>
                    <a:pt x="1564" y="1360"/>
                  </a:lnTo>
                  <a:lnTo>
                    <a:pt x="1564" y="1360"/>
                  </a:lnTo>
                  <a:lnTo>
                    <a:pt x="1564" y="1360"/>
                  </a:lnTo>
                  <a:lnTo>
                    <a:pt x="1564" y="1362"/>
                  </a:lnTo>
                  <a:lnTo>
                    <a:pt x="1564" y="1362"/>
                  </a:lnTo>
                  <a:lnTo>
                    <a:pt x="1562" y="1360"/>
                  </a:lnTo>
                  <a:lnTo>
                    <a:pt x="1562" y="1362"/>
                  </a:lnTo>
                  <a:lnTo>
                    <a:pt x="1562" y="1362"/>
                  </a:lnTo>
                  <a:lnTo>
                    <a:pt x="1564" y="1362"/>
                  </a:lnTo>
                  <a:lnTo>
                    <a:pt x="1564" y="1362"/>
                  </a:lnTo>
                  <a:lnTo>
                    <a:pt x="1564" y="1362"/>
                  </a:lnTo>
                  <a:lnTo>
                    <a:pt x="1564" y="1362"/>
                  </a:lnTo>
                  <a:lnTo>
                    <a:pt x="1564" y="1365"/>
                  </a:lnTo>
                  <a:lnTo>
                    <a:pt x="1564" y="1365"/>
                  </a:lnTo>
                  <a:lnTo>
                    <a:pt x="1564" y="1365"/>
                  </a:lnTo>
                  <a:lnTo>
                    <a:pt x="1562" y="1367"/>
                  </a:lnTo>
                  <a:lnTo>
                    <a:pt x="1562" y="1367"/>
                  </a:lnTo>
                  <a:lnTo>
                    <a:pt x="1562" y="1367"/>
                  </a:lnTo>
                  <a:lnTo>
                    <a:pt x="1560" y="1367"/>
                  </a:lnTo>
                  <a:lnTo>
                    <a:pt x="1560" y="1367"/>
                  </a:lnTo>
                  <a:lnTo>
                    <a:pt x="1560" y="1367"/>
                  </a:lnTo>
                  <a:lnTo>
                    <a:pt x="1557" y="1367"/>
                  </a:lnTo>
                  <a:lnTo>
                    <a:pt x="1557" y="1365"/>
                  </a:lnTo>
                  <a:lnTo>
                    <a:pt x="1557" y="1365"/>
                  </a:lnTo>
                  <a:lnTo>
                    <a:pt x="1557" y="1365"/>
                  </a:lnTo>
                  <a:lnTo>
                    <a:pt x="1557" y="1365"/>
                  </a:lnTo>
                  <a:lnTo>
                    <a:pt x="1557" y="1365"/>
                  </a:lnTo>
                  <a:lnTo>
                    <a:pt x="1560" y="1362"/>
                  </a:lnTo>
                  <a:lnTo>
                    <a:pt x="1557" y="1362"/>
                  </a:lnTo>
                  <a:lnTo>
                    <a:pt x="1557" y="1362"/>
                  </a:lnTo>
                  <a:lnTo>
                    <a:pt x="1557" y="1362"/>
                  </a:lnTo>
                  <a:lnTo>
                    <a:pt x="1562" y="1357"/>
                  </a:lnTo>
                  <a:lnTo>
                    <a:pt x="1571" y="1357"/>
                  </a:lnTo>
                  <a:lnTo>
                    <a:pt x="1569" y="1355"/>
                  </a:lnTo>
                  <a:lnTo>
                    <a:pt x="1569" y="1355"/>
                  </a:lnTo>
                  <a:lnTo>
                    <a:pt x="1569" y="1355"/>
                  </a:lnTo>
                  <a:lnTo>
                    <a:pt x="1567" y="1355"/>
                  </a:lnTo>
                  <a:lnTo>
                    <a:pt x="1567" y="1355"/>
                  </a:lnTo>
                  <a:lnTo>
                    <a:pt x="1567" y="1355"/>
                  </a:lnTo>
                  <a:lnTo>
                    <a:pt x="1564" y="1357"/>
                  </a:lnTo>
                  <a:lnTo>
                    <a:pt x="1564" y="1357"/>
                  </a:lnTo>
                  <a:lnTo>
                    <a:pt x="1564" y="1355"/>
                  </a:lnTo>
                  <a:lnTo>
                    <a:pt x="1564" y="1355"/>
                  </a:lnTo>
                  <a:lnTo>
                    <a:pt x="1564" y="1355"/>
                  </a:lnTo>
                  <a:lnTo>
                    <a:pt x="1564" y="1355"/>
                  </a:lnTo>
                  <a:lnTo>
                    <a:pt x="1562" y="1353"/>
                  </a:lnTo>
                  <a:lnTo>
                    <a:pt x="1562" y="1353"/>
                  </a:lnTo>
                  <a:lnTo>
                    <a:pt x="1564" y="1353"/>
                  </a:lnTo>
                  <a:lnTo>
                    <a:pt x="1564" y="1353"/>
                  </a:lnTo>
                  <a:lnTo>
                    <a:pt x="1562" y="1353"/>
                  </a:lnTo>
                  <a:lnTo>
                    <a:pt x="1562" y="1353"/>
                  </a:lnTo>
                  <a:lnTo>
                    <a:pt x="1564" y="1353"/>
                  </a:lnTo>
                  <a:lnTo>
                    <a:pt x="1564" y="1353"/>
                  </a:lnTo>
                  <a:lnTo>
                    <a:pt x="1567" y="1353"/>
                  </a:lnTo>
                  <a:lnTo>
                    <a:pt x="1579" y="1355"/>
                  </a:lnTo>
                  <a:lnTo>
                    <a:pt x="1576" y="1357"/>
                  </a:lnTo>
                  <a:lnTo>
                    <a:pt x="1574" y="1355"/>
                  </a:lnTo>
                  <a:lnTo>
                    <a:pt x="1571" y="1355"/>
                  </a:lnTo>
                  <a:lnTo>
                    <a:pt x="1574" y="1357"/>
                  </a:lnTo>
                  <a:lnTo>
                    <a:pt x="1574" y="1357"/>
                  </a:lnTo>
                  <a:lnTo>
                    <a:pt x="1574" y="1357"/>
                  </a:lnTo>
                  <a:lnTo>
                    <a:pt x="1576" y="1357"/>
                  </a:lnTo>
                  <a:lnTo>
                    <a:pt x="1576" y="1357"/>
                  </a:lnTo>
                  <a:lnTo>
                    <a:pt x="1579" y="1360"/>
                  </a:lnTo>
                  <a:lnTo>
                    <a:pt x="1576" y="1360"/>
                  </a:lnTo>
                  <a:lnTo>
                    <a:pt x="1576" y="1360"/>
                  </a:lnTo>
                  <a:lnTo>
                    <a:pt x="1579" y="1362"/>
                  </a:lnTo>
                  <a:lnTo>
                    <a:pt x="1579" y="1362"/>
                  </a:lnTo>
                  <a:lnTo>
                    <a:pt x="1583" y="1365"/>
                  </a:lnTo>
                  <a:lnTo>
                    <a:pt x="1583" y="1365"/>
                  </a:lnTo>
                  <a:lnTo>
                    <a:pt x="1579" y="1365"/>
                  </a:lnTo>
                  <a:lnTo>
                    <a:pt x="1579" y="1365"/>
                  </a:lnTo>
                  <a:lnTo>
                    <a:pt x="1579" y="1367"/>
                  </a:lnTo>
                  <a:lnTo>
                    <a:pt x="1581" y="1367"/>
                  </a:lnTo>
                  <a:lnTo>
                    <a:pt x="1583" y="1367"/>
                  </a:lnTo>
                  <a:lnTo>
                    <a:pt x="1581" y="1369"/>
                  </a:lnTo>
                  <a:lnTo>
                    <a:pt x="1581" y="1372"/>
                  </a:lnTo>
                  <a:lnTo>
                    <a:pt x="1583" y="1372"/>
                  </a:lnTo>
                  <a:lnTo>
                    <a:pt x="1586" y="1372"/>
                  </a:lnTo>
                  <a:lnTo>
                    <a:pt x="1588" y="1372"/>
                  </a:lnTo>
                  <a:lnTo>
                    <a:pt x="1586" y="1369"/>
                  </a:lnTo>
                  <a:lnTo>
                    <a:pt x="1588" y="1367"/>
                  </a:lnTo>
                  <a:lnTo>
                    <a:pt x="1588" y="1367"/>
                  </a:lnTo>
                  <a:lnTo>
                    <a:pt x="1588" y="1367"/>
                  </a:lnTo>
                  <a:lnTo>
                    <a:pt x="1588" y="1367"/>
                  </a:lnTo>
                  <a:lnTo>
                    <a:pt x="1590" y="1365"/>
                  </a:lnTo>
                  <a:lnTo>
                    <a:pt x="1590" y="1365"/>
                  </a:lnTo>
                  <a:lnTo>
                    <a:pt x="1590" y="1362"/>
                  </a:lnTo>
                  <a:lnTo>
                    <a:pt x="1590" y="1360"/>
                  </a:lnTo>
                  <a:lnTo>
                    <a:pt x="1590" y="1360"/>
                  </a:lnTo>
                  <a:lnTo>
                    <a:pt x="1590" y="1360"/>
                  </a:lnTo>
                  <a:lnTo>
                    <a:pt x="1590" y="1362"/>
                  </a:lnTo>
                  <a:lnTo>
                    <a:pt x="1590" y="1362"/>
                  </a:lnTo>
                  <a:lnTo>
                    <a:pt x="1593" y="1365"/>
                  </a:lnTo>
                  <a:lnTo>
                    <a:pt x="1590" y="1367"/>
                  </a:lnTo>
                  <a:lnTo>
                    <a:pt x="1590" y="1367"/>
                  </a:lnTo>
                  <a:lnTo>
                    <a:pt x="1590" y="1369"/>
                  </a:lnTo>
                  <a:lnTo>
                    <a:pt x="1590" y="1369"/>
                  </a:lnTo>
                  <a:lnTo>
                    <a:pt x="1590" y="1369"/>
                  </a:lnTo>
                  <a:lnTo>
                    <a:pt x="1590" y="1369"/>
                  </a:lnTo>
                  <a:lnTo>
                    <a:pt x="1590" y="1369"/>
                  </a:lnTo>
                  <a:lnTo>
                    <a:pt x="1590" y="1372"/>
                  </a:lnTo>
                  <a:lnTo>
                    <a:pt x="1593" y="1372"/>
                  </a:lnTo>
                  <a:lnTo>
                    <a:pt x="1593" y="1372"/>
                  </a:lnTo>
                  <a:lnTo>
                    <a:pt x="1593" y="1372"/>
                  </a:lnTo>
                  <a:lnTo>
                    <a:pt x="1593" y="1372"/>
                  </a:lnTo>
                  <a:lnTo>
                    <a:pt x="1593" y="1374"/>
                  </a:lnTo>
                  <a:lnTo>
                    <a:pt x="1593" y="1374"/>
                  </a:lnTo>
                  <a:lnTo>
                    <a:pt x="1593" y="1374"/>
                  </a:lnTo>
                  <a:lnTo>
                    <a:pt x="1593" y="1374"/>
                  </a:lnTo>
                  <a:lnTo>
                    <a:pt x="1593" y="1374"/>
                  </a:lnTo>
                  <a:lnTo>
                    <a:pt x="1593" y="1374"/>
                  </a:lnTo>
                  <a:lnTo>
                    <a:pt x="1593" y="1372"/>
                  </a:lnTo>
                  <a:lnTo>
                    <a:pt x="1590" y="1372"/>
                  </a:lnTo>
                  <a:lnTo>
                    <a:pt x="1590" y="1372"/>
                  </a:lnTo>
                  <a:lnTo>
                    <a:pt x="1590" y="1372"/>
                  </a:lnTo>
                  <a:lnTo>
                    <a:pt x="1590" y="1372"/>
                  </a:lnTo>
                  <a:lnTo>
                    <a:pt x="1590" y="1374"/>
                  </a:lnTo>
                  <a:lnTo>
                    <a:pt x="1590" y="1374"/>
                  </a:lnTo>
                  <a:lnTo>
                    <a:pt x="1590" y="1374"/>
                  </a:lnTo>
                  <a:lnTo>
                    <a:pt x="1590" y="1376"/>
                  </a:lnTo>
                  <a:lnTo>
                    <a:pt x="1590" y="1376"/>
                  </a:lnTo>
                  <a:lnTo>
                    <a:pt x="1590" y="1376"/>
                  </a:lnTo>
                  <a:lnTo>
                    <a:pt x="1590" y="1379"/>
                  </a:lnTo>
                  <a:lnTo>
                    <a:pt x="1590" y="1379"/>
                  </a:lnTo>
                  <a:lnTo>
                    <a:pt x="1593" y="1379"/>
                  </a:lnTo>
                  <a:lnTo>
                    <a:pt x="1593" y="1379"/>
                  </a:lnTo>
                  <a:lnTo>
                    <a:pt x="1593" y="1379"/>
                  </a:lnTo>
                  <a:lnTo>
                    <a:pt x="1593" y="1379"/>
                  </a:lnTo>
                  <a:lnTo>
                    <a:pt x="1593" y="1381"/>
                  </a:lnTo>
                  <a:lnTo>
                    <a:pt x="1595" y="1381"/>
                  </a:lnTo>
                  <a:lnTo>
                    <a:pt x="1597" y="1381"/>
                  </a:lnTo>
                  <a:lnTo>
                    <a:pt x="1600" y="1381"/>
                  </a:lnTo>
                  <a:lnTo>
                    <a:pt x="1600" y="1383"/>
                  </a:lnTo>
                  <a:lnTo>
                    <a:pt x="1600" y="1383"/>
                  </a:lnTo>
                  <a:lnTo>
                    <a:pt x="1602" y="1386"/>
                  </a:lnTo>
                  <a:lnTo>
                    <a:pt x="1602" y="1388"/>
                  </a:lnTo>
                  <a:lnTo>
                    <a:pt x="1605" y="1388"/>
                  </a:lnTo>
                  <a:lnTo>
                    <a:pt x="1605" y="1388"/>
                  </a:lnTo>
                  <a:lnTo>
                    <a:pt x="1605" y="1391"/>
                  </a:lnTo>
                  <a:lnTo>
                    <a:pt x="1605" y="1391"/>
                  </a:lnTo>
                  <a:lnTo>
                    <a:pt x="1605" y="1391"/>
                  </a:lnTo>
                  <a:lnTo>
                    <a:pt x="1605" y="1391"/>
                  </a:lnTo>
                  <a:lnTo>
                    <a:pt x="1602" y="1388"/>
                  </a:lnTo>
                  <a:lnTo>
                    <a:pt x="1602" y="1388"/>
                  </a:lnTo>
                  <a:lnTo>
                    <a:pt x="1602" y="1388"/>
                  </a:lnTo>
                  <a:lnTo>
                    <a:pt x="1602" y="1388"/>
                  </a:lnTo>
                  <a:lnTo>
                    <a:pt x="1602" y="1388"/>
                  </a:lnTo>
                  <a:lnTo>
                    <a:pt x="1602" y="1388"/>
                  </a:lnTo>
                  <a:lnTo>
                    <a:pt x="1602" y="1388"/>
                  </a:lnTo>
                  <a:lnTo>
                    <a:pt x="1602" y="1388"/>
                  </a:lnTo>
                  <a:lnTo>
                    <a:pt x="1602" y="1388"/>
                  </a:lnTo>
                  <a:lnTo>
                    <a:pt x="1602" y="1391"/>
                  </a:lnTo>
                  <a:lnTo>
                    <a:pt x="1605" y="1391"/>
                  </a:lnTo>
                  <a:lnTo>
                    <a:pt x="1605" y="1393"/>
                  </a:lnTo>
                  <a:lnTo>
                    <a:pt x="1605" y="1393"/>
                  </a:lnTo>
                  <a:lnTo>
                    <a:pt x="1605" y="1393"/>
                  </a:lnTo>
                  <a:lnTo>
                    <a:pt x="1607" y="1393"/>
                  </a:lnTo>
                  <a:lnTo>
                    <a:pt x="1607" y="1393"/>
                  </a:lnTo>
                  <a:lnTo>
                    <a:pt x="1609" y="1393"/>
                  </a:lnTo>
                  <a:lnTo>
                    <a:pt x="1609" y="1393"/>
                  </a:lnTo>
                  <a:lnTo>
                    <a:pt x="1609" y="1391"/>
                  </a:lnTo>
                  <a:lnTo>
                    <a:pt x="1609" y="1391"/>
                  </a:lnTo>
                  <a:lnTo>
                    <a:pt x="1612" y="1391"/>
                  </a:lnTo>
                  <a:lnTo>
                    <a:pt x="1612" y="1388"/>
                  </a:lnTo>
                  <a:lnTo>
                    <a:pt x="1614" y="1386"/>
                  </a:lnTo>
                  <a:lnTo>
                    <a:pt x="1614" y="1383"/>
                  </a:lnTo>
                  <a:lnTo>
                    <a:pt x="1614" y="1383"/>
                  </a:lnTo>
                  <a:lnTo>
                    <a:pt x="1616" y="1383"/>
                  </a:lnTo>
                  <a:lnTo>
                    <a:pt x="1616" y="1381"/>
                  </a:lnTo>
                  <a:lnTo>
                    <a:pt x="1616" y="1379"/>
                  </a:lnTo>
                  <a:lnTo>
                    <a:pt x="1616" y="1379"/>
                  </a:lnTo>
                  <a:lnTo>
                    <a:pt x="1616" y="1379"/>
                  </a:lnTo>
                  <a:lnTo>
                    <a:pt x="1616" y="1379"/>
                  </a:lnTo>
                  <a:lnTo>
                    <a:pt x="1619" y="1376"/>
                  </a:lnTo>
                  <a:lnTo>
                    <a:pt x="1621" y="1376"/>
                  </a:lnTo>
                  <a:lnTo>
                    <a:pt x="1626" y="1376"/>
                  </a:lnTo>
                  <a:lnTo>
                    <a:pt x="1628" y="1374"/>
                  </a:lnTo>
                  <a:lnTo>
                    <a:pt x="1628" y="1374"/>
                  </a:lnTo>
                  <a:lnTo>
                    <a:pt x="1628" y="1372"/>
                  </a:lnTo>
                  <a:lnTo>
                    <a:pt x="1628" y="1372"/>
                  </a:lnTo>
                  <a:lnTo>
                    <a:pt x="1628" y="1372"/>
                  </a:lnTo>
                  <a:lnTo>
                    <a:pt x="1628" y="1369"/>
                  </a:lnTo>
                  <a:lnTo>
                    <a:pt x="1628" y="1369"/>
                  </a:lnTo>
                  <a:lnTo>
                    <a:pt x="1628" y="1367"/>
                  </a:lnTo>
                  <a:lnTo>
                    <a:pt x="1631" y="1367"/>
                  </a:lnTo>
                  <a:lnTo>
                    <a:pt x="1631" y="1365"/>
                  </a:lnTo>
                  <a:lnTo>
                    <a:pt x="1631" y="1365"/>
                  </a:lnTo>
                  <a:lnTo>
                    <a:pt x="1631" y="1365"/>
                  </a:lnTo>
                  <a:lnTo>
                    <a:pt x="1631" y="1365"/>
                  </a:lnTo>
                  <a:lnTo>
                    <a:pt x="1638" y="1365"/>
                  </a:lnTo>
                  <a:lnTo>
                    <a:pt x="1635" y="1362"/>
                  </a:lnTo>
                  <a:lnTo>
                    <a:pt x="1635" y="1362"/>
                  </a:lnTo>
                  <a:lnTo>
                    <a:pt x="1635" y="1362"/>
                  </a:lnTo>
                  <a:lnTo>
                    <a:pt x="1635" y="1360"/>
                  </a:lnTo>
                  <a:lnTo>
                    <a:pt x="1635" y="1360"/>
                  </a:lnTo>
                  <a:lnTo>
                    <a:pt x="1635" y="1360"/>
                  </a:lnTo>
                  <a:lnTo>
                    <a:pt x="1635" y="1357"/>
                  </a:lnTo>
                  <a:lnTo>
                    <a:pt x="1638" y="1357"/>
                  </a:lnTo>
                  <a:lnTo>
                    <a:pt x="1638" y="1355"/>
                  </a:lnTo>
                  <a:lnTo>
                    <a:pt x="1638" y="1355"/>
                  </a:lnTo>
                  <a:lnTo>
                    <a:pt x="1638" y="1355"/>
                  </a:lnTo>
                  <a:lnTo>
                    <a:pt x="1638" y="1355"/>
                  </a:lnTo>
                  <a:lnTo>
                    <a:pt x="1638" y="1350"/>
                  </a:lnTo>
                  <a:lnTo>
                    <a:pt x="1638" y="1350"/>
                  </a:lnTo>
                  <a:lnTo>
                    <a:pt x="1638" y="1350"/>
                  </a:lnTo>
                  <a:lnTo>
                    <a:pt x="1638" y="1350"/>
                  </a:lnTo>
                  <a:lnTo>
                    <a:pt x="1638" y="1350"/>
                  </a:lnTo>
                  <a:lnTo>
                    <a:pt x="1638" y="1348"/>
                  </a:lnTo>
                  <a:lnTo>
                    <a:pt x="1638" y="1348"/>
                  </a:lnTo>
                  <a:lnTo>
                    <a:pt x="1638" y="1348"/>
                  </a:lnTo>
                  <a:lnTo>
                    <a:pt x="1638" y="1348"/>
                  </a:lnTo>
                  <a:lnTo>
                    <a:pt x="1638" y="1348"/>
                  </a:lnTo>
                  <a:lnTo>
                    <a:pt x="1640" y="1346"/>
                  </a:lnTo>
                  <a:lnTo>
                    <a:pt x="1640" y="1346"/>
                  </a:lnTo>
                  <a:lnTo>
                    <a:pt x="1640" y="1346"/>
                  </a:lnTo>
                  <a:lnTo>
                    <a:pt x="1642" y="1343"/>
                  </a:lnTo>
                  <a:lnTo>
                    <a:pt x="1645" y="1346"/>
                  </a:lnTo>
                  <a:lnTo>
                    <a:pt x="1647" y="1346"/>
                  </a:lnTo>
                  <a:lnTo>
                    <a:pt x="1647" y="1343"/>
                  </a:lnTo>
                  <a:lnTo>
                    <a:pt x="1647" y="1343"/>
                  </a:lnTo>
                  <a:lnTo>
                    <a:pt x="1647" y="1343"/>
                  </a:lnTo>
                  <a:lnTo>
                    <a:pt x="1650" y="1343"/>
                  </a:lnTo>
                  <a:lnTo>
                    <a:pt x="1650" y="1343"/>
                  </a:lnTo>
                  <a:lnTo>
                    <a:pt x="1650" y="1341"/>
                  </a:lnTo>
                  <a:lnTo>
                    <a:pt x="1650" y="1339"/>
                  </a:lnTo>
                  <a:lnTo>
                    <a:pt x="1650" y="1339"/>
                  </a:lnTo>
                  <a:lnTo>
                    <a:pt x="1650" y="1339"/>
                  </a:lnTo>
                  <a:lnTo>
                    <a:pt x="1650" y="1339"/>
                  </a:lnTo>
                  <a:lnTo>
                    <a:pt x="1652" y="1339"/>
                  </a:lnTo>
                  <a:lnTo>
                    <a:pt x="1652" y="1339"/>
                  </a:lnTo>
                  <a:lnTo>
                    <a:pt x="1652" y="1339"/>
                  </a:lnTo>
                  <a:lnTo>
                    <a:pt x="1652" y="1336"/>
                  </a:lnTo>
                  <a:lnTo>
                    <a:pt x="1652" y="1336"/>
                  </a:lnTo>
                  <a:lnTo>
                    <a:pt x="1652" y="1336"/>
                  </a:lnTo>
                  <a:lnTo>
                    <a:pt x="1652" y="1336"/>
                  </a:lnTo>
                  <a:lnTo>
                    <a:pt x="1652" y="1336"/>
                  </a:lnTo>
                  <a:lnTo>
                    <a:pt x="1652" y="1334"/>
                  </a:lnTo>
                  <a:lnTo>
                    <a:pt x="1652" y="1334"/>
                  </a:lnTo>
                  <a:lnTo>
                    <a:pt x="1652" y="1334"/>
                  </a:lnTo>
                  <a:lnTo>
                    <a:pt x="1652" y="1329"/>
                  </a:lnTo>
                  <a:lnTo>
                    <a:pt x="1652" y="1329"/>
                  </a:lnTo>
                  <a:lnTo>
                    <a:pt x="1652" y="1327"/>
                  </a:lnTo>
                  <a:lnTo>
                    <a:pt x="1652" y="1324"/>
                  </a:lnTo>
                  <a:lnTo>
                    <a:pt x="1652" y="1320"/>
                  </a:lnTo>
                  <a:lnTo>
                    <a:pt x="1652" y="1317"/>
                  </a:lnTo>
                  <a:lnTo>
                    <a:pt x="1652" y="1317"/>
                  </a:lnTo>
                  <a:lnTo>
                    <a:pt x="1652" y="1315"/>
                  </a:lnTo>
                  <a:lnTo>
                    <a:pt x="1652" y="1315"/>
                  </a:lnTo>
                  <a:lnTo>
                    <a:pt x="1652" y="1313"/>
                  </a:lnTo>
                  <a:lnTo>
                    <a:pt x="1650" y="1310"/>
                  </a:lnTo>
                  <a:lnTo>
                    <a:pt x="1650" y="1308"/>
                  </a:lnTo>
                  <a:lnTo>
                    <a:pt x="1650" y="1308"/>
                  </a:lnTo>
                  <a:lnTo>
                    <a:pt x="1650" y="1308"/>
                  </a:lnTo>
                  <a:lnTo>
                    <a:pt x="1647" y="1308"/>
                  </a:lnTo>
                  <a:lnTo>
                    <a:pt x="1647" y="1305"/>
                  </a:lnTo>
                  <a:lnTo>
                    <a:pt x="1647" y="1303"/>
                  </a:lnTo>
                  <a:lnTo>
                    <a:pt x="1645" y="1301"/>
                  </a:lnTo>
                  <a:lnTo>
                    <a:pt x="1640" y="1301"/>
                  </a:lnTo>
                  <a:lnTo>
                    <a:pt x="1640" y="1298"/>
                  </a:lnTo>
                  <a:lnTo>
                    <a:pt x="1638" y="1296"/>
                  </a:lnTo>
                  <a:lnTo>
                    <a:pt x="1638" y="1296"/>
                  </a:lnTo>
                  <a:lnTo>
                    <a:pt x="1635" y="1296"/>
                  </a:lnTo>
                  <a:lnTo>
                    <a:pt x="1635" y="1294"/>
                  </a:lnTo>
                  <a:lnTo>
                    <a:pt x="1633" y="1294"/>
                  </a:lnTo>
                  <a:lnTo>
                    <a:pt x="1633" y="1294"/>
                  </a:lnTo>
                  <a:lnTo>
                    <a:pt x="1633" y="1294"/>
                  </a:lnTo>
                  <a:lnTo>
                    <a:pt x="1633" y="1291"/>
                  </a:lnTo>
                  <a:lnTo>
                    <a:pt x="1633" y="1291"/>
                  </a:lnTo>
                  <a:lnTo>
                    <a:pt x="1633" y="1291"/>
                  </a:lnTo>
                  <a:lnTo>
                    <a:pt x="1631" y="1291"/>
                  </a:lnTo>
                  <a:lnTo>
                    <a:pt x="1631" y="1291"/>
                  </a:lnTo>
                  <a:lnTo>
                    <a:pt x="1631" y="1291"/>
                  </a:lnTo>
                  <a:lnTo>
                    <a:pt x="1631" y="1289"/>
                  </a:lnTo>
                  <a:lnTo>
                    <a:pt x="1631" y="1289"/>
                  </a:lnTo>
                  <a:lnTo>
                    <a:pt x="1628" y="1289"/>
                  </a:lnTo>
                  <a:lnTo>
                    <a:pt x="1628" y="1289"/>
                  </a:lnTo>
                  <a:lnTo>
                    <a:pt x="1628" y="1289"/>
                  </a:lnTo>
                  <a:lnTo>
                    <a:pt x="1626" y="1286"/>
                  </a:lnTo>
                  <a:lnTo>
                    <a:pt x="1626" y="1286"/>
                  </a:lnTo>
                  <a:lnTo>
                    <a:pt x="1626" y="1286"/>
                  </a:lnTo>
                  <a:lnTo>
                    <a:pt x="1626" y="1284"/>
                  </a:lnTo>
                  <a:lnTo>
                    <a:pt x="1623" y="1284"/>
                  </a:lnTo>
                  <a:lnTo>
                    <a:pt x="1623" y="1284"/>
                  </a:lnTo>
                  <a:lnTo>
                    <a:pt x="1623" y="1284"/>
                  </a:lnTo>
                  <a:lnTo>
                    <a:pt x="1623" y="1284"/>
                  </a:lnTo>
                  <a:lnTo>
                    <a:pt x="1623" y="1282"/>
                  </a:lnTo>
                  <a:lnTo>
                    <a:pt x="1623" y="1282"/>
                  </a:lnTo>
                  <a:lnTo>
                    <a:pt x="1623" y="1282"/>
                  </a:lnTo>
                  <a:lnTo>
                    <a:pt x="1623" y="1282"/>
                  </a:lnTo>
                  <a:lnTo>
                    <a:pt x="1623" y="1279"/>
                  </a:lnTo>
                  <a:lnTo>
                    <a:pt x="1623" y="1279"/>
                  </a:lnTo>
                  <a:lnTo>
                    <a:pt x="1623" y="1279"/>
                  </a:lnTo>
                  <a:lnTo>
                    <a:pt x="1623" y="1277"/>
                  </a:lnTo>
                  <a:lnTo>
                    <a:pt x="1623" y="1277"/>
                  </a:lnTo>
                  <a:lnTo>
                    <a:pt x="1623" y="1277"/>
                  </a:lnTo>
                  <a:lnTo>
                    <a:pt x="1623" y="1277"/>
                  </a:lnTo>
                  <a:lnTo>
                    <a:pt x="1623" y="1277"/>
                  </a:lnTo>
                  <a:lnTo>
                    <a:pt x="1623" y="1275"/>
                  </a:lnTo>
                  <a:lnTo>
                    <a:pt x="1623" y="1275"/>
                  </a:lnTo>
                  <a:lnTo>
                    <a:pt x="1623" y="1275"/>
                  </a:lnTo>
                  <a:lnTo>
                    <a:pt x="1623" y="1272"/>
                  </a:lnTo>
                  <a:lnTo>
                    <a:pt x="1623" y="1272"/>
                  </a:lnTo>
                  <a:lnTo>
                    <a:pt x="1623" y="1272"/>
                  </a:lnTo>
                  <a:lnTo>
                    <a:pt x="1626" y="1272"/>
                  </a:lnTo>
                  <a:lnTo>
                    <a:pt x="1626" y="1268"/>
                  </a:lnTo>
                  <a:lnTo>
                    <a:pt x="1626" y="1265"/>
                  </a:lnTo>
                  <a:lnTo>
                    <a:pt x="1623" y="1265"/>
                  </a:lnTo>
                  <a:lnTo>
                    <a:pt x="1623" y="1265"/>
                  </a:lnTo>
                  <a:lnTo>
                    <a:pt x="1623" y="1265"/>
                  </a:lnTo>
                  <a:lnTo>
                    <a:pt x="1623" y="1268"/>
                  </a:lnTo>
                  <a:lnTo>
                    <a:pt x="1623" y="1268"/>
                  </a:lnTo>
                  <a:lnTo>
                    <a:pt x="1623" y="1268"/>
                  </a:lnTo>
                  <a:lnTo>
                    <a:pt x="1623" y="1268"/>
                  </a:lnTo>
                  <a:lnTo>
                    <a:pt x="1623" y="1270"/>
                  </a:lnTo>
                  <a:lnTo>
                    <a:pt x="1623" y="1270"/>
                  </a:lnTo>
                  <a:lnTo>
                    <a:pt x="1623" y="1270"/>
                  </a:lnTo>
                  <a:lnTo>
                    <a:pt x="1623" y="1270"/>
                  </a:lnTo>
                  <a:lnTo>
                    <a:pt x="1621" y="1272"/>
                  </a:lnTo>
                  <a:lnTo>
                    <a:pt x="1621" y="1272"/>
                  </a:lnTo>
                  <a:lnTo>
                    <a:pt x="1621" y="1272"/>
                  </a:lnTo>
                  <a:lnTo>
                    <a:pt x="1616" y="1272"/>
                  </a:lnTo>
                  <a:lnTo>
                    <a:pt x="1616" y="1270"/>
                  </a:lnTo>
                  <a:lnTo>
                    <a:pt x="1616" y="1270"/>
                  </a:lnTo>
                  <a:lnTo>
                    <a:pt x="1616" y="1270"/>
                  </a:lnTo>
                  <a:lnTo>
                    <a:pt x="1616" y="1265"/>
                  </a:lnTo>
                  <a:lnTo>
                    <a:pt x="1619" y="1265"/>
                  </a:lnTo>
                  <a:lnTo>
                    <a:pt x="1619" y="1263"/>
                  </a:lnTo>
                  <a:lnTo>
                    <a:pt x="1616" y="1260"/>
                  </a:lnTo>
                  <a:lnTo>
                    <a:pt x="1616" y="1263"/>
                  </a:lnTo>
                  <a:lnTo>
                    <a:pt x="1614" y="1263"/>
                  </a:lnTo>
                  <a:lnTo>
                    <a:pt x="1614" y="1263"/>
                  </a:lnTo>
                  <a:lnTo>
                    <a:pt x="1614" y="1263"/>
                  </a:lnTo>
                  <a:lnTo>
                    <a:pt x="1612" y="1263"/>
                  </a:lnTo>
                  <a:lnTo>
                    <a:pt x="1612" y="1260"/>
                  </a:lnTo>
                  <a:lnTo>
                    <a:pt x="1612" y="1260"/>
                  </a:lnTo>
                  <a:lnTo>
                    <a:pt x="1614" y="1260"/>
                  </a:lnTo>
                  <a:lnTo>
                    <a:pt x="1614" y="1258"/>
                  </a:lnTo>
                  <a:lnTo>
                    <a:pt x="1614" y="1258"/>
                  </a:lnTo>
                  <a:lnTo>
                    <a:pt x="1612" y="1256"/>
                  </a:lnTo>
                  <a:lnTo>
                    <a:pt x="1612" y="1256"/>
                  </a:lnTo>
                  <a:lnTo>
                    <a:pt x="1612" y="1256"/>
                  </a:lnTo>
                  <a:lnTo>
                    <a:pt x="1609" y="1253"/>
                  </a:lnTo>
                  <a:lnTo>
                    <a:pt x="1609" y="1253"/>
                  </a:lnTo>
                  <a:lnTo>
                    <a:pt x="1607" y="1256"/>
                  </a:lnTo>
                  <a:lnTo>
                    <a:pt x="1607" y="1256"/>
                  </a:lnTo>
                  <a:lnTo>
                    <a:pt x="1607" y="1256"/>
                  </a:lnTo>
                  <a:lnTo>
                    <a:pt x="1607" y="1253"/>
                  </a:lnTo>
                  <a:lnTo>
                    <a:pt x="1607" y="1253"/>
                  </a:lnTo>
                  <a:lnTo>
                    <a:pt x="1607" y="1253"/>
                  </a:lnTo>
                  <a:lnTo>
                    <a:pt x="1607" y="1253"/>
                  </a:lnTo>
                  <a:lnTo>
                    <a:pt x="1607" y="1253"/>
                  </a:lnTo>
                  <a:lnTo>
                    <a:pt x="1609" y="1253"/>
                  </a:lnTo>
                  <a:lnTo>
                    <a:pt x="1609" y="1251"/>
                  </a:lnTo>
                  <a:lnTo>
                    <a:pt x="1609" y="1251"/>
                  </a:lnTo>
                  <a:lnTo>
                    <a:pt x="1609" y="1251"/>
                  </a:lnTo>
                  <a:lnTo>
                    <a:pt x="1607" y="1251"/>
                  </a:lnTo>
                  <a:lnTo>
                    <a:pt x="1607" y="1249"/>
                  </a:lnTo>
                  <a:lnTo>
                    <a:pt x="1607" y="1249"/>
                  </a:lnTo>
                  <a:lnTo>
                    <a:pt x="1607" y="1249"/>
                  </a:lnTo>
                  <a:lnTo>
                    <a:pt x="1607" y="1249"/>
                  </a:lnTo>
                  <a:lnTo>
                    <a:pt x="1607" y="1249"/>
                  </a:lnTo>
                  <a:lnTo>
                    <a:pt x="1607" y="1246"/>
                  </a:lnTo>
                  <a:lnTo>
                    <a:pt x="1607" y="1246"/>
                  </a:lnTo>
                  <a:lnTo>
                    <a:pt x="1609" y="1249"/>
                  </a:lnTo>
                  <a:lnTo>
                    <a:pt x="1612" y="1251"/>
                  </a:lnTo>
                  <a:lnTo>
                    <a:pt x="1616" y="1251"/>
                  </a:lnTo>
                  <a:lnTo>
                    <a:pt x="1616" y="1251"/>
                  </a:lnTo>
                  <a:lnTo>
                    <a:pt x="1616" y="1249"/>
                  </a:lnTo>
                  <a:lnTo>
                    <a:pt x="1616" y="1249"/>
                  </a:lnTo>
                  <a:lnTo>
                    <a:pt x="1616" y="1249"/>
                  </a:lnTo>
                  <a:lnTo>
                    <a:pt x="1616" y="1246"/>
                  </a:lnTo>
                  <a:lnTo>
                    <a:pt x="1614" y="1246"/>
                  </a:lnTo>
                  <a:lnTo>
                    <a:pt x="1614" y="1246"/>
                  </a:lnTo>
                  <a:lnTo>
                    <a:pt x="1614" y="1246"/>
                  </a:lnTo>
                  <a:lnTo>
                    <a:pt x="1616" y="1246"/>
                  </a:lnTo>
                  <a:lnTo>
                    <a:pt x="1619" y="1246"/>
                  </a:lnTo>
                  <a:lnTo>
                    <a:pt x="1619" y="1246"/>
                  </a:lnTo>
                  <a:lnTo>
                    <a:pt x="1619" y="1246"/>
                  </a:lnTo>
                  <a:lnTo>
                    <a:pt x="1621" y="1251"/>
                  </a:lnTo>
                  <a:lnTo>
                    <a:pt x="1621" y="1251"/>
                  </a:lnTo>
                  <a:lnTo>
                    <a:pt x="1623" y="1251"/>
                  </a:lnTo>
                  <a:lnTo>
                    <a:pt x="1623" y="1251"/>
                  </a:lnTo>
                  <a:lnTo>
                    <a:pt x="1623" y="1249"/>
                  </a:lnTo>
                  <a:lnTo>
                    <a:pt x="1626" y="1249"/>
                  </a:lnTo>
                  <a:lnTo>
                    <a:pt x="1626" y="1249"/>
                  </a:lnTo>
                  <a:lnTo>
                    <a:pt x="1626" y="1249"/>
                  </a:lnTo>
                  <a:lnTo>
                    <a:pt x="1626" y="1246"/>
                  </a:lnTo>
                  <a:lnTo>
                    <a:pt x="1626" y="1246"/>
                  </a:lnTo>
                  <a:lnTo>
                    <a:pt x="1626" y="1244"/>
                  </a:lnTo>
                  <a:lnTo>
                    <a:pt x="1626" y="1244"/>
                  </a:lnTo>
                  <a:lnTo>
                    <a:pt x="1626" y="1244"/>
                  </a:lnTo>
                  <a:lnTo>
                    <a:pt x="1628" y="1244"/>
                  </a:lnTo>
                  <a:lnTo>
                    <a:pt x="1631" y="1244"/>
                  </a:lnTo>
                  <a:lnTo>
                    <a:pt x="1631" y="1244"/>
                  </a:lnTo>
                  <a:lnTo>
                    <a:pt x="1633" y="1239"/>
                  </a:lnTo>
                  <a:lnTo>
                    <a:pt x="1633" y="1239"/>
                  </a:lnTo>
                  <a:lnTo>
                    <a:pt x="1635" y="1239"/>
                  </a:lnTo>
                  <a:lnTo>
                    <a:pt x="1635" y="1237"/>
                  </a:lnTo>
                  <a:lnTo>
                    <a:pt x="1635" y="1237"/>
                  </a:lnTo>
                  <a:lnTo>
                    <a:pt x="1638" y="1234"/>
                  </a:lnTo>
                  <a:lnTo>
                    <a:pt x="1638" y="1234"/>
                  </a:lnTo>
                  <a:lnTo>
                    <a:pt x="1638" y="1232"/>
                  </a:lnTo>
                  <a:lnTo>
                    <a:pt x="1638" y="1232"/>
                  </a:lnTo>
                  <a:lnTo>
                    <a:pt x="1638" y="1232"/>
                  </a:lnTo>
                  <a:lnTo>
                    <a:pt x="1638" y="1232"/>
                  </a:lnTo>
                  <a:lnTo>
                    <a:pt x="1638" y="1230"/>
                  </a:lnTo>
                  <a:lnTo>
                    <a:pt x="1638" y="1227"/>
                  </a:lnTo>
                  <a:lnTo>
                    <a:pt x="1638" y="1227"/>
                  </a:lnTo>
                  <a:lnTo>
                    <a:pt x="1638" y="1225"/>
                  </a:lnTo>
                  <a:lnTo>
                    <a:pt x="1638" y="1225"/>
                  </a:lnTo>
                  <a:lnTo>
                    <a:pt x="1638" y="1225"/>
                  </a:lnTo>
                  <a:lnTo>
                    <a:pt x="1635" y="1225"/>
                  </a:lnTo>
                  <a:lnTo>
                    <a:pt x="1635" y="1225"/>
                  </a:lnTo>
                  <a:lnTo>
                    <a:pt x="1635" y="1223"/>
                  </a:lnTo>
                  <a:lnTo>
                    <a:pt x="1635" y="1223"/>
                  </a:lnTo>
                  <a:lnTo>
                    <a:pt x="1635" y="1223"/>
                  </a:lnTo>
                  <a:lnTo>
                    <a:pt x="1633" y="1220"/>
                  </a:lnTo>
                  <a:lnTo>
                    <a:pt x="1633" y="1220"/>
                  </a:lnTo>
                  <a:lnTo>
                    <a:pt x="1633" y="1220"/>
                  </a:lnTo>
                  <a:lnTo>
                    <a:pt x="1631" y="1220"/>
                  </a:lnTo>
                  <a:lnTo>
                    <a:pt x="1631" y="1220"/>
                  </a:lnTo>
                  <a:lnTo>
                    <a:pt x="1631" y="1220"/>
                  </a:lnTo>
                  <a:lnTo>
                    <a:pt x="1631" y="1220"/>
                  </a:lnTo>
                  <a:lnTo>
                    <a:pt x="1631" y="1220"/>
                  </a:lnTo>
                  <a:lnTo>
                    <a:pt x="1628" y="1220"/>
                  </a:lnTo>
                  <a:lnTo>
                    <a:pt x="1628" y="1223"/>
                  </a:lnTo>
                  <a:lnTo>
                    <a:pt x="1628" y="1223"/>
                  </a:lnTo>
                  <a:lnTo>
                    <a:pt x="1628" y="1223"/>
                  </a:lnTo>
                  <a:lnTo>
                    <a:pt x="1628" y="1223"/>
                  </a:lnTo>
                  <a:lnTo>
                    <a:pt x="1628" y="1223"/>
                  </a:lnTo>
                  <a:lnTo>
                    <a:pt x="1628" y="1223"/>
                  </a:lnTo>
                  <a:lnTo>
                    <a:pt x="1628" y="1220"/>
                  </a:lnTo>
                  <a:lnTo>
                    <a:pt x="1628" y="1220"/>
                  </a:lnTo>
                  <a:lnTo>
                    <a:pt x="1628" y="1220"/>
                  </a:lnTo>
                  <a:lnTo>
                    <a:pt x="1628" y="1220"/>
                  </a:lnTo>
                  <a:lnTo>
                    <a:pt x="1626" y="1220"/>
                  </a:lnTo>
                  <a:lnTo>
                    <a:pt x="1626" y="1220"/>
                  </a:lnTo>
                  <a:lnTo>
                    <a:pt x="1626" y="1220"/>
                  </a:lnTo>
                  <a:lnTo>
                    <a:pt x="1626" y="1218"/>
                  </a:lnTo>
                  <a:lnTo>
                    <a:pt x="1626" y="1218"/>
                  </a:lnTo>
                  <a:lnTo>
                    <a:pt x="1623" y="1218"/>
                  </a:lnTo>
                  <a:lnTo>
                    <a:pt x="1623" y="1218"/>
                  </a:lnTo>
                  <a:lnTo>
                    <a:pt x="1623" y="1218"/>
                  </a:lnTo>
                  <a:lnTo>
                    <a:pt x="1621" y="1218"/>
                  </a:lnTo>
                  <a:lnTo>
                    <a:pt x="1621" y="1218"/>
                  </a:lnTo>
                  <a:lnTo>
                    <a:pt x="1621" y="1218"/>
                  </a:lnTo>
                  <a:lnTo>
                    <a:pt x="1621" y="1218"/>
                  </a:lnTo>
                  <a:lnTo>
                    <a:pt x="1621" y="1218"/>
                  </a:lnTo>
                  <a:lnTo>
                    <a:pt x="1621" y="1220"/>
                  </a:lnTo>
                  <a:lnTo>
                    <a:pt x="1616" y="1223"/>
                  </a:lnTo>
                  <a:lnTo>
                    <a:pt x="1616" y="1220"/>
                  </a:lnTo>
                  <a:lnTo>
                    <a:pt x="1619" y="1218"/>
                  </a:lnTo>
                  <a:lnTo>
                    <a:pt x="1623" y="1216"/>
                  </a:lnTo>
                  <a:lnTo>
                    <a:pt x="1623" y="1216"/>
                  </a:lnTo>
                  <a:lnTo>
                    <a:pt x="1623" y="1216"/>
                  </a:lnTo>
                  <a:lnTo>
                    <a:pt x="1623" y="1213"/>
                  </a:lnTo>
                  <a:lnTo>
                    <a:pt x="1623" y="1213"/>
                  </a:lnTo>
                  <a:lnTo>
                    <a:pt x="1623" y="1213"/>
                  </a:lnTo>
                  <a:lnTo>
                    <a:pt x="1623" y="1213"/>
                  </a:lnTo>
                  <a:lnTo>
                    <a:pt x="1623" y="1213"/>
                  </a:lnTo>
                  <a:lnTo>
                    <a:pt x="1626" y="1213"/>
                  </a:lnTo>
                  <a:lnTo>
                    <a:pt x="1626" y="1213"/>
                  </a:lnTo>
                  <a:lnTo>
                    <a:pt x="1626" y="1211"/>
                  </a:lnTo>
                  <a:lnTo>
                    <a:pt x="1626" y="1211"/>
                  </a:lnTo>
                  <a:lnTo>
                    <a:pt x="1628" y="1206"/>
                  </a:lnTo>
                  <a:lnTo>
                    <a:pt x="1628" y="1206"/>
                  </a:lnTo>
                  <a:lnTo>
                    <a:pt x="1628" y="1206"/>
                  </a:lnTo>
                  <a:lnTo>
                    <a:pt x="1631" y="1204"/>
                  </a:lnTo>
                  <a:lnTo>
                    <a:pt x="1631" y="1204"/>
                  </a:lnTo>
                  <a:lnTo>
                    <a:pt x="1633" y="1204"/>
                  </a:lnTo>
                  <a:lnTo>
                    <a:pt x="1633" y="1204"/>
                  </a:lnTo>
                  <a:lnTo>
                    <a:pt x="1633" y="1204"/>
                  </a:lnTo>
                  <a:lnTo>
                    <a:pt x="1631" y="1201"/>
                  </a:lnTo>
                  <a:lnTo>
                    <a:pt x="1631" y="1201"/>
                  </a:lnTo>
                  <a:lnTo>
                    <a:pt x="1631" y="1199"/>
                  </a:lnTo>
                  <a:lnTo>
                    <a:pt x="1631" y="1197"/>
                  </a:lnTo>
                  <a:lnTo>
                    <a:pt x="1628" y="1197"/>
                  </a:lnTo>
                  <a:lnTo>
                    <a:pt x="1628" y="1197"/>
                  </a:lnTo>
                  <a:lnTo>
                    <a:pt x="1628" y="1197"/>
                  </a:lnTo>
                  <a:lnTo>
                    <a:pt x="1626" y="1197"/>
                  </a:lnTo>
                  <a:lnTo>
                    <a:pt x="1626" y="1197"/>
                  </a:lnTo>
                  <a:lnTo>
                    <a:pt x="1621" y="1194"/>
                  </a:lnTo>
                  <a:lnTo>
                    <a:pt x="1619" y="1194"/>
                  </a:lnTo>
                  <a:lnTo>
                    <a:pt x="1614" y="1194"/>
                  </a:lnTo>
                  <a:lnTo>
                    <a:pt x="1612" y="1194"/>
                  </a:lnTo>
                  <a:lnTo>
                    <a:pt x="1612" y="1197"/>
                  </a:lnTo>
                  <a:lnTo>
                    <a:pt x="1612" y="1197"/>
                  </a:lnTo>
                  <a:lnTo>
                    <a:pt x="1612" y="1197"/>
                  </a:lnTo>
                  <a:lnTo>
                    <a:pt x="1607" y="1199"/>
                  </a:lnTo>
                  <a:lnTo>
                    <a:pt x="1607" y="1199"/>
                  </a:lnTo>
                  <a:lnTo>
                    <a:pt x="1607" y="1197"/>
                  </a:lnTo>
                  <a:lnTo>
                    <a:pt x="1607" y="1197"/>
                  </a:lnTo>
                  <a:lnTo>
                    <a:pt x="1607" y="1197"/>
                  </a:lnTo>
                  <a:lnTo>
                    <a:pt x="1607" y="1194"/>
                  </a:lnTo>
                  <a:lnTo>
                    <a:pt x="1607" y="1194"/>
                  </a:lnTo>
                  <a:lnTo>
                    <a:pt x="1609" y="1194"/>
                  </a:lnTo>
                  <a:lnTo>
                    <a:pt x="1609" y="1194"/>
                  </a:lnTo>
                  <a:lnTo>
                    <a:pt x="1609" y="1192"/>
                  </a:lnTo>
                  <a:lnTo>
                    <a:pt x="1607" y="1192"/>
                  </a:lnTo>
                  <a:lnTo>
                    <a:pt x="1607" y="1192"/>
                  </a:lnTo>
                  <a:lnTo>
                    <a:pt x="1605" y="1189"/>
                  </a:lnTo>
                  <a:lnTo>
                    <a:pt x="1602" y="1187"/>
                  </a:lnTo>
                  <a:lnTo>
                    <a:pt x="1602" y="1187"/>
                  </a:lnTo>
                  <a:lnTo>
                    <a:pt x="1602" y="1187"/>
                  </a:lnTo>
                  <a:lnTo>
                    <a:pt x="1605" y="1187"/>
                  </a:lnTo>
                  <a:lnTo>
                    <a:pt x="1607" y="1187"/>
                  </a:lnTo>
                  <a:lnTo>
                    <a:pt x="1605" y="1187"/>
                  </a:lnTo>
                  <a:lnTo>
                    <a:pt x="1605" y="1187"/>
                  </a:lnTo>
                  <a:lnTo>
                    <a:pt x="1593" y="1185"/>
                  </a:lnTo>
                  <a:lnTo>
                    <a:pt x="1581" y="1182"/>
                  </a:lnTo>
                  <a:lnTo>
                    <a:pt x="1579" y="1182"/>
                  </a:lnTo>
                  <a:lnTo>
                    <a:pt x="1579" y="1182"/>
                  </a:lnTo>
                  <a:lnTo>
                    <a:pt x="1579" y="1180"/>
                  </a:lnTo>
                  <a:lnTo>
                    <a:pt x="1579" y="1180"/>
                  </a:lnTo>
                  <a:lnTo>
                    <a:pt x="1581" y="1180"/>
                  </a:lnTo>
                  <a:lnTo>
                    <a:pt x="1588" y="1180"/>
                  </a:lnTo>
                  <a:lnTo>
                    <a:pt x="1597" y="1182"/>
                  </a:lnTo>
                  <a:lnTo>
                    <a:pt x="1600" y="1180"/>
                  </a:lnTo>
                  <a:lnTo>
                    <a:pt x="1595" y="1178"/>
                  </a:lnTo>
                  <a:lnTo>
                    <a:pt x="1595" y="1178"/>
                  </a:lnTo>
                  <a:lnTo>
                    <a:pt x="1595" y="1178"/>
                  </a:lnTo>
                  <a:lnTo>
                    <a:pt x="1593" y="1178"/>
                  </a:lnTo>
                  <a:lnTo>
                    <a:pt x="1595" y="1175"/>
                  </a:lnTo>
                  <a:lnTo>
                    <a:pt x="1595" y="1175"/>
                  </a:lnTo>
                  <a:lnTo>
                    <a:pt x="1593" y="1173"/>
                  </a:lnTo>
                  <a:lnTo>
                    <a:pt x="1593" y="1173"/>
                  </a:lnTo>
                  <a:lnTo>
                    <a:pt x="1595" y="1173"/>
                  </a:lnTo>
                  <a:lnTo>
                    <a:pt x="1595" y="1173"/>
                  </a:lnTo>
                  <a:lnTo>
                    <a:pt x="1595" y="1173"/>
                  </a:lnTo>
                  <a:lnTo>
                    <a:pt x="1595" y="1173"/>
                  </a:lnTo>
                  <a:lnTo>
                    <a:pt x="1595" y="1173"/>
                  </a:lnTo>
                  <a:lnTo>
                    <a:pt x="1595" y="1173"/>
                  </a:lnTo>
                  <a:lnTo>
                    <a:pt x="1597" y="1171"/>
                  </a:lnTo>
                  <a:lnTo>
                    <a:pt x="1600" y="1173"/>
                  </a:lnTo>
                  <a:lnTo>
                    <a:pt x="1600" y="1173"/>
                  </a:lnTo>
                  <a:lnTo>
                    <a:pt x="1602" y="1171"/>
                  </a:lnTo>
                  <a:lnTo>
                    <a:pt x="1600" y="1171"/>
                  </a:lnTo>
                  <a:lnTo>
                    <a:pt x="1595" y="1171"/>
                  </a:lnTo>
                  <a:lnTo>
                    <a:pt x="1595" y="1168"/>
                  </a:lnTo>
                  <a:lnTo>
                    <a:pt x="1595" y="1168"/>
                  </a:lnTo>
                  <a:lnTo>
                    <a:pt x="1595" y="1168"/>
                  </a:lnTo>
                  <a:lnTo>
                    <a:pt x="1593" y="1168"/>
                  </a:lnTo>
                  <a:lnTo>
                    <a:pt x="1593" y="1168"/>
                  </a:lnTo>
                  <a:lnTo>
                    <a:pt x="1593" y="1168"/>
                  </a:lnTo>
                  <a:lnTo>
                    <a:pt x="1593" y="1168"/>
                  </a:lnTo>
                  <a:lnTo>
                    <a:pt x="1593" y="1168"/>
                  </a:lnTo>
                  <a:lnTo>
                    <a:pt x="1593" y="1168"/>
                  </a:lnTo>
                  <a:lnTo>
                    <a:pt x="1593" y="1171"/>
                  </a:lnTo>
                  <a:lnTo>
                    <a:pt x="1586" y="1171"/>
                  </a:lnTo>
                  <a:lnTo>
                    <a:pt x="1583" y="1171"/>
                  </a:lnTo>
                  <a:lnTo>
                    <a:pt x="1579" y="1171"/>
                  </a:lnTo>
                  <a:lnTo>
                    <a:pt x="1579" y="1171"/>
                  </a:lnTo>
                  <a:lnTo>
                    <a:pt x="1576" y="1173"/>
                  </a:lnTo>
                  <a:lnTo>
                    <a:pt x="1576" y="1173"/>
                  </a:lnTo>
                  <a:lnTo>
                    <a:pt x="1574" y="1171"/>
                  </a:lnTo>
                  <a:lnTo>
                    <a:pt x="1574" y="1173"/>
                  </a:lnTo>
                  <a:lnTo>
                    <a:pt x="1569" y="1171"/>
                  </a:lnTo>
                  <a:lnTo>
                    <a:pt x="1567" y="1171"/>
                  </a:lnTo>
                  <a:lnTo>
                    <a:pt x="1567" y="1171"/>
                  </a:lnTo>
                  <a:lnTo>
                    <a:pt x="1564" y="1171"/>
                  </a:lnTo>
                  <a:lnTo>
                    <a:pt x="1560" y="1168"/>
                  </a:lnTo>
                  <a:lnTo>
                    <a:pt x="1555" y="1166"/>
                  </a:lnTo>
                  <a:lnTo>
                    <a:pt x="1552" y="1163"/>
                  </a:lnTo>
                  <a:lnTo>
                    <a:pt x="1552" y="1166"/>
                  </a:lnTo>
                  <a:lnTo>
                    <a:pt x="1552" y="1166"/>
                  </a:lnTo>
                  <a:lnTo>
                    <a:pt x="1552" y="1163"/>
                  </a:lnTo>
                  <a:lnTo>
                    <a:pt x="1552" y="1163"/>
                  </a:lnTo>
                  <a:lnTo>
                    <a:pt x="1552" y="1163"/>
                  </a:lnTo>
                  <a:lnTo>
                    <a:pt x="1550" y="1163"/>
                  </a:lnTo>
                  <a:lnTo>
                    <a:pt x="1543" y="1166"/>
                  </a:lnTo>
                  <a:lnTo>
                    <a:pt x="1543" y="1166"/>
                  </a:lnTo>
                  <a:lnTo>
                    <a:pt x="1541" y="1166"/>
                  </a:lnTo>
                  <a:lnTo>
                    <a:pt x="1538" y="1166"/>
                  </a:lnTo>
                  <a:lnTo>
                    <a:pt x="1538" y="1166"/>
                  </a:lnTo>
                  <a:lnTo>
                    <a:pt x="1538" y="1166"/>
                  </a:lnTo>
                  <a:lnTo>
                    <a:pt x="1538" y="1166"/>
                  </a:lnTo>
                  <a:lnTo>
                    <a:pt x="1538" y="1168"/>
                  </a:lnTo>
                  <a:lnTo>
                    <a:pt x="1538" y="1168"/>
                  </a:lnTo>
                  <a:lnTo>
                    <a:pt x="1536" y="1168"/>
                  </a:lnTo>
                  <a:lnTo>
                    <a:pt x="1534" y="1171"/>
                  </a:lnTo>
                  <a:lnTo>
                    <a:pt x="1536" y="1171"/>
                  </a:lnTo>
                  <a:lnTo>
                    <a:pt x="1534" y="1171"/>
                  </a:lnTo>
                  <a:lnTo>
                    <a:pt x="1531" y="1171"/>
                  </a:lnTo>
                  <a:lnTo>
                    <a:pt x="1529" y="1168"/>
                  </a:lnTo>
                  <a:lnTo>
                    <a:pt x="1526" y="1168"/>
                  </a:lnTo>
                  <a:lnTo>
                    <a:pt x="1522" y="1168"/>
                  </a:lnTo>
                  <a:lnTo>
                    <a:pt x="1522" y="1168"/>
                  </a:lnTo>
                  <a:lnTo>
                    <a:pt x="1522" y="1168"/>
                  </a:lnTo>
                  <a:lnTo>
                    <a:pt x="1526" y="1168"/>
                  </a:lnTo>
                  <a:lnTo>
                    <a:pt x="1526" y="1171"/>
                  </a:lnTo>
                  <a:lnTo>
                    <a:pt x="1529" y="1171"/>
                  </a:lnTo>
                  <a:lnTo>
                    <a:pt x="1529" y="1171"/>
                  </a:lnTo>
                  <a:lnTo>
                    <a:pt x="1529" y="1173"/>
                  </a:lnTo>
                  <a:lnTo>
                    <a:pt x="1529" y="1173"/>
                  </a:lnTo>
                  <a:lnTo>
                    <a:pt x="1526" y="1173"/>
                  </a:lnTo>
                  <a:lnTo>
                    <a:pt x="1526" y="1173"/>
                  </a:lnTo>
                  <a:lnTo>
                    <a:pt x="1526" y="1173"/>
                  </a:lnTo>
                  <a:lnTo>
                    <a:pt x="1526" y="1173"/>
                  </a:lnTo>
                  <a:lnTo>
                    <a:pt x="1526" y="1173"/>
                  </a:lnTo>
                  <a:lnTo>
                    <a:pt x="1524" y="1173"/>
                  </a:lnTo>
                  <a:lnTo>
                    <a:pt x="1524" y="1175"/>
                  </a:lnTo>
                  <a:lnTo>
                    <a:pt x="1526" y="1175"/>
                  </a:lnTo>
                  <a:lnTo>
                    <a:pt x="1526" y="1175"/>
                  </a:lnTo>
                  <a:lnTo>
                    <a:pt x="1526" y="1178"/>
                  </a:lnTo>
                  <a:lnTo>
                    <a:pt x="1526" y="1178"/>
                  </a:lnTo>
                  <a:lnTo>
                    <a:pt x="1526" y="1180"/>
                  </a:lnTo>
                  <a:lnTo>
                    <a:pt x="1524" y="1180"/>
                  </a:lnTo>
                  <a:lnTo>
                    <a:pt x="1524" y="1182"/>
                  </a:lnTo>
                  <a:lnTo>
                    <a:pt x="1526" y="1185"/>
                  </a:lnTo>
                  <a:lnTo>
                    <a:pt x="1529" y="1187"/>
                  </a:lnTo>
                  <a:lnTo>
                    <a:pt x="1526" y="1187"/>
                  </a:lnTo>
                  <a:lnTo>
                    <a:pt x="1526" y="1187"/>
                  </a:lnTo>
                  <a:lnTo>
                    <a:pt x="1526" y="1187"/>
                  </a:lnTo>
                  <a:lnTo>
                    <a:pt x="1526" y="1189"/>
                  </a:lnTo>
                  <a:lnTo>
                    <a:pt x="1526" y="1189"/>
                  </a:lnTo>
                  <a:lnTo>
                    <a:pt x="1526" y="1192"/>
                  </a:lnTo>
                  <a:lnTo>
                    <a:pt x="1526" y="1192"/>
                  </a:lnTo>
                  <a:lnTo>
                    <a:pt x="1526" y="1194"/>
                  </a:lnTo>
                  <a:lnTo>
                    <a:pt x="1526" y="1197"/>
                  </a:lnTo>
                  <a:lnTo>
                    <a:pt x="1529" y="1197"/>
                  </a:lnTo>
                  <a:lnTo>
                    <a:pt x="1529" y="1194"/>
                  </a:lnTo>
                  <a:lnTo>
                    <a:pt x="1529" y="1194"/>
                  </a:lnTo>
                  <a:lnTo>
                    <a:pt x="1529" y="1194"/>
                  </a:lnTo>
                  <a:lnTo>
                    <a:pt x="1529" y="1194"/>
                  </a:lnTo>
                  <a:lnTo>
                    <a:pt x="1531" y="1194"/>
                  </a:lnTo>
                  <a:lnTo>
                    <a:pt x="1531" y="1194"/>
                  </a:lnTo>
                  <a:lnTo>
                    <a:pt x="1531" y="1194"/>
                  </a:lnTo>
                  <a:lnTo>
                    <a:pt x="1529" y="1194"/>
                  </a:lnTo>
                  <a:lnTo>
                    <a:pt x="1531" y="1197"/>
                  </a:lnTo>
                  <a:lnTo>
                    <a:pt x="1531" y="1197"/>
                  </a:lnTo>
                  <a:lnTo>
                    <a:pt x="1531" y="1197"/>
                  </a:lnTo>
                  <a:lnTo>
                    <a:pt x="1529" y="1197"/>
                  </a:lnTo>
                  <a:lnTo>
                    <a:pt x="1529" y="1197"/>
                  </a:lnTo>
                  <a:lnTo>
                    <a:pt x="1526" y="1199"/>
                  </a:lnTo>
                  <a:lnTo>
                    <a:pt x="1529" y="1199"/>
                  </a:lnTo>
                  <a:lnTo>
                    <a:pt x="1529" y="1199"/>
                  </a:lnTo>
                  <a:lnTo>
                    <a:pt x="1529" y="1199"/>
                  </a:lnTo>
                  <a:lnTo>
                    <a:pt x="1529" y="1201"/>
                  </a:lnTo>
                  <a:lnTo>
                    <a:pt x="1529" y="1201"/>
                  </a:lnTo>
                  <a:lnTo>
                    <a:pt x="1529" y="1201"/>
                  </a:lnTo>
                  <a:lnTo>
                    <a:pt x="1529" y="1201"/>
                  </a:lnTo>
                  <a:lnTo>
                    <a:pt x="1529" y="1201"/>
                  </a:lnTo>
                  <a:lnTo>
                    <a:pt x="1529" y="1201"/>
                  </a:lnTo>
                  <a:lnTo>
                    <a:pt x="1531" y="1201"/>
                  </a:lnTo>
                  <a:lnTo>
                    <a:pt x="1531" y="1204"/>
                  </a:lnTo>
                  <a:lnTo>
                    <a:pt x="1534" y="1204"/>
                  </a:lnTo>
                  <a:lnTo>
                    <a:pt x="1531" y="1204"/>
                  </a:lnTo>
                  <a:lnTo>
                    <a:pt x="1531" y="1204"/>
                  </a:lnTo>
                  <a:lnTo>
                    <a:pt x="1531" y="1204"/>
                  </a:lnTo>
                  <a:lnTo>
                    <a:pt x="1529" y="1204"/>
                  </a:lnTo>
                  <a:lnTo>
                    <a:pt x="1529" y="1204"/>
                  </a:lnTo>
                  <a:lnTo>
                    <a:pt x="1529" y="1204"/>
                  </a:lnTo>
                  <a:lnTo>
                    <a:pt x="1529" y="1206"/>
                  </a:lnTo>
                  <a:lnTo>
                    <a:pt x="1529" y="1206"/>
                  </a:lnTo>
                  <a:lnTo>
                    <a:pt x="1529" y="1206"/>
                  </a:lnTo>
                  <a:lnTo>
                    <a:pt x="1529" y="1206"/>
                  </a:lnTo>
                  <a:lnTo>
                    <a:pt x="1529" y="1206"/>
                  </a:lnTo>
                  <a:lnTo>
                    <a:pt x="1531" y="1208"/>
                  </a:lnTo>
                  <a:lnTo>
                    <a:pt x="1531" y="1208"/>
                  </a:lnTo>
                  <a:lnTo>
                    <a:pt x="1531" y="1211"/>
                  </a:lnTo>
                  <a:lnTo>
                    <a:pt x="1531" y="1211"/>
                  </a:lnTo>
                  <a:lnTo>
                    <a:pt x="1534" y="1211"/>
                  </a:lnTo>
                  <a:lnTo>
                    <a:pt x="1536" y="1211"/>
                  </a:lnTo>
                  <a:lnTo>
                    <a:pt x="1536" y="1213"/>
                  </a:lnTo>
                  <a:lnTo>
                    <a:pt x="1536" y="1213"/>
                  </a:lnTo>
                  <a:lnTo>
                    <a:pt x="1536" y="1213"/>
                  </a:lnTo>
                  <a:lnTo>
                    <a:pt x="1534" y="1216"/>
                  </a:lnTo>
                  <a:lnTo>
                    <a:pt x="1536" y="1216"/>
                  </a:lnTo>
                  <a:lnTo>
                    <a:pt x="1536" y="1216"/>
                  </a:lnTo>
                  <a:lnTo>
                    <a:pt x="1536" y="1216"/>
                  </a:lnTo>
                  <a:lnTo>
                    <a:pt x="1538" y="1216"/>
                  </a:lnTo>
                  <a:lnTo>
                    <a:pt x="1538" y="1216"/>
                  </a:lnTo>
                  <a:lnTo>
                    <a:pt x="1538" y="1213"/>
                  </a:lnTo>
                  <a:lnTo>
                    <a:pt x="1538" y="1213"/>
                  </a:lnTo>
                  <a:lnTo>
                    <a:pt x="1538" y="1213"/>
                  </a:lnTo>
                  <a:lnTo>
                    <a:pt x="1541" y="1211"/>
                  </a:lnTo>
                  <a:lnTo>
                    <a:pt x="1543" y="1213"/>
                  </a:lnTo>
                  <a:lnTo>
                    <a:pt x="1541" y="1213"/>
                  </a:lnTo>
                  <a:lnTo>
                    <a:pt x="1541" y="1213"/>
                  </a:lnTo>
                  <a:lnTo>
                    <a:pt x="1538" y="1213"/>
                  </a:lnTo>
                  <a:lnTo>
                    <a:pt x="1538" y="1216"/>
                  </a:lnTo>
                  <a:lnTo>
                    <a:pt x="1541" y="1216"/>
                  </a:lnTo>
                  <a:lnTo>
                    <a:pt x="1543" y="1213"/>
                  </a:lnTo>
                  <a:lnTo>
                    <a:pt x="1543" y="1216"/>
                  </a:lnTo>
                  <a:lnTo>
                    <a:pt x="1543" y="1216"/>
                  </a:lnTo>
                  <a:lnTo>
                    <a:pt x="1541" y="1216"/>
                  </a:lnTo>
                  <a:lnTo>
                    <a:pt x="1543" y="1216"/>
                  </a:lnTo>
                  <a:lnTo>
                    <a:pt x="1543" y="1216"/>
                  </a:lnTo>
                  <a:lnTo>
                    <a:pt x="1543" y="1218"/>
                  </a:lnTo>
                  <a:lnTo>
                    <a:pt x="1545" y="1218"/>
                  </a:lnTo>
                  <a:lnTo>
                    <a:pt x="1545" y="1218"/>
                  </a:lnTo>
                  <a:lnTo>
                    <a:pt x="1548" y="1218"/>
                  </a:lnTo>
                  <a:lnTo>
                    <a:pt x="1548" y="1218"/>
                  </a:lnTo>
                  <a:lnTo>
                    <a:pt x="1548" y="1218"/>
                  </a:lnTo>
                  <a:lnTo>
                    <a:pt x="1548" y="1218"/>
                  </a:lnTo>
                  <a:lnTo>
                    <a:pt x="1548" y="1220"/>
                  </a:lnTo>
                  <a:lnTo>
                    <a:pt x="1548" y="1220"/>
                  </a:lnTo>
                  <a:lnTo>
                    <a:pt x="1550" y="1220"/>
                  </a:lnTo>
                  <a:lnTo>
                    <a:pt x="1550" y="1220"/>
                  </a:lnTo>
                  <a:lnTo>
                    <a:pt x="1550" y="1220"/>
                  </a:lnTo>
                  <a:lnTo>
                    <a:pt x="1550" y="1220"/>
                  </a:lnTo>
                  <a:lnTo>
                    <a:pt x="1550" y="1220"/>
                  </a:lnTo>
                  <a:lnTo>
                    <a:pt x="1550" y="1220"/>
                  </a:lnTo>
                  <a:lnTo>
                    <a:pt x="1552" y="1220"/>
                  </a:lnTo>
                  <a:lnTo>
                    <a:pt x="1555" y="1220"/>
                  </a:lnTo>
                  <a:lnTo>
                    <a:pt x="1555" y="1220"/>
                  </a:lnTo>
                  <a:lnTo>
                    <a:pt x="1555" y="1223"/>
                  </a:lnTo>
                  <a:lnTo>
                    <a:pt x="1555" y="1223"/>
                  </a:lnTo>
                  <a:lnTo>
                    <a:pt x="1552" y="1223"/>
                  </a:lnTo>
                  <a:lnTo>
                    <a:pt x="1552" y="1223"/>
                  </a:lnTo>
                  <a:lnTo>
                    <a:pt x="1552" y="1223"/>
                  </a:lnTo>
                  <a:lnTo>
                    <a:pt x="1552" y="1223"/>
                  </a:lnTo>
                  <a:lnTo>
                    <a:pt x="1550" y="1223"/>
                  </a:lnTo>
                  <a:lnTo>
                    <a:pt x="1548" y="1220"/>
                  </a:lnTo>
                  <a:lnTo>
                    <a:pt x="1548" y="1223"/>
                  </a:lnTo>
                  <a:lnTo>
                    <a:pt x="1548" y="1223"/>
                  </a:lnTo>
                  <a:lnTo>
                    <a:pt x="1548" y="1223"/>
                  </a:lnTo>
                  <a:lnTo>
                    <a:pt x="1545" y="1223"/>
                  </a:lnTo>
                  <a:lnTo>
                    <a:pt x="1543" y="1223"/>
                  </a:lnTo>
                  <a:lnTo>
                    <a:pt x="1543" y="1223"/>
                  </a:lnTo>
                  <a:lnTo>
                    <a:pt x="1545" y="1223"/>
                  </a:lnTo>
                  <a:lnTo>
                    <a:pt x="1545" y="1223"/>
                  </a:lnTo>
                  <a:lnTo>
                    <a:pt x="1545" y="1223"/>
                  </a:lnTo>
                  <a:lnTo>
                    <a:pt x="1545" y="1225"/>
                  </a:lnTo>
                  <a:lnTo>
                    <a:pt x="1545" y="1225"/>
                  </a:lnTo>
                  <a:lnTo>
                    <a:pt x="1548" y="1225"/>
                  </a:lnTo>
                  <a:lnTo>
                    <a:pt x="1548" y="1225"/>
                  </a:lnTo>
                  <a:lnTo>
                    <a:pt x="1548" y="1227"/>
                  </a:lnTo>
                  <a:lnTo>
                    <a:pt x="1550" y="1227"/>
                  </a:lnTo>
                  <a:lnTo>
                    <a:pt x="1548" y="1227"/>
                  </a:lnTo>
                  <a:lnTo>
                    <a:pt x="1548" y="1227"/>
                  </a:lnTo>
                  <a:lnTo>
                    <a:pt x="1545" y="1227"/>
                  </a:lnTo>
                  <a:lnTo>
                    <a:pt x="1545" y="1227"/>
                  </a:lnTo>
                  <a:lnTo>
                    <a:pt x="1545" y="1227"/>
                  </a:lnTo>
                  <a:lnTo>
                    <a:pt x="1543" y="1227"/>
                  </a:lnTo>
                  <a:lnTo>
                    <a:pt x="1541" y="1227"/>
                  </a:lnTo>
                  <a:lnTo>
                    <a:pt x="1541" y="1227"/>
                  </a:lnTo>
                  <a:lnTo>
                    <a:pt x="1543" y="1230"/>
                  </a:lnTo>
                  <a:lnTo>
                    <a:pt x="1543" y="1230"/>
                  </a:lnTo>
                  <a:lnTo>
                    <a:pt x="1543" y="1230"/>
                  </a:lnTo>
                  <a:lnTo>
                    <a:pt x="1543" y="1230"/>
                  </a:lnTo>
                  <a:lnTo>
                    <a:pt x="1543" y="1232"/>
                  </a:lnTo>
                  <a:lnTo>
                    <a:pt x="1543" y="1232"/>
                  </a:lnTo>
                  <a:lnTo>
                    <a:pt x="1545" y="1232"/>
                  </a:lnTo>
                  <a:lnTo>
                    <a:pt x="1545" y="1232"/>
                  </a:lnTo>
                  <a:lnTo>
                    <a:pt x="1543" y="1232"/>
                  </a:lnTo>
                  <a:lnTo>
                    <a:pt x="1543" y="1232"/>
                  </a:lnTo>
                  <a:lnTo>
                    <a:pt x="1543" y="1232"/>
                  </a:lnTo>
                  <a:lnTo>
                    <a:pt x="1543" y="1232"/>
                  </a:lnTo>
                  <a:lnTo>
                    <a:pt x="1543" y="1232"/>
                  </a:lnTo>
                  <a:lnTo>
                    <a:pt x="1541" y="1232"/>
                  </a:lnTo>
                  <a:lnTo>
                    <a:pt x="1541" y="1234"/>
                  </a:lnTo>
                  <a:lnTo>
                    <a:pt x="1541" y="1234"/>
                  </a:lnTo>
                  <a:lnTo>
                    <a:pt x="1541" y="1237"/>
                  </a:lnTo>
                  <a:lnTo>
                    <a:pt x="1545" y="1237"/>
                  </a:lnTo>
                  <a:lnTo>
                    <a:pt x="1545" y="1237"/>
                  </a:lnTo>
                  <a:lnTo>
                    <a:pt x="1548" y="1237"/>
                  </a:lnTo>
                  <a:lnTo>
                    <a:pt x="1548" y="1234"/>
                  </a:lnTo>
                  <a:lnTo>
                    <a:pt x="1550" y="1234"/>
                  </a:lnTo>
                  <a:lnTo>
                    <a:pt x="1550" y="1237"/>
                  </a:lnTo>
                  <a:lnTo>
                    <a:pt x="1550" y="1237"/>
                  </a:lnTo>
                  <a:lnTo>
                    <a:pt x="1550" y="1237"/>
                  </a:lnTo>
                  <a:lnTo>
                    <a:pt x="1550" y="1237"/>
                  </a:lnTo>
                  <a:lnTo>
                    <a:pt x="1552" y="1239"/>
                  </a:lnTo>
                  <a:lnTo>
                    <a:pt x="1552" y="1239"/>
                  </a:lnTo>
                  <a:lnTo>
                    <a:pt x="1552" y="1239"/>
                  </a:lnTo>
                  <a:lnTo>
                    <a:pt x="1550" y="1242"/>
                  </a:lnTo>
                  <a:lnTo>
                    <a:pt x="1550" y="1242"/>
                  </a:lnTo>
                  <a:lnTo>
                    <a:pt x="1550" y="1242"/>
                  </a:lnTo>
                  <a:lnTo>
                    <a:pt x="1548" y="1242"/>
                  </a:lnTo>
                  <a:lnTo>
                    <a:pt x="1548" y="1239"/>
                  </a:lnTo>
                  <a:lnTo>
                    <a:pt x="1548" y="1239"/>
                  </a:lnTo>
                  <a:lnTo>
                    <a:pt x="1543" y="1242"/>
                  </a:lnTo>
                  <a:lnTo>
                    <a:pt x="1541" y="1242"/>
                  </a:lnTo>
                  <a:lnTo>
                    <a:pt x="1541" y="1242"/>
                  </a:lnTo>
                  <a:lnTo>
                    <a:pt x="1538" y="1242"/>
                  </a:lnTo>
                  <a:lnTo>
                    <a:pt x="1541" y="1242"/>
                  </a:lnTo>
                  <a:lnTo>
                    <a:pt x="1541" y="1244"/>
                  </a:lnTo>
                  <a:lnTo>
                    <a:pt x="1541" y="1244"/>
                  </a:lnTo>
                  <a:lnTo>
                    <a:pt x="1538" y="1244"/>
                  </a:lnTo>
                  <a:lnTo>
                    <a:pt x="1536" y="1242"/>
                  </a:lnTo>
                  <a:lnTo>
                    <a:pt x="1536" y="1242"/>
                  </a:lnTo>
                  <a:lnTo>
                    <a:pt x="1536" y="1242"/>
                  </a:lnTo>
                  <a:lnTo>
                    <a:pt x="1536" y="1242"/>
                  </a:lnTo>
                  <a:lnTo>
                    <a:pt x="1536" y="1242"/>
                  </a:lnTo>
                  <a:lnTo>
                    <a:pt x="1531" y="1242"/>
                  </a:lnTo>
                  <a:lnTo>
                    <a:pt x="1534" y="1242"/>
                  </a:lnTo>
                  <a:lnTo>
                    <a:pt x="1534" y="1242"/>
                  </a:lnTo>
                  <a:lnTo>
                    <a:pt x="1534" y="1244"/>
                  </a:lnTo>
                  <a:lnTo>
                    <a:pt x="1534" y="1244"/>
                  </a:lnTo>
                  <a:lnTo>
                    <a:pt x="1531" y="1244"/>
                  </a:lnTo>
                  <a:lnTo>
                    <a:pt x="1531" y="1244"/>
                  </a:lnTo>
                  <a:lnTo>
                    <a:pt x="1531" y="1244"/>
                  </a:lnTo>
                  <a:lnTo>
                    <a:pt x="1529" y="1244"/>
                  </a:lnTo>
                  <a:lnTo>
                    <a:pt x="1529" y="1246"/>
                  </a:lnTo>
                  <a:lnTo>
                    <a:pt x="1529" y="1246"/>
                  </a:lnTo>
                  <a:lnTo>
                    <a:pt x="1529" y="1249"/>
                  </a:lnTo>
                  <a:lnTo>
                    <a:pt x="1529" y="1249"/>
                  </a:lnTo>
                  <a:lnTo>
                    <a:pt x="1529" y="1249"/>
                  </a:lnTo>
                  <a:lnTo>
                    <a:pt x="1529" y="1251"/>
                  </a:lnTo>
                  <a:lnTo>
                    <a:pt x="1529" y="1251"/>
                  </a:lnTo>
                  <a:lnTo>
                    <a:pt x="1529" y="1251"/>
                  </a:lnTo>
                  <a:lnTo>
                    <a:pt x="1529" y="1253"/>
                  </a:lnTo>
                  <a:lnTo>
                    <a:pt x="1529" y="1253"/>
                  </a:lnTo>
                  <a:lnTo>
                    <a:pt x="1529" y="1256"/>
                  </a:lnTo>
                  <a:lnTo>
                    <a:pt x="1529" y="1256"/>
                  </a:lnTo>
                  <a:lnTo>
                    <a:pt x="1529" y="1256"/>
                  </a:lnTo>
                  <a:lnTo>
                    <a:pt x="1529" y="1256"/>
                  </a:lnTo>
                  <a:lnTo>
                    <a:pt x="1529" y="1258"/>
                  </a:lnTo>
                  <a:lnTo>
                    <a:pt x="1529" y="1258"/>
                  </a:lnTo>
                  <a:lnTo>
                    <a:pt x="1531" y="1258"/>
                  </a:lnTo>
                  <a:lnTo>
                    <a:pt x="1531" y="1258"/>
                  </a:lnTo>
                  <a:lnTo>
                    <a:pt x="1531" y="1258"/>
                  </a:lnTo>
                  <a:lnTo>
                    <a:pt x="1531" y="1260"/>
                  </a:lnTo>
                  <a:lnTo>
                    <a:pt x="1531" y="1260"/>
                  </a:lnTo>
                  <a:lnTo>
                    <a:pt x="1531" y="1260"/>
                  </a:lnTo>
                  <a:lnTo>
                    <a:pt x="1531" y="1260"/>
                  </a:lnTo>
                  <a:lnTo>
                    <a:pt x="1531" y="1260"/>
                  </a:lnTo>
                  <a:lnTo>
                    <a:pt x="1531" y="1263"/>
                  </a:lnTo>
                  <a:lnTo>
                    <a:pt x="1531" y="1263"/>
                  </a:lnTo>
                  <a:lnTo>
                    <a:pt x="1531" y="1263"/>
                  </a:lnTo>
                  <a:lnTo>
                    <a:pt x="1531" y="1263"/>
                  </a:lnTo>
                  <a:lnTo>
                    <a:pt x="1531" y="1263"/>
                  </a:lnTo>
                  <a:lnTo>
                    <a:pt x="1531" y="1263"/>
                  </a:lnTo>
                  <a:lnTo>
                    <a:pt x="1531" y="1265"/>
                  </a:lnTo>
                  <a:lnTo>
                    <a:pt x="1531" y="1265"/>
                  </a:lnTo>
                  <a:lnTo>
                    <a:pt x="1531" y="1265"/>
                  </a:lnTo>
                  <a:lnTo>
                    <a:pt x="1531" y="1265"/>
                  </a:lnTo>
                  <a:lnTo>
                    <a:pt x="1531" y="1268"/>
                  </a:lnTo>
                  <a:lnTo>
                    <a:pt x="1529" y="1272"/>
                  </a:lnTo>
                  <a:lnTo>
                    <a:pt x="1529" y="1272"/>
                  </a:lnTo>
                  <a:lnTo>
                    <a:pt x="1529" y="1272"/>
                  </a:lnTo>
                  <a:lnTo>
                    <a:pt x="1529" y="1272"/>
                  </a:lnTo>
                  <a:lnTo>
                    <a:pt x="1529" y="1272"/>
                  </a:lnTo>
                  <a:lnTo>
                    <a:pt x="1529" y="1275"/>
                  </a:lnTo>
                  <a:lnTo>
                    <a:pt x="1531" y="1275"/>
                  </a:lnTo>
                  <a:lnTo>
                    <a:pt x="1529" y="1275"/>
                  </a:lnTo>
                  <a:lnTo>
                    <a:pt x="1529" y="1275"/>
                  </a:lnTo>
                  <a:lnTo>
                    <a:pt x="1529" y="1275"/>
                  </a:lnTo>
                  <a:lnTo>
                    <a:pt x="1529" y="1277"/>
                  </a:lnTo>
                  <a:lnTo>
                    <a:pt x="1529" y="1279"/>
                  </a:lnTo>
                  <a:lnTo>
                    <a:pt x="1531" y="1279"/>
                  </a:lnTo>
                  <a:lnTo>
                    <a:pt x="1531" y="1279"/>
                  </a:lnTo>
                  <a:lnTo>
                    <a:pt x="1531" y="1279"/>
                  </a:lnTo>
                  <a:lnTo>
                    <a:pt x="1531" y="1279"/>
                  </a:lnTo>
                  <a:lnTo>
                    <a:pt x="1529" y="1279"/>
                  </a:lnTo>
                  <a:lnTo>
                    <a:pt x="1529" y="1279"/>
                  </a:lnTo>
                  <a:lnTo>
                    <a:pt x="1529" y="1282"/>
                  </a:lnTo>
                  <a:lnTo>
                    <a:pt x="1529" y="1282"/>
                  </a:lnTo>
                  <a:lnTo>
                    <a:pt x="1529" y="1282"/>
                  </a:lnTo>
                  <a:lnTo>
                    <a:pt x="1529" y="1282"/>
                  </a:lnTo>
                  <a:lnTo>
                    <a:pt x="1529" y="1284"/>
                  </a:lnTo>
                  <a:lnTo>
                    <a:pt x="1529" y="1284"/>
                  </a:lnTo>
                  <a:lnTo>
                    <a:pt x="1531" y="1284"/>
                  </a:lnTo>
                  <a:lnTo>
                    <a:pt x="1529" y="1286"/>
                  </a:lnTo>
                  <a:lnTo>
                    <a:pt x="1529" y="1286"/>
                  </a:lnTo>
                  <a:lnTo>
                    <a:pt x="1529" y="1286"/>
                  </a:lnTo>
                  <a:lnTo>
                    <a:pt x="1529" y="1286"/>
                  </a:lnTo>
                  <a:lnTo>
                    <a:pt x="1529" y="1289"/>
                  </a:lnTo>
                  <a:lnTo>
                    <a:pt x="1529" y="1289"/>
                  </a:lnTo>
                  <a:lnTo>
                    <a:pt x="1529" y="1289"/>
                  </a:lnTo>
                  <a:lnTo>
                    <a:pt x="1529" y="1291"/>
                  </a:lnTo>
                  <a:lnTo>
                    <a:pt x="1526" y="1294"/>
                  </a:lnTo>
                  <a:lnTo>
                    <a:pt x="1526" y="1294"/>
                  </a:lnTo>
                  <a:lnTo>
                    <a:pt x="1526" y="1294"/>
                  </a:lnTo>
                  <a:lnTo>
                    <a:pt x="1526" y="1294"/>
                  </a:lnTo>
                  <a:lnTo>
                    <a:pt x="1526" y="1296"/>
                  </a:lnTo>
                  <a:lnTo>
                    <a:pt x="1526" y="1296"/>
                  </a:lnTo>
                  <a:lnTo>
                    <a:pt x="1526" y="1296"/>
                  </a:lnTo>
                  <a:lnTo>
                    <a:pt x="1524" y="1296"/>
                  </a:lnTo>
                  <a:lnTo>
                    <a:pt x="1524" y="1294"/>
                  </a:lnTo>
                  <a:lnTo>
                    <a:pt x="1524" y="1294"/>
                  </a:lnTo>
                  <a:lnTo>
                    <a:pt x="1524" y="1294"/>
                  </a:lnTo>
                  <a:lnTo>
                    <a:pt x="1524" y="1294"/>
                  </a:lnTo>
                  <a:lnTo>
                    <a:pt x="1524" y="1294"/>
                  </a:lnTo>
                  <a:lnTo>
                    <a:pt x="1524" y="1294"/>
                  </a:lnTo>
                  <a:lnTo>
                    <a:pt x="1524" y="1294"/>
                  </a:lnTo>
                  <a:lnTo>
                    <a:pt x="1524" y="1296"/>
                  </a:lnTo>
                  <a:lnTo>
                    <a:pt x="1524" y="1296"/>
                  </a:lnTo>
                  <a:lnTo>
                    <a:pt x="1524" y="1298"/>
                  </a:lnTo>
                  <a:lnTo>
                    <a:pt x="1524" y="1298"/>
                  </a:lnTo>
                  <a:lnTo>
                    <a:pt x="1524" y="1298"/>
                  </a:lnTo>
                  <a:lnTo>
                    <a:pt x="1524" y="1298"/>
                  </a:lnTo>
                  <a:lnTo>
                    <a:pt x="1524" y="1301"/>
                  </a:lnTo>
                  <a:lnTo>
                    <a:pt x="1524" y="1301"/>
                  </a:lnTo>
                  <a:lnTo>
                    <a:pt x="1522" y="1303"/>
                  </a:lnTo>
                  <a:lnTo>
                    <a:pt x="1522" y="1303"/>
                  </a:lnTo>
                  <a:lnTo>
                    <a:pt x="1522" y="1303"/>
                  </a:lnTo>
                  <a:lnTo>
                    <a:pt x="1519" y="1305"/>
                  </a:lnTo>
                  <a:lnTo>
                    <a:pt x="1519" y="1308"/>
                  </a:lnTo>
                  <a:lnTo>
                    <a:pt x="1519" y="1315"/>
                  </a:lnTo>
                  <a:lnTo>
                    <a:pt x="1517" y="1317"/>
                  </a:lnTo>
                  <a:lnTo>
                    <a:pt x="1517" y="1317"/>
                  </a:lnTo>
                  <a:lnTo>
                    <a:pt x="1517" y="1317"/>
                  </a:lnTo>
                  <a:lnTo>
                    <a:pt x="1519" y="1320"/>
                  </a:lnTo>
                  <a:lnTo>
                    <a:pt x="1519" y="1320"/>
                  </a:lnTo>
                  <a:lnTo>
                    <a:pt x="1519" y="1320"/>
                  </a:lnTo>
                  <a:lnTo>
                    <a:pt x="1519" y="1322"/>
                  </a:lnTo>
                  <a:lnTo>
                    <a:pt x="1519" y="1322"/>
                  </a:lnTo>
                  <a:lnTo>
                    <a:pt x="1519" y="1322"/>
                  </a:lnTo>
                  <a:lnTo>
                    <a:pt x="1519" y="1324"/>
                  </a:lnTo>
                  <a:lnTo>
                    <a:pt x="1519" y="1324"/>
                  </a:lnTo>
                  <a:lnTo>
                    <a:pt x="1519" y="1324"/>
                  </a:lnTo>
                  <a:lnTo>
                    <a:pt x="1519" y="1324"/>
                  </a:lnTo>
                  <a:lnTo>
                    <a:pt x="1519" y="1327"/>
                  </a:lnTo>
                  <a:lnTo>
                    <a:pt x="1519" y="1327"/>
                  </a:lnTo>
                  <a:lnTo>
                    <a:pt x="1519" y="1327"/>
                  </a:lnTo>
                  <a:lnTo>
                    <a:pt x="1519" y="1329"/>
                  </a:lnTo>
                  <a:lnTo>
                    <a:pt x="1519" y="1329"/>
                  </a:lnTo>
                  <a:lnTo>
                    <a:pt x="1519" y="1329"/>
                  </a:lnTo>
                  <a:lnTo>
                    <a:pt x="1519" y="1331"/>
                  </a:lnTo>
                  <a:lnTo>
                    <a:pt x="1519" y="1331"/>
                  </a:lnTo>
                  <a:lnTo>
                    <a:pt x="1519" y="1331"/>
                  </a:lnTo>
                  <a:lnTo>
                    <a:pt x="1519" y="1334"/>
                  </a:lnTo>
                  <a:lnTo>
                    <a:pt x="1519" y="1334"/>
                  </a:lnTo>
                  <a:lnTo>
                    <a:pt x="1519" y="1334"/>
                  </a:lnTo>
                  <a:lnTo>
                    <a:pt x="1519" y="1334"/>
                  </a:lnTo>
                  <a:lnTo>
                    <a:pt x="1519" y="1336"/>
                  </a:lnTo>
                  <a:lnTo>
                    <a:pt x="1519" y="1336"/>
                  </a:lnTo>
                  <a:lnTo>
                    <a:pt x="1519" y="1339"/>
                  </a:lnTo>
                  <a:lnTo>
                    <a:pt x="1519" y="1339"/>
                  </a:lnTo>
                  <a:lnTo>
                    <a:pt x="1519" y="1339"/>
                  </a:lnTo>
                  <a:lnTo>
                    <a:pt x="1517" y="1339"/>
                  </a:lnTo>
                  <a:lnTo>
                    <a:pt x="1517" y="1339"/>
                  </a:lnTo>
                  <a:lnTo>
                    <a:pt x="1517" y="1336"/>
                  </a:lnTo>
                  <a:lnTo>
                    <a:pt x="1517" y="1336"/>
                  </a:lnTo>
                  <a:lnTo>
                    <a:pt x="1517" y="1336"/>
                  </a:lnTo>
                  <a:lnTo>
                    <a:pt x="1517" y="1334"/>
                  </a:lnTo>
                  <a:lnTo>
                    <a:pt x="1517" y="1336"/>
                  </a:lnTo>
                  <a:lnTo>
                    <a:pt x="1517" y="1339"/>
                  </a:lnTo>
                  <a:lnTo>
                    <a:pt x="1517" y="1339"/>
                  </a:lnTo>
                  <a:lnTo>
                    <a:pt x="1515" y="1339"/>
                  </a:lnTo>
                  <a:lnTo>
                    <a:pt x="1515" y="1336"/>
                  </a:lnTo>
                  <a:lnTo>
                    <a:pt x="1512" y="1334"/>
                  </a:lnTo>
                  <a:lnTo>
                    <a:pt x="1512" y="1336"/>
                  </a:lnTo>
                  <a:lnTo>
                    <a:pt x="1510" y="1336"/>
                  </a:lnTo>
                  <a:lnTo>
                    <a:pt x="1510" y="1336"/>
                  </a:lnTo>
                  <a:lnTo>
                    <a:pt x="1510" y="1339"/>
                  </a:lnTo>
                  <a:lnTo>
                    <a:pt x="1510" y="1339"/>
                  </a:lnTo>
                  <a:lnTo>
                    <a:pt x="1510" y="1339"/>
                  </a:lnTo>
                  <a:lnTo>
                    <a:pt x="1510" y="1341"/>
                  </a:lnTo>
                  <a:lnTo>
                    <a:pt x="1510" y="1341"/>
                  </a:lnTo>
                  <a:lnTo>
                    <a:pt x="1510" y="1341"/>
                  </a:lnTo>
                  <a:lnTo>
                    <a:pt x="1508" y="1341"/>
                  </a:lnTo>
                  <a:lnTo>
                    <a:pt x="1508" y="1341"/>
                  </a:lnTo>
                  <a:lnTo>
                    <a:pt x="1508" y="1341"/>
                  </a:lnTo>
                  <a:lnTo>
                    <a:pt x="1508" y="1341"/>
                  </a:lnTo>
                  <a:lnTo>
                    <a:pt x="1508" y="1341"/>
                  </a:lnTo>
                  <a:lnTo>
                    <a:pt x="1505" y="1341"/>
                  </a:lnTo>
                  <a:lnTo>
                    <a:pt x="1505" y="1341"/>
                  </a:lnTo>
                  <a:lnTo>
                    <a:pt x="1505" y="1341"/>
                  </a:lnTo>
                  <a:lnTo>
                    <a:pt x="1505" y="1341"/>
                  </a:lnTo>
                  <a:lnTo>
                    <a:pt x="1508" y="1341"/>
                  </a:lnTo>
                  <a:lnTo>
                    <a:pt x="1508" y="1343"/>
                  </a:lnTo>
                  <a:lnTo>
                    <a:pt x="1508" y="1343"/>
                  </a:lnTo>
                  <a:lnTo>
                    <a:pt x="1508" y="1343"/>
                  </a:lnTo>
                  <a:lnTo>
                    <a:pt x="1508" y="1343"/>
                  </a:lnTo>
                  <a:lnTo>
                    <a:pt x="1508" y="1346"/>
                  </a:lnTo>
                  <a:lnTo>
                    <a:pt x="1510" y="1346"/>
                  </a:lnTo>
                  <a:lnTo>
                    <a:pt x="1510" y="1346"/>
                  </a:lnTo>
                  <a:lnTo>
                    <a:pt x="1508" y="1346"/>
                  </a:lnTo>
                  <a:lnTo>
                    <a:pt x="1508" y="1346"/>
                  </a:lnTo>
                  <a:lnTo>
                    <a:pt x="1508" y="1346"/>
                  </a:lnTo>
                  <a:lnTo>
                    <a:pt x="1508" y="1346"/>
                  </a:lnTo>
                  <a:lnTo>
                    <a:pt x="1508" y="1346"/>
                  </a:lnTo>
                  <a:lnTo>
                    <a:pt x="1508" y="1348"/>
                  </a:lnTo>
                  <a:lnTo>
                    <a:pt x="1508" y="1348"/>
                  </a:lnTo>
                  <a:lnTo>
                    <a:pt x="1508" y="1350"/>
                  </a:lnTo>
                  <a:lnTo>
                    <a:pt x="1508" y="1350"/>
                  </a:lnTo>
                  <a:lnTo>
                    <a:pt x="1508" y="1350"/>
                  </a:lnTo>
                  <a:lnTo>
                    <a:pt x="1505" y="1350"/>
                  </a:lnTo>
                  <a:lnTo>
                    <a:pt x="1505" y="1350"/>
                  </a:lnTo>
                  <a:lnTo>
                    <a:pt x="1505" y="1350"/>
                  </a:lnTo>
                  <a:lnTo>
                    <a:pt x="1505" y="1348"/>
                  </a:lnTo>
                  <a:lnTo>
                    <a:pt x="1505" y="1348"/>
                  </a:lnTo>
                  <a:lnTo>
                    <a:pt x="1505" y="1348"/>
                  </a:lnTo>
                  <a:lnTo>
                    <a:pt x="1505" y="1348"/>
                  </a:lnTo>
                  <a:lnTo>
                    <a:pt x="1505" y="1348"/>
                  </a:lnTo>
                  <a:lnTo>
                    <a:pt x="1503" y="1348"/>
                  </a:lnTo>
                  <a:lnTo>
                    <a:pt x="1503" y="1348"/>
                  </a:lnTo>
                  <a:lnTo>
                    <a:pt x="1503" y="1350"/>
                  </a:lnTo>
                  <a:lnTo>
                    <a:pt x="1503" y="1350"/>
                  </a:lnTo>
                  <a:lnTo>
                    <a:pt x="1503" y="1350"/>
                  </a:lnTo>
                  <a:lnTo>
                    <a:pt x="1503" y="1350"/>
                  </a:lnTo>
                  <a:lnTo>
                    <a:pt x="1503" y="1350"/>
                  </a:lnTo>
                  <a:lnTo>
                    <a:pt x="1503" y="1350"/>
                  </a:lnTo>
                  <a:lnTo>
                    <a:pt x="1503" y="1353"/>
                  </a:lnTo>
                  <a:lnTo>
                    <a:pt x="1503" y="1357"/>
                  </a:lnTo>
                  <a:lnTo>
                    <a:pt x="1503" y="1357"/>
                  </a:lnTo>
                  <a:lnTo>
                    <a:pt x="1503" y="1357"/>
                  </a:lnTo>
                  <a:lnTo>
                    <a:pt x="1503" y="1355"/>
                  </a:lnTo>
                  <a:lnTo>
                    <a:pt x="1503" y="1355"/>
                  </a:lnTo>
                  <a:lnTo>
                    <a:pt x="1500" y="1353"/>
                  </a:lnTo>
                  <a:lnTo>
                    <a:pt x="1500" y="1353"/>
                  </a:lnTo>
                  <a:lnTo>
                    <a:pt x="1500" y="1353"/>
                  </a:lnTo>
                  <a:lnTo>
                    <a:pt x="1500" y="1353"/>
                  </a:lnTo>
                  <a:lnTo>
                    <a:pt x="1498" y="1353"/>
                  </a:lnTo>
                  <a:lnTo>
                    <a:pt x="1498" y="1353"/>
                  </a:lnTo>
                  <a:lnTo>
                    <a:pt x="1498" y="1353"/>
                  </a:lnTo>
                  <a:lnTo>
                    <a:pt x="1498" y="1355"/>
                  </a:lnTo>
                  <a:lnTo>
                    <a:pt x="1498" y="1355"/>
                  </a:lnTo>
                  <a:lnTo>
                    <a:pt x="1498" y="1357"/>
                  </a:lnTo>
                  <a:lnTo>
                    <a:pt x="1496" y="1357"/>
                  </a:lnTo>
                  <a:lnTo>
                    <a:pt x="1496" y="1355"/>
                  </a:lnTo>
                  <a:lnTo>
                    <a:pt x="1496" y="1355"/>
                  </a:lnTo>
                  <a:lnTo>
                    <a:pt x="1496" y="1355"/>
                  </a:lnTo>
                  <a:lnTo>
                    <a:pt x="1496" y="1353"/>
                  </a:lnTo>
                  <a:lnTo>
                    <a:pt x="1496" y="1353"/>
                  </a:lnTo>
                  <a:lnTo>
                    <a:pt x="1496" y="1353"/>
                  </a:lnTo>
                  <a:lnTo>
                    <a:pt x="1496" y="1353"/>
                  </a:lnTo>
                  <a:lnTo>
                    <a:pt x="1496" y="1353"/>
                  </a:lnTo>
                  <a:lnTo>
                    <a:pt x="1496" y="1350"/>
                  </a:lnTo>
                  <a:lnTo>
                    <a:pt x="1498" y="1350"/>
                  </a:lnTo>
                  <a:lnTo>
                    <a:pt x="1498" y="1350"/>
                  </a:lnTo>
                  <a:lnTo>
                    <a:pt x="1498" y="1348"/>
                  </a:lnTo>
                  <a:lnTo>
                    <a:pt x="1500" y="1348"/>
                  </a:lnTo>
                  <a:lnTo>
                    <a:pt x="1500" y="1348"/>
                  </a:lnTo>
                  <a:lnTo>
                    <a:pt x="1500" y="1346"/>
                  </a:lnTo>
                  <a:lnTo>
                    <a:pt x="1498" y="1346"/>
                  </a:lnTo>
                  <a:lnTo>
                    <a:pt x="1498" y="1346"/>
                  </a:lnTo>
                  <a:lnTo>
                    <a:pt x="1498" y="1346"/>
                  </a:lnTo>
                  <a:lnTo>
                    <a:pt x="1498" y="1348"/>
                  </a:lnTo>
                  <a:lnTo>
                    <a:pt x="1498" y="1346"/>
                  </a:lnTo>
                  <a:lnTo>
                    <a:pt x="1496" y="1343"/>
                  </a:lnTo>
                  <a:lnTo>
                    <a:pt x="1496" y="1341"/>
                  </a:lnTo>
                  <a:lnTo>
                    <a:pt x="1496" y="1341"/>
                  </a:lnTo>
                  <a:lnTo>
                    <a:pt x="1493" y="1339"/>
                  </a:lnTo>
                  <a:lnTo>
                    <a:pt x="1491" y="1336"/>
                  </a:lnTo>
                  <a:lnTo>
                    <a:pt x="1491" y="1336"/>
                  </a:lnTo>
                  <a:lnTo>
                    <a:pt x="1491" y="1336"/>
                  </a:lnTo>
                  <a:lnTo>
                    <a:pt x="1489" y="1334"/>
                  </a:lnTo>
                  <a:lnTo>
                    <a:pt x="1486" y="1331"/>
                  </a:lnTo>
                  <a:lnTo>
                    <a:pt x="1486" y="1329"/>
                  </a:lnTo>
                  <a:lnTo>
                    <a:pt x="1484" y="1329"/>
                  </a:lnTo>
                  <a:lnTo>
                    <a:pt x="1484" y="1329"/>
                  </a:lnTo>
                  <a:lnTo>
                    <a:pt x="1484" y="1327"/>
                  </a:lnTo>
                  <a:lnTo>
                    <a:pt x="1481" y="1327"/>
                  </a:lnTo>
                  <a:lnTo>
                    <a:pt x="1481" y="1324"/>
                  </a:lnTo>
                  <a:lnTo>
                    <a:pt x="1479" y="1324"/>
                  </a:lnTo>
                  <a:lnTo>
                    <a:pt x="1479" y="1324"/>
                  </a:lnTo>
                  <a:lnTo>
                    <a:pt x="1477" y="1322"/>
                  </a:lnTo>
                  <a:lnTo>
                    <a:pt x="1477" y="1322"/>
                  </a:lnTo>
                  <a:lnTo>
                    <a:pt x="1477" y="1322"/>
                  </a:lnTo>
                  <a:lnTo>
                    <a:pt x="1477" y="1320"/>
                  </a:lnTo>
                  <a:lnTo>
                    <a:pt x="1477" y="1317"/>
                  </a:lnTo>
                  <a:lnTo>
                    <a:pt x="1474" y="1317"/>
                  </a:lnTo>
                  <a:lnTo>
                    <a:pt x="1474" y="1315"/>
                  </a:lnTo>
                  <a:lnTo>
                    <a:pt x="1472" y="1315"/>
                  </a:lnTo>
                  <a:lnTo>
                    <a:pt x="1472" y="1313"/>
                  </a:lnTo>
                  <a:lnTo>
                    <a:pt x="1472" y="1313"/>
                  </a:lnTo>
                  <a:lnTo>
                    <a:pt x="1472" y="1310"/>
                  </a:lnTo>
                  <a:lnTo>
                    <a:pt x="1472" y="1310"/>
                  </a:lnTo>
                  <a:lnTo>
                    <a:pt x="1470" y="1308"/>
                  </a:lnTo>
                  <a:lnTo>
                    <a:pt x="1470" y="1305"/>
                  </a:lnTo>
                  <a:lnTo>
                    <a:pt x="1470" y="1303"/>
                  </a:lnTo>
                  <a:lnTo>
                    <a:pt x="1470" y="1303"/>
                  </a:lnTo>
                  <a:lnTo>
                    <a:pt x="1470" y="1301"/>
                  </a:lnTo>
                  <a:lnTo>
                    <a:pt x="1470" y="1301"/>
                  </a:lnTo>
                  <a:lnTo>
                    <a:pt x="1467" y="1301"/>
                  </a:lnTo>
                  <a:lnTo>
                    <a:pt x="1467" y="1298"/>
                  </a:lnTo>
                  <a:lnTo>
                    <a:pt x="1470" y="1298"/>
                  </a:lnTo>
                  <a:lnTo>
                    <a:pt x="1470" y="1298"/>
                  </a:lnTo>
                  <a:lnTo>
                    <a:pt x="1470" y="1298"/>
                  </a:lnTo>
                  <a:lnTo>
                    <a:pt x="1470" y="1298"/>
                  </a:lnTo>
                  <a:lnTo>
                    <a:pt x="1470" y="1298"/>
                  </a:lnTo>
                  <a:lnTo>
                    <a:pt x="1470" y="1296"/>
                  </a:lnTo>
                  <a:lnTo>
                    <a:pt x="1470" y="1296"/>
                  </a:lnTo>
                  <a:lnTo>
                    <a:pt x="1470" y="1296"/>
                  </a:lnTo>
                  <a:lnTo>
                    <a:pt x="1470" y="1296"/>
                  </a:lnTo>
                  <a:lnTo>
                    <a:pt x="1470" y="1296"/>
                  </a:lnTo>
                  <a:lnTo>
                    <a:pt x="1470" y="1296"/>
                  </a:lnTo>
                  <a:lnTo>
                    <a:pt x="1470" y="1294"/>
                  </a:lnTo>
                  <a:lnTo>
                    <a:pt x="1470" y="1294"/>
                  </a:lnTo>
                  <a:lnTo>
                    <a:pt x="1470" y="1291"/>
                  </a:lnTo>
                  <a:lnTo>
                    <a:pt x="1470" y="1289"/>
                  </a:lnTo>
                  <a:lnTo>
                    <a:pt x="1470" y="1289"/>
                  </a:lnTo>
                  <a:lnTo>
                    <a:pt x="1470" y="1289"/>
                  </a:lnTo>
                  <a:lnTo>
                    <a:pt x="1470" y="1289"/>
                  </a:lnTo>
                  <a:lnTo>
                    <a:pt x="1470" y="1286"/>
                  </a:lnTo>
                  <a:lnTo>
                    <a:pt x="1470" y="1286"/>
                  </a:lnTo>
                  <a:lnTo>
                    <a:pt x="1467" y="1286"/>
                  </a:lnTo>
                  <a:lnTo>
                    <a:pt x="1467" y="1284"/>
                  </a:lnTo>
                  <a:lnTo>
                    <a:pt x="1465" y="1282"/>
                  </a:lnTo>
                  <a:lnTo>
                    <a:pt x="1465" y="1282"/>
                  </a:lnTo>
                  <a:lnTo>
                    <a:pt x="1467" y="1282"/>
                  </a:lnTo>
                  <a:lnTo>
                    <a:pt x="1465" y="1282"/>
                  </a:lnTo>
                  <a:lnTo>
                    <a:pt x="1467" y="1279"/>
                  </a:lnTo>
                  <a:lnTo>
                    <a:pt x="1467" y="1279"/>
                  </a:lnTo>
                  <a:lnTo>
                    <a:pt x="1470" y="1279"/>
                  </a:lnTo>
                  <a:lnTo>
                    <a:pt x="1470" y="1277"/>
                  </a:lnTo>
                  <a:lnTo>
                    <a:pt x="1470" y="1277"/>
                  </a:lnTo>
                  <a:lnTo>
                    <a:pt x="1470" y="1277"/>
                  </a:lnTo>
                  <a:lnTo>
                    <a:pt x="1470" y="1275"/>
                  </a:lnTo>
                  <a:lnTo>
                    <a:pt x="1470" y="1275"/>
                  </a:lnTo>
                  <a:lnTo>
                    <a:pt x="1470" y="1275"/>
                  </a:lnTo>
                  <a:lnTo>
                    <a:pt x="1470" y="1275"/>
                  </a:lnTo>
                  <a:lnTo>
                    <a:pt x="1472" y="1275"/>
                  </a:lnTo>
                  <a:lnTo>
                    <a:pt x="1472" y="1277"/>
                  </a:lnTo>
                  <a:lnTo>
                    <a:pt x="1472" y="1282"/>
                  </a:lnTo>
                  <a:lnTo>
                    <a:pt x="1472" y="1284"/>
                  </a:lnTo>
                  <a:lnTo>
                    <a:pt x="1472" y="1284"/>
                  </a:lnTo>
                  <a:lnTo>
                    <a:pt x="1472" y="1284"/>
                  </a:lnTo>
                  <a:lnTo>
                    <a:pt x="1472" y="1284"/>
                  </a:lnTo>
                  <a:lnTo>
                    <a:pt x="1472" y="1284"/>
                  </a:lnTo>
                  <a:lnTo>
                    <a:pt x="1472" y="1284"/>
                  </a:lnTo>
                  <a:lnTo>
                    <a:pt x="1472" y="1284"/>
                  </a:lnTo>
                  <a:lnTo>
                    <a:pt x="1472" y="1284"/>
                  </a:lnTo>
                  <a:lnTo>
                    <a:pt x="1474" y="1284"/>
                  </a:lnTo>
                  <a:lnTo>
                    <a:pt x="1474" y="1284"/>
                  </a:lnTo>
                  <a:lnTo>
                    <a:pt x="1474" y="1284"/>
                  </a:lnTo>
                  <a:lnTo>
                    <a:pt x="1477" y="1284"/>
                  </a:lnTo>
                  <a:lnTo>
                    <a:pt x="1477" y="1284"/>
                  </a:lnTo>
                  <a:lnTo>
                    <a:pt x="1479" y="1286"/>
                  </a:lnTo>
                  <a:lnTo>
                    <a:pt x="1479" y="1286"/>
                  </a:lnTo>
                  <a:lnTo>
                    <a:pt x="1479" y="1284"/>
                  </a:lnTo>
                  <a:lnTo>
                    <a:pt x="1479" y="1284"/>
                  </a:lnTo>
                  <a:lnTo>
                    <a:pt x="1479" y="1284"/>
                  </a:lnTo>
                  <a:lnTo>
                    <a:pt x="1479" y="1282"/>
                  </a:lnTo>
                  <a:lnTo>
                    <a:pt x="1479" y="1282"/>
                  </a:lnTo>
                  <a:lnTo>
                    <a:pt x="1479" y="1279"/>
                  </a:lnTo>
                  <a:lnTo>
                    <a:pt x="1481" y="1279"/>
                  </a:lnTo>
                  <a:lnTo>
                    <a:pt x="1481" y="1279"/>
                  </a:lnTo>
                  <a:lnTo>
                    <a:pt x="1481" y="1279"/>
                  </a:lnTo>
                  <a:lnTo>
                    <a:pt x="1481" y="1279"/>
                  </a:lnTo>
                  <a:lnTo>
                    <a:pt x="1481" y="1277"/>
                  </a:lnTo>
                  <a:lnTo>
                    <a:pt x="1481" y="1277"/>
                  </a:lnTo>
                  <a:lnTo>
                    <a:pt x="1481" y="1277"/>
                  </a:lnTo>
                  <a:lnTo>
                    <a:pt x="1481" y="1277"/>
                  </a:lnTo>
                  <a:lnTo>
                    <a:pt x="1481" y="1277"/>
                  </a:lnTo>
                  <a:lnTo>
                    <a:pt x="1479" y="1275"/>
                  </a:lnTo>
                  <a:lnTo>
                    <a:pt x="1479" y="1275"/>
                  </a:lnTo>
                  <a:lnTo>
                    <a:pt x="1479" y="1272"/>
                  </a:lnTo>
                  <a:lnTo>
                    <a:pt x="1479" y="1270"/>
                  </a:lnTo>
                  <a:lnTo>
                    <a:pt x="1479" y="1270"/>
                  </a:lnTo>
                  <a:lnTo>
                    <a:pt x="1479" y="1270"/>
                  </a:lnTo>
                  <a:lnTo>
                    <a:pt x="1479" y="1268"/>
                  </a:lnTo>
                  <a:lnTo>
                    <a:pt x="1479" y="1268"/>
                  </a:lnTo>
                  <a:lnTo>
                    <a:pt x="1477" y="1268"/>
                  </a:lnTo>
                  <a:lnTo>
                    <a:pt x="1477" y="1265"/>
                  </a:lnTo>
                  <a:lnTo>
                    <a:pt x="1477" y="1263"/>
                  </a:lnTo>
                  <a:lnTo>
                    <a:pt x="1477" y="1263"/>
                  </a:lnTo>
                  <a:lnTo>
                    <a:pt x="1477" y="1263"/>
                  </a:lnTo>
                  <a:lnTo>
                    <a:pt x="1474" y="1260"/>
                  </a:lnTo>
                  <a:lnTo>
                    <a:pt x="1474" y="1258"/>
                  </a:lnTo>
                  <a:lnTo>
                    <a:pt x="1474" y="1256"/>
                  </a:lnTo>
                  <a:lnTo>
                    <a:pt x="1474" y="1256"/>
                  </a:lnTo>
                  <a:lnTo>
                    <a:pt x="1474" y="1256"/>
                  </a:lnTo>
                  <a:lnTo>
                    <a:pt x="1474" y="1253"/>
                  </a:lnTo>
                  <a:lnTo>
                    <a:pt x="1474" y="1251"/>
                  </a:lnTo>
                  <a:lnTo>
                    <a:pt x="1472" y="1249"/>
                  </a:lnTo>
                  <a:lnTo>
                    <a:pt x="1472" y="1246"/>
                  </a:lnTo>
                  <a:lnTo>
                    <a:pt x="1465" y="1239"/>
                  </a:lnTo>
                  <a:lnTo>
                    <a:pt x="1460" y="1234"/>
                  </a:lnTo>
                  <a:lnTo>
                    <a:pt x="1458" y="1234"/>
                  </a:lnTo>
                  <a:lnTo>
                    <a:pt x="1458" y="1232"/>
                  </a:lnTo>
                  <a:lnTo>
                    <a:pt x="1453" y="1230"/>
                  </a:lnTo>
                  <a:lnTo>
                    <a:pt x="1448" y="1225"/>
                  </a:lnTo>
                  <a:lnTo>
                    <a:pt x="1448" y="1225"/>
                  </a:lnTo>
                  <a:lnTo>
                    <a:pt x="1448" y="1223"/>
                  </a:lnTo>
                  <a:lnTo>
                    <a:pt x="1448" y="1223"/>
                  </a:lnTo>
                  <a:lnTo>
                    <a:pt x="1448" y="1223"/>
                  </a:lnTo>
                  <a:lnTo>
                    <a:pt x="1446" y="1223"/>
                  </a:lnTo>
                  <a:lnTo>
                    <a:pt x="1446" y="1223"/>
                  </a:lnTo>
                  <a:lnTo>
                    <a:pt x="1446" y="1220"/>
                  </a:lnTo>
                  <a:lnTo>
                    <a:pt x="1446" y="1220"/>
                  </a:lnTo>
                  <a:lnTo>
                    <a:pt x="1446" y="1220"/>
                  </a:lnTo>
                  <a:lnTo>
                    <a:pt x="1444" y="1218"/>
                  </a:lnTo>
                  <a:lnTo>
                    <a:pt x="1439" y="1218"/>
                  </a:lnTo>
                  <a:lnTo>
                    <a:pt x="1439" y="1218"/>
                  </a:lnTo>
                  <a:lnTo>
                    <a:pt x="1437" y="1218"/>
                  </a:lnTo>
                  <a:lnTo>
                    <a:pt x="1437" y="1220"/>
                  </a:lnTo>
                  <a:lnTo>
                    <a:pt x="1437" y="1223"/>
                  </a:lnTo>
                  <a:lnTo>
                    <a:pt x="1437" y="1223"/>
                  </a:lnTo>
                  <a:lnTo>
                    <a:pt x="1437" y="1223"/>
                  </a:lnTo>
                  <a:lnTo>
                    <a:pt x="1437" y="1225"/>
                  </a:lnTo>
                  <a:lnTo>
                    <a:pt x="1437" y="1225"/>
                  </a:lnTo>
                  <a:lnTo>
                    <a:pt x="1434" y="1225"/>
                  </a:lnTo>
                  <a:lnTo>
                    <a:pt x="1434" y="1225"/>
                  </a:lnTo>
                  <a:lnTo>
                    <a:pt x="1432" y="1230"/>
                  </a:lnTo>
                  <a:lnTo>
                    <a:pt x="1429" y="1234"/>
                  </a:lnTo>
                  <a:lnTo>
                    <a:pt x="1429" y="1237"/>
                  </a:lnTo>
                  <a:lnTo>
                    <a:pt x="1429" y="1237"/>
                  </a:lnTo>
                  <a:lnTo>
                    <a:pt x="1429" y="1239"/>
                  </a:lnTo>
                  <a:lnTo>
                    <a:pt x="1429" y="1239"/>
                  </a:lnTo>
                  <a:lnTo>
                    <a:pt x="1429" y="1242"/>
                  </a:lnTo>
                  <a:lnTo>
                    <a:pt x="1429" y="1244"/>
                  </a:lnTo>
                  <a:lnTo>
                    <a:pt x="1429" y="1244"/>
                  </a:lnTo>
                  <a:lnTo>
                    <a:pt x="1429" y="1246"/>
                  </a:lnTo>
                  <a:lnTo>
                    <a:pt x="1429" y="1246"/>
                  </a:lnTo>
                  <a:lnTo>
                    <a:pt x="1429" y="1249"/>
                  </a:lnTo>
                  <a:lnTo>
                    <a:pt x="1429" y="1249"/>
                  </a:lnTo>
                  <a:lnTo>
                    <a:pt x="1429" y="1249"/>
                  </a:lnTo>
                  <a:lnTo>
                    <a:pt x="1432" y="1249"/>
                  </a:lnTo>
                  <a:lnTo>
                    <a:pt x="1432" y="1249"/>
                  </a:lnTo>
                  <a:lnTo>
                    <a:pt x="1432" y="1251"/>
                  </a:lnTo>
                  <a:lnTo>
                    <a:pt x="1432" y="1251"/>
                  </a:lnTo>
                  <a:lnTo>
                    <a:pt x="1429" y="1251"/>
                  </a:lnTo>
                  <a:lnTo>
                    <a:pt x="1429" y="1251"/>
                  </a:lnTo>
                  <a:lnTo>
                    <a:pt x="1432" y="1253"/>
                  </a:lnTo>
                  <a:lnTo>
                    <a:pt x="1432" y="1253"/>
                  </a:lnTo>
                  <a:lnTo>
                    <a:pt x="1432" y="1253"/>
                  </a:lnTo>
                  <a:lnTo>
                    <a:pt x="1432" y="1256"/>
                  </a:lnTo>
                  <a:lnTo>
                    <a:pt x="1432" y="1256"/>
                  </a:lnTo>
                  <a:lnTo>
                    <a:pt x="1432" y="1258"/>
                  </a:lnTo>
                  <a:lnTo>
                    <a:pt x="1432" y="1258"/>
                  </a:lnTo>
                  <a:lnTo>
                    <a:pt x="1432" y="1258"/>
                  </a:lnTo>
                  <a:lnTo>
                    <a:pt x="1432" y="1260"/>
                  </a:lnTo>
                  <a:lnTo>
                    <a:pt x="1432" y="1260"/>
                  </a:lnTo>
                  <a:lnTo>
                    <a:pt x="1432" y="1260"/>
                  </a:lnTo>
                  <a:lnTo>
                    <a:pt x="1432" y="1260"/>
                  </a:lnTo>
                  <a:lnTo>
                    <a:pt x="1432" y="1263"/>
                  </a:lnTo>
                  <a:lnTo>
                    <a:pt x="1429" y="1263"/>
                  </a:lnTo>
                  <a:lnTo>
                    <a:pt x="1429" y="1263"/>
                  </a:lnTo>
                  <a:lnTo>
                    <a:pt x="1429" y="1260"/>
                  </a:lnTo>
                  <a:lnTo>
                    <a:pt x="1429" y="1258"/>
                  </a:lnTo>
                  <a:lnTo>
                    <a:pt x="1429" y="1258"/>
                  </a:lnTo>
                  <a:lnTo>
                    <a:pt x="1429" y="1256"/>
                  </a:lnTo>
                  <a:lnTo>
                    <a:pt x="1429" y="1256"/>
                  </a:lnTo>
                  <a:lnTo>
                    <a:pt x="1429" y="1258"/>
                  </a:lnTo>
                  <a:lnTo>
                    <a:pt x="1427" y="1258"/>
                  </a:lnTo>
                  <a:lnTo>
                    <a:pt x="1427" y="1260"/>
                  </a:lnTo>
                  <a:lnTo>
                    <a:pt x="1427" y="1260"/>
                  </a:lnTo>
                  <a:lnTo>
                    <a:pt x="1427" y="1263"/>
                  </a:lnTo>
                  <a:lnTo>
                    <a:pt x="1427" y="1263"/>
                  </a:lnTo>
                  <a:lnTo>
                    <a:pt x="1427" y="1263"/>
                  </a:lnTo>
                  <a:lnTo>
                    <a:pt x="1425" y="1263"/>
                  </a:lnTo>
                  <a:lnTo>
                    <a:pt x="1427" y="1265"/>
                  </a:lnTo>
                  <a:lnTo>
                    <a:pt x="1427" y="1265"/>
                  </a:lnTo>
                  <a:lnTo>
                    <a:pt x="1427" y="1268"/>
                  </a:lnTo>
                  <a:lnTo>
                    <a:pt x="1427" y="1268"/>
                  </a:lnTo>
                  <a:lnTo>
                    <a:pt x="1427" y="1268"/>
                  </a:lnTo>
                  <a:lnTo>
                    <a:pt x="1429" y="1268"/>
                  </a:lnTo>
                  <a:lnTo>
                    <a:pt x="1429" y="1270"/>
                  </a:lnTo>
                  <a:lnTo>
                    <a:pt x="1429" y="1270"/>
                  </a:lnTo>
                  <a:lnTo>
                    <a:pt x="1429" y="1270"/>
                  </a:lnTo>
                  <a:lnTo>
                    <a:pt x="1429" y="1272"/>
                  </a:lnTo>
                  <a:lnTo>
                    <a:pt x="1429" y="1272"/>
                  </a:lnTo>
                  <a:lnTo>
                    <a:pt x="1429" y="1272"/>
                  </a:lnTo>
                  <a:lnTo>
                    <a:pt x="1427" y="1272"/>
                  </a:lnTo>
                  <a:lnTo>
                    <a:pt x="1427" y="1272"/>
                  </a:lnTo>
                  <a:lnTo>
                    <a:pt x="1427" y="1272"/>
                  </a:lnTo>
                  <a:lnTo>
                    <a:pt x="1427" y="1272"/>
                  </a:lnTo>
                  <a:lnTo>
                    <a:pt x="1427" y="1275"/>
                  </a:lnTo>
                  <a:lnTo>
                    <a:pt x="1427" y="1275"/>
                  </a:lnTo>
                  <a:lnTo>
                    <a:pt x="1427" y="1275"/>
                  </a:lnTo>
                  <a:lnTo>
                    <a:pt x="1425" y="1277"/>
                  </a:lnTo>
                  <a:lnTo>
                    <a:pt x="1427" y="1277"/>
                  </a:lnTo>
                  <a:lnTo>
                    <a:pt x="1425" y="1277"/>
                  </a:lnTo>
                  <a:lnTo>
                    <a:pt x="1425" y="1277"/>
                  </a:lnTo>
                  <a:lnTo>
                    <a:pt x="1427" y="1277"/>
                  </a:lnTo>
                  <a:lnTo>
                    <a:pt x="1427" y="1279"/>
                  </a:lnTo>
                  <a:lnTo>
                    <a:pt x="1427" y="1279"/>
                  </a:lnTo>
                  <a:lnTo>
                    <a:pt x="1427" y="1279"/>
                  </a:lnTo>
                  <a:lnTo>
                    <a:pt x="1425" y="1279"/>
                  </a:lnTo>
                  <a:lnTo>
                    <a:pt x="1425" y="1282"/>
                  </a:lnTo>
                  <a:lnTo>
                    <a:pt x="1425" y="1282"/>
                  </a:lnTo>
                  <a:lnTo>
                    <a:pt x="1422" y="1284"/>
                  </a:lnTo>
                  <a:lnTo>
                    <a:pt x="1422" y="1284"/>
                  </a:lnTo>
                  <a:lnTo>
                    <a:pt x="1422" y="1284"/>
                  </a:lnTo>
                  <a:lnTo>
                    <a:pt x="1422" y="1284"/>
                  </a:lnTo>
                  <a:lnTo>
                    <a:pt x="1422" y="1286"/>
                  </a:lnTo>
                  <a:lnTo>
                    <a:pt x="1422" y="1286"/>
                  </a:lnTo>
                  <a:lnTo>
                    <a:pt x="1422" y="1286"/>
                  </a:lnTo>
                  <a:lnTo>
                    <a:pt x="1422" y="1286"/>
                  </a:lnTo>
                  <a:lnTo>
                    <a:pt x="1425" y="1289"/>
                  </a:lnTo>
                  <a:lnTo>
                    <a:pt x="1422" y="1289"/>
                  </a:lnTo>
                  <a:lnTo>
                    <a:pt x="1422" y="1289"/>
                  </a:lnTo>
                  <a:lnTo>
                    <a:pt x="1420" y="1291"/>
                  </a:lnTo>
                  <a:lnTo>
                    <a:pt x="1420" y="1289"/>
                  </a:lnTo>
                  <a:lnTo>
                    <a:pt x="1420" y="1289"/>
                  </a:lnTo>
                  <a:lnTo>
                    <a:pt x="1420" y="1289"/>
                  </a:lnTo>
                  <a:lnTo>
                    <a:pt x="1420" y="1286"/>
                  </a:lnTo>
                  <a:lnTo>
                    <a:pt x="1418" y="1286"/>
                  </a:lnTo>
                  <a:lnTo>
                    <a:pt x="1418" y="1284"/>
                  </a:lnTo>
                  <a:lnTo>
                    <a:pt x="1418" y="1284"/>
                  </a:lnTo>
                  <a:lnTo>
                    <a:pt x="1418" y="1284"/>
                  </a:lnTo>
                  <a:lnTo>
                    <a:pt x="1418" y="1284"/>
                  </a:lnTo>
                  <a:lnTo>
                    <a:pt x="1418" y="1284"/>
                  </a:lnTo>
                  <a:lnTo>
                    <a:pt x="1418" y="1284"/>
                  </a:lnTo>
                  <a:lnTo>
                    <a:pt x="1418" y="1282"/>
                  </a:lnTo>
                  <a:lnTo>
                    <a:pt x="1418" y="1282"/>
                  </a:lnTo>
                  <a:lnTo>
                    <a:pt x="1415" y="1284"/>
                  </a:lnTo>
                  <a:lnTo>
                    <a:pt x="1418" y="1282"/>
                  </a:lnTo>
                  <a:lnTo>
                    <a:pt x="1418" y="1282"/>
                  </a:lnTo>
                  <a:lnTo>
                    <a:pt x="1418" y="1279"/>
                  </a:lnTo>
                  <a:lnTo>
                    <a:pt x="1413" y="1279"/>
                  </a:lnTo>
                  <a:lnTo>
                    <a:pt x="1411" y="1277"/>
                  </a:lnTo>
                  <a:lnTo>
                    <a:pt x="1411" y="1277"/>
                  </a:lnTo>
                  <a:lnTo>
                    <a:pt x="1411" y="1277"/>
                  </a:lnTo>
                  <a:lnTo>
                    <a:pt x="1411" y="1277"/>
                  </a:lnTo>
                  <a:lnTo>
                    <a:pt x="1411" y="1275"/>
                  </a:lnTo>
                  <a:lnTo>
                    <a:pt x="1411" y="1275"/>
                  </a:lnTo>
                  <a:lnTo>
                    <a:pt x="1413" y="1275"/>
                  </a:lnTo>
                  <a:lnTo>
                    <a:pt x="1413" y="1272"/>
                  </a:lnTo>
                  <a:lnTo>
                    <a:pt x="1413" y="1270"/>
                  </a:lnTo>
                  <a:lnTo>
                    <a:pt x="1413" y="1270"/>
                  </a:lnTo>
                  <a:lnTo>
                    <a:pt x="1413" y="1270"/>
                  </a:lnTo>
                  <a:lnTo>
                    <a:pt x="1413" y="1270"/>
                  </a:lnTo>
                  <a:lnTo>
                    <a:pt x="1413" y="1270"/>
                  </a:lnTo>
                  <a:lnTo>
                    <a:pt x="1413" y="1270"/>
                  </a:lnTo>
                  <a:lnTo>
                    <a:pt x="1413" y="1268"/>
                  </a:lnTo>
                  <a:lnTo>
                    <a:pt x="1411" y="1268"/>
                  </a:lnTo>
                  <a:lnTo>
                    <a:pt x="1411" y="1268"/>
                  </a:lnTo>
                  <a:lnTo>
                    <a:pt x="1411" y="1268"/>
                  </a:lnTo>
                  <a:lnTo>
                    <a:pt x="1411" y="1268"/>
                  </a:lnTo>
                  <a:lnTo>
                    <a:pt x="1413" y="1268"/>
                  </a:lnTo>
                  <a:lnTo>
                    <a:pt x="1413" y="1268"/>
                  </a:lnTo>
                  <a:lnTo>
                    <a:pt x="1413" y="1265"/>
                  </a:lnTo>
                  <a:lnTo>
                    <a:pt x="1411" y="1265"/>
                  </a:lnTo>
                  <a:lnTo>
                    <a:pt x="1411" y="1265"/>
                  </a:lnTo>
                  <a:lnTo>
                    <a:pt x="1411" y="1265"/>
                  </a:lnTo>
                  <a:lnTo>
                    <a:pt x="1411" y="1263"/>
                  </a:lnTo>
                  <a:lnTo>
                    <a:pt x="1411" y="1263"/>
                  </a:lnTo>
                  <a:lnTo>
                    <a:pt x="1411" y="1263"/>
                  </a:lnTo>
                  <a:lnTo>
                    <a:pt x="1413" y="1263"/>
                  </a:lnTo>
                  <a:lnTo>
                    <a:pt x="1413" y="1260"/>
                  </a:lnTo>
                  <a:lnTo>
                    <a:pt x="1413" y="1260"/>
                  </a:lnTo>
                  <a:lnTo>
                    <a:pt x="1413" y="1258"/>
                  </a:lnTo>
                  <a:lnTo>
                    <a:pt x="1413" y="1258"/>
                  </a:lnTo>
                  <a:lnTo>
                    <a:pt x="1411" y="1258"/>
                  </a:lnTo>
                  <a:lnTo>
                    <a:pt x="1411" y="1258"/>
                  </a:lnTo>
                  <a:lnTo>
                    <a:pt x="1411" y="1258"/>
                  </a:lnTo>
                  <a:lnTo>
                    <a:pt x="1411" y="1256"/>
                  </a:lnTo>
                  <a:lnTo>
                    <a:pt x="1411" y="1256"/>
                  </a:lnTo>
                  <a:lnTo>
                    <a:pt x="1411" y="1253"/>
                  </a:lnTo>
                  <a:lnTo>
                    <a:pt x="1411" y="1253"/>
                  </a:lnTo>
                  <a:lnTo>
                    <a:pt x="1411" y="1253"/>
                  </a:lnTo>
                  <a:lnTo>
                    <a:pt x="1411" y="1253"/>
                  </a:lnTo>
                  <a:lnTo>
                    <a:pt x="1413" y="1253"/>
                  </a:lnTo>
                  <a:lnTo>
                    <a:pt x="1413" y="1253"/>
                  </a:lnTo>
                  <a:lnTo>
                    <a:pt x="1413" y="1253"/>
                  </a:lnTo>
                  <a:lnTo>
                    <a:pt x="1413" y="1253"/>
                  </a:lnTo>
                  <a:lnTo>
                    <a:pt x="1413" y="1253"/>
                  </a:lnTo>
                  <a:lnTo>
                    <a:pt x="1413" y="1253"/>
                  </a:lnTo>
                  <a:lnTo>
                    <a:pt x="1413" y="1251"/>
                  </a:lnTo>
                  <a:lnTo>
                    <a:pt x="1413" y="1251"/>
                  </a:lnTo>
                  <a:lnTo>
                    <a:pt x="1413" y="1251"/>
                  </a:lnTo>
                  <a:lnTo>
                    <a:pt x="1413" y="1251"/>
                  </a:lnTo>
                  <a:lnTo>
                    <a:pt x="1413" y="1251"/>
                  </a:lnTo>
                  <a:lnTo>
                    <a:pt x="1411" y="1251"/>
                  </a:lnTo>
                  <a:lnTo>
                    <a:pt x="1411" y="1253"/>
                  </a:lnTo>
                  <a:lnTo>
                    <a:pt x="1408" y="1253"/>
                  </a:lnTo>
                  <a:lnTo>
                    <a:pt x="1411" y="1251"/>
                  </a:lnTo>
                  <a:lnTo>
                    <a:pt x="1411" y="1251"/>
                  </a:lnTo>
                  <a:lnTo>
                    <a:pt x="1411" y="1251"/>
                  </a:lnTo>
                  <a:lnTo>
                    <a:pt x="1411" y="1249"/>
                  </a:lnTo>
                  <a:lnTo>
                    <a:pt x="1413" y="1249"/>
                  </a:lnTo>
                  <a:lnTo>
                    <a:pt x="1413" y="1249"/>
                  </a:lnTo>
                  <a:lnTo>
                    <a:pt x="1413" y="1249"/>
                  </a:lnTo>
                  <a:lnTo>
                    <a:pt x="1413" y="1249"/>
                  </a:lnTo>
                  <a:lnTo>
                    <a:pt x="1411" y="1249"/>
                  </a:lnTo>
                  <a:lnTo>
                    <a:pt x="1411" y="1249"/>
                  </a:lnTo>
                  <a:lnTo>
                    <a:pt x="1413" y="1249"/>
                  </a:lnTo>
                  <a:lnTo>
                    <a:pt x="1413" y="1246"/>
                  </a:lnTo>
                  <a:lnTo>
                    <a:pt x="1413" y="1246"/>
                  </a:lnTo>
                  <a:lnTo>
                    <a:pt x="1411" y="1244"/>
                  </a:lnTo>
                  <a:lnTo>
                    <a:pt x="1408" y="1244"/>
                  </a:lnTo>
                  <a:lnTo>
                    <a:pt x="1408" y="1244"/>
                  </a:lnTo>
                  <a:lnTo>
                    <a:pt x="1408" y="1244"/>
                  </a:lnTo>
                  <a:lnTo>
                    <a:pt x="1408" y="1244"/>
                  </a:lnTo>
                  <a:lnTo>
                    <a:pt x="1408" y="1244"/>
                  </a:lnTo>
                  <a:lnTo>
                    <a:pt x="1408" y="1244"/>
                  </a:lnTo>
                  <a:lnTo>
                    <a:pt x="1408" y="1242"/>
                  </a:lnTo>
                  <a:lnTo>
                    <a:pt x="1408" y="1242"/>
                  </a:lnTo>
                  <a:lnTo>
                    <a:pt x="1408" y="1239"/>
                  </a:lnTo>
                  <a:lnTo>
                    <a:pt x="1406" y="1239"/>
                  </a:lnTo>
                  <a:lnTo>
                    <a:pt x="1408" y="1239"/>
                  </a:lnTo>
                  <a:lnTo>
                    <a:pt x="1406" y="1239"/>
                  </a:lnTo>
                  <a:lnTo>
                    <a:pt x="1406" y="1239"/>
                  </a:lnTo>
                  <a:lnTo>
                    <a:pt x="1406" y="1237"/>
                  </a:lnTo>
                  <a:lnTo>
                    <a:pt x="1406" y="1237"/>
                  </a:lnTo>
                  <a:lnTo>
                    <a:pt x="1406" y="1234"/>
                  </a:lnTo>
                  <a:lnTo>
                    <a:pt x="1406" y="1234"/>
                  </a:lnTo>
                  <a:lnTo>
                    <a:pt x="1406" y="1234"/>
                  </a:lnTo>
                  <a:lnTo>
                    <a:pt x="1403" y="1232"/>
                  </a:lnTo>
                  <a:lnTo>
                    <a:pt x="1403" y="1232"/>
                  </a:lnTo>
                  <a:lnTo>
                    <a:pt x="1403" y="1232"/>
                  </a:lnTo>
                  <a:lnTo>
                    <a:pt x="1401" y="1230"/>
                  </a:lnTo>
                  <a:lnTo>
                    <a:pt x="1401" y="1230"/>
                  </a:lnTo>
                  <a:lnTo>
                    <a:pt x="1401" y="1230"/>
                  </a:lnTo>
                  <a:lnTo>
                    <a:pt x="1396" y="1225"/>
                  </a:lnTo>
                  <a:lnTo>
                    <a:pt x="1394" y="1225"/>
                  </a:lnTo>
                  <a:lnTo>
                    <a:pt x="1394" y="1223"/>
                  </a:lnTo>
                  <a:lnTo>
                    <a:pt x="1394" y="1223"/>
                  </a:lnTo>
                  <a:lnTo>
                    <a:pt x="1392" y="1223"/>
                  </a:lnTo>
                  <a:lnTo>
                    <a:pt x="1392" y="1223"/>
                  </a:lnTo>
                  <a:lnTo>
                    <a:pt x="1389" y="1220"/>
                  </a:lnTo>
                  <a:lnTo>
                    <a:pt x="1387" y="1218"/>
                  </a:lnTo>
                  <a:lnTo>
                    <a:pt x="1384" y="1218"/>
                  </a:lnTo>
                  <a:lnTo>
                    <a:pt x="1384" y="1216"/>
                  </a:lnTo>
                  <a:lnTo>
                    <a:pt x="1389" y="1220"/>
                  </a:lnTo>
                  <a:lnTo>
                    <a:pt x="1392" y="1220"/>
                  </a:lnTo>
                  <a:lnTo>
                    <a:pt x="1392" y="1220"/>
                  </a:lnTo>
                  <a:lnTo>
                    <a:pt x="1394" y="1218"/>
                  </a:lnTo>
                  <a:lnTo>
                    <a:pt x="1396" y="1216"/>
                  </a:lnTo>
                  <a:lnTo>
                    <a:pt x="1396" y="1216"/>
                  </a:lnTo>
                  <a:lnTo>
                    <a:pt x="1396" y="1216"/>
                  </a:lnTo>
                  <a:lnTo>
                    <a:pt x="1396" y="1216"/>
                  </a:lnTo>
                  <a:lnTo>
                    <a:pt x="1396" y="1216"/>
                  </a:lnTo>
                  <a:lnTo>
                    <a:pt x="1396" y="1218"/>
                  </a:lnTo>
                  <a:lnTo>
                    <a:pt x="1396" y="1218"/>
                  </a:lnTo>
                  <a:lnTo>
                    <a:pt x="1396" y="1218"/>
                  </a:lnTo>
                  <a:lnTo>
                    <a:pt x="1396" y="1218"/>
                  </a:lnTo>
                  <a:lnTo>
                    <a:pt x="1394" y="1220"/>
                  </a:lnTo>
                  <a:lnTo>
                    <a:pt x="1394" y="1220"/>
                  </a:lnTo>
                  <a:lnTo>
                    <a:pt x="1394" y="1223"/>
                  </a:lnTo>
                  <a:lnTo>
                    <a:pt x="1394" y="1223"/>
                  </a:lnTo>
                  <a:lnTo>
                    <a:pt x="1399" y="1220"/>
                  </a:lnTo>
                  <a:lnTo>
                    <a:pt x="1399" y="1220"/>
                  </a:lnTo>
                  <a:lnTo>
                    <a:pt x="1399" y="1220"/>
                  </a:lnTo>
                  <a:lnTo>
                    <a:pt x="1399" y="1220"/>
                  </a:lnTo>
                  <a:lnTo>
                    <a:pt x="1399" y="1220"/>
                  </a:lnTo>
                  <a:lnTo>
                    <a:pt x="1396" y="1220"/>
                  </a:lnTo>
                  <a:lnTo>
                    <a:pt x="1396" y="1220"/>
                  </a:lnTo>
                  <a:lnTo>
                    <a:pt x="1399" y="1220"/>
                  </a:lnTo>
                  <a:lnTo>
                    <a:pt x="1399" y="1220"/>
                  </a:lnTo>
                  <a:lnTo>
                    <a:pt x="1396" y="1220"/>
                  </a:lnTo>
                  <a:lnTo>
                    <a:pt x="1396" y="1223"/>
                  </a:lnTo>
                  <a:lnTo>
                    <a:pt x="1396" y="1223"/>
                  </a:lnTo>
                  <a:lnTo>
                    <a:pt x="1396" y="1223"/>
                  </a:lnTo>
                  <a:lnTo>
                    <a:pt x="1399" y="1223"/>
                  </a:lnTo>
                  <a:lnTo>
                    <a:pt x="1399" y="1223"/>
                  </a:lnTo>
                  <a:lnTo>
                    <a:pt x="1399" y="1223"/>
                  </a:lnTo>
                  <a:lnTo>
                    <a:pt x="1399" y="1220"/>
                  </a:lnTo>
                  <a:lnTo>
                    <a:pt x="1399" y="1220"/>
                  </a:lnTo>
                  <a:lnTo>
                    <a:pt x="1399" y="1223"/>
                  </a:lnTo>
                  <a:lnTo>
                    <a:pt x="1399" y="1223"/>
                  </a:lnTo>
                  <a:lnTo>
                    <a:pt x="1399" y="1223"/>
                  </a:lnTo>
                  <a:lnTo>
                    <a:pt x="1401" y="1223"/>
                  </a:lnTo>
                  <a:lnTo>
                    <a:pt x="1401" y="1220"/>
                  </a:lnTo>
                  <a:lnTo>
                    <a:pt x="1401" y="1220"/>
                  </a:lnTo>
                  <a:lnTo>
                    <a:pt x="1401" y="1220"/>
                  </a:lnTo>
                  <a:lnTo>
                    <a:pt x="1401" y="1220"/>
                  </a:lnTo>
                  <a:lnTo>
                    <a:pt x="1401" y="1220"/>
                  </a:lnTo>
                  <a:lnTo>
                    <a:pt x="1401" y="1218"/>
                  </a:lnTo>
                  <a:lnTo>
                    <a:pt x="1401" y="1218"/>
                  </a:lnTo>
                  <a:lnTo>
                    <a:pt x="1401" y="1218"/>
                  </a:lnTo>
                  <a:lnTo>
                    <a:pt x="1401" y="1218"/>
                  </a:lnTo>
                  <a:lnTo>
                    <a:pt x="1401" y="1216"/>
                  </a:lnTo>
                  <a:lnTo>
                    <a:pt x="1401" y="1216"/>
                  </a:lnTo>
                  <a:lnTo>
                    <a:pt x="1401" y="1216"/>
                  </a:lnTo>
                  <a:lnTo>
                    <a:pt x="1401" y="1216"/>
                  </a:lnTo>
                  <a:lnTo>
                    <a:pt x="1401" y="1213"/>
                  </a:lnTo>
                  <a:lnTo>
                    <a:pt x="1403" y="1213"/>
                  </a:lnTo>
                  <a:lnTo>
                    <a:pt x="1403" y="1211"/>
                  </a:lnTo>
                  <a:lnTo>
                    <a:pt x="1403" y="1211"/>
                  </a:lnTo>
                  <a:lnTo>
                    <a:pt x="1403" y="1211"/>
                  </a:lnTo>
                  <a:lnTo>
                    <a:pt x="1406" y="1211"/>
                  </a:lnTo>
                  <a:lnTo>
                    <a:pt x="1406" y="1211"/>
                  </a:lnTo>
                  <a:lnTo>
                    <a:pt x="1406" y="1211"/>
                  </a:lnTo>
                  <a:lnTo>
                    <a:pt x="1406" y="1211"/>
                  </a:lnTo>
                  <a:lnTo>
                    <a:pt x="1403" y="1211"/>
                  </a:lnTo>
                  <a:lnTo>
                    <a:pt x="1403" y="1211"/>
                  </a:lnTo>
                  <a:lnTo>
                    <a:pt x="1403" y="1208"/>
                  </a:lnTo>
                  <a:lnTo>
                    <a:pt x="1403" y="1208"/>
                  </a:lnTo>
                  <a:lnTo>
                    <a:pt x="1403" y="1208"/>
                  </a:lnTo>
                  <a:lnTo>
                    <a:pt x="1403" y="1208"/>
                  </a:lnTo>
                  <a:lnTo>
                    <a:pt x="1403" y="1208"/>
                  </a:lnTo>
                  <a:lnTo>
                    <a:pt x="1406" y="1208"/>
                  </a:lnTo>
                  <a:lnTo>
                    <a:pt x="1406" y="1208"/>
                  </a:lnTo>
                  <a:lnTo>
                    <a:pt x="1406" y="1208"/>
                  </a:lnTo>
                  <a:lnTo>
                    <a:pt x="1406" y="1208"/>
                  </a:lnTo>
                  <a:lnTo>
                    <a:pt x="1406" y="1211"/>
                  </a:lnTo>
                  <a:lnTo>
                    <a:pt x="1406" y="1211"/>
                  </a:lnTo>
                  <a:lnTo>
                    <a:pt x="1406" y="1211"/>
                  </a:lnTo>
                  <a:lnTo>
                    <a:pt x="1406" y="1211"/>
                  </a:lnTo>
                  <a:lnTo>
                    <a:pt x="1408" y="1208"/>
                  </a:lnTo>
                  <a:lnTo>
                    <a:pt x="1408" y="1208"/>
                  </a:lnTo>
                  <a:lnTo>
                    <a:pt x="1408" y="1208"/>
                  </a:lnTo>
                  <a:lnTo>
                    <a:pt x="1411" y="1208"/>
                  </a:lnTo>
                  <a:lnTo>
                    <a:pt x="1413" y="1208"/>
                  </a:lnTo>
                  <a:lnTo>
                    <a:pt x="1413" y="1208"/>
                  </a:lnTo>
                  <a:lnTo>
                    <a:pt x="1411" y="1208"/>
                  </a:lnTo>
                  <a:lnTo>
                    <a:pt x="1411" y="1208"/>
                  </a:lnTo>
                  <a:lnTo>
                    <a:pt x="1411" y="1208"/>
                  </a:lnTo>
                  <a:lnTo>
                    <a:pt x="1411" y="1208"/>
                  </a:lnTo>
                  <a:lnTo>
                    <a:pt x="1411" y="1208"/>
                  </a:lnTo>
                  <a:lnTo>
                    <a:pt x="1411" y="1208"/>
                  </a:lnTo>
                  <a:lnTo>
                    <a:pt x="1411" y="1206"/>
                  </a:lnTo>
                  <a:lnTo>
                    <a:pt x="1411" y="1206"/>
                  </a:lnTo>
                  <a:lnTo>
                    <a:pt x="1411" y="1206"/>
                  </a:lnTo>
                  <a:lnTo>
                    <a:pt x="1411" y="1206"/>
                  </a:lnTo>
                  <a:lnTo>
                    <a:pt x="1408" y="1206"/>
                  </a:lnTo>
                  <a:lnTo>
                    <a:pt x="1408" y="1206"/>
                  </a:lnTo>
                  <a:lnTo>
                    <a:pt x="1408" y="1206"/>
                  </a:lnTo>
                  <a:lnTo>
                    <a:pt x="1408" y="1206"/>
                  </a:lnTo>
                  <a:lnTo>
                    <a:pt x="1406" y="1204"/>
                  </a:lnTo>
                  <a:lnTo>
                    <a:pt x="1403" y="1204"/>
                  </a:lnTo>
                  <a:lnTo>
                    <a:pt x="1403" y="1204"/>
                  </a:lnTo>
                  <a:lnTo>
                    <a:pt x="1401" y="1204"/>
                  </a:lnTo>
                  <a:lnTo>
                    <a:pt x="1401" y="1204"/>
                  </a:lnTo>
                  <a:lnTo>
                    <a:pt x="1401" y="1206"/>
                  </a:lnTo>
                  <a:lnTo>
                    <a:pt x="1399" y="1206"/>
                  </a:lnTo>
                  <a:lnTo>
                    <a:pt x="1399" y="1206"/>
                  </a:lnTo>
                  <a:lnTo>
                    <a:pt x="1399" y="1204"/>
                  </a:lnTo>
                  <a:lnTo>
                    <a:pt x="1399" y="1204"/>
                  </a:lnTo>
                  <a:lnTo>
                    <a:pt x="1396" y="1204"/>
                  </a:lnTo>
                  <a:lnTo>
                    <a:pt x="1396" y="1204"/>
                  </a:lnTo>
                  <a:lnTo>
                    <a:pt x="1394" y="1204"/>
                  </a:lnTo>
                  <a:lnTo>
                    <a:pt x="1394" y="1206"/>
                  </a:lnTo>
                  <a:lnTo>
                    <a:pt x="1392" y="1206"/>
                  </a:lnTo>
                  <a:lnTo>
                    <a:pt x="1392" y="1204"/>
                  </a:lnTo>
                  <a:lnTo>
                    <a:pt x="1392" y="1201"/>
                  </a:lnTo>
                  <a:lnTo>
                    <a:pt x="1392" y="1201"/>
                  </a:lnTo>
                  <a:lnTo>
                    <a:pt x="1389" y="1201"/>
                  </a:lnTo>
                  <a:lnTo>
                    <a:pt x="1387" y="1204"/>
                  </a:lnTo>
                  <a:lnTo>
                    <a:pt x="1387" y="1204"/>
                  </a:lnTo>
                  <a:lnTo>
                    <a:pt x="1387" y="1204"/>
                  </a:lnTo>
                  <a:lnTo>
                    <a:pt x="1387" y="1206"/>
                  </a:lnTo>
                  <a:lnTo>
                    <a:pt x="1382" y="1206"/>
                  </a:lnTo>
                  <a:lnTo>
                    <a:pt x="1382" y="1206"/>
                  </a:lnTo>
                  <a:lnTo>
                    <a:pt x="1382" y="1206"/>
                  </a:lnTo>
                  <a:lnTo>
                    <a:pt x="1382" y="1206"/>
                  </a:lnTo>
                  <a:lnTo>
                    <a:pt x="1382" y="1206"/>
                  </a:lnTo>
                  <a:lnTo>
                    <a:pt x="1382" y="1204"/>
                  </a:lnTo>
                  <a:lnTo>
                    <a:pt x="1387" y="1204"/>
                  </a:lnTo>
                  <a:lnTo>
                    <a:pt x="1387" y="1201"/>
                  </a:lnTo>
                  <a:lnTo>
                    <a:pt x="1389" y="1199"/>
                  </a:lnTo>
                  <a:lnTo>
                    <a:pt x="1389" y="1199"/>
                  </a:lnTo>
                  <a:lnTo>
                    <a:pt x="1392" y="1199"/>
                  </a:lnTo>
                  <a:lnTo>
                    <a:pt x="1392" y="1197"/>
                  </a:lnTo>
                  <a:lnTo>
                    <a:pt x="1392" y="1197"/>
                  </a:lnTo>
                  <a:lnTo>
                    <a:pt x="1392" y="1197"/>
                  </a:lnTo>
                  <a:lnTo>
                    <a:pt x="1389" y="1197"/>
                  </a:lnTo>
                  <a:lnTo>
                    <a:pt x="1389" y="1197"/>
                  </a:lnTo>
                  <a:lnTo>
                    <a:pt x="1389" y="1197"/>
                  </a:lnTo>
                  <a:lnTo>
                    <a:pt x="1389" y="1197"/>
                  </a:lnTo>
                  <a:lnTo>
                    <a:pt x="1387" y="1197"/>
                  </a:lnTo>
                  <a:lnTo>
                    <a:pt x="1387" y="1197"/>
                  </a:lnTo>
                  <a:lnTo>
                    <a:pt x="1387" y="1197"/>
                  </a:lnTo>
                  <a:lnTo>
                    <a:pt x="1387" y="1197"/>
                  </a:lnTo>
                  <a:lnTo>
                    <a:pt x="1387" y="1197"/>
                  </a:lnTo>
                  <a:lnTo>
                    <a:pt x="1387" y="1197"/>
                  </a:lnTo>
                  <a:lnTo>
                    <a:pt x="1384" y="1197"/>
                  </a:lnTo>
                  <a:lnTo>
                    <a:pt x="1384" y="1194"/>
                  </a:lnTo>
                  <a:lnTo>
                    <a:pt x="1382" y="1194"/>
                  </a:lnTo>
                  <a:lnTo>
                    <a:pt x="1382" y="1197"/>
                  </a:lnTo>
                  <a:lnTo>
                    <a:pt x="1382" y="1197"/>
                  </a:lnTo>
                  <a:lnTo>
                    <a:pt x="1382" y="1197"/>
                  </a:lnTo>
                  <a:lnTo>
                    <a:pt x="1382" y="1197"/>
                  </a:lnTo>
                  <a:lnTo>
                    <a:pt x="1382" y="1197"/>
                  </a:lnTo>
                  <a:lnTo>
                    <a:pt x="1382" y="1197"/>
                  </a:lnTo>
                  <a:lnTo>
                    <a:pt x="1382" y="1199"/>
                  </a:lnTo>
                  <a:lnTo>
                    <a:pt x="1380" y="1199"/>
                  </a:lnTo>
                  <a:lnTo>
                    <a:pt x="1380" y="1199"/>
                  </a:lnTo>
                  <a:lnTo>
                    <a:pt x="1380" y="1199"/>
                  </a:lnTo>
                  <a:lnTo>
                    <a:pt x="1380" y="1199"/>
                  </a:lnTo>
                  <a:lnTo>
                    <a:pt x="1380" y="1201"/>
                  </a:lnTo>
                  <a:lnTo>
                    <a:pt x="1380" y="1201"/>
                  </a:lnTo>
                  <a:lnTo>
                    <a:pt x="1380" y="1204"/>
                  </a:lnTo>
                  <a:lnTo>
                    <a:pt x="1380" y="1204"/>
                  </a:lnTo>
                  <a:lnTo>
                    <a:pt x="1377" y="1204"/>
                  </a:lnTo>
                  <a:lnTo>
                    <a:pt x="1377" y="1204"/>
                  </a:lnTo>
                  <a:lnTo>
                    <a:pt x="1377" y="1204"/>
                  </a:lnTo>
                  <a:lnTo>
                    <a:pt x="1377" y="1206"/>
                  </a:lnTo>
                  <a:lnTo>
                    <a:pt x="1377" y="1206"/>
                  </a:lnTo>
                  <a:lnTo>
                    <a:pt x="1375" y="1206"/>
                  </a:lnTo>
                  <a:lnTo>
                    <a:pt x="1375" y="1208"/>
                  </a:lnTo>
                  <a:lnTo>
                    <a:pt x="1375" y="1208"/>
                  </a:lnTo>
                  <a:lnTo>
                    <a:pt x="1375" y="1206"/>
                  </a:lnTo>
                  <a:lnTo>
                    <a:pt x="1373" y="1206"/>
                  </a:lnTo>
                  <a:lnTo>
                    <a:pt x="1373" y="1206"/>
                  </a:lnTo>
                  <a:lnTo>
                    <a:pt x="1368" y="1204"/>
                  </a:lnTo>
                  <a:lnTo>
                    <a:pt x="1368" y="1204"/>
                  </a:lnTo>
                  <a:lnTo>
                    <a:pt x="1368" y="1204"/>
                  </a:lnTo>
                  <a:lnTo>
                    <a:pt x="1368" y="1204"/>
                  </a:lnTo>
                  <a:lnTo>
                    <a:pt x="1368" y="1204"/>
                  </a:lnTo>
                  <a:lnTo>
                    <a:pt x="1368" y="1204"/>
                  </a:lnTo>
                  <a:lnTo>
                    <a:pt x="1366" y="1204"/>
                  </a:lnTo>
                  <a:lnTo>
                    <a:pt x="1366" y="1201"/>
                  </a:lnTo>
                  <a:lnTo>
                    <a:pt x="1366" y="1201"/>
                  </a:lnTo>
                  <a:lnTo>
                    <a:pt x="1366" y="1201"/>
                  </a:lnTo>
                  <a:lnTo>
                    <a:pt x="1366" y="1201"/>
                  </a:lnTo>
                  <a:lnTo>
                    <a:pt x="1366" y="1201"/>
                  </a:lnTo>
                  <a:lnTo>
                    <a:pt x="1366" y="1201"/>
                  </a:lnTo>
                  <a:lnTo>
                    <a:pt x="1366" y="1201"/>
                  </a:lnTo>
                  <a:lnTo>
                    <a:pt x="1363" y="1199"/>
                  </a:lnTo>
                  <a:lnTo>
                    <a:pt x="1363" y="1199"/>
                  </a:lnTo>
                  <a:lnTo>
                    <a:pt x="1363" y="1199"/>
                  </a:lnTo>
                  <a:lnTo>
                    <a:pt x="1363" y="1199"/>
                  </a:lnTo>
                  <a:lnTo>
                    <a:pt x="1363" y="1199"/>
                  </a:lnTo>
                  <a:lnTo>
                    <a:pt x="1363" y="1199"/>
                  </a:lnTo>
                  <a:lnTo>
                    <a:pt x="1366" y="1199"/>
                  </a:lnTo>
                  <a:lnTo>
                    <a:pt x="1368" y="1199"/>
                  </a:lnTo>
                  <a:lnTo>
                    <a:pt x="1368" y="1199"/>
                  </a:lnTo>
                  <a:lnTo>
                    <a:pt x="1368" y="1199"/>
                  </a:lnTo>
                  <a:lnTo>
                    <a:pt x="1366" y="1199"/>
                  </a:lnTo>
                  <a:lnTo>
                    <a:pt x="1366" y="1197"/>
                  </a:lnTo>
                  <a:lnTo>
                    <a:pt x="1363" y="1197"/>
                  </a:lnTo>
                  <a:lnTo>
                    <a:pt x="1363" y="1197"/>
                  </a:lnTo>
                  <a:lnTo>
                    <a:pt x="1363" y="1197"/>
                  </a:lnTo>
                  <a:lnTo>
                    <a:pt x="1363" y="1197"/>
                  </a:lnTo>
                  <a:lnTo>
                    <a:pt x="1363" y="1197"/>
                  </a:lnTo>
                  <a:lnTo>
                    <a:pt x="1363" y="1197"/>
                  </a:lnTo>
                  <a:lnTo>
                    <a:pt x="1361" y="1197"/>
                  </a:lnTo>
                  <a:lnTo>
                    <a:pt x="1361" y="1197"/>
                  </a:lnTo>
                  <a:lnTo>
                    <a:pt x="1361" y="1197"/>
                  </a:lnTo>
                  <a:lnTo>
                    <a:pt x="1361" y="1197"/>
                  </a:lnTo>
                  <a:lnTo>
                    <a:pt x="1361" y="1194"/>
                  </a:lnTo>
                  <a:lnTo>
                    <a:pt x="1361" y="1194"/>
                  </a:lnTo>
                  <a:lnTo>
                    <a:pt x="1361" y="1194"/>
                  </a:lnTo>
                  <a:lnTo>
                    <a:pt x="1361" y="1194"/>
                  </a:lnTo>
                  <a:lnTo>
                    <a:pt x="1361" y="1194"/>
                  </a:lnTo>
                  <a:lnTo>
                    <a:pt x="1361" y="1194"/>
                  </a:lnTo>
                  <a:lnTo>
                    <a:pt x="1361" y="1194"/>
                  </a:lnTo>
                  <a:lnTo>
                    <a:pt x="1361" y="1194"/>
                  </a:lnTo>
                  <a:lnTo>
                    <a:pt x="1361" y="1197"/>
                  </a:lnTo>
                  <a:lnTo>
                    <a:pt x="1361" y="1197"/>
                  </a:lnTo>
                  <a:lnTo>
                    <a:pt x="1358" y="1197"/>
                  </a:lnTo>
                  <a:lnTo>
                    <a:pt x="1358" y="1194"/>
                  </a:lnTo>
                  <a:lnTo>
                    <a:pt x="1356" y="1197"/>
                  </a:lnTo>
                  <a:lnTo>
                    <a:pt x="1354" y="1197"/>
                  </a:lnTo>
                  <a:lnTo>
                    <a:pt x="1354" y="1199"/>
                  </a:lnTo>
                  <a:lnTo>
                    <a:pt x="1354" y="1199"/>
                  </a:lnTo>
                  <a:lnTo>
                    <a:pt x="1351" y="1197"/>
                  </a:lnTo>
                  <a:lnTo>
                    <a:pt x="1351" y="1199"/>
                  </a:lnTo>
                  <a:lnTo>
                    <a:pt x="1349" y="1199"/>
                  </a:lnTo>
                  <a:lnTo>
                    <a:pt x="1349" y="1197"/>
                  </a:lnTo>
                  <a:lnTo>
                    <a:pt x="1349" y="1197"/>
                  </a:lnTo>
                  <a:lnTo>
                    <a:pt x="1349" y="1197"/>
                  </a:lnTo>
                  <a:lnTo>
                    <a:pt x="1351" y="1197"/>
                  </a:lnTo>
                  <a:lnTo>
                    <a:pt x="1351" y="1197"/>
                  </a:lnTo>
                  <a:lnTo>
                    <a:pt x="1354" y="1197"/>
                  </a:lnTo>
                  <a:lnTo>
                    <a:pt x="1354" y="1194"/>
                  </a:lnTo>
                  <a:lnTo>
                    <a:pt x="1356" y="1194"/>
                  </a:lnTo>
                  <a:lnTo>
                    <a:pt x="1356" y="1194"/>
                  </a:lnTo>
                  <a:lnTo>
                    <a:pt x="1356" y="1194"/>
                  </a:lnTo>
                  <a:lnTo>
                    <a:pt x="1349" y="1194"/>
                  </a:lnTo>
                  <a:lnTo>
                    <a:pt x="1349" y="1194"/>
                  </a:lnTo>
                  <a:lnTo>
                    <a:pt x="1349" y="1194"/>
                  </a:lnTo>
                  <a:lnTo>
                    <a:pt x="1354" y="1192"/>
                  </a:lnTo>
                  <a:lnTo>
                    <a:pt x="1354" y="1189"/>
                  </a:lnTo>
                  <a:lnTo>
                    <a:pt x="1354" y="1189"/>
                  </a:lnTo>
                  <a:lnTo>
                    <a:pt x="1354" y="1189"/>
                  </a:lnTo>
                  <a:lnTo>
                    <a:pt x="1354" y="1189"/>
                  </a:lnTo>
                  <a:lnTo>
                    <a:pt x="1354" y="1189"/>
                  </a:lnTo>
                  <a:lnTo>
                    <a:pt x="1356" y="1189"/>
                  </a:lnTo>
                  <a:lnTo>
                    <a:pt x="1356" y="1189"/>
                  </a:lnTo>
                  <a:lnTo>
                    <a:pt x="1356" y="1189"/>
                  </a:lnTo>
                  <a:lnTo>
                    <a:pt x="1356" y="1189"/>
                  </a:lnTo>
                  <a:lnTo>
                    <a:pt x="1356" y="1189"/>
                  </a:lnTo>
                  <a:lnTo>
                    <a:pt x="1356" y="1189"/>
                  </a:lnTo>
                  <a:lnTo>
                    <a:pt x="1356" y="1187"/>
                  </a:lnTo>
                  <a:lnTo>
                    <a:pt x="1356" y="1187"/>
                  </a:lnTo>
                  <a:lnTo>
                    <a:pt x="1356" y="1187"/>
                  </a:lnTo>
                  <a:lnTo>
                    <a:pt x="1356" y="1187"/>
                  </a:lnTo>
                  <a:lnTo>
                    <a:pt x="1356" y="1187"/>
                  </a:lnTo>
                  <a:lnTo>
                    <a:pt x="1358" y="1187"/>
                  </a:lnTo>
                  <a:lnTo>
                    <a:pt x="1358" y="1185"/>
                  </a:lnTo>
                  <a:lnTo>
                    <a:pt x="1358" y="1185"/>
                  </a:lnTo>
                  <a:lnTo>
                    <a:pt x="1358" y="1185"/>
                  </a:lnTo>
                  <a:lnTo>
                    <a:pt x="1358" y="1185"/>
                  </a:lnTo>
                  <a:lnTo>
                    <a:pt x="1358" y="1185"/>
                  </a:lnTo>
                  <a:lnTo>
                    <a:pt x="1361" y="1185"/>
                  </a:lnTo>
                  <a:lnTo>
                    <a:pt x="1361" y="1185"/>
                  </a:lnTo>
                  <a:lnTo>
                    <a:pt x="1361" y="1185"/>
                  </a:lnTo>
                  <a:lnTo>
                    <a:pt x="1361" y="1182"/>
                  </a:lnTo>
                  <a:lnTo>
                    <a:pt x="1363" y="1182"/>
                  </a:lnTo>
                  <a:lnTo>
                    <a:pt x="1363" y="1180"/>
                  </a:lnTo>
                  <a:lnTo>
                    <a:pt x="1363" y="1180"/>
                  </a:lnTo>
                  <a:lnTo>
                    <a:pt x="1363" y="1180"/>
                  </a:lnTo>
                  <a:lnTo>
                    <a:pt x="1363" y="1180"/>
                  </a:lnTo>
                  <a:lnTo>
                    <a:pt x="1363" y="1180"/>
                  </a:lnTo>
                  <a:lnTo>
                    <a:pt x="1363" y="1180"/>
                  </a:lnTo>
                  <a:lnTo>
                    <a:pt x="1366" y="1175"/>
                  </a:lnTo>
                  <a:lnTo>
                    <a:pt x="1366" y="1175"/>
                  </a:lnTo>
                  <a:lnTo>
                    <a:pt x="1366" y="1175"/>
                  </a:lnTo>
                  <a:lnTo>
                    <a:pt x="1366" y="1173"/>
                  </a:lnTo>
                  <a:lnTo>
                    <a:pt x="1368" y="1173"/>
                  </a:lnTo>
                  <a:lnTo>
                    <a:pt x="1368" y="1173"/>
                  </a:lnTo>
                  <a:lnTo>
                    <a:pt x="1368" y="1173"/>
                  </a:lnTo>
                  <a:lnTo>
                    <a:pt x="1370" y="1173"/>
                  </a:lnTo>
                  <a:lnTo>
                    <a:pt x="1370" y="1171"/>
                  </a:lnTo>
                  <a:lnTo>
                    <a:pt x="1368" y="1168"/>
                  </a:lnTo>
                  <a:lnTo>
                    <a:pt x="1368" y="1168"/>
                  </a:lnTo>
                  <a:lnTo>
                    <a:pt x="1366" y="1168"/>
                  </a:lnTo>
                  <a:lnTo>
                    <a:pt x="1361" y="1168"/>
                  </a:lnTo>
                  <a:lnTo>
                    <a:pt x="1358" y="1168"/>
                  </a:lnTo>
                  <a:lnTo>
                    <a:pt x="1356" y="1171"/>
                  </a:lnTo>
                  <a:lnTo>
                    <a:pt x="1356" y="1171"/>
                  </a:lnTo>
                  <a:lnTo>
                    <a:pt x="1356" y="1171"/>
                  </a:lnTo>
                  <a:lnTo>
                    <a:pt x="1356" y="1168"/>
                  </a:lnTo>
                  <a:lnTo>
                    <a:pt x="1356" y="1168"/>
                  </a:lnTo>
                  <a:lnTo>
                    <a:pt x="1354" y="1168"/>
                  </a:lnTo>
                  <a:lnTo>
                    <a:pt x="1354" y="1168"/>
                  </a:lnTo>
                  <a:lnTo>
                    <a:pt x="1356" y="1168"/>
                  </a:lnTo>
                  <a:lnTo>
                    <a:pt x="1356" y="1168"/>
                  </a:lnTo>
                  <a:lnTo>
                    <a:pt x="1358" y="1166"/>
                  </a:lnTo>
                  <a:lnTo>
                    <a:pt x="1358" y="1163"/>
                  </a:lnTo>
                  <a:lnTo>
                    <a:pt x="1358" y="1163"/>
                  </a:lnTo>
                  <a:lnTo>
                    <a:pt x="1358" y="1163"/>
                  </a:lnTo>
                  <a:lnTo>
                    <a:pt x="1358" y="1163"/>
                  </a:lnTo>
                  <a:lnTo>
                    <a:pt x="1358" y="1161"/>
                  </a:lnTo>
                  <a:lnTo>
                    <a:pt x="1356" y="1161"/>
                  </a:lnTo>
                  <a:lnTo>
                    <a:pt x="1356" y="1161"/>
                  </a:lnTo>
                  <a:lnTo>
                    <a:pt x="1356" y="1161"/>
                  </a:lnTo>
                  <a:lnTo>
                    <a:pt x="1358" y="1161"/>
                  </a:lnTo>
                  <a:lnTo>
                    <a:pt x="1358" y="1161"/>
                  </a:lnTo>
                  <a:lnTo>
                    <a:pt x="1361" y="1161"/>
                  </a:lnTo>
                  <a:lnTo>
                    <a:pt x="1361" y="1161"/>
                  </a:lnTo>
                  <a:lnTo>
                    <a:pt x="1361" y="1161"/>
                  </a:lnTo>
                  <a:lnTo>
                    <a:pt x="1361" y="1161"/>
                  </a:lnTo>
                  <a:lnTo>
                    <a:pt x="1361" y="1161"/>
                  </a:lnTo>
                  <a:lnTo>
                    <a:pt x="1361" y="1161"/>
                  </a:lnTo>
                  <a:lnTo>
                    <a:pt x="1361" y="1159"/>
                  </a:lnTo>
                  <a:lnTo>
                    <a:pt x="1361" y="1159"/>
                  </a:lnTo>
                  <a:lnTo>
                    <a:pt x="1361" y="1159"/>
                  </a:lnTo>
                  <a:lnTo>
                    <a:pt x="1361" y="1159"/>
                  </a:lnTo>
                  <a:lnTo>
                    <a:pt x="1361" y="1159"/>
                  </a:lnTo>
                  <a:lnTo>
                    <a:pt x="1358" y="1156"/>
                  </a:lnTo>
                  <a:lnTo>
                    <a:pt x="1361" y="1156"/>
                  </a:lnTo>
                  <a:lnTo>
                    <a:pt x="1361" y="1156"/>
                  </a:lnTo>
                  <a:lnTo>
                    <a:pt x="1361" y="1156"/>
                  </a:lnTo>
                  <a:lnTo>
                    <a:pt x="1361" y="1156"/>
                  </a:lnTo>
                  <a:lnTo>
                    <a:pt x="1361" y="1156"/>
                  </a:lnTo>
                  <a:lnTo>
                    <a:pt x="1363" y="1159"/>
                  </a:lnTo>
                  <a:lnTo>
                    <a:pt x="1361" y="1161"/>
                  </a:lnTo>
                  <a:lnTo>
                    <a:pt x="1363" y="1161"/>
                  </a:lnTo>
                  <a:lnTo>
                    <a:pt x="1363" y="1161"/>
                  </a:lnTo>
                  <a:lnTo>
                    <a:pt x="1366" y="1161"/>
                  </a:lnTo>
                  <a:lnTo>
                    <a:pt x="1366" y="1161"/>
                  </a:lnTo>
                  <a:lnTo>
                    <a:pt x="1366" y="1163"/>
                  </a:lnTo>
                  <a:lnTo>
                    <a:pt x="1368" y="1163"/>
                  </a:lnTo>
                  <a:lnTo>
                    <a:pt x="1368" y="1163"/>
                  </a:lnTo>
                  <a:lnTo>
                    <a:pt x="1368" y="1166"/>
                  </a:lnTo>
                  <a:lnTo>
                    <a:pt x="1370" y="1163"/>
                  </a:lnTo>
                  <a:lnTo>
                    <a:pt x="1373" y="1163"/>
                  </a:lnTo>
                  <a:lnTo>
                    <a:pt x="1373" y="1163"/>
                  </a:lnTo>
                  <a:lnTo>
                    <a:pt x="1375" y="1163"/>
                  </a:lnTo>
                  <a:lnTo>
                    <a:pt x="1377" y="1163"/>
                  </a:lnTo>
                  <a:lnTo>
                    <a:pt x="1380" y="1161"/>
                  </a:lnTo>
                  <a:lnTo>
                    <a:pt x="1380" y="1161"/>
                  </a:lnTo>
                  <a:lnTo>
                    <a:pt x="1380" y="1161"/>
                  </a:lnTo>
                  <a:lnTo>
                    <a:pt x="1380" y="1159"/>
                  </a:lnTo>
                  <a:lnTo>
                    <a:pt x="1377" y="1159"/>
                  </a:lnTo>
                  <a:lnTo>
                    <a:pt x="1377" y="1156"/>
                  </a:lnTo>
                  <a:lnTo>
                    <a:pt x="1375" y="1156"/>
                  </a:lnTo>
                  <a:lnTo>
                    <a:pt x="1375" y="1156"/>
                  </a:lnTo>
                  <a:lnTo>
                    <a:pt x="1375" y="1156"/>
                  </a:lnTo>
                  <a:lnTo>
                    <a:pt x="1375" y="1156"/>
                  </a:lnTo>
                  <a:lnTo>
                    <a:pt x="1375" y="1159"/>
                  </a:lnTo>
                  <a:lnTo>
                    <a:pt x="1375" y="1159"/>
                  </a:lnTo>
                  <a:lnTo>
                    <a:pt x="1375" y="1159"/>
                  </a:lnTo>
                  <a:lnTo>
                    <a:pt x="1375" y="1159"/>
                  </a:lnTo>
                  <a:lnTo>
                    <a:pt x="1375" y="1156"/>
                  </a:lnTo>
                  <a:lnTo>
                    <a:pt x="1375" y="1154"/>
                  </a:lnTo>
                  <a:lnTo>
                    <a:pt x="1373" y="1152"/>
                  </a:lnTo>
                  <a:lnTo>
                    <a:pt x="1373" y="1152"/>
                  </a:lnTo>
                  <a:lnTo>
                    <a:pt x="1375" y="1152"/>
                  </a:lnTo>
                  <a:lnTo>
                    <a:pt x="1375" y="1152"/>
                  </a:lnTo>
                  <a:lnTo>
                    <a:pt x="1375" y="1149"/>
                  </a:lnTo>
                  <a:lnTo>
                    <a:pt x="1373" y="1149"/>
                  </a:lnTo>
                  <a:lnTo>
                    <a:pt x="1373" y="1147"/>
                  </a:lnTo>
                  <a:lnTo>
                    <a:pt x="1373" y="1147"/>
                  </a:lnTo>
                  <a:lnTo>
                    <a:pt x="1373" y="1147"/>
                  </a:lnTo>
                  <a:lnTo>
                    <a:pt x="1373" y="1149"/>
                  </a:lnTo>
                  <a:lnTo>
                    <a:pt x="1373" y="1149"/>
                  </a:lnTo>
                  <a:lnTo>
                    <a:pt x="1373" y="1149"/>
                  </a:lnTo>
                  <a:lnTo>
                    <a:pt x="1373" y="1149"/>
                  </a:lnTo>
                  <a:lnTo>
                    <a:pt x="1370" y="1149"/>
                  </a:lnTo>
                  <a:lnTo>
                    <a:pt x="1370" y="1147"/>
                  </a:lnTo>
                  <a:lnTo>
                    <a:pt x="1370" y="1147"/>
                  </a:lnTo>
                  <a:lnTo>
                    <a:pt x="1370" y="1147"/>
                  </a:lnTo>
                  <a:lnTo>
                    <a:pt x="1370" y="1147"/>
                  </a:lnTo>
                  <a:lnTo>
                    <a:pt x="1368" y="1149"/>
                  </a:lnTo>
                  <a:lnTo>
                    <a:pt x="1368" y="1149"/>
                  </a:lnTo>
                  <a:lnTo>
                    <a:pt x="1370" y="1149"/>
                  </a:lnTo>
                  <a:lnTo>
                    <a:pt x="1370" y="1152"/>
                  </a:lnTo>
                  <a:lnTo>
                    <a:pt x="1370" y="1152"/>
                  </a:lnTo>
                  <a:lnTo>
                    <a:pt x="1370" y="1152"/>
                  </a:lnTo>
                  <a:lnTo>
                    <a:pt x="1368" y="1152"/>
                  </a:lnTo>
                  <a:lnTo>
                    <a:pt x="1368" y="1152"/>
                  </a:lnTo>
                  <a:lnTo>
                    <a:pt x="1368" y="1154"/>
                  </a:lnTo>
                  <a:lnTo>
                    <a:pt x="1368" y="1154"/>
                  </a:lnTo>
                  <a:lnTo>
                    <a:pt x="1368" y="1154"/>
                  </a:lnTo>
                  <a:lnTo>
                    <a:pt x="1368" y="1154"/>
                  </a:lnTo>
                  <a:lnTo>
                    <a:pt x="1368" y="1156"/>
                  </a:lnTo>
                  <a:lnTo>
                    <a:pt x="1368" y="1154"/>
                  </a:lnTo>
                  <a:lnTo>
                    <a:pt x="1368" y="1154"/>
                  </a:lnTo>
                  <a:lnTo>
                    <a:pt x="1368" y="1154"/>
                  </a:lnTo>
                  <a:lnTo>
                    <a:pt x="1368" y="1154"/>
                  </a:lnTo>
                  <a:lnTo>
                    <a:pt x="1368" y="1154"/>
                  </a:lnTo>
                  <a:lnTo>
                    <a:pt x="1368" y="1154"/>
                  </a:lnTo>
                  <a:lnTo>
                    <a:pt x="1368" y="1152"/>
                  </a:lnTo>
                  <a:lnTo>
                    <a:pt x="1366" y="1152"/>
                  </a:lnTo>
                  <a:lnTo>
                    <a:pt x="1366" y="1152"/>
                  </a:lnTo>
                  <a:lnTo>
                    <a:pt x="1366" y="1152"/>
                  </a:lnTo>
                  <a:lnTo>
                    <a:pt x="1366" y="1152"/>
                  </a:lnTo>
                  <a:lnTo>
                    <a:pt x="1366" y="1152"/>
                  </a:lnTo>
                  <a:lnTo>
                    <a:pt x="1368" y="1152"/>
                  </a:lnTo>
                  <a:lnTo>
                    <a:pt x="1368" y="1149"/>
                  </a:lnTo>
                  <a:lnTo>
                    <a:pt x="1366" y="1149"/>
                  </a:lnTo>
                  <a:lnTo>
                    <a:pt x="1368" y="1149"/>
                  </a:lnTo>
                  <a:lnTo>
                    <a:pt x="1368" y="1147"/>
                  </a:lnTo>
                  <a:lnTo>
                    <a:pt x="1368" y="1147"/>
                  </a:lnTo>
                  <a:lnTo>
                    <a:pt x="1366" y="1147"/>
                  </a:lnTo>
                  <a:lnTo>
                    <a:pt x="1366" y="1147"/>
                  </a:lnTo>
                  <a:lnTo>
                    <a:pt x="1366" y="1147"/>
                  </a:lnTo>
                  <a:lnTo>
                    <a:pt x="1366" y="1147"/>
                  </a:lnTo>
                  <a:lnTo>
                    <a:pt x="1366" y="1147"/>
                  </a:lnTo>
                  <a:lnTo>
                    <a:pt x="1366" y="1147"/>
                  </a:lnTo>
                  <a:lnTo>
                    <a:pt x="1366" y="1147"/>
                  </a:lnTo>
                  <a:lnTo>
                    <a:pt x="1366" y="1147"/>
                  </a:lnTo>
                  <a:lnTo>
                    <a:pt x="1366" y="1147"/>
                  </a:lnTo>
                  <a:lnTo>
                    <a:pt x="1366" y="1145"/>
                  </a:lnTo>
                  <a:lnTo>
                    <a:pt x="1366" y="1145"/>
                  </a:lnTo>
                  <a:lnTo>
                    <a:pt x="1366" y="1145"/>
                  </a:lnTo>
                  <a:lnTo>
                    <a:pt x="1363" y="1142"/>
                  </a:lnTo>
                  <a:lnTo>
                    <a:pt x="1363" y="1142"/>
                  </a:lnTo>
                  <a:lnTo>
                    <a:pt x="1363" y="1142"/>
                  </a:lnTo>
                  <a:lnTo>
                    <a:pt x="1363" y="1142"/>
                  </a:lnTo>
                  <a:lnTo>
                    <a:pt x="1363" y="1142"/>
                  </a:lnTo>
                  <a:lnTo>
                    <a:pt x="1363" y="1142"/>
                  </a:lnTo>
                  <a:lnTo>
                    <a:pt x="1363" y="1142"/>
                  </a:lnTo>
                  <a:lnTo>
                    <a:pt x="1363" y="1142"/>
                  </a:lnTo>
                  <a:lnTo>
                    <a:pt x="1363" y="1140"/>
                  </a:lnTo>
                  <a:lnTo>
                    <a:pt x="1363" y="1140"/>
                  </a:lnTo>
                  <a:lnTo>
                    <a:pt x="1363" y="1140"/>
                  </a:lnTo>
                  <a:lnTo>
                    <a:pt x="1361" y="1140"/>
                  </a:lnTo>
                  <a:lnTo>
                    <a:pt x="1361" y="1140"/>
                  </a:lnTo>
                  <a:lnTo>
                    <a:pt x="1358" y="1140"/>
                  </a:lnTo>
                  <a:lnTo>
                    <a:pt x="1361" y="1137"/>
                  </a:lnTo>
                  <a:lnTo>
                    <a:pt x="1361" y="1137"/>
                  </a:lnTo>
                  <a:lnTo>
                    <a:pt x="1361" y="1137"/>
                  </a:lnTo>
                  <a:lnTo>
                    <a:pt x="1361" y="1137"/>
                  </a:lnTo>
                  <a:lnTo>
                    <a:pt x="1361" y="1137"/>
                  </a:lnTo>
                  <a:lnTo>
                    <a:pt x="1361" y="1137"/>
                  </a:lnTo>
                  <a:lnTo>
                    <a:pt x="1361" y="1137"/>
                  </a:lnTo>
                  <a:lnTo>
                    <a:pt x="1361" y="1137"/>
                  </a:lnTo>
                  <a:lnTo>
                    <a:pt x="1361" y="1137"/>
                  </a:lnTo>
                  <a:lnTo>
                    <a:pt x="1361" y="1135"/>
                  </a:lnTo>
                  <a:lnTo>
                    <a:pt x="1358" y="1135"/>
                  </a:lnTo>
                  <a:lnTo>
                    <a:pt x="1358" y="1135"/>
                  </a:lnTo>
                  <a:lnTo>
                    <a:pt x="1358" y="1135"/>
                  </a:lnTo>
                  <a:lnTo>
                    <a:pt x="1361" y="1133"/>
                  </a:lnTo>
                  <a:lnTo>
                    <a:pt x="1361" y="1133"/>
                  </a:lnTo>
                  <a:lnTo>
                    <a:pt x="1361" y="1133"/>
                  </a:lnTo>
                  <a:lnTo>
                    <a:pt x="1361" y="1133"/>
                  </a:lnTo>
                  <a:lnTo>
                    <a:pt x="1361" y="1133"/>
                  </a:lnTo>
                  <a:lnTo>
                    <a:pt x="1361" y="1133"/>
                  </a:lnTo>
                  <a:lnTo>
                    <a:pt x="1361" y="1133"/>
                  </a:lnTo>
                  <a:lnTo>
                    <a:pt x="1361" y="1130"/>
                  </a:lnTo>
                  <a:lnTo>
                    <a:pt x="1358" y="1130"/>
                  </a:lnTo>
                  <a:lnTo>
                    <a:pt x="1358" y="1130"/>
                  </a:lnTo>
                  <a:lnTo>
                    <a:pt x="1358" y="1133"/>
                  </a:lnTo>
                  <a:lnTo>
                    <a:pt x="1358" y="1133"/>
                  </a:lnTo>
                  <a:lnTo>
                    <a:pt x="1358" y="1133"/>
                  </a:lnTo>
                  <a:lnTo>
                    <a:pt x="1358" y="1133"/>
                  </a:lnTo>
                  <a:lnTo>
                    <a:pt x="1358" y="1133"/>
                  </a:lnTo>
                  <a:lnTo>
                    <a:pt x="1358" y="1130"/>
                  </a:lnTo>
                  <a:lnTo>
                    <a:pt x="1358" y="1130"/>
                  </a:lnTo>
                  <a:lnTo>
                    <a:pt x="1358" y="1130"/>
                  </a:lnTo>
                  <a:lnTo>
                    <a:pt x="1358" y="1130"/>
                  </a:lnTo>
                  <a:lnTo>
                    <a:pt x="1356" y="1128"/>
                  </a:lnTo>
                  <a:lnTo>
                    <a:pt x="1356" y="1128"/>
                  </a:lnTo>
                  <a:lnTo>
                    <a:pt x="1356" y="1128"/>
                  </a:lnTo>
                  <a:lnTo>
                    <a:pt x="1356" y="1128"/>
                  </a:lnTo>
                  <a:lnTo>
                    <a:pt x="1356" y="1128"/>
                  </a:lnTo>
                  <a:lnTo>
                    <a:pt x="1356" y="1128"/>
                  </a:lnTo>
                  <a:lnTo>
                    <a:pt x="1356" y="1128"/>
                  </a:lnTo>
                  <a:lnTo>
                    <a:pt x="1351" y="1126"/>
                  </a:lnTo>
                  <a:lnTo>
                    <a:pt x="1349" y="1128"/>
                  </a:lnTo>
                  <a:lnTo>
                    <a:pt x="1349" y="1126"/>
                  </a:lnTo>
                  <a:lnTo>
                    <a:pt x="1349" y="1126"/>
                  </a:lnTo>
                  <a:lnTo>
                    <a:pt x="1349" y="1126"/>
                  </a:lnTo>
                  <a:lnTo>
                    <a:pt x="1349" y="1126"/>
                  </a:lnTo>
                  <a:lnTo>
                    <a:pt x="1349" y="1126"/>
                  </a:lnTo>
                  <a:lnTo>
                    <a:pt x="1349" y="1126"/>
                  </a:lnTo>
                  <a:lnTo>
                    <a:pt x="1349" y="1123"/>
                  </a:lnTo>
                  <a:lnTo>
                    <a:pt x="1349" y="1123"/>
                  </a:lnTo>
                  <a:lnTo>
                    <a:pt x="1349" y="1123"/>
                  </a:lnTo>
                  <a:lnTo>
                    <a:pt x="1349" y="1123"/>
                  </a:lnTo>
                  <a:lnTo>
                    <a:pt x="1349" y="1123"/>
                  </a:lnTo>
                  <a:lnTo>
                    <a:pt x="1349" y="1123"/>
                  </a:lnTo>
                  <a:lnTo>
                    <a:pt x="1349" y="1123"/>
                  </a:lnTo>
                  <a:lnTo>
                    <a:pt x="1349" y="1123"/>
                  </a:lnTo>
                  <a:lnTo>
                    <a:pt x="1349" y="1121"/>
                  </a:lnTo>
                  <a:lnTo>
                    <a:pt x="1349" y="1121"/>
                  </a:lnTo>
                  <a:lnTo>
                    <a:pt x="1349" y="1121"/>
                  </a:lnTo>
                  <a:lnTo>
                    <a:pt x="1349" y="1121"/>
                  </a:lnTo>
                  <a:lnTo>
                    <a:pt x="1347" y="1119"/>
                  </a:lnTo>
                  <a:lnTo>
                    <a:pt x="1347" y="1119"/>
                  </a:lnTo>
                  <a:lnTo>
                    <a:pt x="1344" y="1119"/>
                  </a:lnTo>
                  <a:lnTo>
                    <a:pt x="1342" y="1119"/>
                  </a:lnTo>
                  <a:lnTo>
                    <a:pt x="1340" y="1116"/>
                  </a:lnTo>
                  <a:lnTo>
                    <a:pt x="1340" y="1114"/>
                  </a:lnTo>
                  <a:lnTo>
                    <a:pt x="1340" y="1114"/>
                  </a:lnTo>
                  <a:lnTo>
                    <a:pt x="1340" y="1114"/>
                  </a:lnTo>
                  <a:lnTo>
                    <a:pt x="1342" y="1114"/>
                  </a:lnTo>
                  <a:lnTo>
                    <a:pt x="1342" y="1116"/>
                  </a:lnTo>
                  <a:lnTo>
                    <a:pt x="1342" y="1116"/>
                  </a:lnTo>
                  <a:lnTo>
                    <a:pt x="1342" y="1116"/>
                  </a:lnTo>
                  <a:lnTo>
                    <a:pt x="1344" y="1114"/>
                  </a:lnTo>
                  <a:lnTo>
                    <a:pt x="1344" y="1114"/>
                  </a:lnTo>
                  <a:lnTo>
                    <a:pt x="1344" y="1114"/>
                  </a:lnTo>
                  <a:lnTo>
                    <a:pt x="1344" y="1114"/>
                  </a:lnTo>
                  <a:lnTo>
                    <a:pt x="1342" y="1111"/>
                  </a:lnTo>
                  <a:lnTo>
                    <a:pt x="1342" y="1109"/>
                  </a:lnTo>
                  <a:lnTo>
                    <a:pt x="1342" y="1109"/>
                  </a:lnTo>
                  <a:lnTo>
                    <a:pt x="1342" y="1109"/>
                  </a:lnTo>
                  <a:lnTo>
                    <a:pt x="1342" y="1104"/>
                  </a:lnTo>
                  <a:lnTo>
                    <a:pt x="1342" y="1104"/>
                  </a:lnTo>
                  <a:lnTo>
                    <a:pt x="1342" y="1102"/>
                  </a:lnTo>
                  <a:lnTo>
                    <a:pt x="1344" y="1102"/>
                  </a:lnTo>
                  <a:lnTo>
                    <a:pt x="1342" y="1100"/>
                  </a:lnTo>
                  <a:lnTo>
                    <a:pt x="1342" y="1100"/>
                  </a:lnTo>
                  <a:lnTo>
                    <a:pt x="1342" y="1100"/>
                  </a:lnTo>
                  <a:lnTo>
                    <a:pt x="1342" y="1097"/>
                  </a:lnTo>
                  <a:lnTo>
                    <a:pt x="1342" y="1097"/>
                  </a:lnTo>
                  <a:lnTo>
                    <a:pt x="1342" y="1097"/>
                  </a:lnTo>
                  <a:lnTo>
                    <a:pt x="1342" y="1097"/>
                  </a:lnTo>
                  <a:lnTo>
                    <a:pt x="1342" y="1097"/>
                  </a:lnTo>
                  <a:lnTo>
                    <a:pt x="1342" y="1095"/>
                  </a:lnTo>
                  <a:lnTo>
                    <a:pt x="1342" y="1095"/>
                  </a:lnTo>
                  <a:lnTo>
                    <a:pt x="1342" y="1095"/>
                  </a:lnTo>
                  <a:lnTo>
                    <a:pt x="1342" y="1093"/>
                  </a:lnTo>
                  <a:lnTo>
                    <a:pt x="1342" y="1093"/>
                  </a:lnTo>
                  <a:lnTo>
                    <a:pt x="1342" y="1090"/>
                  </a:lnTo>
                  <a:lnTo>
                    <a:pt x="1342" y="1088"/>
                  </a:lnTo>
                  <a:lnTo>
                    <a:pt x="1342" y="1088"/>
                  </a:lnTo>
                  <a:lnTo>
                    <a:pt x="1340" y="1088"/>
                  </a:lnTo>
                  <a:lnTo>
                    <a:pt x="1340" y="1085"/>
                  </a:lnTo>
                  <a:lnTo>
                    <a:pt x="1340" y="1083"/>
                  </a:lnTo>
                  <a:lnTo>
                    <a:pt x="1340" y="1083"/>
                  </a:lnTo>
                  <a:lnTo>
                    <a:pt x="1340" y="1083"/>
                  </a:lnTo>
                  <a:lnTo>
                    <a:pt x="1340" y="1081"/>
                  </a:lnTo>
                  <a:lnTo>
                    <a:pt x="1340" y="1081"/>
                  </a:lnTo>
                  <a:lnTo>
                    <a:pt x="1340" y="1081"/>
                  </a:lnTo>
                  <a:lnTo>
                    <a:pt x="1340" y="1078"/>
                  </a:lnTo>
                  <a:lnTo>
                    <a:pt x="1337" y="1078"/>
                  </a:lnTo>
                  <a:lnTo>
                    <a:pt x="1337" y="1078"/>
                  </a:lnTo>
                  <a:lnTo>
                    <a:pt x="1335" y="1078"/>
                  </a:lnTo>
                  <a:lnTo>
                    <a:pt x="1335" y="1078"/>
                  </a:lnTo>
                  <a:lnTo>
                    <a:pt x="1335" y="1076"/>
                  </a:lnTo>
                  <a:lnTo>
                    <a:pt x="1335" y="1076"/>
                  </a:lnTo>
                  <a:lnTo>
                    <a:pt x="1335" y="1076"/>
                  </a:lnTo>
                  <a:lnTo>
                    <a:pt x="1335" y="1076"/>
                  </a:lnTo>
                  <a:lnTo>
                    <a:pt x="1335" y="1074"/>
                  </a:lnTo>
                  <a:lnTo>
                    <a:pt x="1335" y="1074"/>
                  </a:lnTo>
                  <a:lnTo>
                    <a:pt x="1335" y="1074"/>
                  </a:lnTo>
                  <a:lnTo>
                    <a:pt x="1335" y="1074"/>
                  </a:lnTo>
                  <a:lnTo>
                    <a:pt x="1335" y="1074"/>
                  </a:lnTo>
                  <a:lnTo>
                    <a:pt x="1332" y="1074"/>
                  </a:lnTo>
                  <a:lnTo>
                    <a:pt x="1332" y="1071"/>
                  </a:lnTo>
                  <a:lnTo>
                    <a:pt x="1332" y="1071"/>
                  </a:lnTo>
                  <a:lnTo>
                    <a:pt x="1330" y="1069"/>
                  </a:lnTo>
                  <a:lnTo>
                    <a:pt x="1330" y="1069"/>
                  </a:lnTo>
                  <a:lnTo>
                    <a:pt x="1330" y="1069"/>
                  </a:lnTo>
                  <a:lnTo>
                    <a:pt x="1330" y="1066"/>
                  </a:lnTo>
                  <a:lnTo>
                    <a:pt x="1328" y="1066"/>
                  </a:lnTo>
                  <a:lnTo>
                    <a:pt x="1325" y="1066"/>
                  </a:lnTo>
                  <a:lnTo>
                    <a:pt x="1323" y="1064"/>
                  </a:lnTo>
                  <a:lnTo>
                    <a:pt x="1321" y="1062"/>
                  </a:lnTo>
                  <a:lnTo>
                    <a:pt x="1318" y="1059"/>
                  </a:lnTo>
                  <a:lnTo>
                    <a:pt x="1318" y="1059"/>
                  </a:lnTo>
                  <a:lnTo>
                    <a:pt x="1321" y="1055"/>
                  </a:lnTo>
                  <a:lnTo>
                    <a:pt x="1321" y="1055"/>
                  </a:lnTo>
                  <a:lnTo>
                    <a:pt x="1321" y="1052"/>
                  </a:lnTo>
                  <a:lnTo>
                    <a:pt x="1321" y="1050"/>
                  </a:lnTo>
                  <a:lnTo>
                    <a:pt x="1321" y="1050"/>
                  </a:lnTo>
                  <a:lnTo>
                    <a:pt x="1318" y="1050"/>
                  </a:lnTo>
                  <a:lnTo>
                    <a:pt x="1318" y="1050"/>
                  </a:lnTo>
                  <a:lnTo>
                    <a:pt x="1318" y="1052"/>
                  </a:lnTo>
                  <a:lnTo>
                    <a:pt x="1316" y="1052"/>
                  </a:lnTo>
                  <a:lnTo>
                    <a:pt x="1316" y="1052"/>
                  </a:lnTo>
                  <a:lnTo>
                    <a:pt x="1316" y="1052"/>
                  </a:lnTo>
                  <a:lnTo>
                    <a:pt x="1313" y="1052"/>
                  </a:lnTo>
                  <a:lnTo>
                    <a:pt x="1313" y="1050"/>
                  </a:lnTo>
                  <a:lnTo>
                    <a:pt x="1313" y="1050"/>
                  </a:lnTo>
                  <a:lnTo>
                    <a:pt x="1311" y="1052"/>
                  </a:lnTo>
                  <a:lnTo>
                    <a:pt x="1311" y="1052"/>
                  </a:lnTo>
                  <a:lnTo>
                    <a:pt x="1311" y="1050"/>
                  </a:lnTo>
                  <a:lnTo>
                    <a:pt x="1311" y="1050"/>
                  </a:lnTo>
                  <a:lnTo>
                    <a:pt x="1309" y="1050"/>
                  </a:lnTo>
                  <a:lnTo>
                    <a:pt x="1309" y="1050"/>
                  </a:lnTo>
                  <a:lnTo>
                    <a:pt x="1309" y="1052"/>
                  </a:lnTo>
                  <a:lnTo>
                    <a:pt x="1309" y="1055"/>
                  </a:lnTo>
                  <a:lnTo>
                    <a:pt x="1306" y="1059"/>
                  </a:lnTo>
                  <a:lnTo>
                    <a:pt x="1304" y="1059"/>
                  </a:lnTo>
                  <a:lnTo>
                    <a:pt x="1304" y="1057"/>
                  </a:lnTo>
                  <a:lnTo>
                    <a:pt x="1306" y="1055"/>
                  </a:lnTo>
                  <a:lnTo>
                    <a:pt x="1306" y="1055"/>
                  </a:lnTo>
                  <a:lnTo>
                    <a:pt x="1304" y="1052"/>
                  </a:lnTo>
                  <a:lnTo>
                    <a:pt x="1304" y="1052"/>
                  </a:lnTo>
                  <a:lnTo>
                    <a:pt x="1306" y="1052"/>
                  </a:lnTo>
                  <a:lnTo>
                    <a:pt x="1306" y="1052"/>
                  </a:lnTo>
                  <a:lnTo>
                    <a:pt x="1306" y="1050"/>
                  </a:lnTo>
                  <a:lnTo>
                    <a:pt x="1306" y="1050"/>
                  </a:lnTo>
                  <a:lnTo>
                    <a:pt x="1306" y="1050"/>
                  </a:lnTo>
                  <a:lnTo>
                    <a:pt x="1306" y="1050"/>
                  </a:lnTo>
                  <a:lnTo>
                    <a:pt x="1306" y="1050"/>
                  </a:lnTo>
                  <a:lnTo>
                    <a:pt x="1306" y="1050"/>
                  </a:lnTo>
                  <a:lnTo>
                    <a:pt x="1306" y="1048"/>
                  </a:lnTo>
                  <a:lnTo>
                    <a:pt x="1306" y="1048"/>
                  </a:lnTo>
                  <a:lnTo>
                    <a:pt x="1304" y="1048"/>
                  </a:lnTo>
                  <a:lnTo>
                    <a:pt x="1304" y="1050"/>
                  </a:lnTo>
                  <a:lnTo>
                    <a:pt x="1304" y="1050"/>
                  </a:lnTo>
                  <a:lnTo>
                    <a:pt x="1304" y="1050"/>
                  </a:lnTo>
                  <a:lnTo>
                    <a:pt x="1304" y="1050"/>
                  </a:lnTo>
                  <a:lnTo>
                    <a:pt x="1304" y="1048"/>
                  </a:lnTo>
                  <a:lnTo>
                    <a:pt x="1304" y="1048"/>
                  </a:lnTo>
                  <a:lnTo>
                    <a:pt x="1304" y="1048"/>
                  </a:lnTo>
                  <a:lnTo>
                    <a:pt x="1302" y="1048"/>
                  </a:lnTo>
                  <a:lnTo>
                    <a:pt x="1302" y="1048"/>
                  </a:lnTo>
                  <a:lnTo>
                    <a:pt x="1302" y="1048"/>
                  </a:lnTo>
                  <a:lnTo>
                    <a:pt x="1302" y="1052"/>
                  </a:lnTo>
                  <a:lnTo>
                    <a:pt x="1302" y="1052"/>
                  </a:lnTo>
                  <a:lnTo>
                    <a:pt x="1302" y="1055"/>
                  </a:lnTo>
                  <a:lnTo>
                    <a:pt x="1302" y="1052"/>
                  </a:lnTo>
                  <a:lnTo>
                    <a:pt x="1299" y="1052"/>
                  </a:lnTo>
                  <a:lnTo>
                    <a:pt x="1299" y="1052"/>
                  </a:lnTo>
                  <a:lnTo>
                    <a:pt x="1299" y="1052"/>
                  </a:lnTo>
                  <a:lnTo>
                    <a:pt x="1299" y="1052"/>
                  </a:lnTo>
                  <a:lnTo>
                    <a:pt x="1299" y="1050"/>
                  </a:lnTo>
                  <a:lnTo>
                    <a:pt x="1299" y="1050"/>
                  </a:lnTo>
                  <a:lnTo>
                    <a:pt x="1299" y="1048"/>
                  </a:lnTo>
                  <a:lnTo>
                    <a:pt x="1302" y="1045"/>
                  </a:lnTo>
                  <a:lnTo>
                    <a:pt x="1302" y="1045"/>
                  </a:lnTo>
                  <a:lnTo>
                    <a:pt x="1304" y="1045"/>
                  </a:lnTo>
                  <a:lnTo>
                    <a:pt x="1304" y="1045"/>
                  </a:lnTo>
                  <a:lnTo>
                    <a:pt x="1304" y="1045"/>
                  </a:lnTo>
                  <a:lnTo>
                    <a:pt x="1304" y="1043"/>
                  </a:lnTo>
                  <a:lnTo>
                    <a:pt x="1304" y="1043"/>
                  </a:lnTo>
                  <a:lnTo>
                    <a:pt x="1302" y="1043"/>
                  </a:lnTo>
                  <a:lnTo>
                    <a:pt x="1302" y="1043"/>
                  </a:lnTo>
                  <a:lnTo>
                    <a:pt x="1302" y="1043"/>
                  </a:lnTo>
                  <a:lnTo>
                    <a:pt x="1304" y="1040"/>
                  </a:lnTo>
                  <a:lnTo>
                    <a:pt x="1304" y="1040"/>
                  </a:lnTo>
                  <a:lnTo>
                    <a:pt x="1304" y="1040"/>
                  </a:lnTo>
                  <a:lnTo>
                    <a:pt x="1304" y="1038"/>
                  </a:lnTo>
                  <a:lnTo>
                    <a:pt x="1304" y="1038"/>
                  </a:lnTo>
                  <a:lnTo>
                    <a:pt x="1302" y="1038"/>
                  </a:lnTo>
                  <a:lnTo>
                    <a:pt x="1302" y="1038"/>
                  </a:lnTo>
                  <a:lnTo>
                    <a:pt x="1302" y="1036"/>
                  </a:lnTo>
                  <a:lnTo>
                    <a:pt x="1302" y="1036"/>
                  </a:lnTo>
                  <a:lnTo>
                    <a:pt x="1302" y="1036"/>
                  </a:lnTo>
                  <a:lnTo>
                    <a:pt x="1302" y="1036"/>
                  </a:lnTo>
                  <a:lnTo>
                    <a:pt x="1295" y="1038"/>
                  </a:lnTo>
                  <a:lnTo>
                    <a:pt x="1285" y="1040"/>
                  </a:lnTo>
                  <a:lnTo>
                    <a:pt x="1285" y="1040"/>
                  </a:lnTo>
                  <a:lnTo>
                    <a:pt x="1285" y="1040"/>
                  </a:lnTo>
                  <a:lnTo>
                    <a:pt x="1285" y="1040"/>
                  </a:lnTo>
                  <a:lnTo>
                    <a:pt x="1285" y="1040"/>
                  </a:lnTo>
                  <a:lnTo>
                    <a:pt x="1285" y="1040"/>
                  </a:lnTo>
                  <a:lnTo>
                    <a:pt x="1285" y="1043"/>
                  </a:lnTo>
                  <a:lnTo>
                    <a:pt x="1285" y="1043"/>
                  </a:lnTo>
                  <a:lnTo>
                    <a:pt x="1285" y="1043"/>
                  </a:lnTo>
                  <a:lnTo>
                    <a:pt x="1285" y="1043"/>
                  </a:lnTo>
                  <a:lnTo>
                    <a:pt x="1285" y="1043"/>
                  </a:lnTo>
                  <a:lnTo>
                    <a:pt x="1285" y="1043"/>
                  </a:lnTo>
                  <a:lnTo>
                    <a:pt x="1285" y="1045"/>
                  </a:lnTo>
                  <a:lnTo>
                    <a:pt x="1285" y="1045"/>
                  </a:lnTo>
                  <a:lnTo>
                    <a:pt x="1285" y="1045"/>
                  </a:lnTo>
                  <a:lnTo>
                    <a:pt x="1287" y="1045"/>
                  </a:lnTo>
                  <a:lnTo>
                    <a:pt x="1287" y="1048"/>
                  </a:lnTo>
                  <a:lnTo>
                    <a:pt x="1287" y="1048"/>
                  </a:lnTo>
                  <a:lnTo>
                    <a:pt x="1290" y="1045"/>
                  </a:lnTo>
                  <a:lnTo>
                    <a:pt x="1295" y="1045"/>
                  </a:lnTo>
                  <a:lnTo>
                    <a:pt x="1297" y="1048"/>
                  </a:lnTo>
                  <a:lnTo>
                    <a:pt x="1297" y="1048"/>
                  </a:lnTo>
                  <a:lnTo>
                    <a:pt x="1299" y="1045"/>
                  </a:lnTo>
                  <a:lnTo>
                    <a:pt x="1299" y="1045"/>
                  </a:lnTo>
                  <a:lnTo>
                    <a:pt x="1299" y="1045"/>
                  </a:lnTo>
                  <a:lnTo>
                    <a:pt x="1299" y="1048"/>
                  </a:lnTo>
                  <a:lnTo>
                    <a:pt x="1297" y="1048"/>
                  </a:lnTo>
                  <a:lnTo>
                    <a:pt x="1297" y="1048"/>
                  </a:lnTo>
                  <a:lnTo>
                    <a:pt x="1295" y="1048"/>
                  </a:lnTo>
                  <a:lnTo>
                    <a:pt x="1292" y="1048"/>
                  </a:lnTo>
                  <a:lnTo>
                    <a:pt x="1290" y="1048"/>
                  </a:lnTo>
                  <a:lnTo>
                    <a:pt x="1290" y="1048"/>
                  </a:lnTo>
                  <a:lnTo>
                    <a:pt x="1290" y="1048"/>
                  </a:lnTo>
                  <a:lnTo>
                    <a:pt x="1290" y="1048"/>
                  </a:lnTo>
                  <a:lnTo>
                    <a:pt x="1287" y="1048"/>
                  </a:lnTo>
                  <a:lnTo>
                    <a:pt x="1287" y="1048"/>
                  </a:lnTo>
                  <a:lnTo>
                    <a:pt x="1285" y="1048"/>
                  </a:lnTo>
                  <a:lnTo>
                    <a:pt x="1285" y="1050"/>
                  </a:lnTo>
                  <a:lnTo>
                    <a:pt x="1285" y="1050"/>
                  </a:lnTo>
                  <a:lnTo>
                    <a:pt x="1285" y="1052"/>
                  </a:lnTo>
                  <a:lnTo>
                    <a:pt x="1285" y="1052"/>
                  </a:lnTo>
                  <a:lnTo>
                    <a:pt x="1285" y="1052"/>
                  </a:lnTo>
                  <a:lnTo>
                    <a:pt x="1285" y="1055"/>
                  </a:lnTo>
                  <a:lnTo>
                    <a:pt x="1285" y="1055"/>
                  </a:lnTo>
                  <a:lnTo>
                    <a:pt x="1285" y="1055"/>
                  </a:lnTo>
                  <a:lnTo>
                    <a:pt x="1285" y="1055"/>
                  </a:lnTo>
                  <a:lnTo>
                    <a:pt x="1285" y="1057"/>
                  </a:lnTo>
                  <a:lnTo>
                    <a:pt x="1280" y="1057"/>
                  </a:lnTo>
                  <a:lnTo>
                    <a:pt x="1280" y="1057"/>
                  </a:lnTo>
                  <a:lnTo>
                    <a:pt x="1278" y="1057"/>
                  </a:lnTo>
                  <a:lnTo>
                    <a:pt x="1278" y="1057"/>
                  </a:lnTo>
                  <a:lnTo>
                    <a:pt x="1278" y="1059"/>
                  </a:lnTo>
                  <a:lnTo>
                    <a:pt x="1278" y="1059"/>
                  </a:lnTo>
                  <a:lnTo>
                    <a:pt x="1278" y="1059"/>
                  </a:lnTo>
                  <a:lnTo>
                    <a:pt x="1278" y="1059"/>
                  </a:lnTo>
                  <a:lnTo>
                    <a:pt x="1276" y="1059"/>
                  </a:lnTo>
                  <a:lnTo>
                    <a:pt x="1276" y="1059"/>
                  </a:lnTo>
                  <a:lnTo>
                    <a:pt x="1276" y="1062"/>
                  </a:lnTo>
                  <a:lnTo>
                    <a:pt x="1276" y="1062"/>
                  </a:lnTo>
                  <a:lnTo>
                    <a:pt x="1276" y="1062"/>
                  </a:lnTo>
                  <a:lnTo>
                    <a:pt x="1276" y="1062"/>
                  </a:lnTo>
                  <a:lnTo>
                    <a:pt x="1273" y="1062"/>
                  </a:lnTo>
                  <a:lnTo>
                    <a:pt x="1273" y="1064"/>
                  </a:lnTo>
                  <a:lnTo>
                    <a:pt x="1271" y="1064"/>
                  </a:lnTo>
                  <a:lnTo>
                    <a:pt x="1271" y="1064"/>
                  </a:lnTo>
                  <a:lnTo>
                    <a:pt x="1271" y="1064"/>
                  </a:lnTo>
                  <a:lnTo>
                    <a:pt x="1271" y="1066"/>
                  </a:lnTo>
                  <a:lnTo>
                    <a:pt x="1271" y="1066"/>
                  </a:lnTo>
                  <a:lnTo>
                    <a:pt x="1273" y="1066"/>
                  </a:lnTo>
                  <a:lnTo>
                    <a:pt x="1271" y="1066"/>
                  </a:lnTo>
                  <a:lnTo>
                    <a:pt x="1271" y="1066"/>
                  </a:lnTo>
                  <a:lnTo>
                    <a:pt x="1271" y="1069"/>
                  </a:lnTo>
                  <a:lnTo>
                    <a:pt x="1271" y="1069"/>
                  </a:lnTo>
                  <a:lnTo>
                    <a:pt x="1273" y="1069"/>
                  </a:lnTo>
                  <a:lnTo>
                    <a:pt x="1273" y="1069"/>
                  </a:lnTo>
                  <a:lnTo>
                    <a:pt x="1273" y="1071"/>
                  </a:lnTo>
                  <a:lnTo>
                    <a:pt x="1273" y="1071"/>
                  </a:lnTo>
                  <a:lnTo>
                    <a:pt x="1276" y="1071"/>
                  </a:lnTo>
                  <a:lnTo>
                    <a:pt x="1278" y="1071"/>
                  </a:lnTo>
                  <a:lnTo>
                    <a:pt x="1278" y="1074"/>
                  </a:lnTo>
                  <a:lnTo>
                    <a:pt x="1280" y="1074"/>
                  </a:lnTo>
                  <a:lnTo>
                    <a:pt x="1283" y="1071"/>
                  </a:lnTo>
                  <a:lnTo>
                    <a:pt x="1283" y="1071"/>
                  </a:lnTo>
                  <a:lnTo>
                    <a:pt x="1283" y="1071"/>
                  </a:lnTo>
                  <a:lnTo>
                    <a:pt x="1283" y="1074"/>
                  </a:lnTo>
                  <a:lnTo>
                    <a:pt x="1283" y="1074"/>
                  </a:lnTo>
                  <a:lnTo>
                    <a:pt x="1283" y="1074"/>
                  </a:lnTo>
                  <a:lnTo>
                    <a:pt x="1283" y="1074"/>
                  </a:lnTo>
                  <a:lnTo>
                    <a:pt x="1283" y="1074"/>
                  </a:lnTo>
                  <a:lnTo>
                    <a:pt x="1283" y="1074"/>
                  </a:lnTo>
                  <a:lnTo>
                    <a:pt x="1280" y="1076"/>
                  </a:lnTo>
                  <a:lnTo>
                    <a:pt x="1280" y="1076"/>
                  </a:lnTo>
                  <a:lnTo>
                    <a:pt x="1280" y="1076"/>
                  </a:lnTo>
                  <a:lnTo>
                    <a:pt x="1280" y="1076"/>
                  </a:lnTo>
                  <a:lnTo>
                    <a:pt x="1280" y="1078"/>
                  </a:lnTo>
                  <a:lnTo>
                    <a:pt x="1280" y="1078"/>
                  </a:lnTo>
                  <a:lnTo>
                    <a:pt x="1280" y="1078"/>
                  </a:lnTo>
                  <a:lnTo>
                    <a:pt x="1280" y="1078"/>
                  </a:lnTo>
                  <a:lnTo>
                    <a:pt x="1283" y="1081"/>
                  </a:lnTo>
                  <a:lnTo>
                    <a:pt x="1283" y="1081"/>
                  </a:lnTo>
                  <a:lnTo>
                    <a:pt x="1283" y="1081"/>
                  </a:lnTo>
                  <a:lnTo>
                    <a:pt x="1283" y="1081"/>
                  </a:lnTo>
                  <a:lnTo>
                    <a:pt x="1283" y="1081"/>
                  </a:lnTo>
                  <a:lnTo>
                    <a:pt x="1283" y="1081"/>
                  </a:lnTo>
                  <a:lnTo>
                    <a:pt x="1283" y="1083"/>
                  </a:lnTo>
                  <a:lnTo>
                    <a:pt x="1280" y="1083"/>
                  </a:lnTo>
                  <a:lnTo>
                    <a:pt x="1280" y="1083"/>
                  </a:lnTo>
                  <a:lnTo>
                    <a:pt x="1280" y="1083"/>
                  </a:lnTo>
                  <a:lnTo>
                    <a:pt x="1280" y="1085"/>
                  </a:lnTo>
                  <a:lnTo>
                    <a:pt x="1280" y="1085"/>
                  </a:lnTo>
                  <a:lnTo>
                    <a:pt x="1280" y="1085"/>
                  </a:lnTo>
                  <a:lnTo>
                    <a:pt x="1280" y="1085"/>
                  </a:lnTo>
                  <a:lnTo>
                    <a:pt x="1280" y="1088"/>
                  </a:lnTo>
                  <a:lnTo>
                    <a:pt x="1280" y="1088"/>
                  </a:lnTo>
                  <a:lnTo>
                    <a:pt x="1280" y="1088"/>
                  </a:lnTo>
                  <a:lnTo>
                    <a:pt x="1278" y="1088"/>
                  </a:lnTo>
                  <a:lnTo>
                    <a:pt x="1278" y="1088"/>
                  </a:lnTo>
                  <a:lnTo>
                    <a:pt x="1278" y="1088"/>
                  </a:lnTo>
                  <a:lnTo>
                    <a:pt x="1273" y="1083"/>
                  </a:lnTo>
                  <a:lnTo>
                    <a:pt x="1273" y="1081"/>
                  </a:lnTo>
                  <a:lnTo>
                    <a:pt x="1273" y="1081"/>
                  </a:lnTo>
                  <a:lnTo>
                    <a:pt x="1273" y="1081"/>
                  </a:lnTo>
                  <a:lnTo>
                    <a:pt x="1271" y="1078"/>
                  </a:lnTo>
                  <a:lnTo>
                    <a:pt x="1271" y="1078"/>
                  </a:lnTo>
                  <a:lnTo>
                    <a:pt x="1266" y="1078"/>
                  </a:lnTo>
                  <a:lnTo>
                    <a:pt x="1266" y="1081"/>
                  </a:lnTo>
                  <a:lnTo>
                    <a:pt x="1266" y="1081"/>
                  </a:lnTo>
                  <a:lnTo>
                    <a:pt x="1264" y="1083"/>
                  </a:lnTo>
                  <a:lnTo>
                    <a:pt x="1264" y="1083"/>
                  </a:lnTo>
                  <a:lnTo>
                    <a:pt x="1264" y="1085"/>
                  </a:lnTo>
                  <a:lnTo>
                    <a:pt x="1264" y="1085"/>
                  </a:lnTo>
                  <a:lnTo>
                    <a:pt x="1264" y="1088"/>
                  </a:lnTo>
                  <a:lnTo>
                    <a:pt x="1264" y="1088"/>
                  </a:lnTo>
                  <a:lnTo>
                    <a:pt x="1259" y="1088"/>
                  </a:lnTo>
                  <a:lnTo>
                    <a:pt x="1259" y="1088"/>
                  </a:lnTo>
                  <a:lnTo>
                    <a:pt x="1259" y="1088"/>
                  </a:lnTo>
                  <a:lnTo>
                    <a:pt x="1259" y="1088"/>
                  </a:lnTo>
                  <a:lnTo>
                    <a:pt x="1259" y="1090"/>
                  </a:lnTo>
                  <a:lnTo>
                    <a:pt x="1259" y="1090"/>
                  </a:lnTo>
                  <a:lnTo>
                    <a:pt x="1259" y="1090"/>
                  </a:lnTo>
                  <a:lnTo>
                    <a:pt x="1259" y="1090"/>
                  </a:lnTo>
                  <a:lnTo>
                    <a:pt x="1259" y="1090"/>
                  </a:lnTo>
                  <a:lnTo>
                    <a:pt x="1261" y="1090"/>
                  </a:lnTo>
                  <a:lnTo>
                    <a:pt x="1259" y="1093"/>
                  </a:lnTo>
                  <a:lnTo>
                    <a:pt x="1259" y="1093"/>
                  </a:lnTo>
                  <a:lnTo>
                    <a:pt x="1259" y="1095"/>
                  </a:lnTo>
                  <a:lnTo>
                    <a:pt x="1259" y="1095"/>
                  </a:lnTo>
                  <a:lnTo>
                    <a:pt x="1261" y="1097"/>
                  </a:lnTo>
                  <a:lnTo>
                    <a:pt x="1261" y="1097"/>
                  </a:lnTo>
                  <a:lnTo>
                    <a:pt x="1261" y="1097"/>
                  </a:lnTo>
                  <a:lnTo>
                    <a:pt x="1261" y="1097"/>
                  </a:lnTo>
                  <a:lnTo>
                    <a:pt x="1259" y="1097"/>
                  </a:lnTo>
                  <a:lnTo>
                    <a:pt x="1259" y="1097"/>
                  </a:lnTo>
                  <a:lnTo>
                    <a:pt x="1257" y="1097"/>
                  </a:lnTo>
                  <a:lnTo>
                    <a:pt x="1257" y="1100"/>
                  </a:lnTo>
                  <a:lnTo>
                    <a:pt x="1257" y="1100"/>
                  </a:lnTo>
                  <a:lnTo>
                    <a:pt x="1259" y="1100"/>
                  </a:lnTo>
                  <a:lnTo>
                    <a:pt x="1259" y="1102"/>
                  </a:lnTo>
                  <a:lnTo>
                    <a:pt x="1259" y="1102"/>
                  </a:lnTo>
                  <a:lnTo>
                    <a:pt x="1261" y="1102"/>
                  </a:lnTo>
                  <a:lnTo>
                    <a:pt x="1261" y="1102"/>
                  </a:lnTo>
                  <a:lnTo>
                    <a:pt x="1261" y="1102"/>
                  </a:lnTo>
                  <a:lnTo>
                    <a:pt x="1261" y="1100"/>
                  </a:lnTo>
                  <a:lnTo>
                    <a:pt x="1261" y="1100"/>
                  </a:lnTo>
                  <a:lnTo>
                    <a:pt x="1261" y="1100"/>
                  </a:lnTo>
                  <a:lnTo>
                    <a:pt x="1261" y="1100"/>
                  </a:lnTo>
                  <a:lnTo>
                    <a:pt x="1261" y="1100"/>
                  </a:lnTo>
                  <a:lnTo>
                    <a:pt x="1261" y="1102"/>
                  </a:lnTo>
                  <a:lnTo>
                    <a:pt x="1261" y="1102"/>
                  </a:lnTo>
                  <a:lnTo>
                    <a:pt x="1261" y="1102"/>
                  </a:lnTo>
                  <a:lnTo>
                    <a:pt x="1261" y="1102"/>
                  </a:lnTo>
                  <a:lnTo>
                    <a:pt x="1261" y="1104"/>
                  </a:lnTo>
                  <a:lnTo>
                    <a:pt x="1261" y="1104"/>
                  </a:lnTo>
                  <a:lnTo>
                    <a:pt x="1259" y="1104"/>
                  </a:lnTo>
                  <a:lnTo>
                    <a:pt x="1259" y="1104"/>
                  </a:lnTo>
                  <a:lnTo>
                    <a:pt x="1259" y="1107"/>
                  </a:lnTo>
                  <a:lnTo>
                    <a:pt x="1259" y="1107"/>
                  </a:lnTo>
                  <a:lnTo>
                    <a:pt x="1259" y="1107"/>
                  </a:lnTo>
                  <a:lnTo>
                    <a:pt x="1259" y="1109"/>
                  </a:lnTo>
                  <a:lnTo>
                    <a:pt x="1259" y="1109"/>
                  </a:lnTo>
                  <a:lnTo>
                    <a:pt x="1259" y="1109"/>
                  </a:lnTo>
                  <a:lnTo>
                    <a:pt x="1259" y="1109"/>
                  </a:lnTo>
                  <a:lnTo>
                    <a:pt x="1259" y="1109"/>
                  </a:lnTo>
                  <a:lnTo>
                    <a:pt x="1259" y="1114"/>
                  </a:lnTo>
                  <a:lnTo>
                    <a:pt x="1259" y="1114"/>
                  </a:lnTo>
                  <a:lnTo>
                    <a:pt x="1257" y="1119"/>
                  </a:lnTo>
                  <a:lnTo>
                    <a:pt x="1257" y="1121"/>
                  </a:lnTo>
                  <a:lnTo>
                    <a:pt x="1257" y="1123"/>
                  </a:lnTo>
                  <a:lnTo>
                    <a:pt x="1259" y="1126"/>
                  </a:lnTo>
                  <a:lnTo>
                    <a:pt x="1261" y="1126"/>
                  </a:lnTo>
                  <a:lnTo>
                    <a:pt x="1261" y="1128"/>
                  </a:lnTo>
                  <a:lnTo>
                    <a:pt x="1261" y="1128"/>
                  </a:lnTo>
                  <a:lnTo>
                    <a:pt x="1261" y="1130"/>
                  </a:lnTo>
                  <a:lnTo>
                    <a:pt x="1261" y="1130"/>
                  </a:lnTo>
                  <a:lnTo>
                    <a:pt x="1264" y="1133"/>
                  </a:lnTo>
                  <a:lnTo>
                    <a:pt x="1266" y="1133"/>
                  </a:lnTo>
                  <a:lnTo>
                    <a:pt x="1269" y="1135"/>
                  </a:lnTo>
                  <a:lnTo>
                    <a:pt x="1269" y="1135"/>
                  </a:lnTo>
                  <a:lnTo>
                    <a:pt x="1269" y="1135"/>
                  </a:lnTo>
                  <a:lnTo>
                    <a:pt x="1269" y="1133"/>
                  </a:lnTo>
                  <a:lnTo>
                    <a:pt x="1269" y="1133"/>
                  </a:lnTo>
                  <a:lnTo>
                    <a:pt x="1273" y="1128"/>
                  </a:lnTo>
                  <a:lnTo>
                    <a:pt x="1276" y="1128"/>
                  </a:lnTo>
                  <a:lnTo>
                    <a:pt x="1276" y="1128"/>
                  </a:lnTo>
                  <a:lnTo>
                    <a:pt x="1276" y="1128"/>
                  </a:lnTo>
                  <a:lnTo>
                    <a:pt x="1273" y="1130"/>
                  </a:lnTo>
                  <a:lnTo>
                    <a:pt x="1273" y="1130"/>
                  </a:lnTo>
                  <a:lnTo>
                    <a:pt x="1273" y="1130"/>
                  </a:lnTo>
                  <a:lnTo>
                    <a:pt x="1271" y="1133"/>
                  </a:lnTo>
                  <a:lnTo>
                    <a:pt x="1271" y="1135"/>
                  </a:lnTo>
                  <a:lnTo>
                    <a:pt x="1271" y="1135"/>
                  </a:lnTo>
                  <a:lnTo>
                    <a:pt x="1271" y="1137"/>
                  </a:lnTo>
                  <a:lnTo>
                    <a:pt x="1271" y="1137"/>
                  </a:lnTo>
                  <a:lnTo>
                    <a:pt x="1273" y="1137"/>
                  </a:lnTo>
                  <a:lnTo>
                    <a:pt x="1273" y="1140"/>
                  </a:lnTo>
                  <a:lnTo>
                    <a:pt x="1276" y="1140"/>
                  </a:lnTo>
                  <a:lnTo>
                    <a:pt x="1276" y="1140"/>
                  </a:lnTo>
                  <a:lnTo>
                    <a:pt x="1278" y="1140"/>
                  </a:lnTo>
                  <a:lnTo>
                    <a:pt x="1278" y="1140"/>
                  </a:lnTo>
                  <a:lnTo>
                    <a:pt x="1276" y="1142"/>
                  </a:lnTo>
                  <a:lnTo>
                    <a:pt x="1276" y="1142"/>
                  </a:lnTo>
                  <a:lnTo>
                    <a:pt x="1276" y="1140"/>
                  </a:lnTo>
                  <a:lnTo>
                    <a:pt x="1276" y="1140"/>
                  </a:lnTo>
                  <a:lnTo>
                    <a:pt x="1276" y="1140"/>
                  </a:lnTo>
                  <a:lnTo>
                    <a:pt x="1273" y="1140"/>
                  </a:lnTo>
                  <a:lnTo>
                    <a:pt x="1271" y="1137"/>
                  </a:lnTo>
                  <a:lnTo>
                    <a:pt x="1271" y="1137"/>
                  </a:lnTo>
                  <a:lnTo>
                    <a:pt x="1269" y="1137"/>
                  </a:lnTo>
                  <a:lnTo>
                    <a:pt x="1269" y="1137"/>
                  </a:lnTo>
                  <a:lnTo>
                    <a:pt x="1269" y="1140"/>
                  </a:lnTo>
                  <a:lnTo>
                    <a:pt x="1269" y="1140"/>
                  </a:lnTo>
                  <a:lnTo>
                    <a:pt x="1269" y="1142"/>
                  </a:lnTo>
                  <a:lnTo>
                    <a:pt x="1269" y="1142"/>
                  </a:lnTo>
                  <a:lnTo>
                    <a:pt x="1266" y="1140"/>
                  </a:lnTo>
                  <a:lnTo>
                    <a:pt x="1266" y="1140"/>
                  </a:lnTo>
                  <a:lnTo>
                    <a:pt x="1266" y="1140"/>
                  </a:lnTo>
                  <a:lnTo>
                    <a:pt x="1266" y="1140"/>
                  </a:lnTo>
                  <a:lnTo>
                    <a:pt x="1266" y="1140"/>
                  </a:lnTo>
                  <a:lnTo>
                    <a:pt x="1266" y="1140"/>
                  </a:lnTo>
                  <a:lnTo>
                    <a:pt x="1266" y="1142"/>
                  </a:lnTo>
                  <a:lnTo>
                    <a:pt x="1264" y="1145"/>
                  </a:lnTo>
                  <a:lnTo>
                    <a:pt x="1264" y="1147"/>
                  </a:lnTo>
                  <a:lnTo>
                    <a:pt x="1264" y="1149"/>
                  </a:lnTo>
                  <a:lnTo>
                    <a:pt x="1264" y="1149"/>
                  </a:lnTo>
                  <a:lnTo>
                    <a:pt x="1264" y="1149"/>
                  </a:lnTo>
                  <a:lnTo>
                    <a:pt x="1264" y="1149"/>
                  </a:lnTo>
                  <a:lnTo>
                    <a:pt x="1264" y="1149"/>
                  </a:lnTo>
                  <a:lnTo>
                    <a:pt x="1261" y="1149"/>
                  </a:lnTo>
                  <a:lnTo>
                    <a:pt x="1261" y="1149"/>
                  </a:lnTo>
                  <a:lnTo>
                    <a:pt x="1261" y="1154"/>
                  </a:lnTo>
                  <a:lnTo>
                    <a:pt x="1259" y="1154"/>
                  </a:lnTo>
                  <a:lnTo>
                    <a:pt x="1259" y="1156"/>
                  </a:lnTo>
                  <a:lnTo>
                    <a:pt x="1259" y="1163"/>
                  </a:lnTo>
                  <a:lnTo>
                    <a:pt x="1259" y="1163"/>
                  </a:lnTo>
                  <a:lnTo>
                    <a:pt x="1261" y="1166"/>
                  </a:lnTo>
                  <a:lnTo>
                    <a:pt x="1261" y="1168"/>
                  </a:lnTo>
                  <a:lnTo>
                    <a:pt x="1261" y="1168"/>
                  </a:lnTo>
                  <a:lnTo>
                    <a:pt x="1261" y="1168"/>
                  </a:lnTo>
                  <a:lnTo>
                    <a:pt x="1261" y="1171"/>
                  </a:lnTo>
                  <a:lnTo>
                    <a:pt x="1261" y="1171"/>
                  </a:lnTo>
                  <a:lnTo>
                    <a:pt x="1261" y="1173"/>
                  </a:lnTo>
                  <a:lnTo>
                    <a:pt x="1269" y="1180"/>
                  </a:lnTo>
                  <a:lnTo>
                    <a:pt x="1269" y="1180"/>
                  </a:lnTo>
                  <a:lnTo>
                    <a:pt x="1269" y="1180"/>
                  </a:lnTo>
                  <a:lnTo>
                    <a:pt x="1269" y="1180"/>
                  </a:lnTo>
                  <a:lnTo>
                    <a:pt x="1269" y="1180"/>
                  </a:lnTo>
                  <a:lnTo>
                    <a:pt x="1269" y="1180"/>
                  </a:lnTo>
                  <a:lnTo>
                    <a:pt x="1271" y="1180"/>
                  </a:lnTo>
                  <a:lnTo>
                    <a:pt x="1271" y="1182"/>
                  </a:lnTo>
                  <a:lnTo>
                    <a:pt x="1271" y="1182"/>
                  </a:lnTo>
                  <a:lnTo>
                    <a:pt x="1271" y="1182"/>
                  </a:lnTo>
                  <a:lnTo>
                    <a:pt x="1271" y="1182"/>
                  </a:lnTo>
                  <a:lnTo>
                    <a:pt x="1271" y="1185"/>
                  </a:lnTo>
                  <a:lnTo>
                    <a:pt x="1271" y="1185"/>
                  </a:lnTo>
                  <a:lnTo>
                    <a:pt x="1271" y="1185"/>
                  </a:lnTo>
                  <a:lnTo>
                    <a:pt x="1271" y="1185"/>
                  </a:lnTo>
                  <a:lnTo>
                    <a:pt x="1271" y="1185"/>
                  </a:lnTo>
                  <a:lnTo>
                    <a:pt x="1271" y="1187"/>
                  </a:lnTo>
                  <a:lnTo>
                    <a:pt x="1271" y="1187"/>
                  </a:lnTo>
                  <a:lnTo>
                    <a:pt x="1271" y="1187"/>
                  </a:lnTo>
                  <a:lnTo>
                    <a:pt x="1271" y="1187"/>
                  </a:lnTo>
                  <a:lnTo>
                    <a:pt x="1271" y="1187"/>
                  </a:lnTo>
                  <a:lnTo>
                    <a:pt x="1271" y="1187"/>
                  </a:lnTo>
                  <a:lnTo>
                    <a:pt x="1269" y="1187"/>
                  </a:lnTo>
                  <a:lnTo>
                    <a:pt x="1269" y="1187"/>
                  </a:lnTo>
                  <a:lnTo>
                    <a:pt x="1271" y="1189"/>
                  </a:lnTo>
                  <a:lnTo>
                    <a:pt x="1273" y="1189"/>
                  </a:lnTo>
                  <a:lnTo>
                    <a:pt x="1273" y="1192"/>
                  </a:lnTo>
                  <a:lnTo>
                    <a:pt x="1276" y="1194"/>
                  </a:lnTo>
                  <a:lnTo>
                    <a:pt x="1276" y="1194"/>
                  </a:lnTo>
                  <a:lnTo>
                    <a:pt x="1276" y="1192"/>
                  </a:lnTo>
                  <a:lnTo>
                    <a:pt x="1276" y="1192"/>
                  </a:lnTo>
                  <a:lnTo>
                    <a:pt x="1278" y="1194"/>
                  </a:lnTo>
                  <a:lnTo>
                    <a:pt x="1278" y="1194"/>
                  </a:lnTo>
                  <a:lnTo>
                    <a:pt x="1278" y="1192"/>
                  </a:lnTo>
                  <a:lnTo>
                    <a:pt x="1278" y="1192"/>
                  </a:lnTo>
                  <a:lnTo>
                    <a:pt x="1278" y="1192"/>
                  </a:lnTo>
                  <a:lnTo>
                    <a:pt x="1278" y="1192"/>
                  </a:lnTo>
                  <a:lnTo>
                    <a:pt x="1278" y="1192"/>
                  </a:lnTo>
                  <a:lnTo>
                    <a:pt x="1278" y="1192"/>
                  </a:lnTo>
                  <a:lnTo>
                    <a:pt x="1278" y="1194"/>
                  </a:lnTo>
                  <a:lnTo>
                    <a:pt x="1278" y="1194"/>
                  </a:lnTo>
                  <a:lnTo>
                    <a:pt x="1278" y="1194"/>
                  </a:lnTo>
                  <a:lnTo>
                    <a:pt x="1280" y="1197"/>
                  </a:lnTo>
                  <a:lnTo>
                    <a:pt x="1280" y="1194"/>
                  </a:lnTo>
                  <a:lnTo>
                    <a:pt x="1280" y="1194"/>
                  </a:lnTo>
                  <a:lnTo>
                    <a:pt x="1280" y="1194"/>
                  </a:lnTo>
                  <a:lnTo>
                    <a:pt x="1280" y="1192"/>
                  </a:lnTo>
                  <a:lnTo>
                    <a:pt x="1283" y="1192"/>
                  </a:lnTo>
                  <a:lnTo>
                    <a:pt x="1283" y="1194"/>
                  </a:lnTo>
                  <a:lnTo>
                    <a:pt x="1285" y="1197"/>
                  </a:lnTo>
                  <a:lnTo>
                    <a:pt x="1285" y="1197"/>
                  </a:lnTo>
                  <a:lnTo>
                    <a:pt x="1285" y="1197"/>
                  </a:lnTo>
                  <a:lnTo>
                    <a:pt x="1287" y="1199"/>
                  </a:lnTo>
                  <a:lnTo>
                    <a:pt x="1287" y="1199"/>
                  </a:lnTo>
                  <a:lnTo>
                    <a:pt x="1287" y="1199"/>
                  </a:lnTo>
                  <a:lnTo>
                    <a:pt x="1292" y="1201"/>
                  </a:lnTo>
                  <a:lnTo>
                    <a:pt x="1295" y="1201"/>
                  </a:lnTo>
                  <a:lnTo>
                    <a:pt x="1295" y="1201"/>
                  </a:lnTo>
                  <a:lnTo>
                    <a:pt x="1295" y="1204"/>
                  </a:lnTo>
                  <a:lnTo>
                    <a:pt x="1295" y="1204"/>
                  </a:lnTo>
                  <a:lnTo>
                    <a:pt x="1295" y="1204"/>
                  </a:lnTo>
                  <a:lnTo>
                    <a:pt x="1297" y="1204"/>
                  </a:lnTo>
                  <a:lnTo>
                    <a:pt x="1299" y="1204"/>
                  </a:lnTo>
                  <a:lnTo>
                    <a:pt x="1299" y="1204"/>
                  </a:lnTo>
                  <a:lnTo>
                    <a:pt x="1299" y="1204"/>
                  </a:lnTo>
                  <a:lnTo>
                    <a:pt x="1299" y="1204"/>
                  </a:lnTo>
                  <a:lnTo>
                    <a:pt x="1299" y="1204"/>
                  </a:lnTo>
                  <a:lnTo>
                    <a:pt x="1299" y="1206"/>
                  </a:lnTo>
                  <a:lnTo>
                    <a:pt x="1299" y="1206"/>
                  </a:lnTo>
                  <a:lnTo>
                    <a:pt x="1302" y="1206"/>
                  </a:lnTo>
                  <a:lnTo>
                    <a:pt x="1302" y="1206"/>
                  </a:lnTo>
                  <a:lnTo>
                    <a:pt x="1304" y="1206"/>
                  </a:lnTo>
                  <a:lnTo>
                    <a:pt x="1304" y="1206"/>
                  </a:lnTo>
                  <a:lnTo>
                    <a:pt x="1304" y="1204"/>
                  </a:lnTo>
                  <a:lnTo>
                    <a:pt x="1304" y="1204"/>
                  </a:lnTo>
                  <a:lnTo>
                    <a:pt x="1304" y="1201"/>
                  </a:lnTo>
                  <a:lnTo>
                    <a:pt x="1304" y="1201"/>
                  </a:lnTo>
                  <a:lnTo>
                    <a:pt x="1304" y="1201"/>
                  </a:lnTo>
                  <a:lnTo>
                    <a:pt x="1306" y="1199"/>
                  </a:lnTo>
                  <a:lnTo>
                    <a:pt x="1306" y="1199"/>
                  </a:lnTo>
                  <a:lnTo>
                    <a:pt x="1306" y="1201"/>
                  </a:lnTo>
                  <a:lnTo>
                    <a:pt x="1306" y="1201"/>
                  </a:lnTo>
                  <a:lnTo>
                    <a:pt x="1306" y="1201"/>
                  </a:lnTo>
                  <a:lnTo>
                    <a:pt x="1306" y="1201"/>
                  </a:lnTo>
                  <a:lnTo>
                    <a:pt x="1309" y="1201"/>
                  </a:lnTo>
                  <a:lnTo>
                    <a:pt x="1309" y="1201"/>
                  </a:lnTo>
                  <a:lnTo>
                    <a:pt x="1309" y="1201"/>
                  </a:lnTo>
                  <a:lnTo>
                    <a:pt x="1309" y="1201"/>
                  </a:lnTo>
                  <a:lnTo>
                    <a:pt x="1309" y="1201"/>
                  </a:lnTo>
                  <a:lnTo>
                    <a:pt x="1309" y="1201"/>
                  </a:lnTo>
                  <a:lnTo>
                    <a:pt x="1309" y="1201"/>
                  </a:lnTo>
                  <a:lnTo>
                    <a:pt x="1309" y="1204"/>
                  </a:lnTo>
                  <a:lnTo>
                    <a:pt x="1309" y="1204"/>
                  </a:lnTo>
                  <a:lnTo>
                    <a:pt x="1309" y="1204"/>
                  </a:lnTo>
                  <a:lnTo>
                    <a:pt x="1309" y="1204"/>
                  </a:lnTo>
                  <a:lnTo>
                    <a:pt x="1311" y="1206"/>
                  </a:lnTo>
                  <a:lnTo>
                    <a:pt x="1311" y="1211"/>
                  </a:lnTo>
                  <a:lnTo>
                    <a:pt x="1313" y="1211"/>
                  </a:lnTo>
                  <a:lnTo>
                    <a:pt x="1313" y="1211"/>
                  </a:lnTo>
                  <a:lnTo>
                    <a:pt x="1313" y="1211"/>
                  </a:lnTo>
                  <a:lnTo>
                    <a:pt x="1316" y="1213"/>
                  </a:lnTo>
                  <a:lnTo>
                    <a:pt x="1316" y="1216"/>
                  </a:lnTo>
                  <a:lnTo>
                    <a:pt x="1321" y="1216"/>
                  </a:lnTo>
                  <a:lnTo>
                    <a:pt x="1323" y="1216"/>
                  </a:lnTo>
                  <a:lnTo>
                    <a:pt x="1325" y="1216"/>
                  </a:lnTo>
                  <a:lnTo>
                    <a:pt x="1325" y="1216"/>
                  </a:lnTo>
                  <a:lnTo>
                    <a:pt x="1325" y="1213"/>
                  </a:lnTo>
                  <a:lnTo>
                    <a:pt x="1325" y="1213"/>
                  </a:lnTo>
                  <a:lnTo>
                    <a:pt x="1325" y="1213"/>
                  </a:lnTo>
                  <a:lnTo>
                    <a:pt x="1325" y="1211"/>
                  </a:lnTo>
                  <a:lnTo>
                    <a:pt x="1328" y="1211"/>
                  </a:lnTo>
                  <a:lnTo>
                    <a:pt x="1328" y="1211"/>
                  </a:lnTo>
                  <a:lnTo>
                    <a:pt x="1328" y="1211"/>
                  </a:lnTo>
                  <a:lnTo>
                    <a:pt x="1328" y="1211"/>
                  </a:lnTo>
                  <a:lnTo>
                    <a:pt x="1328" y="1211"/>
                  </a:lnTo>
                  <a:lnTo>
                    <a:pt x="1328" y="1211"/>
                  </a:lnTo>
                  <a:lnTo>
                    <a:pt x="1328" y="1211"/>
                  </a:lnTo>
                  <a:lnTo>
                    <a:pt x="1330" y="1208"/>
                  </a:lnTo>
                  <a:lnTo>
                    <a:pt x="1330" y="1208"/>
                  </a:lnTo>
                  <a:lnTo>
                    <a:pt x="1332" y="1208"/>
                  </a:lnTo>
                  <a:lnTo>
                    <a:pt x="1335" y="1208"/>
                  </a:lnTo>
                  <a:lnTo>
                    <a:pt x="1335" y="1208"/>
                  </a:lnTo>
                  <a:lnTo>
                    <a:pt x="1335" y="1211"/>
                  </a:lnTo>
                  <a:lnTo>
                    <a:pt x="1335" y="1211"/>
                  </a:lnTo>
                  <a:lnTo>
                    <a:pt x="1335" y="1211"/>
                  </a:lnTo>
                  <a:lnTo>
                    <a:pt x="1335" y="1211"/>
                  </a:lnTo>
                  <a:lnTo>
                    <a:pt x="1335" y="1211"/>
                  </a:lnTo>
                  <a:lnTo>
                    <a:pt x="1337" y="1211"/>
                  </a:lnTo>
                  <a:lnTo>
                    <a:pt x="1337" y="1211"/>
                  </a:lnTo>
                  <a:lnTo>
                    <a:pt x="1337" y="1211"/>
                  </a:lnTo>
                  <a:lnTo>
                    <a:pt x="1335" y="1213"/>
                  </a:lnTo>
                  <a:lnTo>
                    <a:pt x="1335" y="1213"/>
                  </a:lnTo>
                  <a:lnTo>
                    <a:pt x="1335" y="1213"/>
                  </a:lnTo>
                  <a:lnTo>
                    <a:pt x="1335" y="1213"/>
                  </a:lnTo>
                  <a:lnTo>
                    <a:pt x="1335" y="1213"/>
                  </a:lnTo>
                  <a:lnTo>
                    <a:pt x="1335" y="1216"/>
                  </a:lnTo>
                  <a:lnTo>
                    <a:pt x="1332" y="1218"/>
                  </a:lnTo>
                  <a:lnTo>
                    <a:pt x="1332" y="1220"/>
                  </a:lnTo>
                  <a:lnTo>
                    <a:pt x="1335" y="1220"/>
                  </a:lnTo>
                  <a:lnTo>
                    <a:pt x="1335" y="1220"/>
                  </a:lnTo>
                  <a:lnTo>
                    <a:pt x="1337" y="1220"/>
                  </a:lnTo>
                  <a:lnTo>
                    <a:pt x="1337" y="1218"/>
                  </a:lnTo>
                  <a:lnTo>
                    <a:pt x="1340" y="1218"/>
                  </a:lnTo>
                  <a:lnTo>
                    <a:pt x="1337" y="1220"/>
                  </a:lnTo>
                  <a:lnTo>
                    <a:pt x="1337" y="1220"/>
                  </a:lnTo>
                  <a:lnTo>
                    <a:pt x="1337" y="1223"/>
                  </a:lnTo>
                  <a:lnTo>
                    <a:pt x="1335" y="1223"/>
                  </a:lnTo>
                  <a:lnTo>
                    <a:pt x="1335" y="1225"/>
                  </a:lnTo>
                  <a:lnTo>
                    <a:pt x="1332" y="1225"/>
                  </a:lnTo>
                  <a:lnTo>
                    <a:pt x="1332" y="1225"/>
                  </a:lnTo>
                  <a:lnTo>
                    <a:pt x="1332" y="1227"/>
                  </a:lnTo>
                  <a:lnTo>
                    <a:pt x="1332" y="1225"/>
                  </a:lnTo>
                  <a:lnTo>
                    <a:pt x="1332" y="1225"/>
                  </a:lnTo>
                  <a:lnTo>
                    <a:pt x="1332" y="1225"/>
                  </a:lnTo>
                  <a:lnTo>
                    <a:pt x="1332" y="1225"/>
                  </a:lnTo>
                  <a:lnTo>
                    <a:pt x="1332" y="1227"/>
                  </a:lnTo>
                  <a:lnTo>
                    <a:pt x="1330" y="1230"/>
                  </a:lnTo>
                  <a:lnTo>
                    <a:pt x="1330" y="1230"/>
                  </a:lnTo>
                  <a:lnTo>
                    <a:pt x="1330" y="1232"/>
                  </a:lnTo>
                  <a:lnTo>
                    <a:pt x="1330" y="1232"/>
                  </a:lnTo>
                  <a:lnTo>
                    <a:pt x="1328" y="1232"/>
                  </a:lnTo>
                  <a:lnTo>
                    <a:pt x="1328" y="1232"/>
                  </a:lnTo>
                  <a:lnTo>
                    <a:pt x="1328" y="1232"/>
                  </a:lnTo>
                  <a:lnTo>
                    <a:pt x="1328" y="1232"/>
                  </a:lnTo>
                  <a:lnTo>
                    <a:pt x="1328" y="1232"/>
                  </a:lnTo>
                  <a:lnTo>
                    <a:pt x="1328" y="1230"/>
                  </a:lnTo>
                  <a:lnTo>
                    <a:pt x="1328" y="1230"/>
                  </a:lnTo>
                  <a:lnTo>
                    <a:pt x="1328" y="1230"/>
                  </a:lnTo>
                  <a:lnTo>
                    <a:pt x="1328" y="1230"/>
                  </a:lnTo>
                  <a:lnTo>
                    <a:pt x="1328" y="1230"/>
                  </a:lnTo>
                  <a:lnTo>
                    <a:pt x="1328" y="1230"/>
                  </a:lnTo>
                  <a:lnTo>
                    <a:pt x="1328" y="1230"/>
                  </a:lnTo>
                  <a:lnTo>
                    <a:pt x="1328" y="1227"/>
                  </a:lnTo>
                  <a:lnTo>
                    <a:pt x="1328" y="1227"/>
                  </a:lnTo>
                  <a:lnTo>
                    <a:pt x="1328" y="1227"/>
                  </a:lnTo>
                  <a:lnTo>
                    <a:pt x="1328" y="1227"/>
                  </a:lnTo>
                  <a:lnTo>
                    <a:pt x="1328" y="1227"/>
                  </a:lnTo>
                  <a:lnTo>
                    <a:pt x="1328" y="1223"/>
                  </a:lnTo>
                  <a:lnTo>
                    <a:pt x="1328" y="1223"/>
                  </a:lnTo>
                  <a:lnTo>
                    <a:pt x="1330" y="1220"/>
                  </a:lnTo>
                  <a:lnTo>
                    <a:pt x="1330" y="1220"/>
                  </a:lnTo>
                  <a:lnTo>
                    <a:pt x="1330" y="1220"/>
                  </a:lnTo>
                  <a:lnTo>
                    <a:pt x="1330" y="1220"/>
                  </a:lnTo>
                  <a:lnTo>
                    <a:pt x="1332" y="1220"/>
                  </a:lnTo>
                  <a:lnTo>
                    <a:pt x="1332" y="1218"/>
                  </a:lnTo>
                  <a:lnTo>
                    <a:pt x="1332" y="1218"/>
                  </a:lnTo>
                  <a:lnTo>
                    <a:pt x="1332" y="1218"/>
                  </a:lnTo>
                  <a:lnTo>
                    <a:pt x="1335" y="1216"/>
                  </a:lnTo>
                  <a:lnTo>
                    <a:pt x="1335" y="1213"/>
                  </a:lnTo>
                  <a:lnTo>
                    <a:pt x="1332" y="1216"/>
                  </a:lnTo>
                  <a:lnTo>
                    <a:pt x="1330" y="1216"/>
                  </a:lnTo>
                  <a:lnTo>
                    <a:pt x="1330" y="1218"/>
                  </a:lnTo>
                  <a:lnTo>
                    <a:pt x="1328" y="1220"/>
                  </a:lnTo>
                  <a:lnTo>
                    <a:pt x="1328" y="1220"/>
                  </a:lnTo>
                  <a:lnTo>
                    <a:pt x="1328" y="1220"/>
                  </a:lnTo>
                  <a:lnTo>
                    <a:pt x="1325" y="1220"/>
                  </a:lnTo>
                  <a:lnTo>
                    <a:pt x="1325" y="1220"/>
                  </a:lnTo>
                  <a:lnTo>
                    <a:pt x="1325" y="1220"/>
                  </a:lnTo>
                  <a:lnTo>
                    <a:pt x="1325" y="1220"/>
                  </a:lnTo>
                  <a:lnTo>
                    <a:pt x="1323" y="1220"/>
                  </a:lnTo>
                  <a:lnTo>
                    <a:pt x="1321" y="1220"/>
                  </a:lnTo>
                  <a:lnTo>
                    <a:pt x="1318" y="1223"/>
                  </a:lnTo>
                  <a:lnTo>
                    <a:pt x="1316" y="1223"/>
                  </a:lnTo>
                  <a:lnTo>
                    <a:pt x="1316" y="1225"/>
                  </a:lnTo>
                  <a:lnTo>
                    <a:pt x="1316" y="1225"/>
                  </a:lnTo>
                  <a:lnTo>
                    <a:pt x="1318" y="1227"/>
                  </a:lnTo>
                  <a:lnTo>
                    <a:pt x="1316" y="1227"/>
                  </a:lnTo>
                  <a:lnTo>
                    <a:pt x="1316" y="1227"/>
                  </a:lnTo>
                  <a:lnTo>
                    <a:pt x="1316" y="1230"/>
                  </a:lnTo>
                  <a:lnTo>
                    <a:pt x="1316" y="1230"/>
                  </a:lnTo>
                  <a:lnTo>
                    <a:pt x="1318" y="1230"/>
                  </a:lnTo>
                  <a:lnTo>
                    <a:pt x="1316" y="1230"/>
                  </a:lnTo>
                  <a:lnTo>
                    <a:pt x="1316" y="1232"/>
                  </a:lnTo>
                  <a:lnTo>
                    <a:pt x="1316" y="1234"/>
                  </a:lnTo>
                  <a:lnTo>
                    <a:pt x="1316" y="1234"/>
                  </a:lnTo>
                  <a:lnTo>
                    <a:pt x="1316" y="1234"/>
                  </a:lnTo>
                  <a:lnTo>
                    <a:pt x="1318" y="1237"/>
                  </a:lnTo>
                  <a:lnTo>
                    <a:pt x="1321" y="1237"/>
                  </a:lnTo>
                  <a:lnTo>
                    <a:pt x="1323" y="1234"/>
                  </a:lnTo>
                  <a:lnTo>
                    <a:pt x="1323" y="1234"/>
                  </a:lnTo>
                  <a:lnTo>
                    <a:pt x="1323" y="1234"/>
                  </a:lnTo>
                  <a:lnTo>
                    <a:pt x="1323" y="1237"/>
                  </a:lnTo>
                  <a:lnTo>
                    <a:pt x="1321" y="1237"/>
                  </a:lnTo>
                  <a:lnTo>
                    <a:pt x="1321" y="1237"/>
                  </a:lnTo>
                  <a:lnTo>
                    <a:pt x="1321" y="1239"/>
                  </a:lnTo>
                  <a:lnTo>
                    <a:pt x="1321" y="1239"/>
                  </a:lnTo>
                  <a:lnTo>
                    <a:pt x="1321" y="1239"/>
                  </a:lnTo>
                  <a:lnTo>
                    <a:pt x="1321" y="1242"/>
                  </a:lnTo>
                  <a:lnTo>
                    <a:pt x="1321" y="1242"/>
                  </a:lnTo>
                  <a:lnTo>
                    <a:pt x="1321" y="1242"/>
                  </a:lnTo>
                  <a:lnTo>
                    <a:pt x="1318" y="1242"/>
                  </a:lnTo>
                  <a:lnTo>
                    <a:pt x="1318" y="1244"/>
                  </a:lnTo>
                  <a:lnTo>
                    <a:pt x="1316" y="1244"/>
                  </a:lnTo>
                  <a:lnTo>
                    <a:pt x="1316" y="1244"/>
                  </a:lnTo>
                  <a:lnTo>
                    <a:pt x="1316" y="1244"/>
                  </a:lnTo>
                  <a:lnTo>
                    <a:pt x="1316" y="1246"/>
                  </a:lnTo>
                  <a:lnTo>
                    <a:pt x="1316" y="1249"/>
                  </a:lnTo>
                  <a:lnTo>
                    <a:pt x="1316" y="1249"/>
                  </a:lnTo>
                  <a:lnTo>
                    <a:pt x="1313" y="1249"/>
                  </a:lnTo>
                  <a:lnTo>
                    <a:pt x="1313" y="1249"/>
                  </a:lnTo>
                  <a:lnTo>
                    <a:pt x="1313" y="1249"/>
                  </a:lnTo>
                  <a:lnTo>
                    <a:pt x="1311" y="1246"/>
                  </a:lnTo>
                  <a:lnTo>
                    <a:pt x="1311" y="1246"/>
                  </a:lnTo>
                  <a:lnTo>
                    <a:pt x="1311" y="1249"/>
                  </a:lnTo>
                  <a:lnTo>
                    <a:pt x="1311" y="1249"/>
                  </a:lnTo>
                  <a:lnTo>
                    <a:pt x="1311" y="1249"/>
                  </a:lnTo>
                  <a:lnTo>
                    <a:pt x="1311" y="1249"/>
                  </a:lnTo>
                  <a:lnTo>
                    <a:pt x="1311" y="1249"/>
                  </a:lnTo>
                  <a:lnTo>
                    <a:pt x="1311" y="1251"/>
                  </a:lnTo>
                  <a:lnTo>
                    <a:pt x="1311" y="1251"/>
                  </a:lnTo>
                  <a:lnTo>
                    <a:pt x="1311" y="1253"/>
                  </a:lnTo>
                  <a:lnTo>
                    <a:pt x="1311" y="1253"/>
                  </a:lnTo>
                  <a:lnTo>
                    <a:pt x="1311" y="1253"/>
                  </a:lnTo>
                  <a:lnTo>
                    <a:pt x="1311" y="1253"/>
                  </a:lnTo>
                  <a:lnTo>
                    <a:pt x="1311" y="1253"/>
                  </a:lnTo>
                  <a:lnTo>
                    <a:pt x="1311" y="1256"/>
                  </a:lnTo>
                  <a:lnTo>
                    <a:pt x="1311" y="1256"/>
                  </a:lnTo>
                  <a:lnTo>
                    <a:pt x="1311" y="1258"/>
                  </a:lnTo>
                  <a:lnTo>
                    <a:pt x="1311" y="1260"/>
                  </a:lnTo>
                  <a:lnTo>
                    <a:pt x="1311" y="1263"/>
                  </a:lnTo>
                  <a:lnTo>
                    <a:pt x="1311" y="1263"/>
                  </a:lnTo>
                  <a:lnTo>
                    <a:pt x="1311" y="1263"/>
                  </a:lnTo>
                  <a:lnTo>
                    <a:pt x="1313" y="1263"/>
                  </a:lnTo>
                  <a:lnTo>
                    <a:pt x="1313" y="1263"/>
                  </a:lnTo>
                  <a:lnTo>
                    <a:pt x="1313" y="1263"/>
                  </a:lnTo>
                  <a:lnTo>
                    <a:pt x="1313" y="1265"/>
                  </a:lnTo>
                  <a:lnTo>
                    <a:pt x="1313" y="1265"/>
                  </a:lnTo>
                  <a:lnTo>
                    <a:pt x="1313" y="1263"/>
                  </a:lnTo>
                  <a:lnTo>
                    <a:pt x="1313" y="1263"/>
                  </a:lnTo>
                  <a:lnTo>
                    <a:pt x="1313" y="1263"/>
                  </a:lnTo>
                  <a:lnTo>
                    <a:pt x="1316" y="1263"/>
                  </a:lnTo>
                  <a:lnTo>
                    <a:pt x="1316" y="1265"/>
                  </a:lnTo>
                  <a:lnTo>
                    <a:pt x="1318" y="1263"/>
                  </a:lnTo>
                  <a:lnTo>
                    <a:pt x="1323" y="1260"/>
                  </a:lnTo>
                  <a:lnTo>
                    <a:pt x="1323" y="1260"/>
                  </a:lnTo>
                  <a:lnTo>
                    <a:pt x="1323" y="1260"/>
                  </a:lnTo>
                  <a:lnTo>
                    <a:pt x="1323" y="1260"/>
                  </a:lnTo>
                  <a:lnTo>
                    <a:pt x="1325" y="1258"/>
                  </a:lnTo>
                  <a:lnTo>
                    <a:pt x="1325" y="1258"/>
                  </a:lnTo>
                  <a:lnTo>
                    <a:pt x="1328" y="1256"/>
                  </a:lnTo>
                  <a:lnTo>
                    <a:pt x="1328" y="1256"/>
                  </a:lnTo>
                  <a:lnTo>
                    <a:pt x="1328" y="1253"/>
                  </a:lnTo>
                  <a:lnTo>
                    <a:pt x="1328" y="1253"/>
                  </a:lnTo>
                  <a:lnTo>
                    <a:pt x="1330" y="1253"/>
                  </a:lnTo>
                  <a:lnTo>
                    <a:pt x="1330" y="1251"/>
                  </a:lnTo>
                  <a:lnTo>
                    <a:pt x="1328" y="1253"/>
                  </a:lnTo>
                  <a:lnTo>
                    <a:pt x="1328" y="1253"/>
                  </a:lnTo>
                  <a:lnTo>
                    <a:pt x="1328" y="1253"/>
                  </a:lnTo>
                  <a:lnTo>
                    <a:pt x="1328" y="1253"/>
                  </a:lnTo>
                  <a:lnTo>
                    <a:pt x="1328" y="1253"/>
                  </a:lnTo>
                  <a:lnTo>
                    <a:pt x="1328" y="1253"/>
                  </a:lnTo>
                  <a:lnTo>
                    <a:pt x="1328" y="1253"/>
                  </a:lnTo>
                  <a:lnTo>
                    <a:pt x="1328" y="1253"/>
                  </a:lnTo>
                  <a:lnTo>
                    <a:pt x="1325" y="1253"/>
                  </a:lnTo>
                  <a:lnTo>
                    <a:pt x="1325" y="1256"/>
                  </a:lnTo>
                  <a:lnTo>
                    <a:pt x="1325" y="1256"/>
                  </a:lnTo>
                  <a:lnTo>
                    <a:pt x="1325" y="1256"/>
                  </a:lnTo>
                  <a:lnTo>
                    <a:pt x="1325" y="1256"/>
                  </a:lnTo>
                  <a:lnTo>
                    <a:pt x="1323" y="1256"/>
                  </a:lnTo>
                  <a:lnTo>
                    <a:pt x="1323" y="1256"/>
                  </a:lnTo>
                  <a:lnTo>
                    <a:pt x="1323" y="1253"/>
                  </a:lnTo>
                  <a:lnTo>
                    <a:pt x="1325" y="1253"/>
                  </a:lnTo>
                  <a:lnTo>
                    <a:pt x="1323" y="1253"/>
                  </a:lnTo>
                  <a:lnTo>
                    <a:pt x="1323" y="1253"/>
                  </a:lnTo>
                  <a:lnTo>
                    <a:pt x="1323" y="1253"/>
                  </a:lnTo>
                  <a:lnTo>
                    <a:pt x="1323" y="1253"/>
                  </a:lnTo>
                  <a:lnTo>
                    <a:pt x="1323" y="1253"/>
                  </a:lnTo>
                  <a:lnTo>
                    <a:pt x="1323" y="1251"/>
                  </a:lnTo>
                  <a:lnTo>
                    <a:pt x="1323" y="1251"/>
                  </a:lnTo>
                  <a:lnTo>
                    <a:pt x="1325" y="1249"/>
                  </a:lnTo>
                  <a:lnTo>
                    <a:pt x="1325" y="1249"/>
                  </a:lnTo>
                  <a:lnTo>
                    <a:pt x="1325" y="1249"/>
                  </a:lnTo>
                  <a:lnTo>
                    <a:pt x="1325" y="1249"/>
                  </a:lnTo>
                  <a:lnTo>
                    <a:pt x="1325" y="1246"/>
                  </a:lnTo>
                  <a:lnTo>
                    <a:pt x="1325" y="1246"/>
                  </a:lnTo>
                  <a:lnTo>
                    <a:pt x="1328" y="1246"/>
                  </a:lnTo>
                  <a:lnTo>
                    <a:pt x="1325" y="1246"/>
                  </a:lnTo>
                  <a:lnTo>
                    <a:pt x="1325" y="1246"/>
                  </a:lnTo>
                  <a:lnTo>
                    <a:pt x="1325" y="1246"/>
                  </a:lnTo>
                  <a:lnTo>
                    <a:pt x="1325" y="1244"/>
                  </a:lnTo>
                  <a:lnTo>
                    <a:pt x="1325" y="1244"/>
                  </a:lnTo>
                  <a:lnTo>
                    <a:pt x="1325" y="1244"/>
                  </a:lnTo>
                  <a:lnTo>
                    <a:pt x="1325" y="1244"/>
                  </a:lnTo>
                  <a:lnTo>
                    <a:pt x="1325" y="1244"/>
                  </a:lnTo>
                  <a:lnTo>
                    <a:pt x="1328" y="1244"/>
                  </a:lnTo>
                  <a:lnTo>
                    <a:pt x="1328" y="1244"/>
                  </a:lnTo>
                  <a:lnTo>
                    <a:pt x="1325" y="1244"/>
                  </a:lnTo>
                  <a:lnTo>
                    <a:pt x="1325" y="1244"/>
                  </a:lnTo>
                  <a:lnTo>
                    <a:pt x="1328" y="1242"/>
                  </a:lnTo>
                  <a:lnTo>
                    <a:pt x="1328" y="1242"/>
                  </a:lnTo>
                  <a:lnTo>
                    <a:pt x="1328" y="1239"/>
                  </a:lnTo>
                  <a:lnTo>
                    <a:pt x="1330" y="1239"/>
                  </a:lnTo>
                  <a:lnTo>
                    <a:pt x="1328" y="1242"/>
                  </a:lnTo>
                  <a:lnTo>
                    <a:pt x="1328" y="1244"/>
                  </a:lnTo>
                  <a:lnTo>
                    <a:pt x="1328" y="1246"/>
                  </a:lnTo>
                  <a:lnTo>
                    <a:pt x="1328" y="1244"/>
                  </a:lnTo>
                  <a:lnTo>
                    <a:pt x="1328" y="1244"/>
                  </a:lnTo>
                  <a:lnTo>
                    <a:pt x="1328" y="1244"/>
                  </a:lnTo>
                  <a:lnTo>
                    <a:pt x="1328" y="1244"/>
                  </a:lnTo>
                  <a:lnTo>
                    <a:pt x="1328" y="1244"/>
                  </a:lnTo>
                  <a:lnTo>
                    <a:pt x="1328" y="1246"/>
                  </a:lnTo>
                  <a:lnTo>
                    <a:pt x="1328" y="1246"/>
                  </a:lnTo>
                  <a:lnTo>
                    <a:pt x="1328" y="1246"/>
                  </a:lnTo>
                  <a:lnTo>
                    <a:pt x="1328" y="1246"/>
                  </a:lnTo>
                  <a:lnTo>
                    <a:pt x="1330" y="1246"/>
                  </a:lnTo>
                  <a:lnTo>
                    <a:pt x="1330" y="1246"/>
                  </a:lnTo>
                  <a:lnTo>
                    <a:pt x="1330" y="1246"/>
                  </a:lnTo>
                  <a:lnTo>
                    <a:pt x="1330" y="1246"/>
                  </a:lnTo>
                  <a:lnTo>
                    <a:pt x="1332" y="1246"/>
                  </a:lnTo>
                  <a:lnTo>
                    <a:pt x="1332" y="1246"/>
                  </a:lnTo>
                  <a:lnTo>
                    <a:pt x="1332" y="1246"/>
                  </a:lnTo>
                  <a:lnTo>
                    <a:pt x="1330" y="1246"/>
                  </a:lnTo>
                  <a:lnTo>
                    <a:pt x="1332" y="1246"/>
                  </a:lnTo>
                  <a:lnTo>
                    <a:pt x="1332" y="1246"/>
                  </a:lnTo>
                  <a:lnTo>
                    <a:pt x="1332" y="1246"/>
                  </a:lnTo>
                  <a:lnTo>
                    <a:pt x="1335" y="1246"/>
                  </a:lnTo>
                  <a:lnTo>
                    <a:pt x="1335" y="1246"/>
                  </a:lnTo>
                  <a:lnTo>
                    <a:pt x="1332" y="1249"/>
                  </a:lnTo>
                  <a:lnTo>
                    <a:pt x="1332" y="1249"/>
                  </a:lnTo>
                  <a:lnTo>
                    <a:pt x="1335" y="1249"/>
                  </a:lnTo>
                  <a:lnTo>
                    <a:pt x="1335" y="1249"/>
                  </a:lnTo>
                  <a:lnTo>
                    <a:pt x="1335" y="1251"/>
                  </a:lnTo>
                  <a:lnTo>
                    <a:pt x="1335" y="1251"/>
                  </a:lnTo>
                  <a:lnTo>
                    <a:pt x="1335" y="1251"/>
                  </a:lnTo>
                  <a:lnTo>
                    <a:pt x="1335" y="1253"/>
                  </a:lnTo>
                  <a:lnTo>
                    <a:pt x="1335" y="1253"/>
                  </a:lnTo>
                  <a:lnTo>
                    <a:pt x="1335" y="1256"/>
                  </a:lnTo>
                  <a:lnTo>
                    <a:pt x="1335" y="1256"/>
                  </a:lnTo>
                  <a:lnTo>
                    <a:pt x="1335" y="1258"/>
                  </a:lnTo>
                  <a:lnTo>
                    <a:pt x="1335" y="1258"/>
                  </a:lnTo>
                  <a:lnTo>
                    <a:pt x="1335" y="1258"/>
                  </a:lnTo>
                  <a:lnTo>
                    <a:pt x="1335" y="1260"/>
                  </a:lnTo>
                  <a:lnTo>
                    <a:pt x="1335" y="1260"/>
                  </a:lnTo>
                  <a:lnTo>
                    <a:pt x="1335" y="1260"/>
                  </a:lnTo>
                  <a:lnTo>
                    <a:pt x="1332" y="1260"/>
                  </a:lnTo>
                  <a:lnTo>
                    <a:pt x="1332" y="1260"/>
                  </a:lnTo>
                  <a:lnTo>
                    <a:pt x="1332" y="1263"/>
                  </a:lnTo>
                  <a:lnTo>
                    <a:pt x="1332" y="1263"/>
                  </a:lnTo>
                  <a:lnTo>
                    <a:pt x="1332" y="1263"/>
                  </a:lnTo>
                  <a:lnTo>
                    <a:pt x="1332" y="1265"/>
                  </a:lnTo>
                  <a:lnTo>
                    <a:pt x="1332" y="1265"/>
                  </a:lnTo>
                  <a:lnTo>
                    <a:pt x="1332" y="1268"/>
                  </a:lnTo>
                  <a:lnTo>
                    <a:pt x="1332" y="1268"/>
                  </a:lnTo>
                  <a:lnTo>
                    <a:pt x="1332" y="1270"/>
                  </a:lnTo>
                  <a:lnTo>
                    <a:pt x="1332" y="1268"/>
                  </a:lnTo>
                  <a:lnTo>
                    <a:pt x="1332" y="1270"/>
                  </a:lnTo>
                  <a:lnTo>
                    <a:pt x="1332" y="1270"/>
                  </a:lnTo>
                  <a:lnTo>
                    <a:pt x="1332" y="1270"/>
                  </a:lnTo>
                  <a:lnTo>
                    <a:pt x="1332" y="1270"/>
                  </a:lnTo>
                  <a:lnTo>
                    <a:pt x="1332" y="1270"/>
                  </a:lnTo>
                  <a:lnTo>
                    <a:pt x="1335" y="1270"/>
                  </a:lnTo>
                  <a:lnTo>
                    <a:pt x="1335" y="1270"/>
                  </a:lnTo>
                  <a:lnTo>
                    <a:pt x="1337" y="1270"/>
                  </a:lnTo>
                  <a:lnTo>
                    <a:pt x="1342" y="1270"/>
                  </a:lnTo>
                  <a:lnTo>
                    <a:pt x="1342" y="1268"/>
                  </a:lnTo>
                  <a:lnTo>
                    <a:pt x="1340" y="1270"/>
                  </a:lnTo>
                  <a:lnTo>
                    <a:pt x="1337" y="1270"/>
                  </a:lnTo>
                  <a:lnTo>
                    <a:pt x="1337" y="1272"/>
                  </a:lnTo>
                  <a:lnTo>
                    <a:pt x="1337" y="1272"/>
                  </a:lnTo>
                  <a:lnTo>
                    <a:pt x="1337" y="1272"/>
                  </a:lnTo>
                  <a:lnTo>
                    <a:pt x="1337" y="1272"/>
                  </a:lnTo>
                  <a:lnTo>
                    <a:pt x="1337" y="1275"/>
                  </a:lnTo>
                  <a:lnTo>
                    <a:pt x="1337" y="1275"/>
                  </a:lnTo>
                  <a:lnTo>
                    <a:pt x="1337" y="1275"/>
                  </a:lnTo>
                  <a:lnTo>
                    <a:pt x="1337" y="1275"/>
                  </a:lnTo>
                  <a:lnTo>
                    <a:pt x="1335" y="1275"/>
                  </a:lnTo>
                  <a:lnTo>
                    <a:pt x="1335" y="1277"/>
                  </a:lnTo>
                  <a:lnTo>
                    <a:pt x="1335" y="1277"/>
                  </a:lnTo>
                  <a:lnTo>
                    <a:pt x="1332" y="1277"/>
                  </a:lnTo>
                  <a:lnTo>
                    <a:pt x="1332" y="1277"/>
                  </a:lnTo>
                  <a:lnTo>
                    <a:pt x="1328" y="1279"/>
                  </a:lnTo>
                  <a:lnTo>
                    <a:pt x="1323" y="1284"/>
                  </a:lnTo>
                  <a:lnTo>
                    <a:pt x="1323" y="1284"/>
                  </a:lnTo>
                  <a:lnTo>
                    <a:pt x="1323" y="1284"/>
                  </a:lnTo>
                  <a:lnTo>
                    <a:pt x="1323" y="1286"/>
                  </a:lnTo>
                  <a:lnTo>
                    <a:pt x="1323" y="1286"/>
                  </a:lnTo>
                  <a:lnTo>
                    <a:pt x="1323" y="1286"/>
                  </a:lnTo>
                  <a:lnTo>
                    <a:pt x="1323" y="1286"/>
                  </a:lnTo>
                  <a:lnTo>
                    <a:pt x="1323" y="1286"/>
                  </a:lnTo>
                  <a:lnTo>
                    <a:pt x="1323" y="1289"/>
                  </a:lnTo>
                  <a:lnTo>
                    <a:pt x="1323" y="1289"/>
                  </a:lnTo>
                  <a:lnTo>
                    <a:pt x="1323" y="1291"/>
                  </a:lnTo>
                  <a:lnTo>
                    <a:pt x="1323" y="1291"/>
                  </a:lnTo>
                  <a:lnTo>
                    <a:pt x="1323" y="1294"/>
                  </a:lnTo>
                  <a:lnTo>
                    <a:pt x="1323" y="1294"/>
                  </a:lnTo>
                  <a:lnTo>
                    <a:pt x="1321" y="1296"/>
                  </a:lnTo>
                  <a:lnTo>
                    <a:pt x="1318" y="1296"/>
                  </a:lnTo>
                  <a:lnTo>
                    <a:pt x="1318" y="1298"/>
                  </a:lnTo>
                  <a:lnTo>
                    <a:pt x="1318" y="1296"/>
                  </a:lnTo>
                  <a:lnTo>
                    <a:pt x="1318" y="1298"/>
                  </a:lnTo>
                  <a:lnTo>
                    <a:pt x="1318" y="1298"/>
                  </a:lnTo>
                  <a:lnTo>
                    <a:pt x="1316" y="1298"/>
                  </a:lnTo>
                  <a:lnTo>
                    <a:pt x="1316" y="1301"/>
                  </a:lnTo>
                  <a:lnTo>
                    <a:pt x="1316" y="1301"/>
                  </a:lnTo>
                  <a:lnTo>
                    <a:pt x="1316" y="1301"/>
                  </a:lnTo>
                  <a:lnTo>
                    <a:pt x="1313" y="1303"/>
                  </a:lnTo>
                  <a:lnTo>
                    <a:pt x="1311" y="1305"/>
                  </a:lnTo>
                  <a:lnTo>
                    <a:pt x="1311" y="1305"/>
                  </a:lnTo>
                  <a:lnTo>
                    <a:pt x="1311" y="1305"/>
                  </a:lnTo>
                  <a:lnTo>
                    <a:pt x="1311" y="1308"/>
                  </a:lnTo>
                  <a:lnTo>
                    <a:pt x="1311" y="1308"/>
                  </a:lnTo>
                  <a:lnTo>
                    <a:pt x="1311" y="1308"/>
                  </a:lnTo>
                  <a:lnTo>
                    <a:pt x="1309" y="1310"/>
                  </a:lnTo>
                  <a:lnTo>
                    <a:pt x="1309" y="1310"/>
                  </a:lnTo>
                  <a:lnTo>
                    <a:pt x="1306" y="1310"/>
                  </a:lnTo>
                  <a:lnTo>
                    <a:pt x="1306" y="1310"/>
                  </a:lnTo>
                  <a:lnTo>
                    <a:pt x="1304" y="1310"/>
                  </a:lnTo>
                  <a:lnTo>
                    <a:pt x="1304" y="1310"/>
                  </a:lnTo>
                  <a:lnTo>
                    <a:pt x="1304" y="1310"/>
                  </a:lnTo>
                  <a:lnTo>
                    <a:pt x="1302" y="1310"/>
                  </a:lnTo>
                  <a:lnTo>
                    <a:pt x="1302" y="1308"/>
                  </a:lnTo>
                  <a:lnTo>
                    <a:pt x="1302" y="1308"/>
                  </a:lnTo>
                  <a:lnTo>
                    <a:pt x="1299" y="1308"/>
                  </a:lnTo>
                  <a:lnTo>
                    <a:pt x="1297" y="1310"/>
                  </a:lnTo>
                  <a:lnTo>
                    <a:pt x="1297" y="1313"/>
                  </a:lnTo>
                  <a:lnTo>
                    <a:pt x="1297" y="1310"/>
                  </a:lnTo>
                  <a:lnTo>
                    <a:pt x="1297" y="1310"/>
                  </a:lnTo>
                  <a:lnTo>
                    <a:pt x="1297" y="1310"/>
                  </a:lnTo>
                  <a:lnTo>
                    <a:pt x="1297" y="1310"/>
                  </a:lnTo>
                  <a:lnTo>
                    <a:pt x="1297" y="1308"/>
                  </a:lnTo>
                  <a:lnTo>
                    <a:pt x="1297" y="1308"/>
                  </a:lnTo>
                  <a:lnTo>
                    <a:pt x="1297" y="1308"/>
                  </a:lnTo>
                  <a:lnTo>
                    <a:pt x="1297" y="1308"/>
                  </a:lnTo>
                  <a:lnTo>
                    <a:pt x="1292" y="1310"/>
                  </a:lnTo>
                  <a:lnTo>
                    <a:pt x="1292" y="1310"/>
                  </a:lnTo>
                  <a:lnTo>
                    <a:pt x="1292" y="1310"/>
                  </a:lnTo>
                  <a:lnTo>
                    <a:pt x="1292" y="1310"/>
                  </a:lnTo>
                  <a:lnTo>
                    <a:pt x="1292" y="1310"/>
                  </a:lnTo>
                  <a:lnTo>
                    <a:pt x="1292" y="1310"/>
                  </a:lnTo>
                  <a:lnTo>
                    <a:pt x="1292" y="1313"/>
                  </a:lnTo>
                  <a:lnTo>
                    <a:pt x="1292" y="1313"/>
                  </a:lnTo>
                  <a:lnTo>
                    <a:pt x="1292" y="1313"/>
                  </a:lnTo>
                  <a:lnTo>
                    <a:pt x="1292" y="1313"/>
                  </a:lnTo>
                  <a:lnTo>
                    <a:pt x="1292" y="1315"/>
                  </a:lnTo>
                  <a:lnTo>
                    <a:pt x="1292" y="1315"/>
                  </a:lnTo>
                  <a:lnTo>
                    <a:pt x="1290" y="1317"/>
                  </a:lnTo>
                  <a:lnTo>
                    <a:pt x="1290" y="1320"/>
                  </a:lnTo>
                  <a:lnTo>
                    <a:pt x="1290" y="1322"/>
                  </a:lnTo>
                  <a:lnTo>
                    <a:pt x="1290" y="1322"/>
                  </a:lnTo>
                  <a:lnTo>
                    <a:pt x="1290" y="1324"/>
                  </a:lnTo>
                  <a:lnTo>
                    <a:pt x="1290" y="1327"/>
                  </a:lnTo>
                  <a:lnTo>
                    <a:pt x="1290" y="1329"/>
                  </a:lnTo>
                  <a:lnTo>
                    <a:pt x="1287" y="1329"/>
                  </a:lnTo>
                  <a:lnTo>
                    <a:pt x="1287" y="1329"/>
                  </a:lnTo>
                  <a:lnTo>
                    <a:pt x="1287" y="1329"/>
                  </a:lnTo>
                  <a:lnTo>
                    <a:pt x="1287" y="1329"/>
                  </a:lnTo>
                  <a:lnTo>
                    <a:pt x="1287" y="1329"/>
                  </a:lnTo>
                  <a:lnTo>
                    <a:pt x="1287" y="1329"/>
                  </a:lnTo>
                  <a:lnTo>
                    <a:pt x="1287" y="1329"/>
                  </a:lnTo>
                  <a:lnTo>
                    <a:pt x="1287" y="1331"/>
                  </a:lnTo>
                  <a:lnTo>
                    <a:pt x="1287" y="1331"/>
                  </a:lnTo>
                  <a:lnTo>
                    <a:pt x="1287" y="1334"/>
                  </a:lnTo>
                  <a:lnTo>
                    <a:pt x="1287" y="1334"/>
                  </a:lnTo>
                  <a:lnTo>
                    <a:pt x="1287" y="1334"/>
                  </a:lnTo>
                  <a:lnTo>
                    <a:pt x="1287" y="1334"/>
                  </a:lnTo>
                  <a:lnTo>
                    <a:pt x="1290" y="1334"/>
                  </a:lnTo>
                  <a:lnTo>
                    <a:pt x="1290" y="1336"/>
                  </a:lnTo>
                  <a:lnTo>
                    <a:pt x="1290" y="1336"/>
                  </a:lnTo>
                  <a:lnTo>
                    <a:pt x="1290" y="1336"/>
                  </a:lnTo>
                  <a:lnTo>
                    <a:pt x="1292" y="1339"/>
                  </a:lnTo>
                  <a:lnTo>
                    <a:pt x="1292" y="1339"/>
                  </a:lnTo>
                  <a:lnTo>
                    <a:pt x="1292" y="1339"/>
                  </a:lnTo>
                  <a:lnTo>
                    <a:pt x="1292" y="1339"/>
                  </a:lnTo>
                  <a:lnTo>
                    <a:pt x="1295" y="1341"/>
                  </a:lnTo>
                  <a:lnTo>
                    <a:pt x="1295" y="1343"/>
                  </a:lnTo>
                  <a:lnTo>
                    <a:pt x="1297" y="1343"/>
                  </a:lnTo>
                  <a:lnTo>
                    <a:pt x="1297" y="1346"/>
                  </a:lnTo>
                  <a:lnTo>
                    <a:pt x="1297" y="1346"/>
                  </a:lnTo>
                  <a:lnTo>
                    <a:pt x="1297" y="1348"/>
                  </a:lnTo>
                  <a:lnTo>
                    <a:pt x="1297" y="1348"/>
                  </a:lnTo>
                  <a:lnTo>
                    <a:pt x="1295" y="1348"/>
                  </a:lnTo>
                  <a:lnTo>
                    <a:pt x="1295" y="1348"/>
                  </a:lnTo>
                  <a:lnTo>
                    <a:pt x="1295" y="1350"/>
                  </a:lnTo>
                  <a:lnTo>
                    <a:pt x="1295" y="1350"/>
                  </a:lnTo>
                  <a:lnTo>
                    <a:pt x="1295" y="1350"/>
                  </a:lnTo>
                  <a:lnTo>
                    <a:pt x="1295" y="1350"/>
                  </a:lnTo>
                  <a:lnTo>
                    <a:pt x="1295" y="1350"/>
                  </a:lnTo>
                  <a:lnTo>
                    <a:pt x="1295" y="1350"/>
                  </a:lnTo>
                  <a:lnTo>
                    <a:pt x="1297" y="1353"/>
                  </a:lnTo>
                  <a:lnTo>
                    <a:pt x="1297" y="1353"/>
                  </a:lnTo>
                  <a:lnTo>
                    <a:pt x="1297" y="1355"/>
                  </a:lnTo>
                  <a:lnTo>
                    <a:pt x="1297" y="1355"/>
                  </a:lnTo>
                  <a:lnTo>
                    <a:pt x="1297" y="1355"/>
                  </a:lnTo>
                  <a:lnTo>
                    <a:pt x="1297" y="1357"/>
                  </a:lnTo>
                  <a:lnTo>
                    <a:pt x="1297" y="1357"/>
                  </a:lnTo>
                  <a:lnTo>
                    <a:pt x="1302" y="1360"/>
                  </a:lnTo>
                  <a:lnTo>
                    <a:pt x="1302" y="1362"/>
                  </a:lnTo>
                  <a:lnTo>
                    <a:pt x="1299" y="1362"/>
                  </a:lnTo>
                  <a:lnTo>
                    <a:pt x="1299" y="1362"/>
                  </a:lnTo>
                  <a:lnTo>
                    <a:pt x="1299" y="1362"/>
                  </a:lnTo>
                  <a:lnTo>
                    <a:pt x="1299" y="1365"/>
                  </a:lnTo>
                  <a:lnTo>
                    <a:pt x="1299" y="1365"/>
                  </a:lnTo>
                  <a:lnTo>
                    <a:pt x="1299" y="1365"/>
                  </a:lnTo>
                  <a:lnTo>
                    <a:pt x="1299" y="1367"/>
                  </a:lnTo>
                  <a:lnTo>
                    <a:pt x="1299" y="1367"/>
                  </a:lnTo>
                  <a:lnTo>
                    <a:pt x="1299" y="1367"/>
                  </a:lnTo>
                  <a:lnTo>
                    <a:pt x="1297" y="1369"/>
                  </a:lnTo>
                  <a:lnTo>
                    <a:pt x="1297" y="1369"/>
                  </a:lnTo>
                  <a:lnTo>
                    <a:pt x="1297" y="1369"/>
                  </a:lnTo>
                  <a:lnTo>
                    <a:pt x="1297" y="1372"/>
                  </a:lnTo>
                  <a:lnTo>
                    <a:pt x="1297" y="1372"/>
                  </a:lnTo>
                  <a:lnTo>
                    <a:pt x="1297" y="1372"/>
                  </a:lnTo>
                  <a:lnTo>
                    <a:pt x="1297" y="1372"/>
                  </a:lnTo>
                  <a:lnTo>
                    <a:pt x="1297" y="1374"/>
                  </a:lnTo>
                  <a:lnTo>
                    <a:pt x="1297" y="1374"/>
                  </a:lnTo>
                  <a:lnTo>
                    <a:pt x="1297" y="1374"/>
                  </a:lnTo>
                  <a:lnTo>
                    <a:pt x="1299" y="1376"/>
                  </a:lnTo>
                  <a:lnTo>
                    <a:pt x="1299" y="1379"/>
                  </a:lnTo>
                  <a:lnTo>
                    <a:pt x="1299" y="1379"/>
                  </a:lnTo>
                  <a:lnTo>
                    <a:pt x="1299" y="1379"/>
                  </a:lnTo>
                  <a:lnTo>
                    <a:pt x="1299" y="1381"/>
                  </a:lnTo>
                  <a:lnTo>
                    <a:pt x="1299" y="1381"/>
                  </a:lnTo>
                  <a:lnTo>
                    <a:pt x="1302" y="1381"/>
                  </a:lnTo>
                  <a:lnTo>
                    <a:pt x="1299" y="1383"/>
                  </a:lnTo>
                  <a:lnTo>
                    <a:pt x="1299" y="1383"/>
                  </a:lnTo>
                  <a:lnTo>
                    <a:pt x="1299" y="1383"/>
                  </a:lnTo>
                  <a:lnTo>
                    <a:pt x="1299" y="1386"/>
                  </a:lnTo>
                  <a:lnTo>
                    <a:pt x="1299" y="1386"/>
                  </a:lnTo>
                  <a:lnTo>
                    <a:pt x="1299" y="1386"/>
                  </a:lnTo>
                  <a:lnTo>
                    <a:pt x="1297" y="1386"/>
                  </a:lnTo>
                  <a:lnTo>
                    <a:pt x="1297" y="1386"/>
                  </a:lnTo>
                  <a:lnTo>
                    <a:pt x="1297" y="1386"/>
                  </a:lnTo>
                  <a:lnTo>
                    <a:pt x="1297" y="1386"/>
                  </a:lnTo>
                  <a:lnTo>
                    <a:pt x="1297" y="1383"/>
                  </a:lnTo>
                  <a:lnTo>
                    <a:pt x="1295" y="1383"/>
                  </a:lnTo>
                  <a:lnTo>
                    <a:pt x="1295" y="1386"/>
                  </a:lnTo>
                  <a:lnTo>
                    <a:pt x="1295" y="1386"/>
                  </a:lnTo>
                  <a:lnTo>
                    <a:pt x="1295" y="1386"/>
                  </a:lnTo>
                  <a:lnTo>
                    <a:pt x="1295" y="1386"/>
                  </a:lnTo>
                  <a:lnTo>
                    <a:pt x="1292" y="1386"/>
                  </a:lnTo>
                  <a:lnTo>
                    <a:pt x="1290" y="1386"/>
                  </a:lnTo>
                  <a:lnTo>
                    <a:pt x="1287" y="1386"/>
                  </a:lnTo>
                  <a:lnTo>
                    <a:pt x="1287" y="1386"/>
                  </a:lnTo>
                  <a:lnTo>
                    <a:pt x="1287" y="1386"/>
                  </a:lnTo>
                  <a:lnTo>
                    <a:pt x="1287" y="1386"/>
                  </a:lnTo>
                  <a:lnTo>
                    <a:pt x="1287" y="1386"/>
                  </a:lnTo>
                  <a:lnTo>
                    <a:pt x="1287" y="1383"/>
                  </a:lnTo>
                  <a:lnTo>
                    <a:pt x="1285" y="1383"/>
                  </a:lnTo>
                  <a:lnTo>
                    <a:pt x="1285" y="1383"/>
                  </a:lnTo>
                  <a:lnTo>
                    <a:pt x="1285" y="1383"/>
                  </a:lnTo>
                  <a:lnTo>
                    <a:pt x="1285" y="1386"/>
                  </a:lnTo>
                  <a:lnTo>
                    <a:pt x="1283" y="1386"/>
                  </a:lnTo>
                  <a:lnTo>
                    <a:pt x="1283" y="1383"/>
                  </a:lnTo>
                  <a:lnTo>
                    <a:pt x="1280" y="1383"/>
                  </a:lnTo>
                  <a:lnTo>
                    <a:pt x="1280" y="1383"/>
                  </a:lnTo>
                  <a:lnTo>
                    <a:pt x="1278" y="1383"/>
                  </a:lnTo>
                  <a:lnTo>
                    <a:pt x="1278" y="1386"/>
                  </a:lnTo>
                  <a:lnTo>
                    <a:pt x="1278" y="1386"/>
                  </a:lnTo>
                  <a:lnTo>
                    <a:pt x="1278" y="1386"/>
                  </a:lnTo>
                  <a:lnTo>
                    <a:pt x="1278" y="1386"/>
                  </a:lnTo>
                  <a:lnTo>
                    <a:pt x="1280" y="1388"/>
                  </a:lnTo>
                  <a:lnTo>
                    <a:pt x="1280" y="1388"/>
                  </a:lnTo>
                  <a:lnTo>
                    <a:pt x="1280" y="1388"/>
                  </a:lnTo>
                  <a:lnTo>
                    <a:pt x="1280" y="1391"/>
                  </a:lnTo>
                  <a:lnTo>
                    <a:pt x="1283" y="1391"/>
                  </a:lnTo>
                  <a:lnTo>
                    <a:pt x="1283" y="1391"/>
                  </a:lnTo>
                  <a:lnTo>
                    <a:pt x="1283" y="1393"/>
                  </a:lnTo>
                  <a:lnTo>
                    <a:pt x="1285" y="1393"/>
                  </a:lnTo>
                  <a:lnTo>
                    <a:pt x="1285" y="1395"/>
                  </a:lnTo>
                  <a:lnTo>
                    <a:pt x="1285" y="1395"/>
                  </a:lnTo>
                  <a:lnTo>
                    <a:pt x="1285" y="1398"/>
                  </a:lnTo>
                  <a:lnTo>
                    <a:pt x="1287" y="1398"/>
                  </a:lnTo>
                  <a:lnTo>
                    <a:pt x="1287" y="1400"/>
                  </a:lnTo>
                  <a:lnTo>
                    <a:pt x="1287" y="1400"/>
                  </a:lnTo>
                  <a:lnTo>
                    <a:pt x="1287" y="1400"/>
                  </a:lnTo>
                  <a:lnTo>
                    <a:pt x="1287" y="1400"/>
                  </a:lnTo>
                  <a:lnTo>
                    <a:pt x="1290" y="1400"/>
                  </a:lnTo>
                  <a:lnTo>
                    <a:pt x="1290" y="1400"/>
                  </a:lnTo>
                  <a:lnTo>
                    <a:pt x="1290" y="1400"/>
                  </a:lnTo>
                  <a:lnTo>
                    <a:pt x="1290" y="1400"/>
                  </a:lnTo>
                  <a:lnTo>
                    <a:pt x="1290" y="1400"/>
                  </a:lnTo>
                  <a:lnTo>
                    <a:pt x="1290" y="1398"/>
                  </a:lnTo>
                  <a:lnTo>
                    <a:pt x="1290" y="1398"/>
                  </a:lnTo>
                  <a:lnTo>
                    <a:pt x="1290" y="1398"/>
                  </a:lnTo>
                  <a:lnTo>
                    <a:pt x="1290" y="1398"/>
                  </a:lnTo>
                  <a:lnTo>
                    <a:pt x="1290" y="1400"/>
                  </a:lnTo>
                  <a:lnTo>
                    <a:pt x="1292" y="1400"/>
                  </a:lnTo>
                  <a:lnTo>
                    <a:pt x="1292" y="1400"/>
                  </a:lnTo>
                  <a:lnTo>
                    <a:pt x="1290" y="1402"/>
                  </a:lnTo>
                  <a:lnTo>
                    <a:pt x="1290" y="1402"/>
                  </a:lnTo>
                  <a:lnTo>
                    <a:pt x="1290" y="1402"/>
                  </a:lnTo>
                  <a:lnTo>
                    <a:pt x="1290" y="1402"/>
                  </a:lnTo>
                  <a:lnTo>
                    <a:pt x="1287" y="1402"/>
                  </a:lnTo>
                  <a:lnTo>
                    <a:pt x="1287" y="1407"/>
                  </a:lnTo>
                  <a:lnTo>
                    <a:pt x="1287" y="1407"/>
                  </a:lnTo>
                  <a:lnTo>
                    <a:pt x="1287" y="1405"/>
                  </a:lnTo>
                  <a:lnTo>
                    <a:pt x="1287" y="1405"/>
                  </a:lnTo>
                  <a:lnTo>
                    <a:pt x="1287" y="1402"/>
                  </a:lnTo>
                  <a:lnTo>
                    <a:pt x="1287" y="1400"/>
                  </a:lnTo>
                  <a:lnTo>
                    <a:pt x="1287" y="1400"/>
                  </a:lnTo>
                  <a:lnTo>
                    <a:pt x="1285" y="1398"/>
                  </a:lnTo>
                  <a:lnTo>
                    <a:pt x="1285" y="1398"/>
                  </a:lnTo>
                  <a:lnTo>
                    <a:pt x="1285" y="1398"/>
                  </a:lnTo>
                  <a:lnTo>
                    <a:pt x="1285" y="1395"/>
                  </a:lnTo>
                  <a:lnTo>
                    <a:pt x="1285" y="1395"/>
                  </a:lnTo>
                  <a:lnTo>
                    <a:pt x="1280" y="1393"/>
                  </a:lnTo>
                  <a:lnTo>
                    <a:pt x="1278" y="1393"/>
                  </a:lnTo>
                  <a:lnTo>
                    <a:pt x="1278" y="1391"/>
                  </a:lnTo>
                  <a:lnTo>
                    <a:pt x="1278" y="1391"/>
                  </a:lnTo>
                  <a:lnTo>
                    <a:pt x="1278" y="1391"/>
                  </a:lnTo>
                  <a:lnTo>
                    <a:pt x="1278" y="1388"/>
                  </a:lnTo>
                  <a:lnTo>
                    <a:pt x="1278" y="1388"/>
                  </a:lnTo>
                  <a:lnTo>
                    <a:pt x="1278" y="1388"/>
                  </a:lnTo>
                  <a:lnTo>
                    <a:pt x="1276" y="1386"/>
                  </a:lnTo>
                  <a:lnTo>
                    <a:pt x="1276" y="1386"/>
                  </a:lnTo>
                  <a:lnTo>
                    <a:pt x="1273" y="1383"/>
                  </a:lnTo>
                  <a:lnTo>
                    <a:pt x="1273" y="1383"/>
                  </a:lnTo>
                  <a:lnTo>
                    <a:pt x="1273" y="1383"/>
                  </a:lnTo>
                  <a:lnTo>
                    <a:pt x="1271" y="1381"/>
                  </a:lnTo>
                  <a:lnTo>
                    <a:pt x="1271" y="1381"/>
                  </a:lnTo>
                  <a:lnTo>
                    <a:pt x="1271" y="1379"/>
                  </a:lnTo>
                  <a:lnTo>
                    <a:pt x="1269" y="1376"/>
                  </a:lnTo>
                  <a:lnTo>
                    <a:pt x="1269" y="1376"/>
                  </a:lnTo>
                  <a:lnTo>
                    <a:pt x="1271" y="1374"/>
                  </a:lnTo>
                  <a:lnTo>
                    <a:pt x="1271" y="1374"/>
                  </a:lnTo>
                  <a:lnTo>
                    <a:pt x="1271" y="1376"/>
                  </a:lnTo>
                  <a:lnTo>
                    <a:pt x="1271" y="1376"/>
                  </a:lnTo>
                  <a:lnTo>
                    <a:pt x="1273" y="1376"/>
                  </a:lnTo>
                  <a:lnTo>
                    <a:pt x="1273" y="1376"/>
                  </a:lnTo>
                  <a:lnTo>
                    <a:pt x="1273" y="1376"/>
                  </a:lnTo>
                  <a:lnTo>
                    <a:pt x="1273" y="1379"/>
                  </a:lnTo>
                  <a:lnTo>
                    <a:pt x="1273" y="1381"/>
                  </a:lnTo>
                  <a:lnTo>
                    <a:pt x="1273" y="1381"/>
                  </a:lnTo>
                  <a:lnTo>
                    <a:pt x="1276" y="1381"/>
                  </a:lnTo>
                  <a:lnTo>
                    <a:pt x="1278" y="1381"/>
                  </a:lnTo>
                  <a:lnTo>
                    <a:pt x="1278" y="1381"/>
                  </a:lnTo>
                  <a:lnTo>
                    <a:pt x="1278" y="1381"/>
                  </a:lnTo>
                  <a:lnTo>
                    <a:pt x="1278" y="1383"/>
                  </a:lnTo>
                  <a:lnTo>
                    <a:pt x="1278" y="1383"/>
                  </a:lnTo>
                  <a:lnTo>
                    <a:pt x="1278" y="1383"/>
                  </a:lnTo>
                  <a:lnTo>
                    <a:pt x="1278" y="1383"/>
                  </a:lnTo>
                  <a:lnTo>
                    <a:pt x="1278" y="1383"/>
                  </a:lnTo>
                  <a:lnTo>
                    <a:pt x="1280" y="1383"/>
                  </a:lnTo>
                  <a:lnTo>
                    <a:pt x="1280" y="1381"/>
                  </a:lnTo>
                  <a:lnTo>
                    <a:pt x="1280" y="1381"/>
                  </a:lnTo>
                  <a:lnTo>
                    <a:pt x="1280" y="1381"/>
                  </a:lnTo>
                  <a:lnTo>
                    <a:pt x="1280" y="1379"/>
                  </a:lnTo>
                  <a:lnTo>
                    <a:pt x="1280" y="1376"/>
                  </a:lnTo>
                  <a:lnTo>
                    <a:pt x="1283" y="1376"/>
                  </a:lnTo>
                  <a:lnTo>
                    <a:pt x="1283" y="1376"/>
                  </a:lnTo>
                  <a:lnTo>
                    <a:pt x="1283" y="1376"/>
                  </a:lnTo>
                  <a:lnTo>
                    <a:pt x="1280" y="1376"/>
                  </a:lnTo>
                  <a:lnTo>
                    <a:pt x="1280" y="1379"/>
                  </a:lnTo>
                  <a:lnTo>
                    <a:pt x="1280" y="1381"/>
                  </a:lnTo>
                  <a:lnTo>
                    <a:pt x="1283" y="1381"/>
                  </a:lnTo>
                  <a:lnTo>
                    <a:pt x="1283" y="1381"/>
                  </a:lnTo>
                  <a:lnTo>
                    <a:pt x="1283" y="1381"/>
                  </a:lnTo>
                  <a:lnTo>
                    <a:pt x="1283" y="1383"/>
                  </a:lnTo>
                  <a:lnTo>
                    <a:pt x="1283" y="1383"/>
                  </a:lnTo>
                  <a:lnTo>
                    <a:pt x="1285" y="1383"/>
                  </a:lnTo>
                  <a:lnTo>
                    <a:pt x="1287" y="1383"/>
                  </a:lnTo>
                  <a:lnTo>
                    <a:pt x="1290" y="1381"/>
                  </a:lnTo>
                  <a:lnTo>
                    <a:pt x="1290" y="1381"/>
                  </a:lnTo>
                  <a:lnTo>
                    <a:pt x="1290" y="1381"/>
                  </a:lnTo>
                  <a:lnTo>
                    <a:pt x="1290" y="1381"/>
                  </a:lnTo>
                  <a:lnTo>
                    <a:pt x="1290" y="1381"/>
                  </a:lnTo>
                  <a:lnTo>
                    <a:pt x="1290" y="1383"/>
                  </a:lnTo>
                  <a:lnTo>
                    <a:pt x="1292" y="1383"/>
                  </a:lnTo>
                  <a:lnTo>
                    <a:pt x="1295" y="1383"/>
                  </a:lnTo>
                  <a:lnTo>
                    <a:pt x="1295" y="1383"/>
                  </a:lnTo>
                  <a:lnTo>
                    <a:pt x="1297" y="1383"/>
                  </a:lnTo>
                  <a:lnTo>
                    <a:pt x="1297" y="1381"/>
                  </a:lnTo>
                  <a:lnTo>
                    <a:pt x="1297" y="1381"/>
                  </a:lnTo>
                  <a:lnTo>
                    <a:pt x="1297" y="1381"/>
                  </a:lnTo>
                  <a:lnTo>
                    <a:pt x="1297" y="1383"/>
                  </a:lnTo>
                  <a:lnTo>
                    <a:pt x="1297" y="1381"/>
                  </a:lnTo>
                  <a:lnTo>
                    <a:pt x="1297" y="1381"/>
                  </a:lnTo>
                  <a:lnTo>
                    <a:pt x="1297" y="1379"/>
                  </a:lnTo>
                  <a:lnTo>
                    <a:pt x="1297" y="1379"/>
                  </a:lnTo>
                  <a:lnTo>
                    <a:pt x="1297" y="1376"/>
                  </a:lnTo>
                  <a:lnTo>
                    <a:pt x="1297" y="1376"/>
                  </a:lnTo>
                  <a:lnTo>
                    <a:pt x="1297" y="1376"/>
                  </a:lnTo>
                  <a:lnTo>
                    <a:pt x="1297" y="1376"/>
                  </a:lnTo>
                  <a:lnTo>
                    <a:pt x="1295" y="1376"/>
                  </a:lnTo>
                  <a:lnTo>
                    <a:pt x="1295" y="1374"/>
                  </a:lnTo>
                  <a:lnTo>
                    <a:pt x="1297" y="1374"/>
                  </a:lnTo>
                  <a:lnTo>
                    <a:pt x="1297" y="1372"/>
                  </a:lnTo>
                  <a:lnTo>
                    <a:pt x="1297" y="1372"/>
                  </a:lnTo>
                  <a:lnTo>
                    <a:pt x="1297" y="1372"/>
                  </a:lnTo>
                  <a:lnTo>
                    <a:pt x="1297" y="1372"/>
                  </a:lnTo>
                  <a:lnTo>
                    <a:pt x="1297" y="1369"/>
                  </a:lnTo>
                  <a:lnTo>
                    <a:pt x="1297" y="1369"/>
                  </a:lnTo>
                  <a:lnTo>
                    <a:pt x="1297" y="1369"/>
                  </a:lnTo>
                  <a:lnTo>
                    <a:pt x="1295" y="1367"/>
                  </a:lnTo>
                  <a:lnTo>
                    <a:pt x="1295" y="1367"/>
                  </a:lnTo>
                  <a:lnTo>
                    <a:pt x="1295" y="1367"/>
                  </a:lnTo>
                  <a:lnTo>
                    <a:pt x="1295" y="1367"/>
                  </a:lnTo>
                  <a:lnTo>
                    <a:pt x="1295" y="1369"/>
                  </a:lnTo>
                  <a:lnTo>
                    <a:pt x="1295" y="1369"/>
                  </a:lnTo>
                  <a:lnTo>
                    <a:pt x="1295" y="1372"/>
                  </a:lnTo>
                  <a:lnTo>
                    <a:pt x="1295" y="1372"/>
                  </a:lnTo>
                  <a:lnTo>
                    <a:pt x="1295" y="1372"/>
                  </a:lnTo>
                  <a:lnTo>
                    <a:pt x="1295" y="1372"/>
                  </a:lnTo>
                  <a:lnTo>
                    <a:pt x="1292" y="1369"/>
                  </a:lnTo>
                  <a:lnTo>
                    <a:pt x="1292" y="1369"/>
                  </a:lnTo>
                  <a:lnTo>
                    <a:pt x="1295" y="1369"/>
                  </a:lnTo>
                  <a:lnTo>
                    <a:pt x="1295" y="1369"/>
                  </a:lnTo>
                  <a:lnTo>
                    <a:pt x="1295" y="1367"/>
                  </a:lnTo>
                  <a:lnTo>
                    <a:pt x="1292" y="1367"/>
                  </a:lnTo>
                  <a:lnTo>
                    <a:pt x="1292" y="1367"/>
                  </a:lnTo>
                  <a:lnTo>
                    <a:pt x="1292" y="1367"/>
                  </a:lnTo>
                  <a:lnTo>
                    <a:pt x="1295" y="1367"/>
                  </a:lnTo>
                  <a:lnTo>
                    <a:pt x="1292" y="1365"/>
                  </a:lnTo>
                  <a:lnTo>
                    <a:pt x="1290" y="1367"/>
                  </a:lnTo>
                  <a:lnTo>
                    <a:pt x="1290" y="1367"/>
                  </a:lnTo>
                  <a:lnTo>
                    <a:pt x="1290" y="1365"/>
                  </a:lnTo>
                  <a:lnTo>
                    <a:pt x="1290" y="1365"/>
                  </a:lnTo>
                  <a:lnTo>
                    <a:pt x="1290" y="1365"/>
                  </a:lnTo>
                  <a:lnTo>
                    <a:pt x="1287" y="1367"/>
                  </a:lnTo>
                  <a:lnTo>
                    <a:pt x="1287" y="1367"/>
                  </a:lnTo>
                  <a:lnTo>
                    <a:pt x="1287" y="1369"/>
                  </a:lnTo>
                  <a:lnTo>
                    <a:pt x="1285" y="1369"/>
                  </a:lnTo>
                  <a:lnTo>
                    <a:pt x="1285" y="1369"/>
                  </a:lnTo>
                  <a:lnTo>
                    <a:pt x="1285" y="1367"/>
                  </a:lnTo>
                  <a:lnTo>
                    <a:pt x="1290" y="1360"/>
                  </a:lnTo>
                  <a:lnTo>
                    <a:pt x="1292" y="1360"/>
                  </a:lnTo>
                  <a:lnTo>
                    <a:pt x="1292" y="1357"/>
                  </a:lnTo>
                  <a:lnTo>
                    <a:pt x="1292" y="1357"/>
                  </a:lnTo>
                  <a:lnTo>
                    <a:pt x="1292" y="1357"/>
                  </a:lnTo>
                  <a:lnTo>
                    <a:pt x="1292" y="1357"/>
                  </a:lnTo>
                  <a:lnTo>
                    <a:pt x="1292" y="1355"/>
                  </a:lnTo>
                  <a:lnTo>
                    <a:pt x="1290" y="1355"/>
                  </a:lnTo>
                  <a:lnTo>
                    <a:pt x="1290" y="1355"/>
                  </a:lnTo>
                  <a:lnTo>
                    <a:pt x="1290" y="1355"/>
                  </a:lnTo>
                  <a:lnTo>
                    <a:pt x="1290" y="1355"/>
                  </a:lnTo>
                  <a:lnTo>
                    <a:pt x="1290" y="1357"/>
                  </a:lnTo>
                  <a:lnTo>
                    <a:pt x="1290" y="1357"/>
                  </a:lnTo>
                  <a:lnTo>
                    <a:pt x="1290" y="1357"/>
                  </a:lnTo>
                  <a:lnTo>
                    <a:pt x="1287" y="1357"/>
                  </a:lnTo>
                  <a:lnTo>
                    <a:pt x="1287" y="1357"/>
                  </a:lnTo>
                  <a:lnTo>
                    <a:pt x="1287" y="1357"/>
                  </a:lnTo>
                  <a:lnTo>
                    <a:pt x="1287" y="1357"/>
                  </a:lnTo>
                  <a:lnTo>
                    <a:pt x="1287" y="1355"/>
                  </a:lnTo>
                  <a:lnTo>
                    <a:pt x="1287" y="1355"/>
                  </a:lnTo>
                  <a:lnTo>
                    <a:pt x="1285" y="1355"/>
                  </a:lnTo>
                  <a:lnTo>
                    <a:pt x="1285" y="1357"/>
                  </a:lnTo>
                  <a:lnTo>
                    <a:pt x="1285" y="1357"/>
                  </a:lnTo>
                  <a:lnTo>
                    <a:pt x="1283" y="1362"/>
                  </a:lnTo>
                  <a:lnTo>
                    <a:pt x="1283" y="1362"/>
                  </a:lnTo>
                  <a:lnTo>
                    <a:pt x="1283" y="1362"/>
                  </a:lnTo>
                  <a:lnTo>
                    <a:pt x="1283" y="1362"/>
                  </a:lnTo>
                  <a:lnTo>
                    <a:pt x="1283" y="1362"/>
                  </a:lnTo>
                  <a:lnTo>
                    <a:pt x="1280" y="1362"/>
                  </a:lnTo>
                  <a:lnTo>
                    <a:pt x="1280" y="1362"/>
                  </a:lnTo>
                  <a:lnTo>
                    <a:pt x="1280" y="1365"/>
                  </a:lnTo>
                  <a:lnTo>
                    <a:pt x="1280" y="1365"/>
                  </a:lnTo>
                  <a:lnTo>
                    <a:pt x="1278" y="1367"/>
                  </a:lnTo>
                  <a:lnTo>
                    <a:pt x="1278" y="1367"/>
                  </a:lnTo>
                  <a:lnTo>
                    <a:pt x="1276" y="1365"/>
                  </a:lnTo>
                  <a:lnTo>
                    <a:pt x="1278" y="1365"/>
                  </a:lnTo>
                  <a:lnTo>
                    <a:pt x="1278" y="1365"/>
                  </a:lnTo>
                  <a:lnTo>
                    <a:pt x="1276" y="1365"/>
                  </a:lnTo>
                  <a:lnTo>
                    <a:pt x="1276" y="1365"/>
                  </a:lnTo>
                  <a:lnTo>
                    <a:pt x="1276" y="1365"/>
                  </a:lnTo>
                  <a:lnTo>
                    <a:pt x="1276" y="1365"/>
                  </a:lnTo>
                  <a:lnTo>
                    <a:pt x="1276" y="1365"/>
                  </a:lnTo>
                  <a:lnTo>
                    <a:pt x="1273" y="1365"/>
                  </a:lnTo>
                  <a:lnTo>
                    <a:pt x="1273" y="1365"/>
                  </a:lnTo>
                  <a:lnTo>
                    <a:pt x="1273" y="1362"/>
                  </a:lnTo>
                  <a:lnTo>
                    <a:pt x="1273" y="1360"/>
                  </a:lnTo>
                  <a:lnTo>
                    <a:pt x="1273" y="1360"/>
                  </a:lnTo>
                  <a:lnTo>
                    <a:pt x="1276" y="1360"/>
                  </a:lnTo>
                  <a:lnTo>
                    <a:pt x="1276" y="1357"/>
                  </a:lnTo>
                  <a:lnTo>
                    <a:pt x="1276" y="1357"/>
                  </a:lnTo>
                  <a:lnTo>
                    <a:pt x="1276" y="1355"/>
                  </a:lnTo>
                  <a:lnTo>
                    <a:pt x="1278" y="1355"/>
                  </a:lnTo>
                  <a:lnTo>
                    <a:pt x="1278" y="1353"/>
                  </a:lnTo>
                  <a:lnTo>
                    <a:pt x="1278" y="1353"/>
                  </a:lnTo>
                  <a:lnTo>
                    <a:pt x="1278" y="1353"/>
                  </a:lnTo>
                  <a:lnTo>
                    <a:pt x="1278" y="1353"/>
                  </a:lnTo>
                  <a:lnTo>
                    <a:pt x="1278" y="1350"/>
                  </a:lnTo>
                  <a:lnTo>
                    <a:pt x="1278" y="1350"/>
                  </a:lnTo>
                  <a:lnTo>
                    <a:pt x="1278" y="1350"/>
                  </a:lnTo>
                  <a:lnTo>
                    <a:pt x="1278" y="1350"/>
                  </a:lnTo>
                  <a:lnTo>
                    <a:pt x="1276" y="1350"/>
                  </a:lnTo>
                  <a:lnTo>
                    <a:pt x="1276" y="1350"/>
                  </a:lnTo>
                  <a:lnTo>
                    <a:pt x="1276" y="1353"/>
                  </a:lnTo>
                  <a:lnTo>
                    <a:pt x="1276" y="1353"/>
                  </a:lnTo>
                  <a:lnTo>
                    <a:pt x="1276" y="1353"/>
                  </a:lnTo>
                  <a:lnTo>
                    <a:pt x="1273" y="1353"/>
                  </a:lnTo>
                  <a:lnTo>
                    <a:pt x="1273" y="1353"/>
                  </a:lnTo>
                  <a:lnTo>
                    <a:pt x="1273" y="1353"/>
                  </a:lnTo>
                  <a:lnTo>
                    <a:pt x="1273" y="1353"/>
                  </a:lnTo>
                  <a:lnTo>
                    <a:pt x="1273" y="1353"/>
                  </a:lnTo>
                  <a:lnTo>
                    <a:pt x="1271" y="1353"/>
                  </a:lnTo>
                  <a:lnTo>
                    <a:pt x="1271" y="1353"/>
                  </a:lnTo>
                  <a:lnTo>
                    <a:pt x="1271" y="1350"/>
                  </a:lnTo>
                  <a:lnTo>
                    <a:pt x="1271" y="1350"/>
                  </a:lnTo>
                  <a:lnTo>
                    <a:pt x="1271" y="1350"/>
                  </a:lnTo>
                  <a:lnTo>
                    <a:pt x="1271" y="1350"/>
                  </a:lnTo>
                  <a:lnTo>
                    <a:pt x="1271" y="1348"/>
                  </a:lnTo>
                  <a:lnTo>
                    <a:pt x="1269" y="1348"/>
                  </a:lnTo>
                  <a:lnTo>
                    <a:pt x="1269" y="1348"/>
                  </a:lnTo>
                  <a:lnTo>
                    <a:pt x="1269" y="1348"/>
                  </a:lnTo>
                  <a:lnTo>
                    <a:pt x="1269" y="1350"/>
                  </a:lnTo>
                  <a:lnTo>
                    <a:pt x="1269" y="1350"/>
                  </a:lnTo>
                  <a:lnTo>
                    <a:pt x="1269" y="1350"/>
                  </a:lnTo>
                  <a:lnTo>
                    <a:pt x="1269" y="1348"/>
                  </a:lnTo>
                  <a:lnTo>
                    <a:pt x="1269" y="1346"/>
                  </a:lnTo>
                  <a:lnTo>
                    <a:pt x="1269" y="1346"/>
                  </a:lnTo>
                  <a:lnTo>
                    <a:pt x="1269" y="1346"/>
                  </a:lnTo>
                  <a:lnTo>
                    <a:pt x="1269" y="1346"/>
                  </a:lnTo>
                  <a:lnTo>
                    <a:pt x="1269" y="1346"/>
                  </a:lnTo>
                  <a:lnTo>
                    <a:pt x="1269" y="1343"/>
                  </a:lnTo>
                  <a:lnTo>
                    <a:pt x="1271" y="1343"/>
                  </a:lnTo>
                  <a:lnTo>
                    <a:pt x="1271" y="1341"/>
                  </a:lnTo>
                  <a:lnTo>
                    <a:pt x="1271" y="1339"/>
                  </a:lnTo>
                  <a:lnTo>
                    <a:pt x="1271" y="1336"/>
                  </a:lnTo>
                  <a:lnTo>
                    <a:pt x="1271" y="1336"/>
                  </a:lnTo>
                  <a:lnTo>
                    <a:pt x="1271" y="1334"/>
                  </a:lnTo>
                  <a:lnTo>
                    <a:pt x="1271" y="1334"/>
                  </a:lnTo>
                  <a:lnTo>
                    <a:pt x="1271" y="1336"/>
                  </a:lnTo>
                  <a:lnTo>
                    <a:pt x="1271" y="1336"/>
                  </a:lnTo>
                  <a:lnTo>
                    <a:pt x="1271" y="1336"/>
                  </a:lnTo>
                  <a:lnTo>
                    <a:pt x="1273" y="1339"/>
                  </a:lnTo>
                  <a:lnTo>
                    <a:pt x="1273" y="1339"/>
                  </a:lnTo>
                  <a:lnTo>
                    <a:pt x="1273" y="1339"/>
                  </a:lnTo>
                  <a:lnTo>
                    <a:pt x="1273" y="1339"/>
                  </a:lnTo>
                  <a:lnTo>
                    <a:pt x="1273" y="1339"/>
                  </a:lnTo>
                  <a:lnTo>
                    <a:pt x="1276" y="1339"/>
                  </a:lnTo>
                  <a:lnTo>
                    <a:pt x="1276" y="1334"/>
                  </a:lnTo>
                  <a:lnTo>
                    <a:pt x="1273" y="1336"/>
                  </a:lnTo>
                  <a:lnTo>
                    <a:pt x="1273" y="1336"/>
                  </a:lnTo>
                  <a:lnTo>
                    <a:pt x="1273" y="1336"/>
                  </a:lnTo>
                  <a:lnTo>
                    <a:pt x="1273" y="1334"/>
                  </a:lnTo>
                  <a:lnTo>
                    <a:pt x="1273" y="1334"/>
                  </a:lnTo>
                  <a:lnTo>
                    <a:pt x="1273" y="1334"/>
                  </a:lnTo>
                  <a:lnTo>
                    <a:pt x="1273" y="1331"/>
                  </a:lnTo>
                  <a:lnTo>
                    <a:pt x="1273" y="1331"/>
                  </a:lnTo>
                  <a:lnTo>
                    <a:pt x="1273" y="1331"/>
                  </a:lnTo>
                  <a:lnTo>
                    <a:pt x="1273" y="1329"/>
                  </a:lnTo>
                  <a:lnTo>
                    <a:pt x="1273" y="1327"/>
                  </a:lnTo>
                  <a:lnTo>
                    <a:pt x="1273" y="1327"/>
                  </a:lnTo>
                  <a:lnTo>
                    <a:pt x="1273" y="1324"/>
                  </a:lnTo>
                  <a:lnTo>
                    <a:pt x="1273" y="1324"/>
                  </a:lnTo>
                  <a:lnTo>
                    <a:pt x="1273" y="1324"/>
                  </a:lnTo>
                  <a:lnTo>
                    <a:pt x="1273" y="1322"/>
                  </a:lnTo>
                  <a:lnTo>
                    <a:pt x="1276" y="1322"/>
                  </a:lnTo>
                  <a:lnTo>
                    <a:pt x="1276" y="1320"/>
                  </a:lnTo>
                  <a:lnTo>
                    <a:pt x="1276" y="1320"/>
                  </a:lnTo>
                  <a:lnTo>
                    <a:pt x="1276" y="1320"/>
                  </a:lnTo>
                  <a:lnTo>
                    <a:pt x="1276" y="1317"/>
                  </a:lnTo>
                  <a:lnTo>
                    <a:pt x="1276" y="1317"/>
                  </a:lnTo>
                  <a:lnTo>
                    <a:pt x="1276" y="1315"/>
                  </a:lnTo>
                  <a:lnTo>
                    <a:pt x="1276" y="1315"/>
                  </a:lnTo>
                  <a:lnTo>
                    <a:pt x="1276" y="1313"/>
                  </a:lnTo>
                  <a:lnTo>
                    <a:pt x="1278" y="1310"/>
                  </a:lnTo>
                  <a:lnTo>
                    <a:pt x="1278" y="1308"/>
                  </a:lnTo>
                  <a:lnTo>
                    <a:pt x="1276" y="1305"/>
                  </a:lnTo>
                  <a:lnTo>
                    <a:pt x="1276" y="1303"/>
                  </a:lnTo>
                  <a:lnTo>
                    <a:pt x="1278" y="1303"/>
                  </a:lnTo>
                  <a:lnTo>
                    <a:pt x="1280" y="1298"/>
                  </a:lnTo>
                  <a:lnTo>
                    <a:pt x="1280" y="1296"/>
                  </a:lnTo>
                  <a:lnTo>
                    <a:pt x="1280" y="1294"/>
                  </a:lnTo>
                  <a:lnTo>
                    <a:pt x="1280" y="1294"/>
                  </a:lnTo>
                  <a:lnTo>
                    <a:pt x="1280" y="1296"/>
                  </a:lnTo>
                  <a:lnTo>
                    <a:pt x="1278" y="1296"/>
                  </a:lnTo>
                  <a:lnTo>
                    <a:pt x="1278" y="1296"/>
                  </a:lnTo>
                  <a:lnTo>
                    <a:pt x="1278" y="1296"/>
                  </a:lnTo>
                  <a:lnTo>
                    <a:pt x="1278" y="1298"/>
                  </a:lnTo>
                  <a:lnTo>
                    <a:pt x="1273" y="1298"/>
                  </a:lnTo>
                  <a:lnTo>
                    <a:pt x="1273" y="1301"/>
                  </a:lnTo>
                  <a:lnTo>
                    <a:pt x="1271" y="1301"/>
                  </a:lnTo>
                  <a:lnTo>
                    <a:pt x="1271" y="1303"/>
                  </a:lnTo>
                  <a:lnTo>
                    <a:pt x="1271" y="1303"/>
                  </a:lnTo>
                  <a:lnTo>
                    <a:pt x="1269" y="1303"/>
                  </a:lnTo>
                  <a:lnTo>
                    <a:pt x="1269" y="1303"/>
                  </a:lnTo>
                  <a:lnTo>
                    <a:pt x="1266" y="1305"/>
                  </a:lnTo>
                  <a:lnTo>
                    <a:pt x="1266" y="1308"/>
                  </a:lnTo>
                  <a:lnTo>
                    <a:pt x="1264" y="1310"/>
                  </a:lnTo>
                  <a:lnTo>
                    <a:pt x="1266" y="1308"/>
                  </a:lnTo>
                  <a:lnTo>
                    <a:pt x="1266" y="1308"/>
                  </a:lnTo>
                  <a:lnTo>
                    <a:pt x="1266" y="1310"/>
                  </a:lnTo>
                  <a:lnTo>
                    <a:pt x="1266" y="1310"/>
                  </a:lnTo>
                  <a:lnTo>
                    <a:pt x="1266" y="1313"/>
                  </a:lnTo>
                  <a:lnTo>
                    <a:pt x="1266" y="1313"/>
                  </a:lnTo>
                  <a:lnTo>
                    <a:pt x="1266" y="1313"/>
                  </a:lnTo>
                  <a:lnTo>
                    <a:pt x="1264" y="1313"/>
                  </a:lnTo>
                  <a:lnTo>
                    <a:pt x="1264" y="1310"/>
                  </a:lnTo>
                  <a:lnTo>
                    <a:pt x="1264" y="1310"/>
                  </a:lnTo>
                  <a:lnTo>
                    <a:pt x="1264" y="1310"/>
                  </a:lnTo>
                  <a:lnTo>
                    <a:pt x="1261" y="1310"/>
                  </a:lnTo>
                  <a:lnTo>
                    <a:pt x="1261" y="1310"/>
                  </a:lnTo>
                  <a:lnTo>
                    <a:pt x="1261" y="1313"/>
                  </a:lnTo>
                  <a:lnTo>
                    <a:pt x="1261" y="1313"/>
                  </a:lnTo>
                  <a:lnTo>
                    <a:pt x="1261" y="1313"/>
                  </a:lnTo>
                  <a:lnTo>
                    <a:pt x="1261" y="1315"/>
                  </a:lnTo>
                  <a:lnTo>
                    <a:pt x="1259" y="1315"/>
                  </a:lnTo>
                  <a:lnTo>
                    <a:pt x="1259" y="1313"/>
                  </a:lnTo>
                  <a:lnTo>
                    <a:pt x="1259" y="1313"/>
                  </a:lnTo>
                  <a:lnTo>
                    <a:pt x="1259" y="1310"/>
                  </a:lnTo>
                  <a:lnTo>
                    <a:pt x="1259" y="1310"/>
                  </a:lnTo>
                  <a:lnTo>
                    <a:pt x="1261" y="1310"/>
                  </a:lnTo>
                  <a:lnTo>
                    <a:pt x="1261" y="1310"/>
                  </a:lnTo>
                  <a:lnTo>
                    <a:pt x="1261" y="1308"/>
                  </a:lnTo>
                  <a:lnTo>
                    <a:pt x="1261" y="1308"/>
                  </a:lnTo>
                  <a:lnTo>
                    <a:pt x="1261" y="1308"/>
                  </a:lnTo>
                  <a:lnTo>
                    <a:pt x="1261" y="1308"/>
                  </a:lnTo>
                  <a:lnTo>
                    <a:pt x="1261" y="1308"/>
                  </a:lnTo>
                  <a:lnTo>
                    <a:pt x="1261" y="1305"/>
                  </a:lnTo>
                  <a:lnTo>
                    <a:pt x="1264" y="1303"/>
                  </a:lnTo>
                  <a:lnTo>
                    <a:pt x="1266" y="1301"/>
                  </a:lnTo>
                  <a:lnTo>
                    <a:pt x="1266" y="1301"/>
                  </a:lnTo>
                  <a:lnTo>
                    <a:pt x="1266" y="1298"/>
                  </a:lnTo>
                  <a:lnTo>
                    <a:pt x="1266" y="1296"/>
                  </a:lnTo>
                  <a:lnTo>
                    <a:pt x="1266" y="1296"/>
                  </a:lnTo>
                  <a:lnTo>
                    <a:pt x="1269" y="1294"/>
                  </a:lnTo>
                  <a:lnTo>
                    <a:pt x="1266" y="1294"/>
                  </a:lnTo>
                  <a:lnTo>
                    <a:pt x="1266" y="1294"/>
                  </a:lnTo>
                  <a:lnTo>
                    <a:pt x="1264" y="1298"/>
                  </a:lnTo>
                  <a:lnTo>
                    <a:pt x="1261" y="1298"/>
                  </a:lnTo>
                  <a:lnTo>
                    <a:pt x="1261" y="1301"/>
                  </a:lnTo>
                  <a:lnTo>
                    <a:pt x="1264" y="1303"/>
                  </a:lnTo>
                  <a:lnTo>
                    <a:pt x="1261" y="1303"/>
                  </a:lnTo>
                  <a:lnTo>
                    <a:pt x="1261" y="1303"/>
                  </a:lnTo>
                  <a:lnTo>
                    <a:pt x="1261" y="1301"/>
                  </a:lnTo>
                  <a:lnTo>
                    <a:pt x="1261" y="1301"/>
                  </a:lnTo>
                  <a:lnTo>
                    <a:pt x="1261" y="1301"/>
                  </a:lnTo>
                  <a:lnTo>
                    <a:pt x="1261" y="1298"/>
                  </a:lnTo>
                  <a:lnTo>
                    <a:pt x="1261" y="1298"/>
                  </a:lnTo>
                  <a:lnTo>
                    <a:pt x="1261" y="1298"/>
                  </a:lnTo>
                  <a:lnTo>
                    <a:pt x="1261" y="1298"/>
                  </a:lnTo>
                  <a:lnTo>
                    <a:pt x="1261" y="1298"/>
                  </a:lnTo>
                  <a:lnTo>
                    <a:pt x="1261" y="1298"/>
                  </a:lnTo>
                  <a:lnTo>
                    <a:pt x="1261" y="1298"/>
                  </a:lnTo>
                  <a:lnTo>
                    <a:pt x="1261" y="1296"/>
                  </a:lnTo>
                  <a:lnTo>
                    <a:pt x="1261" y="1296"/>
                  </a:lnTo>
                  <a:lnTo>
                    <a:pt x="1254" y="1298"/>
                  </a:lnTo>
                  <a:lnTo>
                    <a:pt x="1254" y="1298"/>
                  </a:lnTo>
                  <a:lnTo>
                    <a:pt x="1254" y="1298"/>
                  </a:lnTo>
                  <a:lnTo>
                    <a:pt x="1254" y="1298"/>
                  </a:lnTo>
                  <a:lnTo>
                    <a:pt x="1252" y="1298"/>
                  </a:lnTo>
                  <a:lnTo>
                    <a:pt x="1250" y="1296"/>
                  </a:lnTo>
                  <a:lnTo>
                    <a:pt x="1250" y="1296"/>
                  </a:lnTo>
                  <a:lnTo>
                    <a:pt x="1252" y="1296"/>
                  </a:lnTo>
                  <a:lnTo>
                    <a:pt x="1252" y="1296"/>
                  </a:lnTo>
                  <a:lnTo>
                    <a:pt x="1252" y="1296"/>
                  </a:lnTo>
                  <a:lnTo>
                    <a:pt x="1252" y="1296"/>
                  </a:lnTo>
                  <a:lnTo>
                    <a:pt x="1252" y="1294"/>
                  </a:lnTo>
                  <a:lnTo>
                    <a:pt x="1252" y="1294"/>
                  </a:lnTo>
                  <a:lnTo>
                    <a:pt x="1252" y="1294"/>
                  </a:lnTo>
                  <a:lnTo>
                    <a:pt x="1252" y="1294"/>
                  </a:lnTo>
                  <a:lnTo>
                    <a:pt x="1252" y="1291"/>
                  </a:lnTo>
                  <a:lnTo>
                    <a:pt x="1250" y="1291"/>
                  </a:lnTo>
                  <a:lnTo>
                    <a:pt x="1250" y="1291"/>
                  </a:lnTo>
                  <a:lnTo>
                    <a:pt x="1250" y="1289"/>
                  </a:lnTo>
                  <a:lnTo>
                    <a:pt x="1250" y="1289"/>
                  </a:lnTo>
                  <a:lnTo>
                    <a:pt x="1250" y="1289"/>
                  </a:lnTo>
                  <a:lnTo>
                    <a:pt x="1250" y="1289"/>
                  </a:lnTo>
                  <a:lnTo>
                    <a:pt x="1250" y="1289"/>
                  </a:lnTo>
                  <a:lnTo>
                    <a:pt x="1247" y="1286"/>
                  </a:lnTo>
                  <a:lnTo>
                    <a:pt x="1247" y="1284"/>
                  </a:lnTo>
                  <a:lnTo>
                    <a:pt x="1242" y="1282"/>
                  </a:lnTo>
                  <a:lnTo>
                    <a:pt x="1238" y="1282"/>
                  </a:lnTo>
                  <a:lnTo>
                    <a:pt x="1238" y="1282"/>
                  </a:lnTo>
                  <a:lnTo>
                    <a:pt x="1238" y="1282"/>
                  </a:lnTo>
                  <a:lnTo>
                    <a:pt x="1238" y="1284"/>
                  </a:lnTo>
                  <a:lnTo>
                    <a:pt x="1238" y="1284"/>
                  </a:lnTo>
                  <a:lnTo>
                    <a:pt x="1238" y="1284"/>
                  </a:lnTo>
                  <a:lnTo>
                    <a:pt x="1238" y="1284"/>
                  </a:lnTo>
                  <a:lnTo>
                    <a:pt x="1238" y="1284"/>
                  </a:lnTo>
                  <a:lnTo>
                    <a:pt x="1238" y="1284"/>
                  </a:lnTo>
                  <a:lnTo>
                    <a:pt x="1238" y="1286"/>
                  </a:lnTo>
                  <a:lnTo>
                    <a:pt x="1238" y="1286"/>
                  </a:lnTo>
                  <a:lnTo>
                    <a:pt x="1240" y="1284"/>
                  </a:lnTo>
                  <a:lnTo>
                    <a:pt x="1240" y="1286"/>
                  </a:lnTo>
                  <a:lnTo>
                    <a:pt x="1240" y="1286"/>
                  </a:lnTo>
                  <a:lnTo>
                    <a:pt x="1240" y="1286"/>
                  </a:lnTo>
                  <a:lnTo>
                    <a:pt x="1240" y="1286"/>
                  </a:lnTo>
                  <a:lnTo>
                    <a:pt x="1240" y="1286"/>
                  </a:lnTo>
                  <a:lnTo>
                    <a:pt x="1240" y="1286"/>
                  </a:lnTo>
                  <a:lnTo>
                    <a:pt x="1240" y="1286"/>
                  </a:lnTo>
                  <a:lnTo>
                    <a:pt x="1240" y="1286"/>
                  </a:lnTo>
                  <a:lnTo>
                    <a:pt x="1238" y="1286"/>
                  </a:lnTo>
                  <a:lnTo>
                    <a:pt x="1238" y="1286"/>
                  </a:lnTo>
                  <a:lnTo>
                    <a:pt x="1238" y="1284"/>
                  </a:lnTo>
                  <a:lnTo>
                    <a:pt x="1235" y="1284"/>
                  </a:lnTo>
                  <a:lnTo>
                    <a:pt x="1235" y="1284"/>
                  </a:lnTo>
                  <a:lnTo>
                    <a:pt x="1235" y="1282"/>
                  </a:lnTo>
                  <a:lnTo>
                    <a:pt x="1235" y="1282"/>
                  </a:lnTo>
                  <a:lnTo>
                    <a:pt x="1235" y="1282"/>
                  </a:lnTo>
                  <a:lnTo>
                    <a:pt x="1235" y="1282"/>
                  </a:lnTo>
                  <a:lnTo>
                    <a:pt x="1235" y="1282"/>
                  </a:lnTo>
                  <a:lnTo>
                    <a:pt x="1235" y="1282"/>
                  </a:lnTo>
                  <a:lnTo>
                    <a:pt x="1235" y="1279"/>
                  </a:lnTo>
                  <a:lnTo>
                    <a:pt x="1233" y="1279"/>
                  </a:lnTo>
                  <a:lnTo>
                    <a:pt x="1231" y="1279"/>
                  </a:lnTo>
                  <a:lnTo>
                    <a:pt x="1231" y="1279"/>
                  </a:lnTo>
                  <a:lnTo>
                    <a:pt x="1231" y="1279"/>
                  </a:lnTo>
                  <a:lnTo>
                    <a:pt x="1231" y="1279"/>
                  </a:lnTo>
                  <a:lnTo>
                    <a:pt x="1228" y="1279"/>
                  </a:lnTo>
                  <a:lnTo>
                    <a:pt x="1228" y="1279"/>
                  </a:lnTo>
                  <a:lnTo>
                    <a:pt x="1228" y="1279"/>
                  </a:lnTo>
                  <a:lnTo>
                    <a:pt x="1228" y="1279"/>
                  </a:lnTo>
                  <a:lnTo>
                    <a:pt x="1228" y="1282"/>
                  </a:lnTo>
                  <a:lnTo>
                    <a:pt x="1228" y="1282"/>
                  </a:lnTo>
                  <a:lnTo>
                    <a:pt x="1228" y="1282"/>
                  </a:lnTo>
                  <a:lnTo>
                    <a:pt x="1228" y="1284"/>
                  </a:lnTo>
                  <a:lnTo>
                    <a:pt x="1231" y="1286"/>
                  </a:lnTo>
                  <a:lnTo>
                    <a:pt x="1231" y="1286"/>
                  </a:lnTo>
                  <a:lnTo>
                    <a:pt x="1231" y="1286"/>
                  </a:lnTo>
                  <a:lnTo>
                    <a:pt x="1231" y="1286"/>
                  </a:lnTo>
                  <a:lnTo>
                    <a:pt x="1231" y="1286"/>
                  </a:lnTo>
                  <a:lnTo>
                    <a:pt x="1231" y="1289"/>
                  </a:lnTo>
                  <a:lnTo>
                    <a:pt x="1233" y="1289"/>
                  </a:lnTo>
                  <a:lnTo>
                    <a:pt x="1233" y="1289"/>
                  </a:lnTo>
                  <a:lnTo>
                    <a:pt x="1233" y="1289"/>
                  </a:lnTo>
                  <a:lnTo>
                    <a:pt x="1233" y="1291"/>
                  </a:lnTo>
                  <a:lnTo>
                    <a:pt x="1233" y="1291"/>
                  </a:lnTo>
                  <a:lnTo>
                    <a:pt x="1231" y="1289"/>
                  </a:lnTo>
                  <a:lnTo>
                    <a:pt x="1231" y="1289"/>
                  </a:lnTo>
                  <a:lnTo>
                    <a:pt x="1231" y="1294"/>
                  </a:lnTo>
                  <a:lnTo>
                    <a:pt x="1226" y="1291"/>
                  </a:lnTo>
                  <a:lnTo>
                    <a:pt x="1226" y="1291"/>
                  </a:lnTo>
                  <a:lnTo>
                    <a:pt x="1226" y="1291"/>
                  </a:lnTo>
                  <a:lnTo>
                    <a:pt x="1226" y="1294"/>
                  </a:lnTo>
                  <a:lnTo>
                    <a:pt x="1226" y="1294"/>
                  </a:lnTo>
                  <a:lnTo>
                    <a:pt x="1226" y="1294"/>
                  </a:lnTo>
                  <a:lnTo>
                    <a:pt x="1226" y="1294"/>
                  </a:lnTo>
                  <a:lnTo>
                    <a:pt x="1224" y="1294"/>
                  </a:lnTo>
                  <a:lnTo>
                    <a:pt x="1224" y="1294"/>
                  </a:lnTo>
                  <a:lnTo>
                    <a:pt x="1224" y="1294"/>
                  </a:lnTo>
                  <a:lnTo>
                    <a:pt x="1224" y="1294"/>
                  </a:lnTo>
                  <a:lnTo>
                    <a:pt x="1224" y="1296"/>
                  </a:lnTo>
                  <a:lnTo>
                    <a:pt x="1224" y="1296"/>
                  </a:lnTo>
                  <a:lnTo>
                    <a:pt x="1221" y="1294"/>
                  </a:lnTo>
                  <a:lnTo>
                    <a:pt x="1219" y="1291"/>
                  </a:lnTo>
                  <a:lnTo>
                    <a:pt x="1216" y="1291"/>
                  </a:lnTo>
                  <a:lnTo>
                    <a:pt x="1216" y="1291"/>
                  </a:lnTo>
                  <a:lnTo>
                    <a:pt x="1216" y="1291"/>
                  </a:lnTo>
                  <a:lnTo>
                    <a:pt x="1216" y="1289"/>
                  </a:lnTo>
                  <a:lnTo>
                    <a:pt x="1214" y="1286"/>
                  </a:lnTo>
                  <a:lnTo>
                    <a:pt x="1214" y="1286"/>
                  </a:lnTo>
                  <a:lnTo>
                    <a:pt x="1214" y="1289"/>
                  </a:lnTo>
                  <a:lnTo>
                    <a:pt x="1214" y="1289"/>
                  </a:lnTo>
                  <a:lnTo>
                    <a:pt x="1216" y="1291"/>
                  </a:lnTo>
                  <a:lnTo>
                    <a:pt x="1216" y="1294"/>
                  </a:lnTo>
                  <a:lnTo>
                    <a:pt x="1216" y="1291"/>
                  </a:lnTo>
                  <a:lnTo>
                    <a:pt x="1214" y="1291"/>
                  </a:lnTo>
                  <a:lnTo>
                    <a:pt x="1214" y="1291"/>
                  </a:lnTo>
                  <a:lnTo>
                    <a:pt x="1214" y="1291"/>
                  </a:lnTo>
                  <a:lnTo>
                    <a:pt x="1214" y="1294"/>
                  </a:lnTo>
                  <a:lnTo>
                    <a:pt x="1214" y="1294"/>
                  </a:lnTo>
                  <a:lnTo>
                    <a:pt x="1214" y="1294"/>
                  </a:lnTo>
                  <a:lnTo>
                    <a:pt x="1214" y="1294"/>
                  </a:lnTo>
                  <a:lnTo>
                    <a:pt x="1212" y="1291"/>
                  </a:lnTo>
                  <a:lnTo>
                    <a:pt x="1212" y="1291"/>
                  </a:lnTo>
                  <a:lnTo>
                    <a:pt x="1212" y="1291"/>
                  </a:lnTo>
                  <a:lnTo>
                    <a:pt x="1209" y="1291"/>
                  </a:lnTo>
                  <a:lnTo>
                    <a:pt x="1209" y="1291"/>
                  </a:lnTo>
                  <a:lnTo>
                    <a:pt x="1209" y="1291"/>
                  </a:lnTo>
                  <a:lnTo>
                    <a:pt x="1209" y="1291"/>
                  </a:lnTo>
                  <a:lnTo>
                    <a:pt x="1212" y="1294"/>
                  </a:lnTo>
                  <a:lnTo>
                    <a:pt x="1214" y="1296"/>
                  </a:lnTo>
                  <a:lnTo>
                    <a:pt x="1214" y="1298"/>
                  </a:lnTo>
                  <a:lnTo>
                    <a:pt x="1216" y="1298"/>
                  </a:lnTo>
                  <a:lnTo>
                    <a:pt x="1216" y="1301"/>
                  </a:lnTo>
                  <a:lnTo>
                    <a:pt x="1216" y="1301"/>
                  </a:lnTo>
                  <a:lnTo>
                    <a:pt x="1214" y="1301"/>
                  </a:lnTo>
                  <a:lnTo>
                    <a:pt x="1214" y="1301"/>
                  </a:lnTo>
                  <a:lnTo>
                    <a:pt x="1216" y="1301"/>
                  </a:lnTo>
                  <a:lnTo>
                    <a:pt x="1219" y="1303"/>
                  </a:lnTo>
                  <a:lnTo>
                    <a:pt x="1219" y="1303"/>
                  </a:lnTo>
                  <a:lnTo>
                    <a:pt x="1221" y="1305"/>
                  </a:lnTo>
                  <a:lnTo>
                    <a:pt x="1221" y="1305"/>
                  </a:lnTo>
                  <a:lnTo>
                    <a:pt x="1221" y="1308"/>
                  </a:lnTo>
                  <a:lnTo>
                    <a:pt x="1219" y="1310"/>
                  </a:lnTo>
                  <a:lnTo>
                    <a:pt x="1219" y="1310"/>
                  </a:lnTo>
                  <a:lnTo>
                    <a:pt x="1216" y="1308"/>
                  </a:lnTo>
                  <a:lnTo>
                    <a:pt x="1216" y="1308"/>
                  </a:lnTo>
                  <a:lnTo>
                    <a:pt x="1216" y="1305"/>
                  </a:lnTo>
                  <a:lnTo>
                    <a:pt x="1216" y="1305"/>
                  </a:lnTo>
                  <a:lnTo>
                    <a:pt x="1216" y="1305"/>
                  </a:lnTo>
                  <a:lnTo>
                    <a:pt x="1216" y="1305"/>
                  </a:lnTo>
                  <a:lnTo>
                    <a:pt x="1216" y="1303"/>
                  </a:lnTo>
                  <a:lnTo>
                    <a:pt x="1216" y="1303"/>
                  </a:lnTo>
                  <a:lnTo>
                    <a:pt x="1216" y="1303"/>
                  </a:lnTo>
                  <a:lnTo>
                    <a:pt x="1216" y="1303"/>
                  </a:lnTo>
                  <a:lnTo>
                    <a:pt x="1214" y="1305"/>
                  </a:lnTo>
                  <a:lnTo>
                    <a:pt x="1214" y="1308"/>
                  </a:lnTo>
                  <a:lnTo>
                    <a:pt x="1214" y="1305"/>
                  </a:lnTo>
                  <a:lnTo>
                    <a:pt x="1214" y="1305"/>
                  </a:lnTo>
                  <a:lnTo>
                    <a:pt x="1214" y="1305"/>
                  </a:lnTo>
                  <a:lnTo>
                    <a:pt x="1214" y="1308"/>
                  </a:lnTo>
                  <a:lnTo>
                    <a:pt x="1214" y="1308"/>
                  </a:lnTo>
                  <a:lnTo>
                    <a:pt x="1216" y="1310"/>
                  </a:lnTo>
                  <a:lnTo>
                    <a:pt x="1216" y="1310"/>
                  </a:lnTo>
                  <a:lnTo>
                    <a:pt x="1216" y="1310"/>
                  </a:lnTo>
                  <a:lnTo>
                    <a:pt x="1219" y="1315"/>
                  </a:lnTo>
                  <a:lnTo>
                    <a:pt x="1219" y="1315"/>
                  </a:lnTo>
                  <a:lnTo>
                    <a:pt x="1219" y="1317"/>
                  </a:lnTo>
                  <a:lnTo>
                    <a:pt x="1221" y="1317"/>
                  </a:lnTo>
                  <a:lnTo>
                    <a:pt x="1221" y="1320"/>
                  </a:lnTo>
                  <a:lnTo>
                    <a:pt x="1224" y="1320"/>
                  </a:lnTo>
                  <a:lnTo>
                    <a:pt x="1224" y="1320"/>
                  </a:lnTo>
                  <a:lnTo>
                    <a:pt x="1224" y="1322"/>
                  </a:lnTo>
                  <a:lnTo>
                    <a:pt x="1224" y="1322"/>
                  </a:lnTo>
                  <a:lnTo>
                    <a:pt x="1224" y="1322"/>
                  </a:lnTo>
                  <a:lnTo>
                    <a:pt x="1224" y="1322"/>
                  </a:lnTo>
                  <a:lnTo>
                    <a:pt x="1224" y="1324"/>
                  </a:lnTo>
                  <a:lnTo>
                    <a:pt x="1224" y="1324"/>
                  </a:lnTo>
                  <a:lnTo>
                    <a:pt x="1226" y="1324"/>
                  </a:lnTo>
                  <a:lnTo>
                    <a:pt x="1226" y="1327"/>
                  </a:lnTo>
                  <a:lnTo>
                    <a:pt x="1226" y="1327"/>
                  </a:lnTo>
                  <a:lnTo>
                    <a:pt x="1228" y="1327"/>
                  </a:lnTo>
                  <a:lnTo>
                    <a:pt x="1226" y="1327"/>
                  </a:lnTo>
                  <a:lnTo>
                    <a:pt x="1226" y="1324"/>
                  </a:lnTo>
                  <a:lnTo>
                    <a:pt x="1226" y="1322"/>
                  </a:lnTo>
                  <a:lnTo>
                    <a:pt x="1226" y="1322"/>
                  </a:lnTo>
                  <a:lnTo>
                    <a:pt x="1228" y="1320"/>
                  </a:lnTo>
                  <a:lnTo>
                    <a:pt x="1228" y="1320"/>
                  </a:lnTo>
                  <a:lnTo>
                    <a:pt x="1228" y="1320"/>
                  </a:lnTo>
                  <a:lnTo>
                    <a:pt x="1228" y="1320"/>
                  </a:lnTo>
                  <a:lnTo>
                    <a:pt x="1228" y="1320"/>
                  </a:lnTo>
                  <a:lnTo>
                    <a:pt x="1231" y="1317"/>
                  </a:lnTo>
                  <a:lnTo>
                    <a:pt x="1233" y="1317"/>
                  </a:lnTo>
                  <a:lnTo>
                    <a:pt x="1233" y="1317"/>
                  </a:lnTo>
                  <a:lnTo>
                    <a:pt x="1233" y="1317"/>
                  </a:lnTo>
                  <a:lnTo>
                    <a:pt x="1233" y="1317"/>
                  </a:lnTo>
                  <a:lnTo>
                    <a:pt x="1233" y="1317"/>
                  </a:lnTo>
                  <a:lnTo>
                    <a:pt x="1233" y="1317"/>
                  </a:lnTo>
                  <a:lnTo>
                    <a:pt x="1233" y="1317"/>
                  </a:lnTo>
                  <a:lnTo>
                    <a:pt x="1235" y="1317"/>
                  </a:lnTo>
                  <a:lnTo>
                    <a:pt x="1235" y="1317"/>
                  </a:lnTo>
                  <a:lnTo>
                    <a:pt x="1235" y="1317"/>
                  </a:lnTo>
                  <a:lnTo>
                    <a:pt x="1235" y="1317"/>
                  </a:lnTo>
                  <a:lnTo>
                    <a:pt x="1235" y="1317"/>
                  </a:lnTo>
                  <a:lnTo>
                    <a:pt x="1235" y="1315"/>
                  </a:lnTo>
                  <a:lnTo>
                    <a:pt x="1235" y="1315"/>
                  </a:lnTo>
                  <a:lnTo>
                    <a:pt x="1235" y="1315"/>
                  </a:lnTo>
                  <a:lnTo>
                    <a:pt x="1235" y="1315"/>
                  </a:lnTo>
                  <a:lnTo>
                    <a:pt x="1238" y="1315"/>
                  </a:lnTo>
                  <a:lnTo>
                    <a:pt x="1238" y="1315"/>
                  </a:lnTo>
                  <a:lnTo>
                    <a:pt x="1240" y="1317"/>
                  </a:lnTo>
                  <a:lnTo>
                    <a:pt x="1242" y="1320"/>
                  </a:lnTo>
                  <a:lnTo>
                    <a:pt x="1242" y="1320"/>
                  </a:lnTo>
                  <a:lnTo>
                    <a:pt x="1242" y="1322"/>
                  </a:lnTo>
                  <a:lnTo>
                    <a:pt x="1245" y="1324"/>
                  </a:lnTo>
                  <a:lnTo>
                    <a:pt x="1245" y="1324"/>
                  </a:lnTo>
                  <a:lnTo>
                    <a:pt x="1247" y="1322"/>
                  </a:lnTo>
                  <a:lnTo>
                    <a:pt x="1247" y="1322"/>
                  </a:lnTo>
                  <a:lnTo>
                    <a:pt x="1247" y="1320"/>
                  </a:lnTo>
                  <a:lnTo>
                    <a:pt x="1247" y="1320"/>
                  </a:lnTo>
                  <a:lnTo>
                    <a:pt x="1247" y="1322"/>
                  </a:lnTo>
                  <a:lnTo>
                    <a:pt x="1247" y="1322"/>
                  </a:lnTo>
                  <a:lnTo>
                    <a:pt x="1247" y="1324"/>
                  </a:lnTo>
                  <a:lnTo>
                    <a:pt x="1250" y="1324"/>
                  </a:lnTo>
                  <a:lnTo>
                    <a:pt x="1250" y="1324"/>
                  </a:lnTo>
                  <a:lnTo>
                    <a:pt x="1250" y="1324"/>
                  </a:lnTo>
                  <a:lnTo>
                    <a:pt x="1250" y="1327"/>
                  </a:lnTo>
                  <a:lnTo>
                    <a:pt x="1250" y="1327"/>
                  </a:lnTo>
                  <a:lnTo>
                    <a:pt x="1250" y="1329"/>
                  </a:lnTo>
                  <a:lnTo>
                    <a:pt x="1250" y="1329"/>
                  </a:lnTo>
                  <a:lnTo>
                    <a:pt x="1250" y="1334"/>
                  </a:lnTo>
                  <a:lnTo>
                    <a:pt x="1247" y="1334"/>
                  </a:lnTo>
                  <a:lnTo>
                    <a:pt x="1250" y="1334"/>
                  </a:lnTo>
                  <a:lnTo>
                    <a:pt x="1250" y="1334"/>
                  </a:lnTo>
                  <a:lnTo>
                    <a:pt x="1250" y="1334"/>
                  </a:lnTo>
                  <a:lnTo>
                    <a:pt x="1252" y="1336"/>
                  </a:lnTo>
                  <a:lnTo>
                    <a:pt x="1252" y="1336"/>
                  </a:lnTo>
                  <a:lnTo>
                    <a:pt x="1252" y="1336"/>
                  </a:lnTo>
                  <a:lnTo>
                    <a:pt x="1250" y="1336"/>
                  </a:lnTo>
                  <a:lnTo>
                    <a:pt x="1250" y="1339"/>
                  </a:lnTo>
                  <a:lnTo>
                    <a:pt x="1250" y="1339"/>
                  </a:lnTo>
                  <a:lnTo>
                    <a:pt x="1250" y="1341"/>
                  </a:lnTo>
                  <a:lnTo>
                    <a:pt x="1247" y="1339"/>
                  </a:lnTo>
                  <a:lnTo>
                    <a:pt x="1247" y="1339"/>
                  </a:lnTo>
                  <a:lnTo>
                    <a:pt x="1247" y="1339"/>
                  </a:lnTo>
                  <a:lnTo>
                    <a:pt x="1247" y="1339"/>
                  </a:lnTo>
                  <a:lnTo>
                    <a:pt x="1245" y="1339"/>
                  </a:lnTo>
                  <a:lnTo>
                    <a:pt x="1245" y="1339"/>
                  </a:lnTo>
                  <a:lnTo>
                    <a:pt x="1245" y="1341"/>
                  </a:lnTo>
                  <a:lnTo>
                    <a:pt x="1242" y="1341"/>
                  </a:lnTo>
                  <a:lnTo>
                    <a:pt x="1242" y="1341"/>
                  </a:lnTo>
                  <a:lnTo>
                    <a:pt x="1240" y="1343"/>
                  </a:lnTo>
                  <a:lnTo>
                    <a:pt x="1240" y="1341"/>
                  </a:lnTo>
                  <a:lnTo>
                    <a:pt x="1238" y="1341"/>
                  </a:lnTo>
                  <a:lnTo>
                    <a:pt x="1238" y="1341"/>
                  </a:lnTo>
                  <a:lnTo>
                    <a:pt x="1238" y="1339"/>
                  </a:lnTo>
                  <a:lnTo>
                    <a:pt x="1238" y="1339"/>
                  </a:lnTo>
                  <a:lnTo>
                    <a:pt x="1235" y="1339"/>
                  </a:lnTo>
                  <a:lnTo>
                    <a:pt x="1235" y="1339"/>
                  </a:lnTo>
                  <a:lnTo>
                    <a:pt x="1235" y="1339"/>
                  </a:lnTo>
                  <a:lnTo>
                    <a:pt x="1235" y="1339"/>
                  </a:lnTo>
                  <a:lnTo>
                    <a:pt x="1233" y="1336"/>
                  </a:lnTo>
                  <a:lnTo>
                    <a:pt x="1233" y="1336"/>
                  </a:lnTo>
                  <a:lnTo>
                    <a:pt x="1231" y="1336"/>
                  </a:lnTo>
                  <a:lnTo>
                    <a:pt x="1231" y="1336"/>
                  </a:lnTo>
                  <a:lnTo>
                    <a:pt x="1231" y="1336"/>
                  </a:lnTo>
                  <a:lnTo>
                    <a:pt x="1228" y="1334"/>
                  </a:lnTo>
                  <a:lnTo>
                    <a:pt x="1228" y="1331"/>
                  </a:lnTo>
                  <a:lnTo>
                    <a:pt x="1228" y="1331"/>
                  </a:lnTo>
                  <a:lnTo>
                    <a:pt x="1228" y="1331"/>
                  </a:lnTo>
                  <a:lnTo>
                    <a:pt x="1228" y="1331"/>
                  </a:lnTo>
                  <a:lnTo>
                    <a:pt x="1226" y="1331"/>
                  </a:lnTo>
                  <a:lnTo>
                    <a:pt x="1226" y="1331"/>
                  </a:lnTo>
                  <a:lnTo>
                    <a:pt x="1226" y="1331"/>
                  </a:lnTo>
                  <a:lnTo>
                    <a:pt x="1224" y="1327"/>
                  </a:lnTo>
                  <a:lnTo>
                    <a:pt x="1224" y="1327"/>
                  </a:lnTo>
                  <a:lnTo>
                    <a:pt x="1224" y="1324"/>
                  </a:lnTo>
                  <a:lnTo>
                    <a:pt x="1224" y="1324"/>
                  </a:lnTo>
                  <a:lnTo>
                    <a:pt x="1224" y="1324"/>
                  </a:lnTo>
                  <a:lnTo>
                    <a:pt x="1224" y="1322"/>
                  </a:lnTo>
                  <a:lnTo>
                    <a:pt x="1224" y="1322"/>
                  </a:lnTo>
                  <a:lnTo>
                    <a:pt x="1221" y="1322"/>
                  </a:lnTo>
                  <a:lnTo>
                    <a:pt x="1221" y="1320"/>
                  </a:lnTo>
                  <a:lnTo>
                    <a:pt x="1219" y="1317"/>
                  </a:lnTo>
                  <a:lnTo>
                    <a:pt x="1214" y="1313"/>
                  </a:lnTo>
                  <a:lnTo>
                    <a:pt x="1214" y="1313"/>
                  </a:lnTo>
                  <a:lnTo>
                    <a:pt x="1214" y="1313"/>
                  </a:lnTo>
                  <a:lnTo>
                    <a:pt x="1214" y="1310"/>
                  </a:lnTo>
                  <a:lnTo>
                    <a:pt x="1214" y="1310"/>
                  </a:lnTo>
                  <a:lnTo>
                    <a:pt x="1214" y="1310"/>
                  </a:lnTo>
                  <a:lnTo>
                    <a:pt x="1214" y="1310"/>
                  </a:lnTo>
                  <a:lnTo>
                    <a:pt x="1212" y="1310"/>
                  </a:lnTo>
                  <a:lnTo>
                    <a:pt x="1212" y="1313"/>
                  </a:lnTo>
                  <a:lnTo>
                    <a:pt x="1209" y="1310"/>
                  </a:lnTo>
                  <a:lnTo>
                    <a:pt x="1209" y="1313"/>
                  </a:lnTo>
                  <a:lnTo>
                    <a:pt x="1209" y="1313"/>
                  </a:lnTo>
                  <a:lnTo>
                    <a:pt x="1209" y="1313"/>
                  </a:lnTo>
                  <a:lnTo>
                    <a:pt x="1209" y="1313"/>
                  </a:lnTo>
                  <a:lnTo>
                    <a:pt x="1209" y="1320"/>
                  </a:lnTo>
                  <a:lnTo>
                    <a:pt x="1209" y="1320"/>
                  </a:lnTo>
                  <a:lnTo>
                    <a:pt x="1212" y="1322"/>
                  </a:lnTo>
                  <a:lnTo>
                    <a:pt x="1214" y="1322"/>
                  </a:lnTo>
                  <a:lnTo>
                    <a:pt x="1214" y="1324"/>
                  </a:lnTo>
                  <a:lnTo>
                    <a:pt x="1214" y="1324"/>
                  </a:lnTo>
                  <a:lnTo>
                    <a:pt x="1216" y="1324"/>
                  </a:lnTo>
                  <a:lnTo>
                    <a:pt x="1216" y="1324"/>
                  </a:lnTo>
                  <a:lnTo>
                    <a:pt x="1216" y="1324"/>
                  </a:lnTo>
                  <a:lnTo>
                    <a:pt x="1216" y="1324"/>
                  </a:lnTo>
                  <a:lnTo>
                    <a:pt x="1216" y="1324"/>
                  </a:lnTo>
                  <a:lnTo>
                    <a:pt x="1216" y="1324"/>
                  </a:lnTo>
                  <a:lnTo>
                    <a:pt x="1216" y="1324"/>
                  </a:lnTo>
                  <a:lnTo>
                    <a:pt x="1219" y="1327"/>
                  </a:lnTo>
                  <a:lnTo>
                    <a:pt x="1219" y="1327"/>
                  </a:lnTo>
                  <a:lnTo>
                    <a:pt x="1219" y="1329"/>
                  </a:lnTo>
                  <a:lnTo>
                    <a:pt x="1219" y="1329"/>
                  </a:lnTo>
                  <a:lnTo>
                    <a:pt x="1219" y="1329"/>
                  </a:lnTo>
                  <a:lnTo>
                    <a:pt x="1219" y="1329"/>
                  </a:lnTo>
                  <a:lnTo>
                    <a:pt x="1219" y="1329"/>
                  </a:lnTo>
                  <a:lnTo>
                    <a:pt x="1219" y="1329"/>
                  </a:lnTo>
                  <a:lnTo>
                    <a:pt x="1214" y="1331"/>
                  </a:lnTo>
                  <a:lnTo>
                    <a:pt x="1214" y="1331"/>
                  </a:lnTo>
                  <a:lnTo>
                    <a:pt x="1212" y="1329"/>
                  </a:lnTo>
                  <a:lnTo>
                    <a:pt x="1212" y="1329"/>
                  </a:lnTo>
                  <a:lnTo>
                    <a:pt x="1212" y="1329"/>
                  </a:lnTo>
                  <a:lnTo>
                    <a:pt x="1212" y="1329"/>
                  </a:lnTo>
                  <a:lnTo>
                    <a:pt x="1212" y="1329"/>
                  </a:lnTo>
                  <a:lnTo>
                    <a:pt x="1212" y="1329"/>
                  </a:lnTo>
                  <a:lnTo>
                    <a:pt x="1212" y="1329"/>
                  </a:lnTo>
                  <a:lnTo>
                    <a:pt x="1209" y="1331"/>
                  </a:lnTo>
                  <a:lnTo>
                    <a:pt x="1209" y="1334"/>
                  </a:lnTo>
                  <a:lnTo>
                    <a:pt x="1207" y="1331"/>
                  </a:lnTo>
                  <a:lnTo>
                    <a:pt x="1207" y="1334"/>
                  </a:lnTo>
                  <a:lnTo>
                    <a:pt x="1207" y="1334"/>
                  </a:lnTo>
                  <a:lnTo>
                    <a:pt x="1205" y="1334"/>
                  </a:lnTo>
                  <a:lnTo>
                    <a:pt x="1205" y="1336"/>
                  </a:lnTo>
                  <a:lnTo>
                    <a:pt x="1205" y="1336"/>
                  </a:lnTo>
                  <a:lnTo>
                    <a:pt x="1205" y="1336"/>
                  </a:lnTo>
                  <a:lnTo>
                    <a:pt x="1205" y="1334"/>
                  </a:lnTo>
                  <a:lnTo>
                    <a:pt x="1202" y="1334"/>
                  </a:lnTo>
                  <a:lnTo>
                    <a:pt x="1202" y="1334"/>
                  </a:lnTo>
                  <a:lnTo>
                    <a:pt x="1200" y="1334"/>
                  </a:lnTo>
                  <a:lnTo>
                    <a:pt x="1200" y="1334"/>
                  </a:lnTo>
                  <a:lnTo>
                    <a:pt x="1200" y="1336"/>
                  </a:lnTo>
                  <a:lnTo>
                    <a:pt x="1200" y="1336"/>
                  </a:lnTo>
                  <a:lnTo>
                    <a:pt x="1200" y="1334"/>
                  </a:lnTo>
                  <a:lnTo>
                    <a:pt x="1198" y="1334"/>
                  </a:lnTo>
                  <a:lnTo>
                    <a:pt x="1198" y="1334"/>
                  </a:lnTo>
                  <a:lnTo>
                    <a:pt x="1198" y="1336"/>
                  </a:lnTo>
                  <a:lnTo>
                    <a:pt x="1198" y="1336"/>
                  </a:lnTo>
                  <a:lnTo>
                    <a:pt x="1198" y="1334"/>
                  </a:lnTo>
                  <a:lnTo>
                    <a:pt x="1195" y="1331"/>
                  </a:lnTo>
                  <a:lnTo>
                    <a:pt x="1195" y="1331"/>
                  </a:lnTo>
                  <a:lnTo>
                    <a:pt x="1195" y="1331"/>
                  </a:lnTo>
                  <a:lnTo>
                    <a:pt x="1195" y="1331"/>
                  </a:lnTo>
                  <a:lnTo>
                    <a:pt x="1193" y="1331"/>
                  </a:lnTo>
                  <a:lnTo>
                    <a:pt x="1193" y="1331"/>
                  </a:lnTo>
                  <a:lnTo>
                    <a:pt x="1193" y="1329"/>
                  </a:lnTo>
                  <a:lnTo>
                    <a:pt x="1193" y="1329"/>
                  </a:lnTo>
                  <a:lnTo>
                    <a:pt x="1193" y="1329"/>
                  </a:lnTo>
                  <a:lnTo>
                    <a:pt x="1193" y="1331"/>
                  </a:lnTo>
                  <a:lnTo>
                    <a:pt x="1190" y="1331"/>
                  </a:lnTo>
                  <a:lnTo>
                    <a:pt x="1190" y="1331"/>
                  </a:lnTo>
                  <a:lnTo>
                    <a:pt x="1190" y="1331"/>
                  </a:lnTo>
                  <a:lnTo>
                    <a:pt x="1190" y="1331"/>
                  </a:lnTo>
                  <a:lnTo>
                    <a:pt x="1190" y="1329"/>
                  </a:lnTo>
                  <a:lnTo>
                    <a:pt x="1190" y="1329"/>
                  </a:lnTo>
                  <a:lnTo>
                    <a:pt x="1190" y="1329"/>
                  </a:lnTo>
                  <a:lnTo>
                    <a:pt x="1188" y="1329"/>
                  </a:lnTo>
                  <a:lnTo>
                    <a:pt x="1188" y="1329"/>
                  </a:lnTo>
                  <a:lnTo>
                    <a:pt x="1188" y="1329"/>
                  </a:lnTo>
                  <a:lnTo>
                    <a:pt x="1188" y="1329"/>
                  </a:lnTo>
                  <a:lnTo>
                    <a:pt x="1188" y="1329"/>
                  </a:lnTo>
                  <a:lnTo>
                    <a:pt x="1186" y="1329"/>
                  </a:lnTo>
                  <a:lnTo>
                    <a:pt x="1186" y="1329"/>
                  </a:lnTo>
                  <a:lnTo>
                    <a:pt x="1183" y="1327"/>
                  </a:lnTo>
                  <a:lnTo>
                    <a:pt x="1183" y="1329"/>
                  </a:lnTo>
                  <a:lnTo>
                    <a:pt x="1183" y="1329"/>
                  </a:lnTo>
                  <a:lnTo>
                    <a:pt x="1183" y="1329"/>
                  </a:lnTo>
                  <a:lnTo>
                    <a:pt x="1181" y="1329"/>
                  </a:lnTo>
                  <a:lnTo>
                    <a:pt x="1181" y="1329"/>
                  </a:lnTo>
                  <a:lnTo>
                    <a:pt x="1181" y="1329"/>
                  </a:lnTo>
                  <a:lnTo>
                    <a:pt x="1181" y="1329"/>
                  </a:lnTo>
                  <a:lnTo>
                    <a:pt x="1179" y="1329"/>
                  </a:lnTo>
                  <a:lnTo>
                    <a:pt x="1179" y="1329"/>
                  </a:lnTo>
                  <a:lnTo>
                    <a:pt x="1179" y="1329"/>
                  </a:lnTo>
                  <a:lnTo>
                    <a:pt x="1179" y="1329"/>
                  </a:lnTo>
                  <a:lnTo>
                    <a:pt x="1179" y="1329"/>
                  </a:lnTo>
                  <a:lnTo>
                    <a:pt x="1176" y="1329"/>
                  </a:lnTo>
                  <a:lnTo>
                    <a:pt x="1176" y="1329"/>
                  </a:lnTo>
                  <a:lnTo>
                    <a:pt x="1174" y="1327"/>
                  </a:lnTo>
                  <a:lnTo>
                    <a:pt x="1174" y="1327"/>
                  </a:lnTo>
                  <a:lnTo>
                    <a:pt x="1167" y="1327"/>
                  </a:lnTo>
                  <a:lnTo>
                    <a:pt x="1167" y="1327"/>
                  </a:lnTo>
                  <a:lnTo>
                    <a:pt x="1164" y="1329"/>
                  </a:lnTo>
                  <a:lnTo>
                    <a:pt x="1164" y="1329"/>
                  </a:lnTo>
                  <a:lnTo>
                    <a:pt x="1164" y="1329"/>
                  </a:lnTo>
                  <a:lnTo>
                    <a:pt x="1164" y="1329"/>
                  </a:lnTo>
                  <a:lnTo>
                    <a:pt x="1164" y="1329"/>
                  </a:lnTo>
                  <a:lnTo>
                    <a:pt x="1164" y="1327"/>
                  </a:lnTo>
                  <a:lnTo>
                    <a:pt x="1164" y="1327"/>
                  </a:lnTo>
                  <a:lnTo>
                    <a:pt x="1162" y="1327"/>
                  </a:lnTo>
                  <a:lnTo>
                    <a:pt x="1162" y="1327"/>
                  </a:lnTo>
                  <a:lnTo>
                    <a:pt x="1162" y="1327"/>
                  </a:lnTo>
                  <a:lnTo>
                    <a:pt x="1162" y="1327"/>
                  </a:lnTo>
                  <a:lnTo>
                    <a:pt x="1160" y="1327"/>
                  </a:lnTo>
                  <a:lnTo>
                    <a:pt x="1160" y="1327"/>
                  </a:lnTo>
                  <a:lnTo>
                    <a:pt x="1160" y="1327"/>
                  </a:lnTo>
                  <a:lnTo>
                    <a:pt x="1160" y="1329"/>
                  </a:lnTo>
                  <a:lnTo>
                    <a:pt x="1160" y="1327"/>
                  </a:lnTo>
                  <a:lnTo>
                    <a:pt x="1160" y="1327"/>
                  </a:lnTo>
                  <a:lnTo>
                    <a:pt x="1157" y="1329"/>
                  </a:lnTo>
                  <a:lnTo>
                    <a:pt x="1157" y="1329"/>
                  </a:lnTo>
                  <a:lnTo>
                    <a:pt x="1157" y="1329"/>
                  </a:lnTo>
                  <a:lnTo>
                    <a:pt x="1157" y="1329"/>
                  </a:lnTo>
                  <a:lnTo>
                    <a:pt x="1157" y="1329"/>
                  </a:lnTo>
                  <a:lnTo>
                    <a:pt x="1155" y="1329"/>
                  </a:lnTo>
                  <a:lnTo>
                    <a:pt x="1155" y="1327"/>
                  </a:lnTo>
                  <a:lnTo>
                    <a:pt x="1155" y="1329"/>
                  </a:lnTo>
                  <a:lnTo>
                    <a:pt x="1155" y="1329"/>
                  </a:lnTo>
                  <a:lnTo>
                    <a:pt x="1155" y="1331"/>
                  </a:lnTo>
                  <a:lnTo>
                    <a:pt x="1155" y="1331"/>
                  </a:lnTo>
                  <a:lnTo>
                    <a:pt x="1155" y="1331"/>
                  </a:lnTo>
                  <a:lnTo>
                    <a:pt x="1155" y="1334"/>
                  </a:lnTo>
                  <a:lnTo>
                    <a:pt x="1150" y="1334"/>
                  </a:lnTo>
                  <a:lnTo>
                    <a:pt x="1150" y="1334"/>
                  </a:lnTo>
                  <a:lnTo>
                    <a:pt x="1150" y="1331"/>
                  </a:lnTo>
                  <a:lnTo>
                    <a:pt x="1150" y="1331"/>
                  </a:lnTo>
                  <a:lnTo>
                    <a:pt x="1150" y="1331"/>
                  </a:lnTo>
                  <a:lnTo>
                    <a:pt x="1150" y="1331"/>
                  </a:lnTo>
                  <a:lnTo>
                    <a:pt x="1150" y="1331"/>
                  </a:lnTo>
                  <a:lnTo>
                    <a:pt x="1150" y="1331"/>
                  </a:lnTo>
                  <a:lnTo>
                    <a:pt x="1150" y="1331"/>
                  </a:lnTo>
                  <a:lnTo>
                    <a:pt x="1150" y="1331"/>
                  </a:lnTo>
                  <a:lnTo>
                    <a:pt x="1148" y="1331"/>
                  </a:lnTo>
                  <a:lnTo>
                    <a:pt x="1148" y="1331"/>
                  </a:lnTo>
                  <a:lnTo>
                    <a:pt x="1148" y="1331"/>
                  </a:lnTo>
                  <a:lnTo>
                    <a:pt x="1148" y="1331"/>
                  </a:lnTo>
                  <a:lnTo>
                    <a:pt x="1148" y="1331"/>
                  </a:lnTo>
                  <a:lnTo>
                    <a:pt x="1148" y="1331"/>
                  </a:lnTo>
                  <a:lnTo>
                    <a:pt x="1148" y="1334"/>
                  </a:lnTo>
                  <a:lnTo>
                    <a:pt x="1145" y="1334"/>
                  </a:lnTo>
                  <a:lnTo>
                    <a:pt x="1145" y="1334"/>
                  </a:lnTo>
                  <a:lnTo>
                    <a:pt x="1145" y="1334"/>
                  </a:lnTo>
                  <a:lnTo>
                    <a:pt x="1143" y="1334"/>
                  </a:lnTo>
                  <a:lnTo>
                    <a:pt x="1143" y="1334"/>
                  </a:lnTo>
                  <a:lnTo>
                    <a:pt x="1143" y="1334"/>
                  </a:lnTo>
                  <a:lnTo>
                    <a:pt x="1143" y="1334"/>
                  </a:lnTo>
                  <a:lnTo>
                    <a:pt x="1143" y="1334"/>
                  </a:lnTo>
                  <a:lnTo>
                    <a:pt x="1141" y="1334"/>
                  </a:lnTo>
                  <a:lnTo>
                    <a:pt x="1141" y="1334"/>
                  </a:lnTo>
                  <a:lnTo>
                    <a:pt x="1141" y="1336"/>
                  </a:lnTo>
                  <a:lnTo>
                    <a:pt x="1143" y="1336"/>
                  </a:lnTo>
                  <a:lnTo>
                    <a:pt x="1143" y="1336"/>
                  </a:lnTo>
                  <a:lnTo>
                    <a:pt x="1143" y="1336"/>
                  </a:lnTo>
                  <a:lnTo>
                    <a:pt x="1143" y="1336"/>
                  </a:lnTo>
                  <a:lnTo>
                    <a:pt x="1141" y="1336"/>
                  </a:lnTo>
                  <a:lnTo>
                    <a:pt x="1141" y="1336"/>
                  </a:lnTo>
                  <a:lnTo>
                    <a:pt x="1141" y="1336"/>
                  </a:lnTo>
                  <a:lnTo>
                    <a:pt x="1141" y="1336"/>
                  </a:lnTo>
                  <a:lnTo>
                    <a:pt x="1138" y="1336"/>
                  </a:lnTo>
                  <a:lnTo>
                    <a:pt x="1138" y="1336"/>
                  </a:lnTo>
                  <a:lnTo>
                    <a:pt x="1138" y="1336"/>
                  </a:lnTo>
                  <a:lnTo>
                    <a:pt x="1138" y="1336"/>
                  </a:lnTo>
                  <a:lnTo>
                    <a:pt x="1136" y="1336"/>
                  </a:lnTo>
                  <a:lnTo>
                    <a:pt x="1136" y="1336"/>
                  </a:lnTo>
                  <a:lnTo>
                    <a:pt x="1136" y="1336"/>
                  </a:lnTo>
                  <a:lnTo>
                    <a:pt x="1136" y="1334"/>
                  </a:lnTo>
                  <a:lnTo>
                    <a:pt x="1134" y="1334"/>
                  </a:lnTo>
                  <a:lnTo>
                    <a:pt x="1134" y="1334"/>
                  </a:lnTo>
                  <a:lnTo>
                    <a:pt x="1134" y="1336"/>
                  </a:lnTo>
                  <a:lnTo>
                    <a:pt x="1134" y="1336"/>
                  </a:lnTo>
                  <a:lnTo>
                    <a:pt x="1134" y="1336"/>
                  </a:lnTo>
                  <a:lnTo>
                    <a:pt x="1134" y="1336"/>
                  </a:lnTo>
                  <a:lnTo>
                    <a:pt x="1131" y="1334"/>
                  </a:lnTo>
                  <a:lnTo>
                    <a:pt x="1131" y="1334"/>
                  </a:lnTo>
                  <a:lnTo>
                    <a:pt x="1131" y="1334"/>
                  </a:lnTo>
                  <a:lnTo>
                    <a:pt x="1131" y="1334"/>
                  </a:lnTo>
                  <a:lnTo>
                    <a:pt x="1131" y="1334"/>
                  </a:lnTo>
                  <a:lnTo>
                    <a:pt x="1131" y="1334"/>
                  </a:lnTo>
                  <a:lnTo>
                    <a:pt x="1131" y="1331"/>
                  </a:lnTo>
                  <a:lnTo>
                    <a:pt x="1129" y="1331"/>
                  </a:lnTo>
                  <a:lnTo>
                    <a:pt x="1129" y="1331"/>
                  </a:lnTo>
                  <a:lnTo>
                    <a:pt x="1129" y="1329"/>
                  </a:lnTo>
                  <a:lnTo>
                    <a:pt x="1129" y="1329"/>
                  </a:lnTo>
                  <a:lnTo>
                    <a:pt x="1129" y="1329"/>
                  </a:lnTo>
                  <a:lnTo>
                    <a:pt x="1129" y="1329"/>
                  </a:lnTo>
                  <a:lnTo>
                    <a:pt x="1129" y="1331"/>
                  </a:lnTo>
                  <a:lnTo>
                    <a:pt x="1129" y="1331"/>
                  </a:lnTo>
                  <a:lnTo>
                    <a:pt x="1129" y="1331"/>
                  </a:lnTo>
                  <a:lnTo>
                    <a:pt x="1129" y="1331"/>
                  </a:lnTo>
                  <a:lnTo>
                    <a:pt x="1129" y="1331"/>
                  </a:lnTo>
                  <a:lnTo>
                    <a:pt x="1127" y="1331"/>
                  </a:lnTo>
                  <a:lnTo>
                    <a:pt x="1127" y="1331"/>
                  </a:lnTo>
                  <a:lnTo>
                    <a:pt x="1127" y="1331"/>
                  </a:lnTo>
                  <a:lnTo>
                    <a:pt x="1127" y="1331"/>
                  </a:lnTo>
                  <a:lnTo>
                    <a:pt x="1124" y="1331"/>
                  </a:lnTo>
                  <a:lnTo>
                    <a:pt x="1124" y="1331"/>
                  </a:lnTo>
                  <a:lnTo>
                    <a:pt x="1124" y="1331"/>
                  </a:lnTo>
                  <a:lnTo>
                    <a:pt x="1124" y="1331"/>
                  </a:lnTo>
                  <a:lnTo>
                    <a:pt x="1122" y="1334"/>
                  </a:lnTo>
                  <a:lnTo>
                    <a:pt x="1122" y="1334"/>
                  </a:lnTo>
                  <a:lnTo>
                    <a:pt x="1122" y="1334"/>
                  </a:lnTo>
                  <a:lnTo>
                    <a:pt x="1122" y="1334"/>
                  </a:lnTo>
                  <a:lnTo>
                    <a:pt x="1122" y="1336"/>
                  </a:lnTo>
                  <a:lnTo>
                    <a:pt x="1122" y="1336"/>
                  </a:lnTo>
                  <a:lnTo>
                    <a:pt x="1122" y="1336"/>
                  </a:lnTo>
                  <a:lnTo>
                    <a:pt x="1122" y="1336"/>
                  </a:lnTo>
                  <a:lnTo>
                    <a:pt x="1122" y="1336"/>
                  </a:lnTo>
                  <a:lnTo>
                    <a:pt x="1122" y="1334"/>
                  </a:lnTo>
                  <a:lnTo>
                    <a:pt x="1122" y="1334"/>
                  </a:lnTo>
                  <a:lnTo>
                    <a:pt x="1119" y="1334"/>
                  </a:lnTo>
                  <a:lnTo>
                    <a:pt x="1119" y="1331"/>
                  </a:lnTo>
                  <a:lnTo>
                    <a:pt x="1117" y="1329"/>
                  </a:lnTo>
                  <a:lnTo>
                    <a:pt x="1115" y="1329"/>
                  </a:lnTo>
                  <a:lnTo>
                    <a:pt x="1110" y="1327"/>
                  </a:lnTo>
                  <a:lnTo>
                    <a:pt x="1108" y="1327"/>
                  </a:lnTo>
                  <a:lnTo>
                    <a:pt x="1105" y="1322"/>
                  </a:lnTo>
                  <a:lnTo>
                    <a:pt x="1105" y="1322"/>
                  </a:lnTo>
                  <a:lnTo>
                    <a:pt x="1105" y="1322"/>
                  </a:lnTo>
                  <a:lnTo>
                    <a:pt x="1105" y="1320"/>
                  </a:lnTo>
                  <a:lnTo>
                    <a:pt x="1103" y="1320"/>
                  </a:lnTo>
                  <a:lnTo>
                    <a:pt x="1103" y="1320"/>
                  </a:lnTo>
                  <a:lnTo>
                    <a:pt x="1103" y="1320"/>
                  </a:lnTo>
                  <a:lnTo>
                    <a:pt x="1101" y="1320"/>
                  </a:lnTo>
                  <a:lnTo>
                    <a:pt x="1101" y="1320"/>
                  </a:lnTo>
                  <a:lnTo>
                    <a:pt x="1101" y="1317"/>
                  </a:lnTo>
                  <a:lnTo>
                    <a:pt x="1098" y="1317"/>
                  </a:lnTo>
                  <a:lnTo>
                    <a:pt x="1098" y="1317"/>
                  </a:lnTo>
                  <a:lnTo>
                    <a:pt x="1098" y="1317"/>
                  </a:lnTo>
                  <a:lnTo>
                    <a:pt x="1098" y="1317"/>
                  </a:lnTo>
                  <a:lnTo>
                    <a:pt x="1096" y="1317"/>
                  </a:lnTo>
                  <a:lnTo>
                    <a:pt x="1096" y="1317"/>
                  </a:lnTo>
                  <a:lnTo>
                    <a:pt x="1096" y="1315"/>
                  </a:lnTo>
                  <a:lnTo>
                    <a:pt x="1096" y="1315"/>
                  </a:lnTo>
                  <a:lnTo>
                    <a:pt x="1093" y="1315"/>
                  </a:lnTo>
                  <a:lnTo>
                    <a:pt x="1093" y="1315"/>
                  </a:lnTo>
                  <a:lnTo>
                    <a:pt x="1093" y="1315"/>
                  </a:lnTo>
                  <a:lnTo>
                    <a:pt x="1093" y="1313"/>
                  </a:lnTo>
                  <a:lnTo>
                    <a:pt x="1093" y="1313"/>
                  </a:lnTo>
                  <a:lnTo>
                    <a:pt x="1093" y="1310"/>
                  </a:lnTo>
                  <a:lnTo>
                    <a:pt x="1093" y="1310"/>
                  </a:lnTo>
                  <a:lnTo>
                    <a:pt x="1093" y="1310"/>
                  </a:lnTo>
                  <a:lnTo>
                    <a:pt x="1093" y="1308"/>
                  </a:lnTo>
                  <a:lnTo>
                    <a:pt x="1096" y="1308"/>
                  </a:lnTo>
                  <a:lnTo>
                    <a:pt x="1096" y="1308"/>
                  </a:lnTo>
                  <a:lnTo>
                    <a:pt x="1093" y="1305"/>
                  </a:lnTo>
                  <a:lnTo>
                    <a:pt x="1093" y="1305"/>
                  </a:lnTo>
                  <a:lnTo>
                    <a:pt x="1093" y="1305"/>
                  </a:lnTo>
                  <a:lnTo>
                    <a:pt x="1093" y="1303"/>
                  </a:lnTo>
                  <a:lnTo>
                    <a:pt x="1093" y="1303"/>
                  </a:lnTo>
                  <a:lnTo>
                    <a:pt x="1091" y="1305"/>
                  </a:lnTo>
                  <a:lnTo>
                    <a:pt x="1091" y="1305"/>
                  </a:lnTo>
                  <a:lnTo>
                    <a:pt x="1089" y="1308"/>
                  </a:lnTo>
                  <a:lnTo>
                    <a:pt x="1089" y="1308"/>
                  </a:lnTo>
                  <a:lnTo>
                    <a:pt x="1089" y="1308"/>
                  </a:lnTo>
                  <a:lnTo>
                    <a:pt x="1089" y="1310"/>
                  </a:lnTo>
                  <a:lnTo>
                    <a:pt x="1089" y="1310"/>
                  </a:lnTo>
                  <a:lnTo>
                    <a:pt x="1089" y="1310"/>
                  </a:lnTo>
                  <a:lnTo>
                    <a:pt x="1089" y="1310"/>
                  </a:lnTo>
                  <a:lnTo>
                    <a:pt x="1089" y="1310"/>
                  </a:lnTo>
                  <a:lnTo>
                    <a:pt x="1089" y="1310"/>
                  </a:lnTo>
                  <a:lnTo>
                    <a:pt x="1089" y="1310"/>
                  </a:lnTo>
                  <a:lnTo>
                    <a:pt x="1086" y="1310"/>
                  </a:lnTo>
                  <a:lnTo>
                    <a:pt x="1086" y="1310"/>
                  </a:lnTo>
                  <a:lnTo>
                    <a:pt x="1086" y="1310"/>
                  </a:lnTo>
                  <a:lnTo>
                    <a:pt x="1084" y="1313"/>
                  </a:lnTo>
                  <a:lnTo>
                    <a:pt x="1084" y="1313"/>
                  </a:lnTo>
                  <a:lnTo>
                    <a:pt x="1084" y="1313"/>
                  </a:lnTo>
                  <a:lnTo>
                    <a:pt x="1082" y="1313"/>
                  </a:lnTo>
                  <a:lnTo>
                    <a:pt x="1082" y="1313"/>
                  </a:lnTo>
                  <a:lnTo>
                    <a:pt x="1079" y="1310"/>
                  </a:lnTo>
                  <a:lnTo>
                    <a:pt x="1074" y="1313"/>
                  </a:lnTo>
                  <a:lnTo>
                    <a:pt x="1072" y="1313"/>
                  </a:lnTo>
                  <a:lnTo>
                    <a:pt x="1070" y="1310"/>
                  </a:lnTo>
                  <a:lnTo>
                    <a:pt x="1070" y="1310"/>
                  </a:lnTo>
                  <a:lnTo>
                    <a:pt x="1070" y="1310"/>
                  </a:lnTo>
                  <a:lnTo>
                    <a:pt x="1070" y="1313"/>
                  </a:lnTo>
                  <a:lnTo>
                    <a:pt x="1070" y="1313"/>
                  </a:lnTo>
                  <a:lnTo>
                    <a:pt x="1065" y="1313"/>
                  </a:lnTo>
                  <a:lnTo>
                    <a:pt x="1065" y="1310"/>
                  </a:lnTo>
                  <a:lnTo>
                    <a:pt x="1065" y="1310"/>
                  </a:lnTo>
                  <a:lnTo>
                    <a:pt x="1065" y="1310"/>
                  </a:lnTo>
                  <a:lnTo>
                    <a:pt x="1065" y="1310"/>
                  </a:lnTo>
                  <a:lnTo>
                    <a:pt x="1065" y="1310"/>
                  </a:lnTo>
                  <a:lnTo>
                    <a:pt x="1065" y="1308"/>
                  </a:lnTo>
                  <a:lnTo>
                    <a:pt x="1065" y="1308"/>
                  </a:lnTo>
                  <a:lnTo>
                    <a:pt x="1063" y="1308"/>
                  </a:lnTo>
                  <a:lnTo>
                    <a:pt x="1063" y="1308"/>
                  </a:lnTo>
                  <a:lnTo>
                    <a:pt x="1063" y="1305"/>
                  </a:lnTo>
                  <a:lnTo>
                    <a:pt x="1063" y="1305"/>
                  </a:lnTo>
                  <a:lnTo>
                    <a:pt x="1063" y="1305"/>
                  </a:lnTo>
                  <a:lnTo>
                    <a:pt x="1063" y="1301"/>
                  </a:lnTo>
                  <a:lnTo>
                    <a:pt x="1063" y="1298"/>
                  </a:lnTo>
                  <a:lnTo>
                    <a:pt x="1063" y="1298"/>
                  </a:lnTo>
                  <a:lnTo>
                    <a:pt x="1060" y="1296"/>
                  </a:lnTo>
                  <a:lnTo>
                    <a:pt x="1058" y="1296"/>
                  </a:lnTo>
                  <a:lnTo>
                    <a:pt x="1058" y="1296"/>
                  </a:lnTo>
                  <a:lnTo>
                    <a:pt x="1058" y="1296"/>
                  </a:lnTo>
                  <a:lnTo>
                    <a:pt x="1058" y="1296"/>
                  </a:lnTo>
                  <a:lnTo>
                    <a:pt x="1056" y="1298"/>
                  </a:lnTo>
                  <a:lnTo>
                    <a:pt x="1056" y="1298"/>
                  </a:lnTo>
                  <a:lnTo>
                    <a:pt x="1056" y="1298"/>
                  </a:lnTo>
                  <a:lnTo>
                    <a:pt x="1056" y="1296"/>
                  </a:lnTo>
                  <a:lnTo>
                    <a:pt x="1056" y="1296"/>
                  </a:lnTo>
                  <a:lnTo>
                    <a:pt x="1058" y="1296"/>
                  </a:lnTo>
                  <a:lnTo>
                    <a:pt x="1058" y="1294"/>
                  </a:lnTo>
                  <a:lnTo>
                    <a:pt x="1058" y="1294"/>
                  </a:lnTo>
                  <a:lnTo>
                    <a:pt x="1058" y="1291"/>
                  </a:lnTo>
                  <a:lnTo>
                    <a:pt x="1058" y="1291"/>
                  </a:lnTo>
                  <a:lnTo>
                    <a:pt x="1058" y="1291"/>
                  </a:lnTo>
                  <a:lnTo>
                    <a:pt x="1058" y="1291"/>
                  </a:lnTo>
                  <a:lnTo>
                    <a:pt x="1056" y="1291"/>
                  </a:lnTo>
                  <a:lnTo>
                    <a:pt x="1056" y="1294"/>
                  </a:lnTo>
                  <a:lnTo>
                    <a:pt x="1056" y="1294"/>
                  </a:lnTo>
                  <a:lnTo>
                    <a:pt x="1056" y="1294"/>
                  </a:lnTo>
                  <a:lnTo>
                    <a:pt x="1056" y="1291"/>
                  </a:lnTo>
                  <a:lnTo>
                    <a:pt x="1053" y="1291"/>
                  </a:lnTo>
                  <a:lnTo>
                    <a:pt x="1053" y="1291"/>
                  </a:lnTo>
                  <a:lnTo>
                    <a:pt x="1053" y="1294"/>
                  </a:lnTo>
                  <a:lnTo>
                    <a:pt x="1053" y="1294"/>
                  </a:lnTo>
                  <a:lnTo>
                    <a:pt x="1051" y="1294"/>
                  </a:lnTo>
                  <a:lnTo>
                    <a:pt x="1053" y="1294"/>
                  </a:lnTo>
                  <a:lnTo>
                    <a:pt x="1053" y="1296"/>
                  </a:lnTo>
                  <a:lnTo>
                    <a:pt x="1053" y="1296"/>
                  </a:lnTo>
                  <a:lnTo>
                    <a:pt x="1051" y="1296"/>
                  </a:lnTo>
                  <a:lnTo>
                    <a:pt x="1046" y="1289"/>
                  </a:lnTo>
                  <a:lnTo>
                    <a:pt x="1046" y="1289"/>
                  </a:lnTo>
                  <a:lnTo>
                    <a:pt x="1046" y="1286"/>
                  </a:lnTo>
                  <a:lnTo>
                    <a:pt x="1046" y="1286"/>
                  </a:lnTo>
                  <a:lnTo>
                    <a:pt x="1046" y="1286"/>
                  </a:lnTo>
                  <a:lnTo>
                    <a:pt x="1046" y="1286"/>
                  </a:lnTo>
                  <a:lnTo>
                    <a:pt x="1046" y="1284"/>
                  </a:lnTo>
                  <a:lnTo>
                    <a:pt x="1041" y="1286"/>
                  </a:lnTo>
                  <a:lnTo>
                    <a:pt x="1041" y="1284"/>
                  </a:lnTo>
                  <a:lnTo>
                    <a:pt x="1041" y="1284"/>
                  </a:lnTo>
                  <a:lnTo>
                    <a:pt x="1041" y="1284"/>
                  </a:lnTo>
                  <a:lnTo>
                    <a:pt x="1041" y="1282"/>
                  </a:lnTo>
                  <a:lnTo>
                    <a:pt x="1041" y="1282"/>
                  </a:lnTo>
                  <a:lnTo>
                    <a:pt x="1041" y="1282"/>
                  </a:lnTo>
                  <a:lnTo>
                    <a:pt x="1044" y="1282"/>
                  </a:lnTo>
                  <a:lnTo>
                    <a:pt x="1044" y="1282"/>
                  </a:lnTo>
                  <a:lnTo>
                    <a:pt x="1044" y="1282"/>
                  </a:lnTo>
                  <a:lnTo>
                    <a:pt x="1044" y="1282"/>
                  </a:lnTo>
                  <a:lnTo>
                    <a:pt x="1044" y="1279"/>
                  </a:lnTo>
                  <a:lnTo>
                    <a:pt x="1044" y="1279"/>
                  </a:lnTo>
                  <a:lnTo>
                    <a:pt x="1044" y="1279"/>
                  </a:lnTo>
                  <a:lnTo>
                    <a:pt x="1046" y="1279"/>
                  </a:lnTo>
                  <a:lnTo>
                    <a:pt x="1046" y="1282"/>
                  </a:lnTo>
                  <a:lnTo>
                    <a:pt x="1046" y="1282"/>
                  </a:lnTo>
                  <a:lnTo>
                    <a:pt x="1046" y="1282"/>
                  </a:lnTo>
                  <a:lnTo>
                    <a:pt x="1046" y="1282"/>
                  </a:lnTo>
                  <a:lnTo>
                    <a:pt x="1046" y="1279"/>
                  </a:lnTo>
                  <a:lnTo>
                    <a:pt x="1046" y="1279"/>
                  </a:lnTo>
                  <a:lnTo>
                    <a:pt x="1046" y="1279"/>
                  </a:lnTo>
                  <a:lnTo>
                    <a:pt x="1046" y="1277"/>
                  </a:lnTo>
                  <a:lnTo>
                    <a:pt x="1044" y="1277"/>
                  </a:lnTo>
                  <a:lnTo>
                    <a:pt x="1044" y="1272"/>
                  </a:lnTo>
                  <a:lnTo>
                    <a:pt x="1044" y="1272"/>
                  </a:lnTo>
                  <a:lnTo>
                    <a:pt x="1041" y="1270"/>
                  </a:lnTo>
                  <a:lnTo>
                    <a:pt x="1041" y="1270"/>
                  </a:lnTo>
                  <a:lnTo>
                    <a:pt x="1041" y="1268"/>
                  </a:lnTo>
                  <a:lnTo>
                    <a:pt x="1041" y="1268"/>
                  </a:lnTo>
                  <a:lnTo>
                    <a:pt x="1041" y="1268"/>
                  </a:lnTo>
                  <a:lnTo>
                    <a:pt x="1044" y="1268"/>
                  </a:lnTo>
                  <a:lnTo>
                    <a:pt x="1044" y="1268"/>
                  </a:lnTo>
                  <a:lnTo>
                    <a:pt x="1044" y="1268"/>
                  </a:lnTo>
                  <a:lnTo>
                    <a:pt x="1044" y="1265"/>
                  </a:lnTo>
                  <a:lnTo>
                    <a:pt x="1044" y="1265"/>
                  </a:lnTo>
                  <a:lnTo>
                    <a:pt x="1044" y="1263"/>
                  </a:lnTo>
                  <a:lnTo>
                    <a:pt x="1044" y="1263"/>
                  </a:lnTo>
                  <a:lnTo>
                    <a:pt x="1041" y="1260"/>
                  </a:lnTo>
                  <a:lnTo>
                    <a:pt x="1039" y="1256"/>
                  </a:lnTo>
                  <a:lnTo>
                    <a:pt x="1039" y="1256"/>
                  </a:lnTo>
                  <a:lnTo>
                    <a:pt x="1037" y="1253"/>
                  </a:lnTo>
                  <a:lnTo>
                    <a:pt x="1037" y="1253"/>
                  </a:lnTo>
                  <a:lnTo>
                    <a:pt x="1037" y="1253"/>
                  </a:lnTo>
                  <a:lnTo>
                    <a:pt x="1032" y="1251"/>
                  </a:lnTo>
                  <a:lnTo>
                    <a:pt x="1027" y="1249"/>
                  </a:lnTo>
                  <a:lnTo>
                    <a:pt x="1027" y="1249"/>
                  </a:lnTo>
                  <a:lnTo>
                    <a:pt x="1025" y="1249"/>
                  </a:lnTo>
                  <a:lnTo>
                    <a:pt x="1025" y="1251"/>
                  </a:lnTo>
                  <a:lnTo>
                    <a:pt x="1025" y="1251"/>
                  </a:lnTo>
                  <a:lnTo>
                    <a:pt x="1025" y="1251"/>
                  </a:lnTo>
                  <a:lnTo>
                    <a:pt x="1022" y="1251"/>
                  </a:lnTo>
                  <a:lnTo>
                    <a:pt x="1020" y="1253"/>
                  </a:lnTo>
                  <a:lnTo>
                    <a:pt x="1018" y="1253"/>
                  </a:lnTo>
                  <a:lnTo>
                    <a:pt x="1015" y="1256"/>
                  </a:lnTo>
                  <a:lnTo>
                    <a:pt x="1013" y="1256"/>
                  </a:lnTo>
                  <a:lnTo>
                    <a:pt x="1011" y="1256"/>
                  </a:lnTo>
                  <a:lnTo>
                    <a:pt x="1011" y="1256"/>
                  </a:lnTo>
                  <a:lnTo>
                    <a:pt x="1011" y="1256"/>
                  </a:lnTo>
                  <a:lnTo>
                    <a:pt x="1008" y="1258"/>
                  </a:lnTo>
                  <a:lnTo>
                    <a:pt x="1003" y="1260"/>
                  </a:lnTo>
                  <a:lnTo>
                    <a:pt x="1003" y="1260"/>
                  </a:lnTo>
                  <a:lnTo>
                    <a:pt x="1001" y="1260"/>
                  </a:lnTo>
                  <a:lnTo>
                    <a:pt x="1001" y="1260"/>
                  </a:lnTo>
                  <a:lnTo>
                    <a:pt x="999" y="1263"/>
                  </a:lnTo>
                  <a:lnTo>
                    <a:pt x="996" y="1263"/>
                  </a:lnTo>
                  <a:lnTo>
                    <a:pt x="994" y="1265"/>
                  </a:lnTo>
                  <a:lnTo>
                    <a:pt x="992" y="1265"/>
                  </a:lnTo>
                  <a:lnTo>
                    <a:pt x="987" y="1265"/>
                  </a:lnTo>
                  <a:lnTo>
                    <a:pt x="987" y="1265"/>
                  </a:lnTo>
                  <a:lnTo>
                    <a:pt x="975" y="1268"/>
                  </a:lnTo>
                  <a:lnTo>
                    <a:pt x="973" y="1268"/>
                  </a:lnTo>
                  <a:lnTo>
                    <a:pt x="970" y="1270"/>
                  </a:lnTo>
                  <a:lnTo>
                    <a:pt x="966" y="1282"/>
                  </a:lnTo>
                  <a:lnTo>
                    <a:pt x="961" y="1284"/>
                  </a:lnTo>
                  <a:lnTo>
                    <a:pt x="961" y="1284"/>
                  </a:lnTo>
                  <a:lnTo>
                    <a:pt x="961" y="1284"/>
                  </a:lnTo>
                  <a:lnTo>
                    <a:pt x="961" y="1286"/>
                  </a:lnTo>
                  <a:lnTo>
                    <a:pt x="961" y="1286"/>
                  </a:lnTo>
                  <a:lnTo>
                    <a:pt x="961" y="1286"/>
                  </a:lnTo>
                  <a:lnTo>
                    <a:pt x="961" y="1286"/>
                  </a:lnTo>
                  <a:lnTo>
                    <a:pt x="961" y="1289"/>
                  </a:lnTo>
                  <a:lnTo>
                    <a:pt x="961" y="1289"/>
                  </a:lnTo>
                  <a:lnTo>
                    <a:pt x="959" y="1289"/>
                  </a:lnTo>
                  <a:lnTo>
                    <a:pt x="959" y="1289"/>
                  </a:lnTo>
                  <a:lnTo>
                    <a:pt x="959" y="1289"/>
                  </a:lnTo>
                  <a:lnTo>
                    <a:pt x="959" y="1291"/>
                  </a:lnTo>
                  <a:lnTo>
                    <a:pt x="961" y="1291"/>
                  </a:lnTo>
                  <a:lnTo>
                    <a:pt x="961" y="1291"/>
                  </a:lnTo>
                  <a:lnTo>
                    <a:pt x="961" y="1291"/>
                  </a:lnTo>
                  <a:lnTo>
                    <a:pt x="961" y="1291"/>
                  </a:lnTo>
                  <a:lnTo>
                    <a:pt x="963" y="1291"/>
                  </a:lnTo>
                  <a:lnTo>
                    <a:pt x="966" y="1291"/>
                  </a:lnTo>
                  <a:lnTo>
                    <a:pt x="966" y="1291"/>
                  </a:lnTo>
                  <a:lnTo>
                    <a:pt x="966" y="1289"/>
                  </a:lnTo>
                  <a:lnTo>
                    <a:pt x="966" y="1289"/>
                  </a:lnTo>
                  <a:lnTo>
                    <a:pt x="968" y="1289"/>
                  </a:lnTo>
                  <a:lnTo>
                    <a:pt x="968" y="1286"/>
                  </a:lnTo>
                  <a:lnTo>
                    <a:pt x="970" y="1289"/>
                  </a:lnTo>
                  <a:lnTo>
                    <a:pt x="970" y="1289"/>
                  </a:lnTo>
                  <a:lnTo>
                    <a:pt x="970" y="1291"/>
                  </a:lnTo>
                  <a:lnTo>
                    <a:pt x="968" y="1291"/>
                  </a:lnTo>
                  <a:lnTo>
                    <a:pt x="968" y="1294"/>
                  </a:lnTo>
                  <a:lnTo>
                    <a:pt x="968" y="1294"/>
                  </a:lnTo>
                  <a:lnTo>
                    <a:pt x="968" y="1296"/>
                  </a:lnTo>
                  <a:lnTo>
                    <a:pt x="968" y="1296"/>
                  </a:lnTo>
                  <a:lnTo>
                    <a:pt x="968" y="1296"/>
                  </a:lnTo>
                  <a:lnTo>
                    <a:pt x="968" y="1296"/>
                  </a:lnTo>
                  <a:lnTo>
                    <a:pt x="968" y="1296"/>
                  </a:lnTo>
                  <a:lnTo>
                    <a:pt x="968" y="1296"/>
                  </a:lnTo>
                  <a:lnTo>
                    <a:pt x="970" y="1296"/>
                  </a:lnTo>
                  <a:lnTo>
                    <a:pt x="970" y="1296"/>
                  </a:lnTo>
                  <a:lnTo>
                    <a:pt x="970" y="1294"/>
                  </a:lnTo>
                  <a:lnTo>
                    <a:pt x="970" y="1294"/>
                  </a:lnTo>
                  <a:lnTo>
                    <a:pt x="970" y="1294"/>
                  </a:lnTo>
                  <a:lnTo>
                    <a:pt x="970" y="1294"/>
                  </a:lnTo>
                  <a:lnTo>
                    <a:pt x="970" y="1294"/>
                  </a:lnTo>
                  <a:lnTo>
                    <a:pt x="970" y="1294"/>
                  </a:lnTo>
                  <a:lnTo>
                    <a:pt x="970" y="1294"/>
                  </a:lnTo>
                  <a:lnTo>
                    <a:pt x="970" y="1296"/>
                  </a:lnTo>
                  <a:lnTo>
                    <a:pt x="970" y="1296"/>
                  </a:lnTo>
                  <a:lnTo>
                    <a:pt x="970" y="1298"/>
                  </a:lnTo>
                  <a:lnTo>
                    <a:pt x="970" y="1298"/>
                  </a:lnTo>
                  <a:lnTo>
                    <a:pt x="970" y="1298"/>
                  </a:lnTo>
                  <a:lnTo>
                    <a:pt x="970" y="1298"/>
                  </a:lnTo>
                  <a:lnTo>
                    <a:pt x="970" y="1298"/>
                  </a:lnTo>
                  <a:lnTo>
                    <a:pt x="970" y="1298"/>
                  </a:lnTo>
                  <a:lnTo>
                    <a:pt x="970" y="1298"/>
                  </a:lnTo>
                  <a:lnTo>
                    <a:pt x="968" y="1296"/>
                  </a:lnTo>
                  <a:lnTo>
                    <a:pt x="968" y="1298"/>
                  </a:lnTo>
                  <a:lnTo>
                    <a:pt x="968" y="1298"/>
                  </a:lnTo>
                  <a:lnTo>
                    <a:pt x="968" y="1298"/>
                  </a:lnTo>
                  <a:lnTo>
                    <a:pt x="968" y="1298"/>
                  </a:lnTo>
                  <a:lnTo>
                    <a:pt x="968" y="1301"/>
                  </a:lnTo>
                  <a:lnTo>
                    <a:pt x="968" y="1301"/>
                  </a:lnTo>
                  <a:lnTo>
                    <a:pt x="973" y="1298"/>
                  </a:lnTo>
                  <a:lnTo>
                    <a:pt x="975" y="1298"/>
                  </a:lnTo>
                  <a:lnTo>
                    <a:pt x="975" y="1298"/>
                  </a:lnTo>
                  <a:lnTo>
                    <a:pt x="980" y="1298"/>
                  </a:lnTo>
                  <a:lnTo>
                    <a:pt x="980" y="1298"/>
                  </a:lnTo>
                  <a:lnTo>
                    <a:pt x="980" y="1298"/>
                  </a:lnTo>
                  <a:lnTo>
                    <a:pt x="982" y="1298"/>
                  </a:lnTo>
                  <a:lnTo>
                    <a:pt x="982" y="1298"/>
                  </a:lnTo>
                  <a:lnTo>
                    <a:pt x="982" y="1298"/>
                  </a:lnTo>
                  <a:lnTo>
                    <a:pt x="982" y="1298"/>
                  </a:lnTo>
                  <a:lnTo>
                    <a:pt x="982" y="1298"/>
                  </a:lnTo>
                  <a:lnTo>
                    <a:pt x="985" y="1298"/>
                  </a:lnTo>
                  <a:lnTo>
                    <a:pt x="987" y="1298"/>
                  </a:lnTo>
                  <a:lnTo>
                    <a:pt x="989" y="1298"/>
                  </a:lnTo>
                  <a:lnTo>
                    <a:pt x="989" y="1298"/>
                  </a:lnTo>
                  <a:lnTo>
                    <a:pt x="989" y="1298"/>
                  </a:lnTo>
                  <a:lnTo>
                    <a:pt x="987" y="1296"/>
                  </a:lnTo>
                  <a:lnTo>
                    <a:pt x="985" y="1296"/>
                  </a:lnTo>
                  <a:lnTo>
                    <a:pt x="985" y="1296"/>
                  </a:lnTo>
                  <a:lnTo>
                    <a:pt x="985" y="1294"/>
                  </a:lnTo>
                  <a:lnTo>
                    <a:pt x="985" y="1294"/>
                  </a:lnTo>
                  <a:lnTo>
                    <a:pt x="985" y="1294"/>
                  </a:lnTo>
                  <a:lnTo>
                    <a:pt x="985" y="1294"/>
                  </a:lnTo>
                  <a:lnTo>
                    <a:pt x="985" y="1294"/>
                  </a:lnTo>
                  <a:lnTo>
                    <a:pt x="982" y="1294"/>
                  </a:lnTo>
                  <a:lnTo>
                    <a:pt x="982" y="1294"/>
                  </a:lnTo>
                  <a:lnTo>
                    <a:pt x="982" y="1291"/>
                  </a:lnTo>
                  <a:lnTo>
                    <a:pt x="982" y="1291"/>
                  </a:lnTo>
                  <a:lnTo>
                    <a:pt x="982" y="1289"/>
                  </a:lnTo>
                  <a:lnTo>
                    <a:pt x="982" y="1289"/>
                  </a:lnTo>
                  <a:lnTo>
                    <a:pt x="985" y="1286"/>
                  </a:lnTo>
                  <a:lnTo>
                    <a:pt x="985" y="1286"/>
                  </a:lnTo>
                  <a:lnTo>
                    <a:pt x="985" y="1286"/>
                  </a:lnTo>
                  <a:lnTo>
                    <a:pt x="985" y="1286"/>
                  </a:lnTo>
                  <a:lnTo>
                    <a:pt x="987" y="1286"/>
                  </a:lnTo>
                  <a:lnTo>
                    <a:pt x="987" y="1286"/>
                  </a:lnTo>
                  <a:lnTo>
                    <a:pt x="987" y="1286"/>
                  </a:lnTo>
                  <a:lnTo>
                    <a:pt x="992" y="1286"/>
                  </a:lnTo>
                  <a:lnTo>
                    <a:pt x="992" y="1286"/>
                  </a:lnTo>
                  <a:lnTo>
                    <a:pt x="992" y="1289"/>
                  </a:lnTo>
                  <a:lnTo>
                    <a:pt x="992" y="1289"/>
                  </a:lnTo>
                  <a:lnTo>
                    <a:pt x="996" y="1289"/>
                  </a:lnTo>
                  <a:lnTo>
                    <a:pt x="996" y="1289"/>
                  </a:lnTo>
                  <a:lnTo>
                    <a:pt x="996" y="1289"/>
                  </a:lnTo>
                  <a:lnTo>
                    <a:pt x="996" y="1291"/>
                  </a:lnTo>
                  <a:lnTo>
                    <a:pt x="999" y="1294"/>
                  </a:lnTo>
                  <a:lnTo>
                    <a:pt x="999" y="1291"/>
                  </a:lnTo>
                  <a:lnTo>
                    <a:pt x="1001" y="1294"/>
                  </a:lnTo>
                  <a:lnTo>
                    <a:pt x="1001" y="1291"/>
                  </a:lnTo>
                  <a:lnTo>
                    <a:pt x="1001" y="1291"/>
                  </a:lnTo>
                  <a:lnTo>
                    <a:pt x="1001" y="1291"/>
                  </a:lnTo>
                  <a:lnTo>
                    <a:pt x="1001" y="1289"/>
                  </a:lnTo>
                  <a:lnTo>
                    <a:pt x="1001" y="1289"/>
                  </a:lnTo>
                  <a:lnTo>
                    <a:pt x="1001" y="1289"/>
                  </a:lnTo>
                  <a:lnTo>
                    <a:pt x="1003" y="1289"/>
                  </a:lnTo>
                  <a:lnTo>
                    <a:pt x="1003" y="1286"/>
                  </a:lnTo>
                  <a:lnTo>
                    <a:pt x="1003" y="1286"/>
                  </a:lnTo>
                  <a:lnTo>
                    <a:pt x="1003" y="1286"/>
                  </a:lnTo>
                  <a:lnTo>
                    <a:pt x="1006" y="1286"/>
                  </a:lnTo>
                  <a:lnTo>
                    <a:pt x="1006" y="1284"/>
                  </a:lnTo>
                  <a:lnTo>
                    <a:pt x="1008" y="1284"/>
                  </a:lnTo>
                  <a:lnTo>
                    <a:pt x="1008" y="1286"/>
                  </a:lnTo>
                  <a:lnTo>
                    <a:pt x="1011" y="1286"/>
                  </a:lnTo>
                  <a:lnTo>
                    <a:pt x="1011" y="1286"/>
                  </a:lnTo>
                  <a:lnTo>
                    <a:pt x="1011" y="1284"/>
                  </a:lnTo>
                  <a:lnTo>
                    <a:pt x="1011" y="1284"/>
                  </a:lnTo>
                  <a:lnTo>
                    <a:pt x="1011" y="1284"/>
                  </a:lnTo>
                  <a:lnTo>
                    <a:pt x="1011" y="1286"/>
                  </a:lnTo>
                  <a:lnTo>
                    <a:pt x="1011" y="1286"/>
                  </a:lnTo>
                  <a:lnTo>
                    <a:pt x="1011" y="1286"/>
                  </a:lnTo>
                  <a:lnTo>
                    <a:pt x="1011" y="1289"/>
                  </a:lnTo>
                  <a:lnTo>
                    <a:pt x="1013" y="1289"/>
                  </a:lnTo>
                  <a:lnTo>
                    <a:pt x="1013" y="1289"/>
                  </a:lnTo>
                  <a:lnTo>
                    <a:pt x="1013" y="1289"/>
                  </a:lnTo>
                  <a:lnTo>
                    <a:pt x="1013" y="1289"/>
                  </a:lnTo>
                  <a:lnTo>
                    <a:pt x="1013" y="1289"/>
                  </a:lnTo>
                  <a:lnTo>
                    <a:pt x="1015" y="1291"/>
                  </a:lnTo>
                  <a:lnTo>
                    <a:pt x="1015" y="1291"/>
                  </a:lnTo>
                  <a:lnTo>
                    <a:pt x="1015" y="1291"/>
                  </a:lnTo>
                  <a:lnTo>
                    <a:pt x="1015" y="1291"/>
                  </a:lnTo>
                  <a:lnTo>
                    <a:pt x="1015" y="1291"/>
                  </a:lnTo>
                  <a:lnTo>
                    <a:pt x="1015" y="1291"/>
                  </a:lnTo>
                  <a:lnTo>
                    <a:pt x="1015" y="1289"/>
                  </a:lnTo>
                  <a:lnTo>
                    <a:pt x="1015" y="1289"/>
                  </a:lnTo>
                  <a:lnTo>
                    <a:pt x="1015" y="1286"/>
                  </a:lnTo>
                  <a:lnTo>
                    <a:pt x="1015" y="1286"/>
                  </a:lnTo>
                  <a:lnTo>
                    <a:pt x="1018" y="1286"/>
                  </a:lnTo>
                  <a:lnTo>
                    <a:pt x="1018" y="1286"/>
                  </a:lnTo>
                  <a:lnTo>
                    <a:pt x="1018" y="1284"/>
                  </a:lnTo>
                  <a:lnTo>
                    <a:pt x="1018" y="1284"/>
                  </a:lnTo>
                  <a:lnTo>
                    <a:pt x="1015" y="1284"/>
                  </a:lnTo>
                  <a:lnTo>
                    <a:pt x="1015" y="1282"/>
                  </a:lnTo>
                  <a:lnTo>
                    <a:pt x="1015" y="1282"/>
                  </a:lnTo>
                  <a:lnTo>
                    <a:pt x="1015" y="1282"/>
                  </a:lnTo>
                  <a:lnTo>
                    <a:pt x="1015" y="1279"/>
                  </a:lnTo>
                  <a:lnTo>
                    <a:pt x="1015" y="1279"/>
                  </a:lnTo>
                  <a:lnTo>
                    <a:pt x="1015" y="1279"/>
                  </a:lnTo>
                  <a:lnTo>
                    <a:pt x="1015" y="1279"/>
                  </a:lnTo>
                  <a:lnTo>
                    <a:pt x="1015" y="1282"/>
                  </a:lnTo>
                  <a:lnTo>
                    <a:pt x="1015" y="1282"/>
                  </a:lnTo>
                  <a:lnTo>
                    <a:pt x="1018" y="1282"/>
                  </a:lnTo>
                  <a:lnTo>
                    <a:pt x="1018" y="1282"/>
                  </a:lnTo>
                  <a:lnTo>
                    <a:pt x="1018" y="1279"/>
                  </a:lnTo>
                  <a:lnTo>
                    <a:pt x="1018" y="1279"/>
                  </a:lnTo>
                  <a:lnTo>
                    <a:pt x="1015" y="1279"/>
                  </a:lnTo>
                  <a:lnTo>
                    <a:pt x="1018" y="1277"/>
                  </a:lnTo>
                  <a:lnTo>
                    <a:pt x="1018" y="1277"/>
                  </a:lnTo>
                  <a:lnTo>
                    <a:pt x="1020" y="1277"/>
                  </a:lnTo>
                  <a:lnTo>
                    <a:pt x="1015" y="1277"/>
                  </a:lnTo>
                  <a:lnTo>
                    <a:pt x="1018" y="1277"/>
                  </a:lnTo>
                  <a:lnTo>
                    <a:pt x="1027" y="1272"/>
                  </a:lnTo>
                  <a:lnTo>
                    <a:pt x="1030" y="1272"/>
                  </a:lnTo>
                  <a:lnTo>
                    <a:pt x="1030" y="1270"/>
                  </a:lnTo>
                  <a:lnTo>
                    <a:pt x="1030" y="1270"/>
                  </a:lnTo>
                  <a:lnTo>
                    <a:pt x="1032" y="1270"/>
                  </a:lnTo>
                  <a:lnTo>
                    <a:pt x="1034" y="1270"/>
                  </a:lnTo>
                  <a:lnTo>
                    <a:pt x="1034" y="1272"/>
                  </a:lnTo>
                  <a:lnTo>
                    <a:pt x="1037" y="1272"/>
                  </a:lnTo>
                  <a:lnTo>
                    <a:pt x="1037" y="1272"/>
                  </a:lnTo>
                  <a:lnTo>
                    <a:pt x="1037" y="1270"/>
                  </a:lnTo>
                  <a:lnTo>
                    <a:pt x="1037" y="1270"/>
                  </a:lnTo>
                  <a:lnTo>
                    <a:pt x="1039" y="1270"/>
                  </a:lnTo>
                  <a:lnTo>
                    <a:pt x="1039" y="1270"/>
                  </a:lnTo>
                  <a:lnTo>
                    <a:pt x="1039" y="1270"/>
                  </a:lnTo>
                  <a:lnTo>
                    <a:pt x="1039" y="1270"/>
                  </a:lnTo>
                  <a:lnTo>
                    <a:pt x="1039" y="1270"/>
                  </a:lnTo>
                  <a:lnTo>
                    <a:pt x="1039" y="1270"/>
                  </a:lnTo>
                  <a:lnTo>
                    <a:pt x="1039" y="1272"/>
                  </a:lnTo>
                  <a:lnTo>
                    <a:pt x="1037" y="1272"/>
                  </a:lnTo>
                  <a:lnTo>
                    <a:pt x="1037" y="1272"/>
                  </a:lnTo>
                  <a:lnTo>
                    <a:pt x="1037" y="1275"/>
                  </a:lnTo>
                  <a:lnTo>
                    <a:pt x="1037" y="1275"/>
                  </a:lnTo>
                  <a:lnTo>
                    <a:pt x="1037" y="1275"/>
                  </a:lnTo>
                  <a:lnTo>
                    <a:pt x="1037" y="1277"/>
                  </a:lnTo>
                  <a:lnTo>
                    <a:pt x="1037" y="1277"/>
                  </a:lnTo>
                  <a:lnTo>
                    <a:pt x="1037" y="1277"/>
                  </a:lnTo>
                  <a:lnTo>
                    <a:pt x="1037" y="1279"/>
                  </a:lnTo>
                  <a:lnTo>
                    <a:pt x="1037" y="1279"/>
                  </a:lnTo>
                  <a:lnTo>
                    <a:pt x="1037" y="1279"/>
                  </a:lnTo>
                  <a:lnTo>
                    <a:pt x="1037" y="1282"/>
                  </a:lnTo>
                  <a:lnTo>
                    <a:pt x="1037" y="1282"/>
                  </a:lnTo>
                  <a:lnTo>
                    <a:pt x="1037" y="1284"/>
                  </a:lnTo>
                  <a:lnTo>
                    <a:pt x="1037" y="1284"/>
                  </a:lnTo>
                  <a:lnTo>
                    <a:pt x="1037" y="1284"/>
                  </a:lnTo>
                  <a:lnTo>
                    <a:pt x="1034" y="1284"/>
                  </a:lnTo>
                  <a:lnTo>
                    <a:pt x="1034" y="1284"/>
                  </a:lnTo>
                  <a:lnTo>
                    <a:pt x="1034" y="1282"/>
                  </a:lnTo>
                  <a:lnTo>
                    <a:pt x="1034" y="1282"/>
                  </a:lnTo>
                  <a:lnTo>
                    <a:pt x="1034" y="1282"/>
                  </a:lnTo>
                  <a:lnTo>
                    <a:pt x="1034" y="1282"/>
                  </a:lnTo>
                  <a:lnTo>
                    <a:pt x="1034" y="1284"/>
                  </a:lnTo>
                  <a:lnTo>
                    <a:pt x="1034" y="1284"/>
                  </a:lnTo>
                  <a:lnTo>
                    <a:pt x="1032" y="1284"/>
                  </a:lnTo>
                  <a:lnTo>
                    <a:pt x="1032" y="1284"/>
                  </a:lnTo>
                  <a:lnTo>
                    <a:pt x="1032" y="1284"/>
                  </a:lnTo>
                  <a:lnTo>
                    <a:pt x="1030" y="1284"/>
                  </a:lnTo>
                  <a:lnTo>
                    <a:pt x="1030" y="1284"/>
                  </a:lnTo>
                  <a:lnTo>
                    <a:pt x="1030" y="1284"/>
                  </a:lnTo>
                  <a:lnTo>
                    <a:pt x="1030" y="1284"/>
                  </a:lnTo>
                  <a:lnTo>
                    <a:pt x="1030" y="1286"/>
                  </a:lnTo>
                  <a:lnTo>
                    <a:pt x="1030" y="1286"/>
                  </a:lnTo>
                  <a:lnTo>
                    <a:pt x="1030" y="1286"/>
                  </a:lnTo>
                  <a:lnTo>
                    <a:pt x="1030" y="1286"/>
                  </a:lnTo>
                  <a:lnTo>
                    <a:pt x="1027" y="1286"/>
                  </a:lnTo>
                  <a:lnTo>
                    <a:pt x="1027" y="1286"/>
                  </a:lnTo>
                  <a:lnTo>
                    <a:pt x="1027" y="1286"/>
                  </a:lnTo>
                  <a:lnTo>
                    <a:pt x="1025" y="1286"/>
                  </a:lnTo>
                  <a:lnTo>
                    <a:pt x="1025" y="1286"/>
                  </a:lnTo>
                  <a:lnTo>
                    <a:pt x="1025" y="1286"/>
                  </a:lnTo>
                  <a:lnTo>
                    <a:pt x="1025" y="1286"/>
                  </a:lnTo>
                  <a:lnTo>
                    <a:pt x="1025" y="1286"/>
                  </a:lnTo>
                  <a:lnTo>
                    <a:pt x="1022" y="1286"/>
                  </a:lnTo>
                  <a:lnTo>
                    <a:pt x="1022" y="1286"/>
                  </a:lnTo>
                  <a:lnTo>
                    <a:pt x="1022" y="1289"/>
                  </a:lnTo>
                  <a:lnTo>
                    <a:pt x="1020" y="1289"/>
                  </a:lnTo>
                  <a:lnTo>
                    <a:pt x="1020" y="1289"/>
                  </a:lnTo>
                  <a:lnTo>
                    <a:pt x="1018" y="1289"/>
                  </a:lnTo>
                  <a:lnTo>
                    <a:pt x="1018" y="1289"/>
                  </a:lnTo>
                  <a:lnTo>
                    <a:pt x="1018" y="1291"/>
                  </a:lnTo>
                  <a:lnTo>
                    <a:pt x="1018" y="1291"/>
                  </a:lnTo>
                  <a:lnTo>
                    <a:pt x="1018" y="1294"/>
                  </a:lnTo>
                  <a:lnTo>
                    <a:pt x="1018" y="1294"/>
                  </a:lnTo>
                  <a:lnTo>
                    <a:pt x="1018" y="1294"/>
                  </a:lnTo>
                  <a:lnTo>
                    <a:pt x="1018" y="1296"/>
                  </a:lnTo>
                  <a:lnTo>
                    <a:pt x="1018" y="1296"/>
                  </a:lnTo>
                  <a:lnTo>
                    <a:pt x="1020" y="1298"/>
                  </a:lnTo>
                  <a:lnTo>
                    <a:pt x="1020" y="1301"/>
                  </a:lnTo>
                  <a:lnTo>
                    <a:pt x="1020" y="1301"/>
                  </a:lnTo>
                  <a:lnTo>
                    <a:pt x="1018" y="1301"/>
                  </a:lnTo>
                  <a:lnTo>
                    <a:pt x="1018" y="1301"/>
                  </a:lnTo>
                  <a:lnTo>
                    <a:pt x="1018" y="1301"/>
                  </a:lnTo>
                  <a:lnTo>
                    <a:pt x="1018" y="1301"/>
                  </a:lnTo>
                  <a:lnTo>
                    <a:pt x="1018" y="1301"/>
                  </a:lnTo>
                  <a:lnTo>
                    <a:pt x="1018" y="1298"/>
                  </a:lnTo>
                  <a:lnTo>
                    <a:pt x="1018" y="1298"/>
                  </a:lnTo>
                  <a:lnTo>
                    <a:pt x="1015" y="1296"/>
                  </a:lnTo>
                  <a:lnTo>
                    <a:pt x="1013" y="1294"/>
                  </a:lnTo>
                  <a:lnTo>
                    <a:pt x="1013" y="1296"/>
                  </a:lnTo>
                  <a:lnTo>
                    <a:pt x="1013" y="1298"/>
                  </a:lnTo>
                  <a:lnTo>
                    <a:pt x="1013" y="1298"/>
                  </a:lnTo>
                  <a:lnTo>
                    <a:pt x="1013" y="1301"/>
                  </a:lnTo>
                  <a:lnTo>
                    <a:pt x="1013" y="1301"/>
                  </a:lnTo>
                  <a:lnTo>
                    <a:pt x="1013" y="1298"/>
                  </a:lnTo>
                  <a:lnTo>
                    <a:pt x="1011" y="1298"/>
                  </a:lnTo>
                  <a:lnTo>
                    <a:pt x="1011" y="1298"/>
                  </a:lnTo>
                  <a:lnTo>
                    <a:pt x="1013" y="1296"/>
                  </a:lnTo>
                  <a:lnTo>
                    <a:pt x="1011" y="1296"/>
                  </a:lnTo>
                  <a:lnTo>
                    <a:pt x="1008" y="1296"/>
                  </a:lnTo>
                  <a:lnTo>
                    <a:pt x="1008" y="1298"/>
                  </a:lnTo>
                  <a:lnTo>
                    <a:pt x="1008" y="1298"/>
                  </a:lnTo>
                  <a:lnTo>
                    <a:pt x="1011" y="1301"/>
                  </a:lnTo>
                  <a:lnTo>
                    <a:pt x="1011" y="1301"/>
                  </a:lnTo>
                  <a:lnTo>
                    <a:pt x="1011" y="1303"/>
                  </a:lnTo>
                  <a:lnTo>
                    <a:pt x="1011" y="1303"/>
                  </a:lnTo>
                  <a:lnTo>
                    <a:pt x="1006" y="1303"/>
                  </a:lnTo>
                  <a:lnTo>
                    <a:pt x="1006" y="1303"/>
                  </a:lnTo>
                  <a:lnTo>
                    <a:pt x="1003" y="1303"/>
                  </a:lnTo>
                  <a:lnTo>
                    <a:pt x="1006" y="1303"/>
                  </a:lnTo>
                  <a:lnTo>
                    <a:pt x="1003" y="1303"/>
                  </a:lnTo>
                  <a:lnTo>
                    <a:pt x="1003" y="1303"/>
                  </a:lnTo>
                  <a:lnTo>
                    <a:pt x="1001" y="1305"/>
                  </a:lnTo>
                  <a:lnTo>
                    <a:pt x="1001" y="1303"/>
                  </a:lnTo>
                  <a:lnTo>
                    <a:pt x="1001" y="1303"/>
                  </a:lnTo>
                  <a:lnTo>
                    <a:pt x="1001" y="1303"/>
                  </a:lnTo>
                  <a:lnTo>
                    <a:pt x="1001" y="1301"/>
                  </a:lnTo>
                  <a:lnTo>
                    <a:pt x="999" y="1303"/>
                  </a:lnTo>
                  <a:lnTo>
                    <a:pt x="996" y="1305"/>
                  </a:lnTo>
                  <a:lnTo>
                    <a:pt x="994" y="1308"/>
                  </a:lnTo>
                  <a:lnTo>
                    <a:pt x="992" y="1308"/>
                  </a:lnTo>
                  <a:lnTo>
                    <a:pt x="992" y="1305"/>
                  </a:lnTo>
                  <a:lnTo>
                    <a:pt x="989" y="1305"/>
                  </a:lnTo>
                  <a:lnTo>
                    <a:pt x="987" y="1305"/>
                  </a:lnTo>
                  <a:lnTo>
                    <a:pt x="987" y="1305"/>
                  </a:lnTo>
                  <a:lnTo>
                    <a:pt x="987" y="1305"/>
                  </a:lnTo>
                  <a:lnTo>
                    <a:pt x="987" y="1305"/>
                  </a:lnTo>
                  <a:lnTo>
                    <a:pt x="985" y="1308"/>
                  </a:lnTo>
                  <a:lnTo>
                    <a:pt x="985" y="1308"/>
                  </a:lnTo>
                  <a:lnTo>
                    <a:pt x="985" y="1310"/>
                  </a:lnTo>
                  <a:lnTo>
                    <a:pt x="985" y="1310"/>
                  </a:lnTo>
                  <a:lnTo>
                    <a:pt x="985" y="1310"/>
                  </a:lnTo>
                  <a:lnTo>
                    <a:pt x="985" y="1310"/>
                  </a:lnTo>
                  <a:lnTo>
                    <a:pt x="982" y="1310"/>
                  </a:lnTo>
                  <a:lnTo>
                    <a:pt x="982" y="1308"/>
                  </a:lnTo>
                  <a:lnTo>
                    <a:pt x="982" y="1308"/>
                  </a:lnTo>
                  <a:lnTo>
                    <a:pt x="985" y="1308"/>
                  </a:lnTo>
                  <a:lnTo>
                    <a:pt x="985" y="1308"/>
                  </a:lnTo>
                  <a:lnTo>
                    <a:pt x="985" y="1308"/>
                  </a:lnTo>
                  <a:lnTo>
                    <a:pt x="985" y="1308"/>
                  </a:lnTo>
                  <a:lnTo>
                    <a:pt x="982" y="1305"/>
                  </a:lnTo>
                  <a:lnTo>
                    <a:pt x="982" y="1305"/>
                  </a:lnTo>
                  <a:lnTo>
                    <a:pt x="985" y="1305"/>
                  </a:lnTo>
                  <a:lnTo>
                    <a:pt x="985" y="1305"/>
                  </a:lnTo>
                  <a:lnTo>
                    <a:pt x="987" y="1305"/>
                  </a:lnTo>
                  <a:lnTo>
                    <a:pt x="985" y="1303"/>
                  </a:lnTo>
                  <a:lnTo>
                    <a:pt x="985" y="1303"/>
                  </a:lnTo>
                  <a:lnTo>
                    <a:pt x="985" y="1303"/>
                  </a:lnTo>
                  <a:lnTo>
                    <a:pt x="982" y="1303"/>
                  </a:lnTo>
                  <a:lnTo>
                    <a:pt x="982" y="1303"/>
                  </a:lnTo>
                  <a:lnTo>
                    <a:pt x="982" y="1303"/>
                  </a:lnTo>
                  <a:lnTo>
                    <a:pt x="982" y="1303"/>
                  </a:lnTo>
                  <a:lnTo>
                    <a:pt x="982" y="1303"/>
                  </a:lnTo>
                  <a:lnTo>
                    <a:pt x="982" y="1303"/>
                  </a:lnTo>
                  <a:lnTo>
                    <a:pt x="982" y="1305"/>
                  </a:lnTo>
                  <a:lnTo>
                    <a:pt x="982" y="1305"/>
                  </a:lnTo>
                  <a:lnTo>
                    <a:pt x="980" y="1308"/>
                  </a:lnTo>
                  <a:lnTo>
                    <a:pt x="980" y="1308"/>
                  </a:lnTo>
                  <a:lnTo>
                    <a:pt x="980" y="1308"/>
                  </a:lnTo>
                  <a:lnTo>
                    <a:pt x="980" y="1308"/>
                  </a:lnTo>
                  <a:lnTo>
                    <a:pt x="980" y="1310"/>
                  </a:lnTo>
                  <a:lnTo>
                    <a:pt x="980" y="1310"/>
                  </a:lnTo>
                  <a:lnTo>
                    <a:pt x="982" y="1310"/>
                  </a:lnTo>
                  <a:lnTo>
                    <a:pt x="982" y="1310"/>
                  </a:lnTo>
                  <a:lnTo>
                    <a:pt x="982" y="1310"/>
                  </a:lnTo>
                  <a:lnTo>
                    <a:pt x="982" y="1313"/>
                  </a:lnTo>
                  <a:lnTo>
                    <a:pt x="982" y="1313"/>
                  </a:lnTo>
                  <a:lnTo>
                    <a:pt x="982" y="1313"/>
                  </a:lnTo>
                  <a:lnTo>
                    <a:pt x="985" y="1313"/>
                  </a:lnTo>
                  <a:lnTo>
                    <a:pt x="985" y="1313"/>
                  </a:lnTo>
                  <a:lnTo>
                    <a:pt x="987" y="1313"/>
                  </a:lnTo>
                  <a:lnTo>
                    <a:pt x="987" y="1313"/>
                  </a:lnTo>
                  <a:lnTo>
                    <a:pt x="987" y="1315"/>
                  </a:lnTo>
                  <a:lnTo>
                    <a:pt x="985" y="1315"/>
                  </a:lnTo>
                  <a:lnTo>
                    <a:pt x="985" y="1315"/>
                  </a:lnTo>
                  <a:lnTo>
                    <a:pt x="985" y="1317"/>
                  </a:lnTo>
                  <a:lnTo>
                    <a:pt x="985" y="1317"/>
                  </a:lnTo>
                  <a:lnTo>
                    <a:pt x="980" y="1320"/>
                  </a:lnTo>
                  <a:lnTo>
                    <a:pt x="980" y="1320"/>
                  </a:lnTo>
                  <a:lnTo>
                    <a:pt x="980" y="1320"/>
                  </a:lnTo>
                  <a:lnTo>
                    <a:pt x="980" y="1320"/>
                  </a:lnTo>
                  <a:lnTo>
                    <a:pt x="977" y="1320"/>
                  </a:lnTo>
                  <a:lnTo>
                    <a:pt x="977" y="1322"/>
                  </a:lnTo>
                  <a:lnTo>
                    <a:pt x="977" y="1324"/>
                  </a:lnTo>
                  <a:lnTo>
                    <a:pt x="977" y="1324"/>
                  </a:lnTo>
                  <a:lnTo>
                    <a:pt x="977" y="1327"/>
                  </a:lnTo>
                  <a:lnTo>
                    <a:pt x="977" y="1329"/>
                  </a:lnTo>
                  <a:lnTo>
                    <a:pt x="977" y="1329"/>
                  </a:lnTo>
                  <a:lnTo>
                    <a:pt x="977" y="1329"/>
                  </a:lnTo>
                  <a:lnTo>
                    <a:pt x="977" y="1329"/>
                  </a:lnTo>
                  <a:lnTo>
                    <a:pt x="977" y="1331"/>
                  </a:lnTo>
                  <a:lnTo>
                    <a:pt x="980" y="1334"/>
                  </a:lnTo>
                  <a:lnTo>
                    <a:pt x="982" y="1334"/>
                  </a:lnTo>
                  <a:lnTo>
                    <a:pt x="982" y="1336"/>
                  </a:lnTo>
                  <a:lnTo>
                    <a:pt x="985" y="1339"/>
                  </a:lnTo>
                  <a:lnTo>
                    <a:pt x="985" y="1339"/>
                  </a:lnTo>
                  <a:lnTo>
                    <a:pt x="985" y="1341"/>
                  </a:lnTo>
                  <a:lnTo>
                    <a:pt x="985" y="1341"/>
                  </a:lnTo>
                  <a:lnTo>
                    <a:pt x="985" y="1341"/>
                  </a:lnTo>
                  <a:lnTo>
                    <a:pt x="985" y="1341"/>
                  </a:lnTo>
                  <a:lnTo>
                    <a:pt x="987" y="1343"/>
                  </a:lnTo>
                  <a:lnTo>
                    <a:pt x="987" y="1343"/>
                  </a:lnTo>
                  <a:lnTo>
                    <a:pt x="987" y="1343"/>
                  </a:lnTo>
                  <a:lnTo>
                    <a:pt x="987" y="1343"/>
                  </a:lnTo>
                  <a:lnTo>
                    <a:pt x="985" y="1346"/>
                  </a:lnTo>
                  <a:lnTo>
                    <a:pt x="985" y="1348"/>
                  </a:lnTo>
                  <a:lnTo>
                    <a:pt x="985" y="1350"/>
                  </a:lnTo>
                  <a:lnTo>
                    <a:pt x="985" y="1348"/>
                  </a:lnTo>
                  <a:lnTo>
                    <a:pt x="985" y="1348"/>
                  </a:lnTo>
                  <a:lnTo>
                    <a:pt x="982" y="1348"/>
                  </a:lnTo>
                  <a:lnTo>
                    <a:pt x="982" y="1348"/>
                  </a:lnTo>
                  <a:lnTo>
                    <a:pt x="982" y="1348"/>
                  </a:lnTo>
                  <a:lnTo>
                    <a:pt x="982" y="1350"/>
                  </a:lnTo>
                  <a:lnTo>
                    <a:pt x="985" y="1350"/>
                  </a:lnTo>
                  <a:lnTo>
                    <a:pt x="985" y="1355"/>
                  </a:lnTo>
                  <a:lnTo>
                    <a:pt x="987" y="1357"/>
                  </a:lnTo>
                  <a:lnTo>
                    <a:pt x="987" y="1360"/>
                  </a:lnTo>
                  <a:lnTo>
                    <a:pt x="987" y="1362"/>
                  </a:lnTo>
                  <a:lnTo>
                    <a:pt x="989" y="1365"/>
                  </a:lnTo>
                  <a:lnTo>
                    <a:pt x="989" y="1367"/>
                  </a:lnTo>
                  <a:lnTo>
                    <a:pt x="992" y="1367"/>
                  </a:lnTo>
                  <a:lnTo>
                    <a:pt x="992" y="1367"/>
                  </a:lnTo>
                  <a:lnTo>
                    <a:pt x="992" y="1367"/>
                  </a:lnTo>
                  <a:lnTo>
                    <a:pt x="992" y="1367"/>
                  </a:lnTo>
                  <a:lnTo>
                    <a:pt x="994" y="1367"/>
                  </a:lnTo>
                  <a:lnTo>
                    <a:pt x="994" y="1367"/>
                  </a:lnTo>
                  <a:lnTo>
                    <a:pt x="994" y="1369"/>
                  </a:lnTo>
                  <a:lnTo>
                    <a:pt x="994" y="1369"/>
                  </a:lnTo>
                  <a:lnTo>
                    <a:pt x="994" y="1369"/>
                  </a:lnTo>
                  <a:lnTo>
                    <a:pt x="994" y="1372"/>
                  </a:lnTo>
                  <a:lnTo>
                    <a:pt x="989" y="1372"/>
                  </a:lnTo>
                  <a:lnTo>
                    <a:pt x="989" y="1372"/>
                  </a:lnTo>
                  <a:lnTo>
                    <a:pt x="989" y="1374"/>
                  </a:lnTo>
                  <a:lnTo>
                    <a:pt x="989" y="1374"/>
                  </a:lnTo>
                  <a:lnTo>
                    <a:pt x="992" y="1376"/>
                  </a:lnTo>
                  <a:lnTo>
                    <a:pt x="992" y="1376"/>
                  </a:lnTo>
                  <a:lnTo>
                    <a:pt x="994" y="1383"/>
                  </a:lnTo>
                  <a:lnTo>
                    <a:pt x="994" y="1383"/>
                  </a:lnTo>
                  <a:lnTo>
                    <a:pt x="996" y="1388"/>
                  </a:lnTo>
                  <a:lnTo>
                    <a:pt x="996" y="1388"/>
                  </a:lnTo>
                  <a:lnTo>
                    <a:pt x="996" y="1388"/>
                  </a:lnTo>
                  <a:lnTo>
                    <a:pt x="994" y="1388"/>
                  </a:lnTo>
                  <a:lnTo>
                    <a:pt x="994" y="1386"/>
                  </a:lnTo>
                  <a:lnTo>
                    <a:pt x="994" y="1386"/>
                  </a:lnTo>
                  <a:lnTo>
                    <a:pt x="994" y="1383"/>
                  </a:lnTo>
                  <a:lnTo>
                    <a:pt x="994" y="1383"/>
                  </a:lnTo>
                  <a:lnTo>
                    <a:pt x="994" y="1383"/>
                  </a:lnTo>
                  <a:lnTo>
                    <a:pt x="992" y="1381"/>
                  </a:lnTo>
                  <a:lnTo>
                    <a:pt x="989" y="1379"/>
                  </a:lnTo>
                  <a:lnTo>
                    <a:pt x="989" y="1379"/>
                  </a:lnTo>
                  <a:lnTo>
                    <a:pt x="989" y="1379"/>
                  </a:lnTo>
                  <a:lnTo>
                    <a:pt x="989" y="1379"/>
                  </a:lnTo>
                  <a:lnTo>
                    <a:pt x="987" y="1379"/>
                  </a:lnTo>
                  <a:lnTo>
                    <a:pt x="987" y="1379"/>
                  </a:lnTo>
                  <a:lnTo>
                    <a:pt x="987" y="1379"/>
                  </a:lnTo>
                  <a:lnTo>
                    <a:pt x="989" y="1381"/>
                  </a:lnTo>
                  <a:lnTo>
                    <a:pt x="989" y="1381"/>
                  </a:lnTo>
                  <a:lnTo>
                    <a:pt x="989" y="1383"/>
                  </a:lnTo>
                  <a:lnTo>
                    <a:pt x="987" y="1383"/>
                  </a:lnTo>
                  <a:lnTo>
                    <a:pt x="987" y="1383"/>
                  </a:lnTo>
                  <a:lnTo>
                    <a:pt x="987" y="1383"/>
                  </a:lnTo>
                  <a:lnTo>
                    <a:pt x="987" y="1383"/>
                  </a:lnTo>
                  <a:lnTo>
                    <a:pt x="987" y="1386"/>
                  </a:lnTo>
                  <a:lnTo>
                    <a:pt x="987" y="1386"/>
                  </a:lnTo>
                  <a:lnTo>
                    <a:pt x="987" y="1388"/>
                  </a:lnTo>
                  <a:lnTo>
                    <a:pt x="987" y="1388"/>
                  </a:lnTo>
                  <a:lnTo>
                    <a:pt x="987" y="1388"/>
                  </a:lnTo>
                  <a:lnTo>
                    <a:pt x="987" y="1386"/>
                  </a:lnTo>
                  <a:lnTo>
                    <a:pt x="987" y="1386"/>
                  </a:lnTo>
                  <a:lnTo>
                    <a:pt x="987" y="1386"/>
                  </a:lnTo>
                  <a:lnTo>
                    <a:pt x="985" y="1388"/>
                  </a:lnTo>
                  <a:lnTo>
                    <a:pt x="985" y="1388"/>
                  </a:lnTo>
                  <a:lnTo>
                    <a:pt x="985" y="1388"/>
                  </a:lnTo>
                  <a:lnTo>
                    <a:pt x="985" y="1386"/>
                  </a:lnTo>
                  <a:lnTo>
                    <a:pt x="985" y="1386"/>
                  </a:lnTo>
                  <a:lnTo>
                    <a:pt x="985" y="1386"/>
                  </a:lnTo>
                  <a:lnTo>
                    <a:pt x="985" y="1383"/>
                  </a:lnTo>
                  <a:lnTo>
                    <a:pt x="985" y="1383"/>
                  </a:lnTo>
                  <a:lnTo>
                    <a:pt x="985" y="1383"/>
                  </a:lnTo>
                  <a:lnTo>
                    <a:pt x="985" y="1383"/>
                  </a:lnTo>
                  <a:lnTo>
                    <a:pt x="985" y="1383"/>
                  </a:lnTo>
                  <a:lnTo>
                    <a:pt x="985" y="1383"/>
                  </a:lnTo>
                  <a:lnTo>
                    <a:pt x="982" y="1383"/>
                  </a:lnTo>
                  <a:lnTo>
                    <a:pt x="982" y="1383"/>
                  </a:lnTo>
                  <a:lnTo>
                    <a:pt x="982" y="1383"/>
                  </a:lnTo>
                  <a:lnTo>
                    <a:pt x="982" y="1381"/>
                  </a:lnTo>
                  <a:lnTo>
                    <a:pt x="982" y="1379"/>
                  </a:lnTo>
                  <a:lnTo>
                    <a:pt x="980" y="1379"/>
                  </a:lnTo>
                  <a:lnTo>
                    <a:pt x="982" y="1379"/>
                  </a:lnTo>
                  <a:lnTo>
                    <a:pt x="982" y="1379"/>
                  </a:lnTo>
                  <a:lnTo>
                    <a:pt x="982" y="1379"/>
                  </a:lnTo>
                  <a:lnTo>
                    <a:pt x="982" y="1381"/>
                  </a:lnTo>
                  <a:lnTo>
                    <a:pt x="985" y="1381"/>
                  </a:lnTo>
                  <a:lnTo>
                    <a:pt x="985" y="1381"/>
                  </a:lnTo>
                  <a:lnTo>
                    <a:pt x="985" y="1381"/>
                  </a:lnTo>
                  <a:lnTo>
                    <a:pt x="985" y="1381"/>
                  </a:lnTo>
                  <a:lnTo>
                    <a:pt x="985" y="1381"/>
                  </a:lnTo>
                  <a:lnTo>
                    <a:pt x="985" y="1381"/>
                  </a:lnTo>
                  <a:lnTo>
                    <a:pt x="987" y="1381"/>
                  </a:lnTo>
                  <a:lnTo>
                    <a:pt x="985" y="1376"/>
                  </a:lnTo>
                  <a:lnTo>
                    <a:pt x="987" y="1376"/>
                  </a:lnTo>
                  <a:lnTo>
                    <a:pt x="985" y="1374"/>
                  </a:lnTo>
                  <a:lnTo>
                    <a:pt x="985" y="1374"/>
                  </a:lnTo>
                  <a:lnTo>
                    <a:pt x="985" y="1374"/>
                  </a:lnTo>
                  <a:lnTo>
                    <a:pt x="985" y="1372"/>
                  </a:lnTo>
                  <a:lnTo>
                    <a:pt x="982" y="1372"/>
                  </a:lnTo>
                  <a:lnTo>
                    <a:pt x="982" y="1372"/>
                  </a:lnTo>
                  <a:lnTo>
                    <a:pt x="982" y="1372"/>
                  </a:lnTo>
                  <a:lnTo>
                    <a:pt x="982" y="1372"/>
                  </a:lnTo>
                  <a:lnTo>
                    <a:pt x="982" y="1372"/>
                  </a:lnTo>
                  <a:lnTo>
                    <a:pt x="982" y="1372"/>
                  </a:lnTo>
                  <a:lnTo>
                    <a:pt x="982" y="1374"/>
                  </a:lnTo>
                  <a:lnTo>
                    <a:pt x="982" y="1376"/>
                  </a:lnTo>
                  <a:lnTo>
                    <a:pt x="982" y="1376"/>
                  </a:lnTo>
                  <a:lnTo>
                    <a:pt x="982" y="1376"/>
                  </a:lnTo>
                  <a:lnTo>
                    <a:pt x="985" y="1376"/>
                  </a:lnTo>
                  <a:lnTo>
                    <a:pt x="982" y="1376"/>
                  </a:lnTo>
                  <a:lnTo>
                    <a:pt x="982" y="1379"/>
                  </a:lnTo>
                  <a:lnTo>
                    <a:pt x="982" y="1379"/>
                  </a:lnTo>
                  <a:lnTo>
                    <a:pt x="982" y="1376"/>
                  </a:lnTo>
                  <a:lnTo>
                    <a:pt x="980" y="1374"/>
                  </a:lnTo>
                  <a:lnTo>
                    <a:pt x="980" y="1374"/>
                  </a:lnTo>
                  <a:lnTo>
                    <a:pt x="980" y="1376"/>
                  </a:lnTo>
                  <a:lnTo>
                    <a:pt x="980" y="1376"/>
                  </a:lnTo>
                  <a:lnTo>
                    <a:pt x="980" y="1379"/>
                  </a:lnTo>
                  <a:lnTo>
                    <a:pt x="980" y="1379"/>
                  </a:lnTo>
                  <a:lnTo>
                    <a:pt x="980" y="1381"/>
                  </a:lnTo>
                  <a:lnTo>
                    <a:pt x="980" y="1383"/>
                  </a:lnTo>
                  <a:lnTo>
                    <a:pt x="980" y="1386"/>
                  </a:lnTo>
                  <a:lnTo>
                    <a:pt x="980" y="1388"/>
                  </a:lnTo>
                  <a:lnTo>
                    <a:pt x="980" y="1388"/>
                  </a:lnTo>
                  <a:lnTo>
                    <a:pt x="980" y="1388"/>
                  </a:lnTo>
                  <a:lnTo>
                    <a:pt x="980" y="1391"/>
                  </a:lnTo>
                  <a:lnTo>
                    <a:pt x="980" y="1391"/>
                  </a:lnTo>
                  <a:lnTo>
                    <a:pt x="980" y="1391"/>
                  </a:lnTo>
                  <a:lnTo>
                    <a:pt x="980" y="1391"/>
                  </a:lnTo>
                  <a:lnTo>
                    <a:pt x="977" y="1391"/>
                  </a:lnTo>
                  <a:lnTo>
                    <a:pt x="977" y="1393"/>
                  </a:lnTo>
                  <a:lnTo>
                    <a:pt x="980" y="1395"/>
                  </a:lnTo>
                  <a:lnTo>
                    <a:pt x="982" y="1398"/>
                  </a:lnTo>
                  <a:lnTo>
                    <a:pt x="982" y="1400"/>
                  </a:lnTo>
                  <a:lnTo>
                    <a:pt x="982" y="1400"/>
                  </a:lnTo>
                  <a:lnTo>
                    <a:pt x="982" y="1402"/>
                  </a:lnTo>
                  <a:lnTo>
                    <a:pt x="982" y="1402"/>
                  </a:lnTo>
                  <a:lnTo>
                    <a:pt x="982" y="1402"/>
                  </a:lnTo>
                  <a:lnTo>
                    <a:pt x="985" y="1402"/>
                  </a:lnTo>
                  <a:lnTo>
                    <a:pt x="985" y="1405"/>
                  </a:lnTo>
                  <a:lnTo>
                    <a:pt x="985" y="1405"/>
                  </a:lnTo>
                  <a:lnTo>
                    <a:pt x="985" y="1405"/>
                  </a:lnTo>
                  <a:lnTo>
                    <a:pt x="985" y="1407"/>
                  </a:lnTo>
                  <a:lnTo>
                    <a:pt x="985" y="1407"/>
                  </a:lnTo>
                  <a:lnTo>
                    <a:pt x="987" y="1409"/>
                  </a:lnTo>
                  <a:lnTo>
                    <a:pt x="989" y="1412"/>
                  </a:lnTo>
                  <a:lnTo>
                    <a:pt x="989" y="1414"/>
                  </a:lnTo>
                  <a:lnTo>
                    <a:pt x="989" y="1417"/>
                  </a:lnTo>
                  <a:lnTo>
                    <a:pt x="992" y="1417"/>
                  </a:lnTo>
                  <a:lnTo>
                    <a:pt x="992" y="1419"/>
                  </a:lnTo>
                  <a:lnTo>
                    <a:pt x="989" y="1419"/>
                  </a:lnTo>
                  <a:lnTo>
                    <a:pt x="989" y="1419"/>
                  </a:lnTo>
                  <a:lnTo>
                    <a:pt x="987" y="1412"/>
                  </a:lnTo>
                  <a:lnTo>
                    <a:pt x="987" y="1412"/>
                  </a:lnTo>
                  <a:lnTo>
                    <a:pt x="985" y="1412"/>
                  </a:lnTo>
                  <a:lnTo>
                    <a:pt x="985" y="1412"/>
                  </a:lnTo>
                  <a:lnTo>
                    <a:pt x="985" y="1407"/>
                  </a:lnTo>
                  <a:lnTo>
                    <a:pt x="985" y="1405"/>
                  </a:lnTo>
                  <a:lnTo>
                    <a:pt x="982" y="1405"/>
                  </a:lnTo>
                  <a:lnTo>
                    <a:pt x="982" y="1405"/>
                  </a:lnTo>
                  <a:lnTo>
                    <a:pt x="982" y="1407"/>
                  </a:lnTo>
                  <a:lnTo>
                    <a:pt x="982" y="1407"/>
                  </a:lnTo>
                  <a:lnTo>
                    <a:pt x="982" y="1405"/>
                  </a:lnTo>
                  <a:lnTo>
                    <a:pt x="982" y="1405"/>
                  </a:lnTo>
                  <a:lnTo>
                    <a:pt x="980" y="1405"/>
                  </a:lnTo>
                  <a:lnTo>
                    <a:pt x="980" y="1400"/>
                  </a:lnTo>
                  <a:lnTo>
                    <a:pt x="980" y="1400"/>
                  </a:lnTo>
                  <a:lnTo>
                    <a:pt x="980" y="1400"/>
                  </a:lnTo>
                  <a:lnTo>
                    <a:pt x="980" y="1398"/>
                  </a:lnTo>
                  <a:lnTo>
                    <a:pt x="980" y="1398"/>
                  </a:lnTo>
                  <a:lnTo>
                    <a:pt x="980" y="1398"/>
                  </a:lnTo>
                  <a:lnTo>
                    <a:pt x="977" y="1395"/>
                  </a:lnTo>
                  <a:lnTo>
                    <a:pt x="977" y="1391"/>
                  </a:lnTo>
                  <a:lnTo>
                    <a:pt x="975" y="1391"/>
                  </a:lnTo>
                  <a:lnTo>
                    <a:pt x="975" y="1391"/>
                  </a:lnTo>
                  <a:lnTo>
                    <a:pt x="975" y="1391"/>
                  </a:lnTo>
                  <a:lnTo>
                    <a:pt x="975" y="1393"/>
                  </a:lnTo>
                  <a:lnTo>
                    <a:pt x="975" y="1393"/>
                  </a:lnTo>
                  <a:lnTo>
                    <a:pt x="975" y="1395"/>
                  </a:lnTo>
                  <a:lnTo>
                    <a:pt x="975" y="1395"/>
                  </a:lnTo>
                  <a:lnTo>
                    <a:pt x="975" y="1395"/>
                  </a:lnTo>
                  <a:lnTo>
                    <a:pt x="975" y="1398"/>
                  </a:lnTo>
                  <a:lnTo>
                    <a:pt x="975" y="1398"/>
                  </a:lnTo>
                  <a:lnTo>
                    <a:pt x="975" y="1398"/>
                  </a:lnTo>
                  <a:lnTo>
                    <a:pt x="975" y="1395"/>
                  </a:lnTo>
                  <a:lnTo>
                    <a:pt x="975" y="1395"/>
                  </a:lnTo>
                  <a:lnTo>
                    <a:pt x="975" y="1395"/>
                  </a:lnTo>
                  <a:lnTo>
                    <a:pt x="973" y="1393"/>
                  </a:lnTo>
                  <a:lnTo>
                    <a:pt x="973" y="1393"/>
                  </a:lnTo>
                  <a:lnTo>
                    <a:pt x="973" y="1391"/>
                  </a:lnTo>
                  <a:lnTo>
                    <a:pt x="973" y="1391"/>
                  </a:lnTo>
                  <a:lnTo>
                    <a:pt x="975" y="1388"/>
                  </a:lnTo>
                  <a:lnTo>
                    <a:pt x="973" y="1388"/>
                  </a:lnTo>
                  <a:lnTo>
                    <a:pt x="973" y="1388"/>
                  </a:lnTo>
                  <a:lnTo>
                    <a:pt x="973" y="1388"/>
                  </a:lnTo>
                  <a:lnTo>
                    <a:pt x="973" y="1386"/>
                  </a:lnTo>
                  <a:lnTo>
                    <a:pt x="973" y="1386"/>
                  </a:lnTo>
                  <a:lnTo>
                    <a:pt x="970" y="1383"/>
                  </a:lnTo>
                  <a:lnTo>
                    <a:pt x="968" y="1386"/>
                  </a:lnTo>
                  <a:lnTo>
                    <a:pt x="966" y="1383"/>
                  </a:lnTo>
                  <a:lnTo>
                    <a:pt x="968" y="1383"/>
                  </a:lnTo>
                  <a:lnTo>
                    <a:pt x="968" y="1383"/>
                  </a:lnTo>
                  <a:lnTo>
                    <a:pt x="970" y="1383"/>
                  </a:lnTo>
                  <a:lnTo>
                    <a:pt x="970" y="1383"/>
                  </a:lnTo>
                  <a:lnTo>
                    <a:pt x="970" y="1381"/>
                  </a:lnTo>
                  <a:lnTo>
                    <a:pt x="970" y="1381"/>
                  </a:lnTo>
                  <a:lnTo>
                    <a:pt x="970" y="1379"/>
                  </a:lnTo>
                  <a:lnTo>
                    <a:pt x="970" y="1379"/>
                  </a:lnTo>
                  <a:lnTo>
                    <a:pt x="970" y="1379"/>
                  </a:lnTo>
                  <a:lnTo>
                    <a:pt x="968" y="1376"/>
                  </a:lnTo>
                  <a:lnTo>
                    <a:pt x="968" y="1376"/>
                  </a:lnTo>
                  <a:lnTo>
                    <a:pt x="968" y="1376"/>
                  </a:lnTo>
                  <a:lnTo>
                    <a:pt x="968" y="1376"/>
                  </a:lnTo>
                  <a:lnTo>
                    <a:pt x="966" y="1376"/>
                  </a:lnTo>
                  <a:lnTo>
                    <a:pt x="966" y="1374"/>
                  </a:lnTo>
                  <a:lnTo>
                    <a:pt x="963" y="1374"/>
                  </a:lnTo>
                  <a:lnTo>
                    <a:pt x="963" y="1374"/>
                  </a:lnTo>
                  <a:lnTo>
                    <a:pt x="963" y="1372"/>
                  </a:lnTo>
                  <a:lnTo>
                    <a:pt x="963" y="1372"/>
                  </a:lnTo>
                  <a:lnTo>
                    <a:pt x="963" y="1372"/>
                  </a:lnTo>
                  <a:lnTo>
                    <a:pt x="963" y="1369"/>
                  </a:lnTo>
                  <a:lnTo>
                    <a:pt x="963" y="1369"/>
                  </a:lnTo>
                  <a:lnTo>
                    <a:pt x="961" y="1369"/>
                  </a:lnTo>
                  <a:lnTo>
                    <a:pt x="961" y="1369"/>
                  </a:lnTo>
                  <a:lnTo>
                    <a:pt x="961" y="1369"/>
                  </a:lnTo>
                  <a:lnTo>
                    <a:pt x="961" y="1369"/>
                  </a:lnTo>
                  <a:lnTo>
                    <a:pt x="961" y="1369"/>
                  </a:lnTo>
                  <a:lnTo>
                    <a:pt x="961" y="1372"/>
                  </a:lnTo>
                  <a:lnTo>
                    <a:pt x="961" y="1372"/>
                  </a:lnTo>
                  <a:lnTo>
                    <a:pt x="961" y="1372"/>
                  </a:lnTo>
                  <a:lnTo>
                    <a:pt x="961" y="1372"/>
                  </a:lnTo>
                  <a:lnTo>
                    <a:pt x="961" y="1372"/>
                  </a:lnTo>
                  <a:lnTo>
                    <a:pt x="961" y="1369"/>
                  </a:lnTo>
                  <a:lnTo>
                    <a:pt x="959" y="1369"/>
                  </a:lnTo>
                  <a:lnTo>
                    <a:pt x="959" y="1367"/>
                  </a:lnTo>
                  <a:lnTo>
                    <a:pt x="959" y="1367"/>
                  </a:lnTo>
                  <a:lnTo>
                    <a:pt x="959" y="1365"/>
                  </a:lnTo>
                  <a:lnTo>
                    <a:pt x="959" y="1365"/>
                  </a:lnTo>
                  <a:lnTo>
                    <a:pt x="959" y="1362"/>
                  </a:lnTo>
                  <a:lnTo>
                    <a:pt x="959" y="1365"/>
                  </a:lnTo>
                  <a:lnTo>
                    <a:pt x="961" y="1365"/>
                  </a:lnTo>
                  <a:lnTo>
                    <a:pt x="961" y="1367"/>
                  </a:lnTo>
                  <a:lnTo>
                    <a:pt x="961" y="1367"/>
                  </a:lnTo>
                  <a:lnTo>
                    <a:pt x="963" y="1369"/>
                  </a:lnTo>
                  <a:lnTo>
                    <a:pt x="963" y="1369"/>
                  </a:lnTo>
                  <a:lnTo>
                    <a:pt x="966" y="1372"/>
                  </a:lnTo>
                  <a:lnTo>
                    <a:pt x="968" y="1372"/>
                  </a:lnTo>
                  <a:lnTo>
                    <a:pt x="968" y="1372"/>
                  </a:lnTo>
                  <a:lnTo>
                    <a:pt x="968" y="1372"/>
                  </a:lnTo>
                  <a:lnTo>
                    <a:pt x="970" y="1372"/>
                  </a:lnTo>
                  <a:lnTo>
                    <a:pt x="970" y="1372"/>
                  </a:lnTo>
                  <a:lnTo>
                    <a:pt x="970" y="1369"/>
                  </a:lnTo>
                  <a:lnTo>
                    <a:pt x="970" y="1369"/>
                  </a:lnTo>
                  <a:lnTo>
                    <a:pt x="970" y="1369"/>
                  </a:lnTo>
                  <a:lnTo>
                    <a:pt x="970" y="1369"/>
                  </a:lnTo>
                  <a:lnTo>
                    <a:pt x="970" y="1369"/>
                  </a:lnTo>
                  <a:lnTo>
                    <a:pt x="970" y="1369"/>
                  </a:lnTo>
                  <a:lnTo>
                    <a:pt x="973" y="1369"/>
                  </a:lnTo>
                  <a:lnTo>
                    <a:pt x="973" y="1369"/>
                  </a:lnTo>
                  <a:lnTo>
                    <a:pt x="973" y="1369"/>
                  </a:lnTo>
                  <a:lnTo>
                    <a:pt x="973" y="1369"/>
                  </a:lnTo>
                  <a:lnTo>
                    <a:pt x="973" y="1369"/>
                  </a:lnTo>
                  <a:lnTo>
                    <a:pt x="975" y="1369"/>
                  </a:lnTo>
                  <a:lnTo>
                    <a:pt x="975" y="1372"/>
                  </a:lnTo>
                  <a:lnTo>
                    <a:pt x="975" y="1372"/>
                  </a:lnTo>
                  <a:lnTo>
                    <a:pt x="975" y="1372"/>
                  </a:lnTo>
                  <a:lnTo>
                    <a:pt x="977" y="1372"/>
                  </a:lnTo>
                  <a:lnTo>
                    <a:pt x="977" y="1372"/>
                  </a:lnTo>
                  <a:lnTo>
                    <a:pt x="977" y="1369"/>
                  </a:lnTo>
                  <a:lnTo>
                    <a:pt x="977" y="1369"/>
                  </a:lnTo>
                  <a:lnTo>
                    <a:pt x="975" y="1367"/>
                  </a:lnTo>
                  <a:lnTo>
                    <a:pt x="977" y="1367"/>
                  </a:lnTo>
                  <a:lnTo>
                    <a:pt x="977" y="1365"/>
                  </a:lnTo>
                  <a:lnTo>
                    <a:pt x="977" y="1365"/>
                  </a:lnTo>
                  <a:lnTo>
                    <a:pt x="975" y="1360"/>
                  </a:lnTo>
                  <a:lnTo>
                    <a:pt x="975" y="1360"/>
                  </a:lnTo>
                  <a:lnTo>
                    <a:pt x="975" y="1360"/>
                  </a:lnTo>
                  <a:lnTo>
                    <a:pt x="975" y="1360"/>
                  </a:lnTo>
                  <a:lnTo>
                    <a:pt x="975" y="1357"/>
                  </a:lnTo>
                  <a:lnTo>
                    <a:pt x="968" y="1350"/>
                  </a:lnTo>
                  <a:lnTo>
                    <a:pt x="968" y="1348"/>
                  </a:lnTo>
                  <a:lnTo>
                    <a:pt x="968" y="1348"/>
                  </a:lnTo>
                  <a:lnTo>
                    <a:pt x="968" y="1346"/>
                  </a:lnTo>
                  <a:lnTo>
                    <a:pt x="968" y="1346"/>
                  </a:lnTo>
                  <a:lnTo>
                    <a:pt x="966" y="1346"/>
                  </a:lnTo>
                  <a:lnTo>
                    <a:pt x="966" y="1346"/>
                  </a:lnTo>
                  <a:lnTo>
                    <a:pt x="966" y="1346"/>
                  </a:lnTo>
                  <a:lnTo>
                    <a:pt x="966" y="1346"/>
                  </a:lnTo>
                  <a:lnTo>
                    <a:pt x="966" y="1346"/>
                  </a:lnTo>
                  <a:lnTo>
                    <a:pt x="966" y="1346"/>
                  </a:lnTo>
                  <a:lnTo>
                    <a:pt x="963" y="1346"/>
                  </a:lnTo>
                  <a:lnTo>
                    <a:pt x="963" y="1346"/>
                  </a:lnTo>
                  <a:lnTo>
                    <a:pt x="963" y="1346"/>
                  </a:lnTo>
                  <a:lnTo>
                    <a:pt x="963" y="1348"/>
                  </a:lnTo>
                  <a:lnTo>
                    <a:pt x="963" y="1348"/>
                  </a:lnTo>
                  <a:lnTo>
                    <a:pt x="963" y="1348"/>
                  </a:lnTo>
                  <a:lnTo>
                    <a:pt x="963" y="1348"/>
                  </a:lnTo>
                  <a:lnTo>
                    <a:pt x="963" y="1348"/>
                  </a:lnTo>
                  <a:lnTo>
                    <a:pt x="963" y="1348"/>
                  </a:lnTo>
                  <a:lnTo>
                    <a:pt x="963" y="1350"/>
                  </a:lnTo>
                  <a:lnTo>
                    <a:pt x="963" y="1350"/>
                  </a:lnTo>
                  <a:lnTo>
                    <a:pt x="963" y="1350"/>
                  </a:lnTo>
                  <a:lnTo>
                    <a:pt x="963" y="1350"/>
                  </a:lnTo>
                  <a:lnTo>
                    <a:pt x="963" y="1350"/>
                  </a:lnTo>
                  <a:lnTo>
                    <a:pt x="963" y="1348"/>
                  </a:lnTo>
                  <a:lnTo>
                    <a:pt x="963" y="1346"/>
                  </a:lnTo>
                  <a:lnTo>
                    <a:pt x="963" y="1346"/>
                  </a:lnTo>
                  <a:lnTo>
                    <a:pt x="963" y="1343"/>
                  </a:lnTo>
                  <a:lnTo>
                    <a:pt x="963" y="1343"/>
                  </a:lnTo>
                  <a:lnTo>
                    <a:pt x="963" y="1343"/>
                  </a:lnTo>
                  <a:lnTo>
                    <a:pt x="963" y="1341"/>
                  </a:lnTo>
                  <a:lnTo>
                    <a:pt x="963" y="1341"/>
                  </a:lnTo>
                  <a:lnTo>
                    <a:pt x="961" y="1336"/>
                  </a:lnTo>
                  <a:lnTo>
                    <a:pt x="961" y="1336"/>
                  </a:lnTo>
                  <a:lnTo>
                    <a:pt x="961" y="1334"/>
                  </a:lnTo>
                  <a:lnTo>
                    <a:pt x="961" y="1334"/>
                  </a:lnTo>
                  <a:lnTo>
                    <a:pt x="961" y="1334"/>
                  </a:lnTo>
                  <a:lnTo>
                    <a:pt x="961" y="1331"/>
                  </a:lnTo>
                  <a:lnTo>
                    <a:pt x="959" y="1331"/>
                  </a:lnTo>
                  <a:lnTo>
                    <a:pt x="959" y="1334"/>
                  </a:lnTo>
                  <a:lnTo>
                    <a:pt x="959" y="1334"/>
                  </a:lnTo>
                  <a:lnTo>
                    <a:pt x="956" y="1343"/>
                  </a:lnTo>
                  <a:lnTo>
                    <a:pt x="956" y="1346"/>
                  </a:lnTo>
                  <a:lnTo>
                    <a:pt x="956" y="1348"/>
                  </a:lnTo>
                  <a:lnTo>
                    <a:pt x="954" y="1350"/>
                  </a:lnTo>
                  <a:lnTo>
                    <a:pt x="954" y="1350"/>
                  </a:lnTo>
                  <a:lnTo>
                    <a:pt x="954" y="1350"/>
                  </a:lnTo>
                  <a:lnTo>
                    <a:pt x="954" y="1348"/>
                  </a:lnTo>
                  <a:lnTo>
                    <a:pt x="954" y="1346"/>
                  </a:lnTo>
                  <a:lnTo>
                    <a:pt x="951" y="1346"/>
                  </a:lnTo>
                  <a:lnTo>
                    <a:pt x="951" y="1346"/>
                  </a:lnTo>
                  <a:lnTo>
                    <a:pt x="951" y="1343"/>
                  </a:lnTo>
                  <a:lnTo>
                    <a:pt x="951" y="1343"/>
                  </a:lnTo>
                  <a:lnTo>
                    <a:pt x="949" y="1343"/>
                  </a:lnTo>
                  <a:lnTo>
                    <a:pt x="949" y="1341"/>
                  </a:lnTo>
                  <a:lnTo>
                    <a:pt x="949" y="1341"/>
                  </a:lnTo>
                  <a:lnTo>
                    <a:pt x="949" y="1341"/>
                  </a:lnTo>
                  <a:lnTo>
                    <a:pt x="951" y="1341"/>
                  </a:lnTo>
                  <a:lnTo>
                    <a:pt x="951" y="1339"/>
                  </a:lnTo>
                  <a:lnTo>
                    <a:pt x="951" y="1339"/>
                  </a:lnTo>
                  <a:lnTo>
                    <a:pt x="951" y="1336"/>
                  </a:lnTo>
                  <a:lnTo>
                    <a:pt x="951" y="1336"/>
                  </a:lnTo>
                  <a:lnTo>
                    <a:pt x="951" y="1334"/>
                  </a:lnTo>
                  <a:lnTo>
                    <a:pt x="951" y="1334"/>
                  </a:lnTo>
                  <a:lnTo>
                    <a:pt x="951" y="1329"/>
                  </a:lnTo>
                  <a:lnTo>
                    <a:pt x="951" y="1329"/>
                  </a:lnTo>
                  <a:lnTo>
                    <a:pt x="951" y="1329"/>
                  </a:lnTo>
                  <a:lnTo>
                    <a:pt x="949" y="1327"/>
                  </a:lnTo>
                  <a:lnTo>
                    <a:pt x="949" y="1327"/>
                  </a:lnTo>
                  <a:lnTo>
                    <a:pt x="949" y="1327"/>
                  </a:lnTo>
                  <a:lnTo>
                    <a:pt x="949" y="1327"/>
                  </a:lnTo>
                  <a:lnTo>
                    <a:pt x="949" y="1324"/>
                  </a:lnTo>
                  <a:lnTo>
                    <a:pt x="944" y="1324"/>
                  </a:lnTo>
                  <a:lnTo>
                    <a:pt x="944" y="1324"/>
                  </a:lnTo>
                  <a:lnTo>
                    <a:pt x="944" y="1324"/>
                  </a:lnTo>
                  <a:lnTo>
                    <a:pt x="944" y="1324"/>
                  </a:lnTo>
                  <a:lnTo>
                    <a:pt x="944" y="1324"/>
                  </a:lnTo>
                  <a:lnTo>
                    <a:pt x="944" y="1324"/>
                  </a:lnTo>
                  <a:lnTo>
                    <a:pt x="944" y="1324"/>
                  </a:lnTo>
                  <a:lnTo>
                    <a:pt x="942" y="1324"/>
                  </a:lnTo>
                  <a:lnTo>
                    <a:pt x="942" y="1324"/>
                  </a:lnTo>
                  <a:lnTo>
                    <a:pt x="942" y="1322"/>
                  </a:lnTo>
                  <a:lnTo>
                    <a:pt x="942" y="1322"/>
                  </a:lnTo>
                  <a:lnTo>
                    <a:pt x="942" y="1322"/>
                  </a:lnTo>
                  <a:lnTo>
                    <a:pt x="942" y="1322"/>
                  </a:lnTo>
                  <a:lnTo>
                    <a:pt x="942" y="1322"/>
                  </a:lnTo>
                  <a:lnTo>
                    <a:pt x="942" y="1322"/>
                  </a:lnTo>
                  <a:lnTo>
                    <a:pt x="940" y="1322"/>
                  </a:lnTo>
                  <a:lnTo>
                    <a:pt x="940" y="1324"/>
                  </a:lnTo>
                  <a:lnTo>
                    <a:pt x="940" y="1324"/>
                  </a:lnTo>
                  <a:lnTo>
                    <a:pt x="940" y="1324"/>
                  </a:lnTo>
                  <a:lnTo>
                    <a:pt x="940" y="1327"/>
                  </a:lnTo>
                  <a:lnTo>
                    <a:pt x="940" y="1327"/>
                  </a:lnTo>
                  <a:lnTo>
                    <a:pt x="937" y="1327"/>
                  </a:lnTo>
                  <a:lnTo>
                    <a:pt x="935" y="1324"/>
                  </a:lnTo>
                  <a:lnTo>
                    <a:pt x="932" y="1324"/>
                  </a:lnTo>
                  <a:lnTo>
                    <a:pt x="932" y="1322"/>
                  </a:lnTo>
                  <a:lnTo>
                    <a:pt x="935" y="1322"/>
                  </a:lnTo>
                  <a:lnTo>
                    <a:pt x="935" y="1322"/>
                  </a:lnTo>
                  <a:lnTo>
                    <a:pt x="937" y="1322"/>
                  </a:lnTo>
                  <a:lnTo>
                    <a:pt x="935" y="1322"/>
                  </a:lnTo>
                  <a:lnTo>
                    <a:pt x="932" y="1320"/>
                  </a:lnTo>
                  <a:lnTo>
                    <a:pt x="932" y="1320"/>
                  </a:lnTo>
                  <a:lnTo>
                    <a:pt x="935" y="1320"/>
                  </a:lnTo>
                  <a:lnTo>
                    <a:pt x="935" y="1317"/>
                  </a:lnTo>
                  <a:lnTo>
                    <a:pt x="932" y="1317"/>
                  </a:lnTo>
                  <a:lnTo>
                    <a:pt x="932" y="1317"/>
                  </a:lnTo>
                  <a:lnTo>
                    <a:pt x="932" y="1315"/>
                  </a:lnTo>
                  <a:lnTo>
                    <a:pt x="930" y="1313"/>
                  </a:lnTo>
                  <a:lnTo>
                    <a:pt x="928" y="1313"/>
                  </a:lnTo>
                  <a:lnTo>
                    <a:pt x="928" y="1313"/>
                  </a:lnTo>
                  <a:lnTo>
                    <a:pt x="930" y="1315"/>
                  </a:lnTo>
                  <a:lnTo>
                    <a:pt x="930" y="1315"/>
                  </a:lnTo>
                  <a:lnTo>
                    <a:pt x="930" y="1317"/>
                  </a:lnTo>
                  <a:lnTo>
                    <a:pt x="928" y="1317"/>
                  </a:lnTo>
                  <a:lnTo>
                    <a:pt x="928" y="1315"/>
                  </a:lnTo>
                  <a:lnTo>
                    <a:pt x="928" y="1313"/>
                  </a:lnTo>
                  <a:lnTo>
                    <a:pt x="928" y="1310"/>
                  </a:lnTo>
                  <a:lnTo>
                    <a:pt x="928" y="1308"/>
                  </a:lnTo>
                  <a:lnTo>
                    <a:pt x="928" y="1305"/>
                  </a:lnTo>
                  <a:lnTo>
                    <a:pt x="928" y="1305"/>
                  </a:lnTo>
                  <a:lnTo>
                    <a:pt x="928" y="1305"/>
                  </a:lnTo>
                  <a:lnTo>
                    <a:pt x="925" y="1303"/>
                  </a:lnTo>
                  <a:lnTo>
                    <a:pt x="925" y="1303"/>
                  </a:lnTo>
                  <a:lnTo>
                    <a:pt x="925" y="1303"/>
                  </a:lnTo>
                  <a:lnTo>
                    <a:pt x="923" y="1305"/>
                  </a:lnTo>
                  <a:lnTo>
                    <a:pt x="923" y="1305"/>
                  </a:lnTo>
                  <a:lnTo>
                    <a:pt x="923" y="1308"/>
                  </a:lnTo>
                  <a:lnTo>
                    <a:pt x="925" y="1310"/>
                  </a:lnTo>
                  <a:lnTo>
                    <a:pt x="923" y="1310"/>
                  </a:lnTo>
                  <a:lnTo>
                    <a:pt x="923" y="1310"/>
                  </a:lnTo>
                  <a:lnTo>
                    <a:pt x="923" y="1308"/>
                  </a:lnTo>
                  <a:lnTo>
                    <a:pt x="921" y="1308"/>
                  </a:lnTo>
                  <a:lnTo>
                    <a:pt x="921" y="1305"/>
                  </a:lnTo>
                  <a:lnTo>
                    <a:pt x="921" y="1305"/>
                  </a:lnTo>
                  <a:lnTo>
                    <a:pt x="921" y="1308"/>
                  </a:lnTo>
                  <a:lnTo>
                    <a:pt x="921" y="1308"/>
                  </a:lnTo>
                  <a:lnTo>
                    <a:pt x="918" y="1308"/>
                  </a:lnTo>
                  <a:lnTo>
                    <a:pt x="914" y="1310"/>
                  </a:lnTo>
                  <a:lnTo>
                    <a:pt x="914" y="1310"/>
                  </a:lnTo>
                  <a:lnTo>
                    <a:pt x="911" y="1313"/>
                  </a:lnTo>
                  <a:lnTo>
                    <a:pt x="909" y="1313"/>
                  </a:lnTo>
                  <a:lnTo>
                    <a:pt x="909" y="1313"/>
                  </a:lnTo>
                  <a:lnTo>
                    <a:pt x="909" y="1313"/>
                  </a:lnTo>
                  <a:lnTo>
                    <a:pt x="909" y="1313"/>
                  </a:lnTo>
                  <a:lnTo>
                    <a:pt x="909" y="1313"/>
                  </a:lnTo>
                  <a:lnTo>
                    <a:pt x="906" y="1313"/>
                  </a:lnTo>
                  <a:lnTo>
                    <a:pt x="906" y="1315"/>
                  </a:lnTo>
                  <a:lnTo>
                    <a:pt x="906" y="1315"/>
                  </a:lnTo>
                  <a:lnTo>
                    <a:pt x="904" y="1317"/>
                  </a:lnTo>
                  <a:lnTo>
                    <a:pt x="902" y="1317"/>
                  </a:lnTo>
                  <a:lnTo>
                    <a:pt x="902" y="1317"/>
                  </a:lnTo>
                  <a:lnTo>
                    <a:pt x="902" y="1317"/>
                  </a:lnTo>
                  <a:lnTo>
                    <a:pt x="899" y="1317"/>
                  </a:lnTo>
                  <a:lnTo>
                    <a:pt x="899" y="1317"/>
                  </a:lnTo>
                  <a:lnTo>
                    <a:pt x="899" y="1317"/>
                  </a:lnTo>
                  <a:lnTo>
                    <a:pt x="897" y="1317"/>
                  </a:lnTo>
                  <a:lnTo>
                    <a:pt x="897" y="1317"/>
                  </a:lnTo>
                  <a:lnTo>
                    <a:pt x="897" y="1317"/>
                  </a:lnTo>
                  <a:lnTo>
                    <a:pt x="897" y="1317"/>
                  </a:lnTo>
                  <a:lnTo>
                    <a:pt x="897" y="1317"/>
                  </a:lnTo>
                  <a:lnTo>
                    <a:pt x="897" y="1317"/>
                  </a:lnTo>
                  <a:lnTo>
                    <a:pt x="897" y="1315"/>
                  </a:lnTo>
                  <a:lnTo>
                    <a:pt x="897" y="1315"/>
                  </a:lnTo>
                  <a:lnTo>
                    <a:pt x="897" y="1315"/>
                  </a:lnTo>
                  <a:lnTo>
                    <a:pt x="897" y="1315"/>
                  </a:lnTo>
                  <a:lnTo>
                    <a:pt x="897" y="1315"/>
                  </a:lnTo>
                  <a:lnTo>
                    <a:pt x="897" y="1315"/>
                  </a:lnTo>
                  <a:lnTo>
                    <a:pt x="897" y="1315"/>
                  </a:lnTo>
                  <a:lnTo>
                    <a:pt x="899" y="1313"/>
                  </a:lnTo>
                  <a:lnTo>
                    <a:pt x="899" y="1313"/>
                  </a:lnTo>
                  <a:lnTo>
                    <a:pt x="897" y="1313"/>
                  </a:lnTo>
                  <a:lnTo>
                    <a:pt x="897" y="1313"/>
                  </a:lnTo>
                  <a:lnTo>
                    <a:pt x="895" y="1313"/>
                  </a:lnTo>
                  <a:lnTo>
                    <a:pt x="895" y="1315"/>
                  </a:lnTo>
                  <a:lnTo>
                    <a:pt x="895" y="1315"/>
                  </a:lnTo>
                  <a:lnTo>
                    <a:pt x="892" y="1315"/>
                  </a:lnTo>
                  <a:lnTo>
                    <a:pt x="892" y="1315"/>
                  </a:lnTo>
                  <a:lnTo>
                    <a:pt x="892" y="1317"/>
                  </a:lnTo>
                  <a:lnTo>
                    <a:pt x="890" y="1320"/>
                  </a:lnTo>
                  <a:lnTo>
                    <a:pt x="890" y="1320"/>
                  </a:lnTo>
                  <a:lnTo>
                    <a:pt x="890" y="1317"/>
                  </a:lnTo>
                  <a:lnTo>
                    <a:pt x="890" y="1317"/>
                  </a:lnTo>
                  <a:lnTo>
                    <a:pt x="890" y="1317"/>
                  </a:lnTo>
                  <a:lnTo>
                    <a:pt x="888" y="1317"/>
                  </a:lnTo>
                  <a:lnTo>
                    <a:pt x="888" y="1317"/>
                  </a:lnTo>
                  <a:lnTo>
                    <a:pt x="888" y="1317"/>
                  </a:lnTo>
                  <a:lnTo>
                    <a:pt x="888" y="1317"/>
                  </a:lnTo>
                  <a:lnTo>
                    <a:pt x="888" y="1317"/>
                  </a:lnTo>
                  <a:lnTo>
                    <a:pt x="888" y="1320"/>
                  </a:lnTo>
                  <a:lnTo>
                    <a:pt x="888" y="1320"/>
                  </a:lnTo>
                  <a:lnTo>
                    <a:pt x="880" y="1315"/>
                  </a:lnTo>
                  <a:lnTo>
                    <a:pt x="878" y="1317"/>
                  </a:lnTo>
                  <a:lnTo>
                    <a:pt x="878" y="1317"/>
                  </a:lnTo>
                  <a:lnTo>
                    <a:pt x="878" y="1317"/>
                  </a:lnTo>
                  <a:lnTo>
                    <a:pt x="878" y="1317"/>
                  </a:lnTo>
                  <a:lnTo>
                    <a:pt x="878" y="1317"/>
                  </a:lnTo>
                  <a:lnTo>
                    <a:pt x="878" y="1317"/>
                  </a:lnTo>
                  <a:lnTo>
                    <a:pt x="878" y="1317"/>
                  </a:lnTo>
                  <a:lnTo>
                    <a:pt x="878" y="1320"/>
                  </a:lnTo>
                  <a:lnTo>
                    <a:pt x="878" y="1320"/>
                  </a:lnTo>
                  <a:lnTo>
                    <a:pt x="878" y="1320"/>
                  </a:lnTo>
                  <a:lnTo>
                    <a:pt x="878" y="1320"/>
                  </a:lnTo>
                  <a:lnTo>
                    <a:pt x="880" y="1320"/>
                  </a:lnTo>
                  <a:lnTo>
                    <a:pt x="878" y="1322"/>
                  </a:lnTo>
                  <a:lnTo>
                    <a:pt x="878" y="1322"/>
                  </a:lnTo>
                  <a:lnTo>
                    <a:pt x="878" y="1320"/>
                  </a:lnTo>
                  <a:lnTo>
                    <a:pt x="878" y="1320"/>
                  </a:lnTo>
                  <a:lnTo>
                    <a:pt x="876" y="1320"/>
                  </a:lnTo>
                  <a:lnTo>
                    <a:pt x="876" y="1320"/>
                  </a:lnTo>
                  <a:lnTo>
                    <a:pt x="876" y="1317"/>
                  </a:lnTo>
                  <a:lnTo>
                    <a:pt x="876" y="1317"/>
                  </a:lnTo>
                  <a:lnTo>
                    <a:pt x="876" y="1317"/>
                  </a:lnTo>
                  <a:lnTo>
                    <a:pt x="871" y="1317"/>
                  </a:lnTo>
                  <a:lnTo>
                    <a:pt x="869" y="1315"/>
                  </a:lnTo>
                  <a:lnTo>
                    <a:pt x="866" y="1317"/>
                  </a:lnTo>
                  <a:lnTo>
                    <a:pt x="869" y="1317"/>
                  </a:lnTo>
                  <a:lnTo>
                    <a:pt x="869" y="1320"/>
                  </a:lnTo>
                  <a:lnTo>
                    <a:pt x="866" y="1320"/>
                  </a:lnTo>
                  <a:lnTo>
                    <a:pt x="866" y="1320"/>
                  </a:lnTo>
                  <a:lnTo>
                    <a:pt x="857" y="1320"/>
                  </a:lnTo>
                  <a:lnTo>
                    <a:pt x="854" y="1317"/>
                  </a:lnTo>
                  <a:lnTo>
                    <a:pt x="850" y="1320"/>
                  </a:lnTo>
                  <a:lnTo>
                    <a:pt x="850" y="1317"/>
                  </a:lnTo>
                  <a:lnTo>
                    <a:pt x="847" y="1317"/>
                  </a:lnTo>
                  <a:lnTo>
                    <a:pt x="843" y="1315"/>
                  </a:lnTo>
                  <a:lnTo>
                    <a:pt x="833" y="1315"/>
                  </a:lnTo>
                  <a:lnTo>
                    <a:pt x="831" y="1315"/>
                  </a:lnTo>
                  <a:lnTo>
                    <a:pt x="828" y="1313"/>
                  </a:lnTo>
                  <a:lnTo>
                    <a:pt x="826" y="1313"/>
                  </a:lnTo>
                  <a:lnTo>
                    <a:pt x="821" y="1310"/>
                  </a:lnTo>
                  <a:lnTo>
                    <a:pt x="821" y="1310"/>
                  </a:lnTo>
                  <a:lnTo>
                    <a:pt x="819" y="1310"/>
                  </a:lnTo>
                  <a:lnTo>
                    <a:pt x="819" y="1310"/>
                  </a:lnTo>
                  <a:lnTo>
                    <a:pt x="817" y="1310"/>
                  </a:lnTo>
                  <a:lnTo>
                    <a:pt x="814" y="1305"/>
                  </a:lnTo>
                  <a:lnTo>
                    <a:pt x="814" y="1305"/>
                  </a:lnTo>
                  <a:lnTo>
                    <a:pt x="814" y="1305"/>
                  </a:lnTo>
                  <a:lnTo>
                    <a:pt x="814" y="1308"/>
                  </a:lnTo>
                  <a:lnTo>
                    <a:pt x="812" y="1308"/>
                  </a:lnTo>
                  <a:lnTo>
                    <a:pt x="812" y="1308"/>
                  </a:lnTo>
                  <a:lnTo>
                    <a:pt x="812" y="1308"/>
                  </a:lnTo>
                  <a:lnTo>
                    <a:pt x="812" y="1305"/>
                  </a:lnTo>
                  <a:lnTo>
                    <a:pt x="809" y="1305"/>
                  </a:lnTo>
                  <a:lnTo>
                    <a:pt x="809" y="1305"/>
                  </a:lnTo>
                  <a:lnTo>
                    <a:pt x="807" y="1303"/>
                  </a:lnTo>
                  <a:lnTo>
                    <a:pt x="802" y="1305"/>
                  </a:lnTo>
                  <a:lnTo>
                    <a:pt x="800" y="1303"/>
                  </a:lnTo>
                  <a:lnTo>
                    <a:pt x="800" y="1303"/>
                  </a:lnTo>
                  <a:lnTo>
                    <a:pt x="798" y="1301"/>
                  </a:lnTo>
                  <a:lnTo>
                    <a:pt x="798" y="1301"/>
                  </a:lnTo>
                  <a:lnTo>
                    <a:pt x="798" y="1301"/>
                  </a:lnTo>
                  <a:lnTo>
                    <a:pt x="795" y="1298"/>
                  </a:lnTo>
                  <a:lnTo>
                    <a:pt x="795" y="1298"/>
                  </a:lnTo>
                  <a:lnTo>
                    <a:pt x="795" y="1298"/>
                  </a:lnTo>
                  <a:lnTo>
                    <a:pt x="795" y="1298"/>
                  </a:lnTo>
                  <a:lnTo>
                    <a:pt x="795" y="1298"/>
                  </a:lnTo>
                  <a:lnTo>
                    <a:pt x="798" y="1298"/>
                  </a:lnTo>
                  <a:lnTo>
                    <a:pt x="793" y="1298"/>
                  </a:lnTo>
                  <a:lnTo>
                    <a:pt x="791" y="1296"/>
                  </a:lnTo>
                  <a:lnTo>
                    <a:pt x="791" y="1296"/>
                  </a:lnTo>
                  <a:lnTo>
                    <a:pt x="791" y="1296"/>
                  </a:lnTo>
                  <a:lnTo>
                    <a:pt x="791" y="1294"/>
                  </a:lnTo>
                  <a:lnTo>
                    <a:pt x="791" y="1294"/>
                  </a:lnTo>
                  <a:lnTo>
                    <a:pt x="791" y="1294"/>
                  </a:lnTo>
                  <a:lnTo>
                    <a:pt x="793" y="1294"/>
                  </a:lnTo>
                  <a:lnTo>
                    <a:pt x="795" y="1291"/>
                  </a:lnTo>
                  <a:lnTo>
                    <a:pt x="798" y="1291"/>
                  </a:lnTo>
                  <a:lnTo>
                    <a:pt x="798" y="1291"/>
                  </a:lnTo>
                  <a:lnTo>
                    <a:pt x="800" y="1291"/>
                  </a:lnTo>
                  <a:lnTo>
                    <a:pt x="800" y="1289"/>
                  </a:lnTo>
                  <a:lnTo>
                    <a:pt x="802" y="1289"/>
                  </a:lnTo>
                  <a:lnTo>
                    <a:pt x="800" y="1289"/>
                  </a:lnTo>
                  <a:lnTo>
                    <a:pt x="800" y="1289"/>
                  </a:lnTo>
                  <a:lnTo>
                    <a:pt x="800" y="1289"/>
                  </a:lnTo>
                  <a:lnTo>
                    <a:pt x="798" y="1289"/>
                  </a:lnTo>
                  <a:lnTo>
                    <a:pt x="798" y="1286"/>
                  </a:lnTo>
                  <a:lnTo>
                    <a:pt x="798" y="1286"/>
                  </a:lnTo>
                  <a:lnTo>
                    <a:pt x="800" y="1284"/>
                  </a:lnTo>
                  <a:lnTo>
                    <a:pt x="800" y="1284"/>
                  </a:lnTo>
                  <a:lnTo>
                    <a:pt x="800" y="1284"/>
                  </a:lnTo>
                  <a:lnTo>
                    <a:pt x="800" y="1282"/>
                  </a:lnTo>
                  <a:lnTo>
                    <a:pt x="800" y="1282"/>
                  </a:lnTo>
                  <a:lnTo>
                    <a:pt x="800" y="1282"/>
                  </a:lnTo>
                  <a:lnTo>
                    <a:pt x="800" y="1279"/>
                  </a:lnTo>
                  <a:lnTo>
                    <a:pt x="800" y="1279"/>
                  </a:lnTo>
                  <a:lnTo>
                    <a:pt x="800" y="1277"/>
                  </a:lnTo>
                  <a:lnTo>
                    <a:pt x="807" y="1282"/>
                  </a:lnTo>
                  <a:lnTo>
                    <a:pt x="809" y="1282"/>
                  </a:lnTo>
                  <a:lnTo>
                    <a:pt x="809" y="1279"/>
                  </a:lnTo>
                  <a:lnTo>
                    <a:pt x="809" y="1279"/>
                  </a:lnTo>
                  <a:lnTo>
                    <a:pt x="809" y="1279"/>
                  </a:lnTo>
                  <a:lnTo>
                    <a:pt x="812" y="1279"/>
                  </a:lnTo>
                  <a:lnTo>
                    <a:pt x="812" y="1279"/>
                  </a:lnTo>
                  <a:lnTo>
                    <a:pt x="809" y="1275"/>
                  </a:lnTo>
                  <a:lnTo>
                    <a:pt x="809" y="1275"/>
                  </a:lnTo>
                  <a:lnTo>
                    <a:pt x="807" y="1272"/>
                  </a:lnTo>
                  <a:lnTo>
                    <a:pt x="807" y="1272"/>
                  </a:lnTo>
                  <a:lnTo>
                    <a:pt x="807" y="1272"/>
                  </a:lnTo>
                  <a:lnTo>
                    <a:pt x="809" y="1272"/>
                  </a:lnTo>
                  <a:lnTo>
                    <a:pt x="809" y="1275"/>
                  </a:lnTo>
                  <a:lnTo>
                    <a:pt x="817" y="1275"/>
                  </a:lnTo>
                  <a:lnTo>
                    <a:pt x="819" y="1275"/>
                  </a:lnTo>
                  <a:lnTo>
                    <a:pt x="821" y="1275"/>
                  </a:lnTo>
                  <a:lnTo>
                    <a:pt x="821" y="1275"/>
                  </a:lnTo>
                  <a:lnTo>
                    <a:pt x="821" y="1277"/>
                  </a:lnTo>
                  <a:lnTo>
                    <a:pt x="821" y="1277"/>
                  </a:lnTo>
                  <a:lnTo>
                    <a:pt x="821" y="1277"/>
                  </a:lnTo>
                  <a:lnTo>
                    <a:pt x="821" y="1277"/>
                  </a:lnTo>
                  <a:lnTo>
                    <a:pt x="824" y="1277"/>
                  </a:lnTo>
                  <a:lnTo>
                    <a:pt x="824" y="1277"/>
                  </a:lnTo>
                  <a:lnTo>
                    <a:pt x="826" y="1277"/>
                  </a:lnTo>
                  <a:lnTo>
                    <a:pt x="826" y="1277"/>
                  </a:lnTo>
                  <a:lnTo>
                    <a:pt x="826" y="1277"/>
                  </a:lnTo>
                  <a:lnTo>
                    <a:pt x="828" y="1277"/>
                  </a:lnTo>
                  <a:lnTo>
                    <a:pt x="831" y="1277"/>
                  </a:lnTo>
                  <a:lnTo>
                    <a:pt x="831" y="1277"/>
                  </a:lnTo>
                  <a:lnTo>
                    <a:pt x="831" y="1277"/>
                  </a:lnTo>
                  <a:lnTo>
                    <a:pt x="831" y="1275"/>
                  </a:lnTo>
                  <a:lnTo>
                    <a:pt x="831" y="1275"/>
                  </a:lnTo>
                  <a:lnTo>
                    <a:pt x="831" y="1272"/>
                  </a:lnTo>
                  <a:lnTo>
                    <a:pt x="833" y="1270"/>
                  </a:lnTo>
                  <a:lnTo>
                    <a:pt x="833" y="1270"/>
                  </a:lnTo>
                  <a:lnTo>
                    <a:pt x="833" y="1270"/>
                  </a:lnTo>
                  <a:lnTo>
                    <a:pt x="833" y="1268"/>
                  </a:lnTo>
                  <a:lnTo>
                    <a:pt x="833" y="1268"/>
                  </a:lnTo>
                  <a:lnTo>
                    <a:pt x="833" y="1268"/>
                  </a:lnTo>
                  <a:lnTo>
                    <a:pt x="835" y="1268"/>
                  </a:lnTo>
                  <a:lnTo>
                    <a:pt x="833" y="1265"/>
                  </a:lnTo>
                  <a:lnTo>
                    <a:pt x="833" y="1265"/>
                  </a:lnTo>
                  <a:lnTo>
                    <a:pt x="833" y="1265"/>
                  </a:lnTo>
                  <a:lnTo>
                    <a:pt x="833" y="1265"/>
                  </a:lnTo>
                  <a:lnTo>
                    <a:pt x="833" y="1268"/>
                  </a:lnTo>
                  <a:lnTo>
                    <a:pt x="833" y="1268"/>
                  </a:lnTo>
                  <a:lnTo>
                    <a:pt x="831" y="1268"/>
                  </a:lnTo>
                  <a:lnTo>
                    <a:pt x="831" y="1268"/>
                  </a:lnTo>
                  <a:lnTo>
                    <a:pt x="828" y="1265"/>
                  </a:lnTo>
                  <a:lnTo>
                    <a:pt x="828" y="1265"/>
                  </a:lnTo>
                  <a:lnTo>
                    <a:pt x="831" y="1265"/>
                  </a:lnTo>
                  <a:lnTo>
                    <a:pt x="831" y="1265"/>
                  </a:lnTo>
                  <a:lnTo>
                    <a:pt x="831" y="1263"/>
                  </a:lnTo>
                  <a:lnTo>
                    <a:pt x="831" y="1263"/>
                  </a:lnTo>
                  <a:lnTo>
                    <a:pt x="831" y="1260"/>
                  </a:lnTo>
                  <a:lnTo>
                    <a:pt x="831" y="1260"/>
                  </a:lnTo>
                  <a:lnTo>
                    <a:pt x="831" y="1260"/>
                  </a:lnTo>
                  <a:lnTo>
                    <a:pt x="831" y="1258"/>
                  </a:lnTo>
                  <a:lnTo>
                    <a:pt x="831" y="1258"/>
                  </a:lnTo>
                  <a:lnTo>
                    <a:pt x="828" y="1258"/>
                  </a:lnTo>
                  <a:lnTo>
                    <a:pt x="828" y="1258"/>
                  </a:lnTo>
                  <a:lnTo>
                    <a:pt x="828" y="1258"/>
                  </a:lnTo>
                  <a:lnTo>
                    <a:pt x="828" y="1256"/>
                  </a:lnTo>
                  <a:lnTo>
                    <a:pt x="828" y="1256"/>
                  </a:lnTo>
                  <a:lnTo>
                    <a:pt x="828" y="1256"/>
                  </a:lnTo>
                  <a:lnTo>
                    <a:pt x="824" y="1253"/>
                  </a:lnTo>
                  <a:lnTo>
                    <a:pt x="824" y="1251"/>
                  </a:lnTo>
                  <a:lnTo>
                    <a:pt x="824" y="1251"/>
                  </a:lnTo>
                  <a:lnTo>
                    <a:pt x="824" y="1251"/>
                  </a:lnTo>
                  <a:lnTo>
                    <a:pt x="824" y="1249"/>
                  </a:lnTo>
                  <a:lnTo>
                    <a:pt x="824" y="1249"/>
                  </a:lnTo>
                  <a:lnTo>
                    <a:pt x="824" y="1246"/>
                  </a:lnTo>
                  <a:lnTo>
                    <a:pt x="824" y="1246"/>
                  </a:lnTo>
                  <a:lnTo>
                    <a:pt x="824" y="1246"/>
                  </a:lnTo>
                  <a:lnTo>
                    <a:pt x="821" y="1244"/>
                  </a:lnTo>
                  <a:lnTo>
                    <a:pt x="817" y="1242"/>
                  </a:lnTo>
                  <a:lnTo>
                    <a:pt x="817" y="1239"/>
                  </a:lnTo>
                  <a:lnTo>
                    <a:pt x="817" y="1239"/>
                  </a:lnTo>
                  <a:lnTo>
                    <a:pt x="817" y="1237"/>
                  </a:lnTo>
                  <a:lnTo>
                    <a:pt x="812" y="1232"/>
                  </a:lnTo>
                  <a:lnTo>
                    <a:pt x="812" y="1232"/>
                  </a:lnTo>
                  <a:lnTo>
                    <a:pt x="809" y="1232"/>
                  </a:lnTo>
                  <a:lnTo>
                    <a:pt x="809" y="1234"/>
                  </a:lnTo>
                  <a:lnTo>
                    <a:pt x="809" y="1234"/>
                  </a:lnTo>
                  <a:lnTo>
                    <a:pt x="809" y="1234"/>
                  </a:lnTo>
                  <a:lnTo>
                    <a:pt x="809" y="1234"/>
                  </a:lnTo>
                  <a:lnTo>
                    <a:pt x="807" y="1230"/>
                  </a:lnTo>
                  <a:lnTo>
                    <a:pt x="802" y="1227"/>
                  </a:lnTo>
                  <a:lnTo>
                    <a:pt x="802" y="1227"/>
                  </a:lnTo>
                  <a:lnTo>
                    <a:pt x="802" y="1227"/>
                  </a:lnTo>
                  <a:lnTo>
                    <a:pt x="802" y="1227"/>
                  </a:lnTo>
                  <a:lnTo>
                    <a:pt x="800" y="1227"/>
                  </a:lnTo>
                  <a:lnTo>
                    <a:pt x="800" y="1225"/>
                  </a:lnTo>
                  <a:lnTo>
                    <a:pt x="800" y="1225"/>
                  </a:lnTo>
                  <a:lnTo>
                    <a:pt x="798" y="1223"/>
                  </a:lnTo>
                  <a:lnTo>
                    <a:pt x="795" y="1223"/>
                  </a:lnTo>
                  <a:lnTo>
                    <a:pt x="795" y="1223"/>
                  </a:lnTo>
                  <a:lnTo>
                    <a:pt x="793" y="1223"/>
                  </a:lnTo>
                  <a:lnTo>
                    <a:pt x="791" y="1220"/>
                  </a:lnTo>
                  <a:lnTo>
                    <a:pt x="791" y="1220"/>
                  </a:lnTo>
                  <a:lnTo>
                    <a:pt x="791" y="1220"/>
                  </a:lnTo>
                  <a:lnTo>
                    <a:pt x="791" y="1223"/>
                  </a:lnTo>
                  <a:lnTo>
                    <a:pt x="793" y="1223"/>
                  </a:lnTo>
                  <a:lnTo>
                    <a:pt x="793" y="1225"/>
                  </a:lnTo>
                  <a:lnTo>
                    <a:pt x="793" y="1225"/>
                  </a:lnTo>
                  <a:lnTo>
                    <a:pt x="793" y="1225"/>
                  </a:lnTo>
                  <a:lnTo>
                    <a:pt x="793" y="1225"/>
                  </a:lnTo>
                  <a:lnTo>
                    <a:pt x="791" y="1225"/>
                  </a:lnTo>
                  <a:lnTo>
                    <a:pt x="791" y="1225"/>
                  </a:lnTo>
                  <a:lnTo>
                    <a:pt x="791" y="1225"/>
                  </a:lnTo>
                  <a:lnTo>
                    <a:pt x="786" y="1220"/>
                  </a:lnTo>
                  <a:lnTo>
                    <a:pt x="783" y="1220"/>
                  </a:lnTo>
                  <a:lnTo>
                    <a:pt x="783" y="1220"/>
                  </a:lnTo>
                  <a:lnTo>
                    <a:pt x="781" y="1220"/>
                  </a:lnTo>
                  <a:lnTo>
                    <a:pt x="781" y="1223"/>
                  </a:lnTo>
                  <a:lnTo>
                    <a:pt x="781" y="1223"/>
                  </a:lnTo>
                  <a:lnTo>
                    <a:pt x="781" y="1223"/>
                  </a:lnTo>
                  <a:lnTo>
                    <a:pt x="786" y="1227"/>
                  </a:lnTo>
                  <a:lnTo>
                    <a:pt x="786" y="1227"/>
                  </a:lnTo>
                  <a:lnTo>
                    <a:pt x="786" y="1227"/>
                  </a:lnTo>
                  <a:lnTo>
                    <a:pt x="786" y="1230"/>
                  </a:lnTo>
                  <a:lnTo>
                    <a:pt x="788" y="1232"/>
                  </a:lnTo>
                  <a:lnTo>
                    <a:pt x="788" y="1234"/>
                  </a:lnTo>
                  <a:lnTo>
                    <a:pt x="781" y="1232"/>
                  </a:lnTo>
                  <a:lnTo>
                    <a:pt x="781" y="1232"/>
                  </a:lnTo>
                  <a:lnTo>
                    <a:pt x="781" y="1230"/>
                  </a:lnTo>
                  <a:lnTo>
                    <a:pt x="779" y="1227"/>
                  </a:lnTo>
                  <a:lnTo>
                    <a:pt x="779" y="1227"/>
                  </a:lnTo>
                  <a:lnTo>
                    <a:pt x="779" y="1227"/>
                  </a:lnTo>
                  <a:lnTo>
                    <a:pt x="776" y="1227"/>
                  </a:lnTo>
                  <a:lnTo>
                    <a:pt x="776" y="1227"/>
                  </a:lnTo>
                  <a:lnTo>
                    <a:pt x="769" y="1225"/>
                  </a:lnTo>
                  <a:lnTo>
                    <a:pt x="769" y="1225"/>
                  </a:lnTo>
                  <a:lnTo>
                    <a:pt x="769" y="1225"/>
                  </a:lnTo>
                  <a:lnTo>
                    <a:pt x="769" y="1225"/>
                  </a:lnTo>
                  <a:lnTo>
                    <a:pt x="769" y="1225"/>
                  </a:lnTo>
                  <a:lnTo>
                    <a:pt x="767" y="1225"/>
                  </a:lnTo>
                  <a:lnTo>
                    <a:pt x="767" y="1225"/>
                  </a:lnTo>
                  <a:lnTo>
                    <a:pt x="767" y="1225"/>
                  </a:lnTo>
                  <a:lnTo>
                    <a:pt x="767" y="1225"/>
                  </a:lnTo>
                  <a:lnTo>
                    <a:pt x="764" y="1220"/>
                  </a:lnTo>
                  <a:lnTo>
                    <a:pt x="764" y="1220"/>
                  </a:lnTo>
                  <a:lnTo>
                    <a:pt x="764" y="1220"/>
                  </a:lnTo>
                  <a:lnTo>
                    <a:pt x="764" y="1223"/>
                  </a:lnTo>
                  <a:lnTo>
                    <a:pt x="764" y="1223"/>
                  </a:lnTo>
                  <a:lnTo>
                    <a:pt x="764" y="1223"/>
                  </a:lnTo>
                  <a:lnTo>
                    <a:pt x="764" y="1223"/>
                  </a:lnTo>
                  <a:lnTo>
                    <a:pt x="764" y="1223"/>
                  </a:lnTo>
                  <a:lnTo>
                    <a:pt x="762" y="1223"/>
                  </a:lnTo>
                  <a:lnTo>
                    <a:pt x="762" y="1223"/>
                  </a:lnTo>
                  <a:lnTo>
                    <a:pt x="760" y="1223"/>
                  </a:lnTo>
                  <a:lnTo>
                    <a:pt x="760" y="1223"/>
                  </a:lnTo>
                  <a:lnTo>
                    <a:pt x="757" y="1220"/>
                  </a:lnTo>
                  <a:lnTo>
                    <a:pt x="755" y="1218"/>
                  </a:lnTo>
                  <a:lnTo>
                    <a:pt x="748" y="1216"/>
                  </a:lnTo>
                  <a:lnTo>
                    <a:pt x="746" y="1213"/>
                  </a:lnTo>
                  <a:lnTo>
                    <a:pt x="741" y="1211"/>
                  </a:lnTo>
                  <a:lnTo>
                    <a:pt x="736" y="1206"/>
                  </a:lnTo>
                  <a:lnTo>
                    <a:pt x="731" y="1204"/>
                  </a:lnTo>
                  <a:lnTo>
                    <a:pt x="727" y="1197"/>
                  </a:lnTo>
                  <a:lnTo>
                    <a:pt x="727" y="1197"/>
                  </a:lnTo>
                  <a:lnTo>
                    <a:pt x="727" y="1194"/>
                  </a:lnTo>
                  <a:lnTo>
                    <a:pt x="722" y="1192"/>
                  </a:lnTo>
                  <a:lnTo>
                    <a:pt x="715" y="1187"/>
                  </a:lnTo>
                  <a:lnTo>
                    <a:pt x="708" y="1187"/>
                  </a:lnTo>
                  <a:lnTo>
                    <a:pt x="703" y="1185"/>
                  </a:lnTo>
                  <a:lnTo>
                    <a:pt x="703" y="1182"/>
                  </a:lnTo>
                  <a:lnTo>
                    <a:pt x="696" y="1182"/>
                  </a:lnTo>
                  <a:lnTo>
                    <a:pt x="696" y="1180"/>
                  </a:lnTo>
                  <a:lnTo>
                    <a:pt x="693" y="1178"/>
                  </a:lnTo>
                  <a:lnTo>
                    <a:pt x="691" y="1175"/>
                  </a:lnTo>
                  <a:lnTo>
                    <a:pt x="684" y="1166"/>
                  </a:lnTo>
                  <a:lnTo>
                    <a:pt x="684" y="1163"/>
                  </a:lnTo>
                  <a:lnTo>
                    <a:pt x="682" y="1159"/>
                  </a:lnTo>
                  <a:lnTo>
                    <a:pt x="675" y="1154"/>
                  </a:lnTo>
                  <a:lnTo>
                    <a:pt x="667" y="1147"/>
                  </a:lnTo>
                  <a:lnTo>
                    <a:pt x="665" y="1147"/>
                  </a:lnTo>
                  <a:lnTo>
                    <a:pt x="663" y="1145"/>
                  </a:lnTo>
                  <a:lnTo>
                    <a:pt x="656" y="1140"/>
                  </a:lnTo>
                  <a:lnTo>
                    <a:pt x="651" y="1140"/>
                  </a:lnTo>
                  <a:lnTo>
                    <a:pt x="646" y="1140"/>
                  </a:lnTo>
                  <a:lnTo>
                    <a:pt x="644" y="1140"/>
                  </a:lnTo>
                  <a:lnTo>
                    <a:pt x="644" y="1137"/>
                  </a:lnTo>
                  <a:lnTo>
                    <a:pt x="641" y="1137"/>
                  </a:lnTo>
                  <a:lnTo>
                    <a:pt x="641" y="1137"/>
                  </a:lnTo>
                  <a:lnTo>
                    <a:pt x="641" y="1137"/>
                  </a:lnTo>
                  <a:lnTo>
                    <a:pt x="639" y="1137"/>
                  </a:lnTo>
                  <a:lnTo>
                    <a:pt x="639" y="1137"/>
                  </a:lnTo>
                  <a:lnTo>
                    <a:pt x="639" y="1135"/>
                  </a:lnTo>
                  <a:lnTo>
                    <a:pt x="639" y="1135"/>
                  </a:lnTo>
                  <a:lnTo>
                    <a:pt x="639" y="1137"/>
                  </a:lnTo>
                  <a:lnTo>
                    <a:pt x="637" y="1137"/>
                  </a:lnTo>
                  <a:lnTo>
                    <a:pt x="637" y="1137"/>
                  </a:lnTo>
                  <a:lnTo>
                    <a:pt x="634" y="1135"/>
                  </a:lnTo>
                  <a:lnTo>
                    <a:pt x="632" y="1135"/>
                  </a:lnTo>
                  <a:lnTo>
                    <a:pt x="632" y="1135"/>
                  </a:lnTo>
                  <a:lnTo>
                    <a:pt x="630" y="1137"/>
                  </a:lnTo>
                  <a:lnTo>
                    <a:pt x="630" y="1137"/>
                  </a:lnTo>
                  <a:lnTo>
                    <a:pt x="627" y="1137"/>
                  </a:lnTo>
                  <a:lnTo>
                    <a:pt x="627" y="1140"/>
                  </a:lnTo>
                  <a:lnTo>
                    <a:pt x="630" y="1140"/>
                  </a:lnTo>
                  <a:lnTo>
                    <a:pt x="630" y="1142"/>
                  </a:lnTo>
                  <a:lnTo>
                    <a:pt x="627" y="1145"/>
                  </a:lnTo>
                  <a:lnTo>
                    <a:pt x="627" y="1145"/>
                  </a:lnTo>
                  <a:lnTo>
                    <a:pt x="627" y="1147"/>
                  </a:lnTo>
                  <a:lnTo>
                    <a:pt x="627" y="1147"/>
                  </a:lnTo>
                  <a:lnTo>
                    <a:pt x="627" y="1147"/>
                  </a:lnTo>
                  <a:lnTo>
                    <a:pt x="625" y="1147"/>
                  </a:lnTo>
                  <a:lnTo>
                    <a:pt x="625" y="1149"/>
                  </a:lnTo>
                  <a:lnTo>
                    <a:pt x="625" y="1149"/>
                  </a:lnTo>
                  <a:lnTo>
                    <a:pt x="625" y="1152"/>
                  </a:lnTo>
                  <a:lnTo>
                    <a:pt x="625" y="1152"/>
                  </a:lnTo>
                  <a:lnTo>
                    <a:pt x="625" y="1152"/>
                  </a:lnTo>
                  <a:lnTo>
                    <a:pt x="625" y="1152"/>
                  </a:lnTo>
                  <a:lnTo>
                    <a:pt x="625" y="1152"/>
                  </a:lnTo>
                  <a:lnTo>
                    <a:pt x="625" y="1154"/>
                  </a:lnTo>
                  <a:lnTo>
                    <a:pt x="625" y="1154"/>
                  </a:lnTo>
                  <a:lnTo>
                    <a:pt x="625" y="1154"/>
                  </a:lnTo>
                  <a:lnTo>
                    <a:pt x="625" y="1154"/>
                  </a:lnTo>
                  <a:lnTo>
                    <a:pt x="625" y="1154"/>
                  </a:lnTo>
                  <a:lnTo>
                    <a:pt x="625" y="1156"/>
                  </a:lnTo>
                  <a:lnTo>
                    <a:pt x="625" y="1156"/>
                  </a:lnTo>
                  <a:lnTo>
                    <a:pt x="622" y="1156"/>
                  </a:lnTo>
                  <a:lnTo>
                    <a:pt x="620" y="1156"/>
                  </a:lnTo>
                  <a:lnTo>
                    <a:pt x="622" y="1154"/>
                  </a:lnTo>
                  <a:lnTo>
                    <a:pt x="620" y="1154"/>
                  </a:lnTo>
                  <a:lnTo>
                    <a:pt x="618" y="1156"/>
                  </a:lnTo>
                  <a:lnTo>
                    <a:pt x="618" y="1156"/>
                  </a:lnTo>
                  <a:lnTo>
                    <a:pt x="618" y="1156"/>
                  </a:lnTo>
                  <a:lnTo>
                    <a:pt x="618" y="1156"/>
                  </a:lnTo>
                  <a:lnTo>
                    <a:pt x="615" y="1159"/>
                  </a:lnTo>
                  <a:lnTo>
                    <a:pt x="615" y="1159"/>
                  </a:lnTo>
                  <a:lnTo>
                    <a:pt x="618" y="1161"/>
                  </a:lnTo>
                  <a:lnTo>
                    <a:pt x="618" y="1161"/>
                  </a:lnTo>
                  <a:lnTo>
                    <a:pt x="613" y="1163"/>
                  </a:lnTo>
                  <a:lnTo>
                    <a:pt x="611" y="1163"/>
                  </a:lnTo>
                  <a:lnTo>
                    <a:pt x="611" y="1163"/>
                  </a:lnTo>
                  <a:lnTo>
                    <a:pt x="611" y="1163"/>
                  </a:lnTo>
                  <a:lnTo>
                    <a:pt x="611" y="1163"/>
                  </a:lnTo>
                  <a:lnTo>
                    <a:pt x="611" y="1163"/>
                  </a:lnTo>
                  <a:lnTo>
                    <a:pt x="608" y="1163"/>
                  </a:lnTo>
                  <a:lnTo>
                    <a:pt x="608" y="1161"/>
                  </a:lnTo>
                  <a:lnTo>
                    <a:pt x="608" y="1161"/>
                  </a:lnTo>
                  <a:lnTo>
                    <a:pt x="608" y="1161"/>
                  </a:lnTo>
                  <a:lnTo>
                    <a:pt x="606" y="1161"/>
                  </a:lnTo>
                  <a:lnTo>
                    <a:pt x="608" y="1161"/>
                  </a:lnTo>
                  <a:lnTo>
                    <a:pt x="606" y="1161"/>
                  </a:lnTo>
                  <a:lnTo>
                    <a:pt x="606" y="1161"/>
                  </a:lnTo>
                  <a:lnTo>
                    <a:pt x="606" y="1161"/>
                  </a:lnTo>
                  <a:lnTo>
                    <a:pt x="606" y="1161"/>
                  </a:lnTo>
                  <a:lnTo>
                    <a:pt x="606" y="1161"/>
                  </a:lnTo>
                  <a:lnTo>
                    <a:pt x="606" y="1161"/>
                  </a:lnTo>
                  <a:lnTo>
                    <a:pt x="606" y="1161"/>
                  </a:lnTo>
                  <a:lnTo>
                    <a:pt x="604" y="1159"/>
                  </a:lnTo>
                  <a:lnTo>
                    <a:pt x="604" y="1159"/>
                  </a:lnTo>
                  <a:lnTo>
                    <a:pt x="604" y="1159"/>
                  </a:lnTo>
                  <a:lnTo>
                    <a:pt x="604" y="1159"/>
                  </a:lnTo>
                  <a:lnTo>
                    <a:pt x="604" y="1159"/>
                  </a:lnTo>
                  <a:lnTo>
                    <a:pt x="604" y="1159"/>
                  </a:lnTo>
                  <a:lnTo>
                    <a:pt x="601" y="1159"/>
                  </a:lnTo>
                  <a:lnTo>
                    <a:pt x="601" y="1161"/>
                  </a:lnTo>
                  <a:lnTo>
                    <a:pt x="601" y="1161"/>
                  </a:lnTo>
                  <a:lnTo>
                    <a:pt x="601" y="1161"/>
                  </a:lnTo>
                  <a:lnTo>
                    <a:pt x="601" y="1163"/>
                  </a:lnTo>
                  <a:lnTo>
                    <a:pt x="601" y="1161"/>
                  </a:lnTo>
                  <a:lnTo>
                    <a:pt x="601" y="1161"/>
                  </a:lnTo>
                  <a:lnTo>
                    <a:pt x="601" y="1159"/>
                  </a:lnTo>
                  <a:lnTo>
                    <a:pt x="601" y="1159"/>
                  </a:lnTo>
                  <a:lnTo>
                    <a:pt x="599" y="1161"/>
                  </a:lnTo>
                  <a:lnTo>
                    <a:pt x="599" y="1161"/>
                  </a:lnTo>
                  <a:lnTo>
                    <a:pt x="594" y="1161"/>
                  </a:lnTo>
                  <a:lnTo>
                    <a:pt x="594" y="1159"/>
                  </a:lnTo>
                  <a:lnTo>
                    <a:pt x="594" y="1159"/>
                  </a:lnTo>
                  <a:lnTo>
                    <a:pt x="592" y="1159"/>
                  </a:lnTo>
                  <a:lnTo>
                    <a:pt x="592" y="1159"/>
                  </a:lnTo>
                  <a:lnTo>
                    <a:pt x="592" y="1156"/>
                  </a:lnTo>
                  <a:lnTo>
                    <a:pt x="589" y="1156"/>
                  </a:lnTo>
                  <a:lnTo>
                    <a:pt x="592" y="1154"/>
                  </a:lnTo>
                  <a:lnTo>
                    <a:pt x="594" y="1156"/>
                  </a:lnTo>
                  <a:lnTo>
                    <a:pt x="594" y="1154"/>
                  </a:lnTo>
                  <a:lnTo>
                    <a:pt x="594" y="1154"/>
                  </a:lnTo>
                  <a:lnTo>
                    <a:pt x="594" y="1152"/>
                  </a:lnTo>
                  <a:lnTo>
                    <a:pt x="594" y="1152"/>
                  </a:lnTo>
                  <a:lnTo>
                    <a:pt x="594" y="1149"/>
                  </a:lnTo>
                  <a:lnTo>
                    <a:pt x="596" y="1149"/>
                  </a:lnTo>
                  <a:lnTo>
                    <a:pt x="599" y="1149"/>
                  </a:lnTo>
                  <a:lnTo>
                    <a:pt x="599" y="1147"/>
                  </a:lnTo>
                  <a:lnTo>
                    <a:pt x="599" y="1147"/>
                  </a:lnTo>
                  <a:lnTo>
                    <a:pt x="601" y="1145"/>
                  </a:lnTo>
                  <a:lnTo>
                    <a:pt x="601" y="1142"/>
                  </a:lnTo>
                  <a:lnTo>
                    <a:pt x="601" y="1142"/>
                  </a:lnTo>
                  <a:lnTo>
                    <a:pt x="606" y="1140"/>
                  </a:lnTo>
                  <a:lnTo>
                    <a:pt x="606" y="1140"/>
                  </a:lnTo>
                  <a:lnTo>
                    <a:pt x="606" y="1140"/>
                  </a:lnTo>
                  <a:lnTo>
                    <a:pt x="606" y="1140"/>
                  </a:lnTo>
                  <a:lnTo>
                    <a:pt x="606" y="1140"/>
                  </a:lnTo>
                  <a:lnTo>
                    <a:pt x="606" y="1137"/>
                  </a:lnTo>
                  <a:lnTo>
                    <a:pt x="606" y="1137"/>
                  </a:lnTo>
                  <a:lnTo>
                    <a:pt x="606" y="1137"/>
                  </a:lnTo>
                  <a:lnTo>
                    <a:pt x="606" y="1137"/>
                  </a:lnTo>
                  <a:lnTo>
                    <a:pt x="606" y="1137"/>
                  </a:lnTo>
                  <a:lnTo>
                    <a:pt x="606" y="1137"/>
                  </a:lnTo>
                  <a:lnTo>
                    <a:pt x="604" y="1135"/>
                  </a:lnTo>
                  <a:lnTo>
                    <a:pt x="601" y="1135"/>
                  </a:lnTo>
                  <a:lnTo>
                    <a:pt x="601" y="1137"/>
                  </a:lnTo>
                  <a:lnTo>
                    <a:pt x="601" y="1137"/>
                  </a:lnTo>
                  <a:lnTo>
                    <a:pt x="599" y="1137"/>
                  </a:lnTo>
                  <a:lnTo>
                    <a:pt x="599" y="1137"/>
                  </a:lnTo>
                  <a:lnTo>
                    <a:pt x="599" y="1135"/>
                  </a:lnTo>
                  <a:lnTo>
                    <a:pt x="599" y="1135"/>
                  </a:lnTo>
                  <a:lnTo>
                    <a:pt x="596" y="1135"/>
                  </a:lnTo>
                  <a:lnTo>
                    <a:pt x="596" y="1133"/>
                  </a:lnTo>
                  <a:lnTo>
                    <a:pt x="596" y="1133"/>
                  </a:lnTo>
                  <a:lnTo>
                    <a:pt x="596" y="1133"/>
                  </a:lnTo>
                  <a:lnTo>
                    <a:pt x="596" y="1133"/>
                  </a:lnTo>
                  <a:lnTo>
                    <a:pt x="596" y="1130"/>
                  </a:lnTo>
                  <a:lnTo>
                    <a:pt x="596" y="1130"/>
                  </a:lnTo>
                  <a:lnTo>
                    <a:pt x="596" y="1130"/>
                  </a:lnTo>
                  <a:lnTo>
                    <a:pt x="596" y="1130"/>
                  </a:lnTo>
                  <a:lnTo>
                    <a:pt x="599" y="1128"/>
                  </a:lnTo>
                  <a:lnTo>
                    <a:pt x="599" y="1128"/>
                  </a:lnTo>
                  <a:lnTo>
                    <a:pt x="599" y="1126"/>
                  </a:lnTo>
                  <a:lnTo>
                    <a:pt x="601" y="1126"/>
                  </a:lnTo>
                  <a:lnTo>
                    <a:pt x="599" y="1126"/>
                  </a:lnTo>
                  <a:lnTo>
                    <a:pt x="599" y="1126"/>
                  </a:lnTo>
                  <a:lnTo>
                    <a:pt x="599" y="1126"/>
                  </a:lnTo>
                  <a:lnTo>
                    <a:pt x="599" y="1126"/>
                  </a:lnTo>
                  <a:lnTo>
                    <a:pt x="599" y="1123"/>
                  </a:lnTo>
                  <a:lnTo>
                    <a:pt x="599" y="1123"/>
                  </a:lnTo>
                  <a:lnTo>
                    <a:pt x="599" y="1123"/>
                  </a:lnTo>
                  <a:lnTo>
                    <a:pt x="599" y="1123"/>
                  </a:lnTo>
                  <a:lnTo>
                    <a:pt x="599" y="1121"/>
                  </a:lnTo>
                  <a:lnTo>
                    <a:pt x="599" y="1121"/>
                  </a:lnTo>
                  <a:lnTo>
                    <a:pt x="599" y="1121"/>
                  </a:lnTo>
                  <a:lnTo>
                    <a:pt x="599" y="1121"/>
                  </a:lnTo>
                  <a:lnTo>
                    <a:pt x="599" y="1121"/>
                  </a:lnTo>
                  <a:lnTo>
                    <a:pt x="601" y="1121"/>
                  </a:lnTo>
                  <a:lnTo>
                    <a:pt x="601" y="1121"/>
                  </a:lnTo>
                  <a:lnTo>
                    <a:pt x="601" y="1121"/>
                  </a:lnTo>
                  <a:lnTo>
                    <a:pt x="601" y="1119"/>
                  </a:lnTo>
                  <a:lnTo>
                    <a:pt x="601" y="1119"/>
                  </a:lnTo>
                  <a:lnTo>
                    <a:pt x="599" y="1119"/>
                  </a:lnTo>
                  <a:lnTo>
                    <a:pt x="599" y="1119"/>
                  </a:lnTo>
                  <a:lnTo>
                    <a:pt x="599" y="1119"/>
                  </a:lnTo>
                  <a:lnTo>
                    <a:pt x="599" y="1119"/>
                  </a:lnTo>
                  <a:lnTo>
                    <a:pt x="599" y="1119"/>
                  </a:lnTo>
                  <a:lnTo>
                    <a:pt x="601" y="1116"/>
                  </a:lnTo>
                  <a:lnTo>
                    <a:pt x="601" y="1116"/>
                  </a:lnTo>
                  <a:lnTo>
                    <a:pt x="601" y="1116"/>
                  </a:lnTo>
                  <a:lnTo>
                    <a:pt x="601" y="1116"/>
                  </a:lnTo>
                  <a:lnTo>
                    <a:pt x="601" y="1116"/>
                  </a:lnTo>
                  <a:lnTo>
                    <a:pt x="601" y="1116"/>
                  </a:lnTo>
                  <a:lnTo>
                    <a:pt x="599" y="1114"/>
                  </a:lnTo>
                  <a:lnTo>
                    <a:pt x="601" y="1114"/>
                  </a:lnTo>
                  <a:lnTo>
                    <a:pt x="601" y="1116"/>
                  </a:lnTo>
                  <a:lnTo>
                    <a:pt x="604" y="1114"/>
                  </a:lnTo>
                  <a:lnTo>
                    <a:pt x="604" y="1114"/>
                  </a:lnTo>
                  <a:lnTo>
                    <a:pt x="604" y="1114"/>
                  </a:lnTo>
                  <a:lnTo>
                    <a:pt x="604" y="1111"/>
                  </a:lnTo>
                  <a:lnTo>
                    <a:pt x="604" y="1111"/>
                  </a:lnTo>
                  <a:lnTo>
                    <a:pt x="604" y="1111"/>
                  </a:lnTo>
                  <a:lnTo>
                    <a:pt x="604" y="1109"/>
                  </a:lnTo>
                  <a:lnTo>
                    <a:pt x="604" y="1109"/>
                  </a:lnTo>
                  <a:lnTo>
                    <a:pt x="604" y="1109"/>
                  </a:lnTo>
                  <a:lnTo>
                    <a:pt x="604" y="1109"/>
                  </a:lnTo>
                  <a:lnTo>
                    <a:pt x="604" y="1107"/>
                  </a:lnTo>
                  <a:lnTo>
                    <a:pt x="606" y="1107"/>
                  </a:lnTo>
                  <a:lnTo>
                    <a:pt x="604" y="1107"/>
                  </a:lnTo>
                  <a:lnTo>
                    <a:pt x="604" y="1104"/>
                  </a:lnTo>
                  <a:lnTo>
                    <a:pt x="601" y="1107"/>
                  </a:lnTo>
                  <a:lnTo>
                    <a:pt x="601" y="1104"/>
                  </a:lnTo>
                  <a:lnTo>
                    <a:pt x="601" y="1104"/>
                  </a:lnTo>
                  <a:lnTo>
                    <a:pt x="601" y="1104"/>
                  </a:lnTo>
                  <a:lnTo>
                    <a:pt x="601" y="1104"/>
                  </a:lnTo>
                  <a:lnTo>
                    <a:pt x="601" y="1104"/>
                  </a:lnTo>
                  <a:lnTo>
                    <a:pt x="599" y="1104"/>
                  </a:lnTo>
                  <a:lnTo>
                    <a:pt x="599" y="1104"/>
                  </a:lnTo>
                  <a:lnTo>
                    <a:pt x="596" y="1104"/>
                  </a:lnTo>
                  <a:lnTo>
                    <a:pt x="596" y="1104"/>
                  </a:lnTo>
                  <a:lnTo>
                    <a:pt x="596" y="1104"/>
                  </a:lnTo>
                  <a:lnTo>
                    <a:pt x="596" y="1104"/>
                  </a:lnTo>
                  <a:lnTo>
                    <a:pt x="596" y="1104"/>
                  </a:lnTo>
                  <a:lnTo>
                    <a:pt x="596" y="1107"/>
                  </a:lnTo>
                  <a:lnTo>
                    <a:pt x="596" y="1107"/>
                  </a:lnTo>
                  <a:lnTo>
                    <a:pt x="596" y="1107"/>
                  </a:lnTo>
                  <a:lnTo>
                    <a:pt x="596" y="1107"/>
                  </a:lnTo>
                  <a:lnTo>
                    <a:pt x="596" y="1107"/>
                  </a:lnTo>
                  <a:lnTo>
                    <a:pt x="596" y="1107"/>
                  </a:lnTo>
                  <a:lnTo>
                    <a:pt x="596" y="1107"/>
                  </a:lnTo>
                  <a:lnTo>
                    <a:pt x="596" y="1107"/>
                  </a:lnTo>
                  <a:lnTo>
                    <a:pt x="596" y="1107"/>
                  </a:lnTo>
                  <a:lnTo>
                    <a:pt x="596" y="1107"/>
                  </a:lnTo>
                  <a:lnTo>
                    <a:pt x="596" y="1107"/>
                  </a:lnTo>
                  <a:lnTo>
                    <a:pt x="596" y="1109"/>
                  </a:lnTo>
                  <a:lnTo>
                    <a:pt x="596" y="1109"/>
                  </a:lnTo>
                  <a:lnTo>
                    <a:pt x="599" y="1107"/>
                  </a:lnTo>
                  <a:lnTo>
                    <a:pt x="599" y="1107"/>
                  </a:lnTo>
                  <a:lnTo>
                    <a:pt x="601" y="1109"/>
                  </a:lnTo>
                  <a:lnTo>
                    <a:pt x="601" y="1109"/>
                  </a:lnTo>
                  <a:lnTo>
                    <a:pt x="601" y="1109"/>
                  </a:lnTo>
                  <a:lnTo>
                    <a:pt x="599" y="1109"/>
                  </a:lnTo>
                  <a:lnTo>
                    <a:pt x="599" y="1109"/>
                  </a:lnTo>
                  <a:lnTo>
                    <a:pt x="599" y="1109"/>
                  </a:lnTo>
                  <a:lnTo>
                    <a:pt x="601" y="1111"/>
                  </a:lnTo>
                  <a:lnTo>
                    <a:pt x="601" y="1111"/>
                  </a:lnTo>
                  <a:lnTo>
                    <a:pt x="601" y="1109"/>
                  </a:lnTo>
                  <a:lnTo>
                    <a:pt x="601" y="1109"/>
                  </a:lnTo>
                  <a:lnTo>
                    <a:pt x="604" y="1111"/>
                  </a:lnTo>
                  <a:lnTo>
                    <a:pt x="604" y="1114"/>
                  </a:lnTo>
                  <a:lnTo>
                    <a:pt x="601" y="1114"/>
                  </a:lnTo>
                  <a:lnTo>
                    <a:pt x="601" y="1111"/>
                  </a:lnTo>
                  <a:lnTo>
                    <a:pt x="601" y="1111"/>
                  </a:lnTo>
                  <a:lnTo>
                    <a:pt x="599" y="1114"/>
                  </a:lnTo>
                  <a:lnTo>
                    <a:pt x="599" y="1114"/>
                  </a:lnTo>
                  <a:lnTo>
                    <a:pt x="599" y="1114"/>
                  </a:lnTo>
                  <a:lnTo>
                    <a:pt x="599" y="1114"/>
                  </a:lnTo>
                  <a:lnTo>
                    <a:pt x="599" y="1114"/>
                  </a:lnTo>
                  <a:lnTo>
                    <a:pt x="599" y="1114"/>
                  </a:lnTo>
                  <a:lnTo>
                    <a:pt x="599" y="1111"/>
                  </a:lnTo>
                  <a:lnTo>
                    <a:pt x="596" y="1109"/>
                  </a:lnTo>
                  <a:lnTo>
                    <a:pt x="596" y="1109"/>
                  </a:lnTo>
                  <a:lnTo>
                    <a:pt x="594" y="1109"/>
                  </a:lnTo>
                  <a:lnTo>
                    <a:pt x="594" y="1109"/>
                  </a:lnTo>
                  <a:lnTo>
                    <a:pt x="594" y="1109"/>
                  </a:lnTo>
                  <a:lnTo>
                    <a:pt x="594" y="1109"/>
                  </a:lnTo>
                  <a:lnTo>
                    <a:pt x="594" y="1109"/>
                  </a:lnTo>
                  <a:lnTo>
                    <a:pt x="594" y="1109"/>
                  </a:lnTo>
                  <a:lnTo>
                    <a:pt x="594" y="1109"/>
                  </a:lnTo>
                  <a:lnTo>
                    <a:pt x="594" y="1109"/>
                  </a:lnTo>
                  <a:lnTo>
                    <a:pt x="592" y="1109"/>
                  </a:lnTo>
                  <a:lnTo>
                    <a:pt x="592" y="1109"/>
                  </a:lnTo>
                  <a:lnTo>
                    <a:pt x="592" y="1109"/>
                  </a:lnTo>
                  <a:lnTo>
                    <a:pt x="592" y="1109"/>
                  </a:lnTo>
                  <a:lnTo>
                    <a:pt x="589" y="1111"/>
                  </a:lnTo>
                  <a:lnTo>
                    <a:pt x="589" y="1111"/>
                  </a:lnTo>
                  <a:lnTo>
                    <a:pt x="589" y="1111"/>
                  </a:lnTo>
                  <a:lnTo>
                    <a:pt x="592" y="1111"/>
                  </a:lnTo>
                  <a:lnTo>
                    <a:pt x="592" y="1111"/>
                  </a:lnTo>
                  <a:lnTo>
                    <a:pt x="589" y="1111"/>
                  </a:lnTo>
                  <a:lnTo>
                    <a:pt x="589" y="1111"/>
                  </a:lnTo>
                  <a:lnTo>
                    <a:pt x="587" y="1111"/>
                  </a:lnTo>
                  <a:lnTo>
                    <a:pt x="589" y="1109"/>
                  </a:lnTo>
                  <a:lnTo>
                    <a:pt x="589" y="1111"/>
                  </a:lnTo>
                  <a:lnTo>
                    <a:pt x="589" y="1109"/>
                  </a:lnTo>
                  <a:lnTo>
                    <a:pt x="589" y="1109"/>
                  </a:lnTo>
                  <a:lnTo>
                    <a:pt x="589" y="1107"/>
                  </a:lnTo>
                  <a:lnTo>
                    <a:pt x="589" y="1107"/>
                  </a:lnTo>
                  <a:lnTo>
                    <a:pt x="589" y="1107"/>
                  </a:lnTo>
                  <a:lnTo>
                    <a:pt x="589" y="1107"/>
                  </a:lnTo>
                  <a:lnTo>
                    <a:pt x="589" y="1107"/>
                  </a:lnTo>
                  <a:lnTo>
                    <a:pt x="589" y="1109"/>
                  </a:lnTo>
                  <a:lnTo>
                    <a:pt x="589" y="1109"/>
                  </a:lnTo>
                  <a:lnTo>
                    <a:pt x="587" y="1109"/>
                  </a:lnTo>
                  <a:lnTo>
                    <a:pt x="587" y="1109"/>
                  </a:lnTo>
                  <a:lnTo>
                    <a:pt x="585" y="1111"/>
                  </a:lnTo>
                  <a:lnTo>
                    <a:pt x="585" y="1111"/>
                  </a:lnTo>
                  <a:lnTo>
                    <a:pt x="585" y="1111"/>
                  </a:lnTo>
                  <a:lnTo>
                    <a:pt x="585" y="1114"/>
                  </a:lnTo>
                  <a:lnTo>
                    <a:pt x="585" y="1114"/>
                  </a:lnTo>
                  <a:lnTo>
                    <a:pt x="582" y="1114"/>
                  </a:lnTo>
                  <a:lnTo>
                    <a:pt x="582" y="1116"/>
                  </a:lnTo>
                  <a:lnTo>
                    <a:pt x="582" y="1116"/>
                  </a:lnTo>
                  <a:lnTo>
                    <a:pt x="582" y="1116"/>
                  </a:lnTo>
                  <a:lnTo>
                    <a:pt x="582" y="1116"/>
                  </a:lnTo>
                  <a:lnTo>
                    <a:pt x="585" y="1116"/>
                  </a:lnTo>
                  <a:lnTo>
                    <a:pt x="585" y="1116"/>
                  </a:lnTo>
                  <a:lnTo>
                    <a:pt x="585" y="1116"/>
                  </a:lnTo>
                  <a:lnTo>
                    <a:pt x="585" y="1116"/>
                  </a:lnTo>
                  <a:lnTo>
                    <a:pt x="585" y="1116"/>
                  </a:lnTo>
                  <a:lnTo>
                    <a:pt x="585" y="1116"/>
                  </a:lnTo>
                  <a:lnTo>
                    <a:pt x="585" y="1116"/>
                  </a:lnTo>
                  <a:lnTo>
                    <a:pt x="585" y="1114"/>
                  </a:lnTo>
                  <a:lnTo>
                    <a:pt x="585" y="1114"/>
                  </a:lnTo>
                  <a:lnTo>
                    <a:pt x="587" y="1114"/>
                  </a:lnTo>
                  <a:lnTo>
                    <a:pt x="587" y="1114"/>
                  </a:lnTo>
                  <a:lnTo>
                    <a:pt x="587" y="1114"/>
                  </a:lnTo>
                  <a:lnTo>
                    <a:pt x="587" y="1114"/>
                  </a:lnTo>
                  <a:lnTo>
                    <a:pt x="587" y="1114"/>
                  </a:lnTo>
                  <a:lnTo>
                    <a:pt x="587" y="1114"/>
                  </a:lnTo>
                  <a:lnTo>
                    <a:pt x="589" y="1111"/>
                  </a:lnTo>
                  <a:lnTo>
                    <a:pt x="589" y="1111"/>
                  </a:lnTo>
                  <a:lnTo>
                    <a:pt x="589" y="1111"/>
                  </a:lnTo>
                  <a:lnTo>
                    <a:pt x="589" y="1114"/>
                  </a:lnTo>
                  <a:lnTo>
                    <a:pt x="589" y="1114"/>
                  </a:lnTo>
                  <a:lnTo>
                    <a:pt x="589" y="1114"/>
                  </a:lnTo>
                  <a:lnTo>
                    <a:pt x="589" y="1114"/>
                  </a:lnTo>
                  <a:lnTo>
                    <a:pt x="589" y="1114"/>
                  </a:lnTo>
                  <a:lnTo>
                    <a:pt x="592" y="1114"/>
                  </a:lnTo>
                  <a:lnTo>
                    <a:pt x="592" y="1111"/>
                  </a:lnTo>
                  <a:lnTo>
                    <a:pt x="594" y="1114"/>
                  </a:lnTo>
                  <a:lnTo>
                    <a:pt x="594" y="1114"/>
                  </a:lnTo>
                  <a:lnTo>
                    <a:pt x="592" y="1114"/>
                  </a:lnTo>
                  <a:lnTo>
                    <a:pt x="592" y="1114"/>
                  </a:lnTo>
                  <a:lnTo>
                    <a:pt x="592" y="1116"/>
                  </a:lnTo>
                  <a:lnTo>
                    <a:pt x="592" y="1116"/>
                  </a:lnTo>
                  <a:lnTo>
                    <a:pt x="594" y="1116"/>
                  </a:lnTo>
                  <a:lnTo>
                    <a:pt x="594" y="1116"/>
                  </a:lnTo>
                  <a:lnTo>
                    <a:pt x="594" y="1116"/>
                  </a:lnTo>
                  <a:lnTo>
                    <a:pt x="596" y="1114"/>
                  </a:lnTo>
                  <a:lnTo>
                    <a:pt x="596" y="1114"/>
                  </a:lnTo>
                  <a:lnTo>
                    <a:pt x="596" y="1114"/>
                  </a:lnTo>
                  <a:lnTo>
                    <a:pt x="596" y="1114"/>
                  </a:lnTo>
                  <a:lnTo>
                    <a:pt x="596" y="1116"/>
                  </a:lnTo>
                  <a:lnTo>
                    <a:pt x="596" y="1116"/>
                  </a:lnTo>
                  <a:lnTo>
                    <a:pt x="596" y="1116"/>
                  </a:lnTo>
                  <a:lnTo>
                    <a:pt x="596" y="1116"/>
                  </a:lnTo>
                  <a:lnTo>
                    <a:pt x="596" y="1116"/>
                  </a:lnTo>
                  <a:lnTo>
                    <a:pt x="594" y="1116"/>
                  </a:lnTo>
                  <a:lnTo>
                    <a:pt x="594" y="1116"/>
                  </a:lnTo>
                  <a:lnTo>
                    <a:pt x="589" y="1119"/>
                  </a:lnTo>
                  <a:lnTo>
                    <a:pt x="589" y="1119"/>
                  </a:lnTo>
                  <a:lnTo>
                    <a:pt x="589" y="1119"/>
                  </a:lnTo>
                  <a:lnTo>
                    <a:pt x="587" y="1121"/>
                  </a:lnTo>
                  <a:lnTo>
                    <a:pt x="585" y="1121"/>
                  </a:lnTo>
                  <a:lnTo>
                    <a:pt x="585" y="1123"/>
                  </a:lnTo>
                  <a:lnTo>
                    <a:pt x="585" y="1123"/>
                  </a:lnTo>
                  <a:lnTo>
                    <a:pt x="585" y="1123"/>
                  </a:lnTo>
                  <a:lnTo>
                    <a:pt x="585" y="1126"/>
                  </a:lnTo>
                  <a:lnTo>
                    <a:pt x="585" y="1126"/>
                  </a:lnTo>
                  <a:lnTo>
                    <a:pt x="585" y="1126"/>
                  </a:lnTo>
                  <a:lnTo>
                    <a:pt x="585" y="1126"/>
                  </a:lnTo>
                  <a:lnTo>
                    <a:pt x="585" y="1126"/>
                  </a:lnTo>
                  <a:lnTo>
                    <a:pt x="585" y="1126"/>
                  </a:lnTo>
                  <a:lnTo>
                    <a:pt x="582" y="1126"/>
                  </a:lnTo>
                  <a:lnTo>
                    <a:pt x="582" y="1126"/>
                  </a:lnTo>
                  <a:lnTo>
                    <a:pt x="582" y="1123"/>
                  </a:lnTo>
                  <a:lnTo>
                    <a:pt x="582" y="1123"/>
                  </a:lnTo>
                  <a:lnTo>
                    <a:pt x="582" y="1121"/>
                  </a:lnTo>
                  <a:lnTo>
                    <a:pt x="582" y="1121"/>
                  </a:lnTo>
                  <a:lnTo>
                    <a:pt x="582" y="1121"/>
                  </a:lnTo>
                  <a:lnTo>
                    <a:pt x="580" y="1123"/>
                  </a:lnTo>
                  <a:lnTo>
                    <a:pt x="580" y="1123"/>
                  </a:lnTo>
                  <a:lnTo>
                    <a:pt x="580" y="1123"/>
                  </a:lnTo>
                  <a:lnTo>
                    <a:pt x="580" y="1126"/>
                  </a:lnTo>
                  <a:lnTo>
                    <a:pt x="580" y="1126"/>
                  </a:lnTo>
                  <a:lnTo>
                    <a:pt x="580" y="1126"/>
                  </a:lnTo>
                  <a:lnTo>
                    <a:pt x="580" y="1128"/>
                  </a:lnTo>
                  <a:lnTo>
                    <a:pt x="580" y="1128"/>
                  </a:lnTo>
                  <a:lnTo>
                    <a:pt x="580" y="1128"/>
                  </a:lnTo>
                  <a:lnTo>
                    <a:pt x="582" y="1128"/>
                  </a:lnTo>
                  <a:lnTo>
                    <a:pt x="582" y="1128"/>
                  </a:lnTo>
                  <a:lnTo>
                    <a:pt x="587" y="1130"/>
                  </a:lnTo>
                  <a:lnTo>
                    <a:pt x="587" y="1130"/>
                  </a:lnTo>
                  <a:lnTo>
                    <a:pt x="587" y="1133"/>
                  </a:lnTo>
                  <a:lnTo>
                    <a:pt x="587" y="1133"/>
                  </a:lnTo>
                  <a:lnTo>
                    <a:pt x="587" y="1133"/>
                  </a:lnTo>
                  <a:lnTo>
                    <a:pt x="587" y="1135"/>
                  </a:lnTo>
                  <a:lnTo>
                    <a:pt x="587" y="1135"/>
                  </a:lnTo>
                  <a:lnTo>
                    <a:pt x="585" y="1135"/>
                  </a:lnTo>
                  <a:lnTo>
                    <a:pt x="585" y="1137"/>
                  </a:lnTo>
                  <a:lnTo>
                    <a:pt x="585" y="1137"/>
                  </a:lnTo>
                  <a:lnTo>
                    <a:pt x="585" y="1135"/>
                  </a:lnTo>
                  <a:lnTo>
                    <a:pt x="585" y="1135"/>
                  </a:lnTo>
                  <a:lnTo>
                    <a:pt x="585" y="1135"/>
                  </a:lnTo>
                  <a:lnTo>
                    <a:pt x="585" y="1133"/>
                  </a:lnTo>
                  <a:lnTo>
                    <a:pt x="585" y="1133"/>
                  </a:lnTo>
                  <a:lnTo>
                    <a:pt x="585" y="1133"/>
                  </a:lnTo>
                  <a:lnTo>
                    <a:pt x="585" y="1133"/>
                  </a:lnTo>
                  <a:lnTo>
                    <a:pt x="585" y="1130"/>
                  </a:lnTo>
                  <a:lnTo>
                    <a:pt x="585" y="1130"/>
                  </a:lnTo>
                  <a:lnTo>
                    <a:pt x="582" y="1130"/>
                  </a:lnTo>
                  <a:lnTo>
                    <a:pt x="582" y="1130"/>
                  </a:lnTo>
                  <a:lnTo>
                    <a:pt x="582" y="1130"/>
                  </a:lnTo>
                  <a:lnTo>
                    <a:pt x="582" y="1130"/>
                  </a:lnTo>
                  <a:lnTo>
                    <a:pt x="582" y="1130"/>
                  </a:lnTo>
                  <a:lnTo>
                    <a:pt x="582" y="1130"/>
                  </a:lnTo>
                  <a:lnTo>
                    <a:pt x="582" y="1130"/>
                  </a:lnTo>
                  <a:lnTo>
                    <a:pt x="582" y="1130"/>
                  </a:lnTo>
                  <a:lnTo>
                    <a:pt x="582" y="1130"/>
                  </a:lnTo>
                  <a:lnTo>
                    <a:pt x="580" y="1130"/>
                  </a:lnTo>
                  <a:lnTo>
                    <a:pt x="578" y="1133"/>
                  </a:lnTo>
                  <a:lnTo>
                    <a:pt x="578" y="1133"/>
                  </a:lnTo>
                  <a:lnTo>
                    <a:pt x="575" y="1130"/>
                  </a:lnTo>
                  <a:lnTo>
                    <a:pt x="575" y="1133"/>
                  </a:lnTo>
                  <a:lnTo>
                    <a:pt x="575" y="1133"/>
                  </a:lnTo>
                  <a:lnTo>
                    <a:pt x="573" y="1135"/>
                  </a:lnTo>
                  <a:lnTo>
                    <a:pt x="573" y="1135"/>
                  </a:lnTo>
                  <a:lnTo>
                    <a:pt x="573" y="1135"/>
                  </a:lnTo>
                  <a:lnTo>
                    <a:pt x="573" y="1135"/>
                  </a:lnTo>
                  <a:lnTo>
                    <a:pt x="573" y="1135"/>
                  </a:lnTo>
                  <a:lnTo>
                    <a:pt x="573" y="1135"/>
                  </a:lnTo>
                  <a:lnTo>
                    <a:pt x="573" y="1135"/>
                  </a:lnTo>
                  <a:lnTo>
                    <a:pt x="573" y="1135"/>
                  </a:lnTo>
                  <a:lnTo>
                    <a:pt x="573" y="1137"/>
                  </a:lnTo>
                  <a:lnTo>
                    <a:pt x="573" y="1137"/>
                  </a:lnTo>
                  <a:lnTo>
                    <a:pt x="573" y="1137"/>
                  </a:lnTo>
                  <a:lnTo>
                    <a:pt x="573" y="1137"/>
                  </a:lnTo>
                  <a:lnTo>
                    <a:pt x="575" y="1140"/>
                  </a:lnTo>
                  <a:lnTo>
                    <a:pt x="578" y="1140"/>
                  </a:lnTo>
                  <a:lnTo>
                    <a:pt x="575" y="1140"/>
                  </a:lnTo>
                  <a:lnTo>
                    <a:pt x="575" y="1140"/>
                  </a:lnTo>
                  <a:lnTo>
                    <a:pt x="575" y="1142"/>
                  </a:lnTo>
                  <a:lnTo>
                    <a:pt x="575" y="1142"/>
                  </a:lnTo>
                  <a:lnTo>
                    <a:pt x="575" y="1142"/>
                  </a:lnTo>
                  <a:lnTo>
                    <a:pt x="575" y="1142"/>
                  </a:lnTo>
                  <a:lnTo>
                    <a:pt x="575" y="1142"/>
                  </a:lnTo>
                  <a:lnTo>
                    <a:pt x="575" y="1142"/>
                  </a:lnTo>
                  <a:lnTo>
                    <a:pt x="575" y="1142"/>
                  </a:lnTo>
                  <a:lnTo>
                    <a:pt x="575" y="1145"/>
                  </a:lnTo>
                  <a:lnTo>
                    <a:pt x="578" y="1145"/>
                  </a:lnTo>
                  <a:lnTo>
                    <a:pt x="578" y="1147"/>
                  </a:lnTo>
                  <a:lnTo>
                    <a:pt x="575" y="1147"/>
                  </a:lnTo>
                  <a:lnTo>
                    <a:pt x="575" y="1145"/>
                  </a:lnTo>
                  <a:lnTo>
                    <a:pt x="575" y="1145"/>
                  </a:lnTo>
                  <a:lnTo>
                    <a:pt x="573" y="1142"/>
                  </a:lnTo>
                  <a:lnTo>
                    <a:pt x="573" y="1142"/>
                  </a:lnTo>
                  <a:lnTo>
                    <a:pt x="573" y="1145"/>
                  </a:lnTo>
                  <a:lnTo>
                    <a:pt x="573" y="1145"/>
                  </a:lnTo>
                  <a:lnTo>
                    <a:pt x="573" y="1145"/>
                  </a:lnTo>
                  <a:lnTo>
                    <a:pt x="573" y="1145"/>
                  </a:lnTo>
                  <a:lnTo>
                    <a:pt x="570" y="1145"/>
                  </a:lnTo>
                  <a:lnTo>
                    <a:pt x="570" y="1142"/>
                  </a:lnTo>
                  <a:lnTo>
                    <a:pt x="570" y="1142"/>
                  </a:lnTo>
                  <a:lnTo>
                    <a:pt x="568" y="1145"/>
                  </a:lnTo>
                  <a:lnTo>
                    <a:pt x="568" y="1145"/>
                  </a:lnTo>
                  <a:lnTo>
                    <a:pt x="568" y="1145"/>
                  </a:lnTo>
                  <a:lnTo>
                    <a:pt x="568" y="1145"/>
                  </a:lnTo>
                  <a:lnTo>
                    <a:pt x="568" y="1145"/>
                  </a:lnTo>
                  <a:lnTo>
                    <a:pt x="568" y="1145"/>
                  </a:lnTo>
                  <a:lnTo>
                    <a:pt x="566" y="1145"/>
                  </a:lnTo>
                  <a:lnTo>
                    <a:pt x="566" y="1145"/>
                  </a:lnTo>
                  <a:lnTo>
                    <a:pt x="566" y="1145"/>
                  </a:lnTo>
                  <a:lnTo>
                    <a:pt x="566" y="1147"/>
                  </a:lnTo>
                  <a:lnTo>
                    <a:pt x="566" y="1147"/>
                  </a:lnTo>
                  <a:lnTo>
                    <a:pt x="566" y="1147"/>
                  </a:lnTo>
                  <a:lnTo>
                    <a:pt x="566" y="1147"/>
                  </a:lnTo>
                  <a:lnTo>
                    <a:pt x="566" y="1149"/>
                  </a:lnTo>
                  <a:lnTo>
                    <a:pt x="566" y="1149"/>
                  </a:lnTo>
                  <a:lnTo>
                    <a:pt x="566" y="1149"/>
                  </a:lnTo>
                  <a:lnTo>
                    <a:pt x="566" y="1149"/>
                  </a:lnTo>
                  <a:lnTo>
                    <a:pt x="566" y="1149"/>
                  </a:lnTo>
                  <a:lnTo>
                    <a:pt x="566" y="1147"/>
                  </a:lnTo>
                  <a:lnTo>
                    <a:pt x="566" y="1149"/>
                  </a:lnTo>
                  <a:lnTo>
                    <a:pt x="568" y="1147"/>
                  </a:lnTo>
                  <a:lnTo>
                    <a:pt x="573" y="1147"/>
                  </a:lnTo>
                  <a:lnTo>
                    <a:pt x="573" y="1147"/>
                  </a:lnTo>
                  <a:lnTo>
                    <a:pt x="573" y="1147"/>
                  </a:lnTo>
                  <a:lnTo>
                    <a:pt x="573" y="1147"/>
                  </a:lnTo>
                  <a:lnTo>
                    <a:pt x="573" y="1147"/>
                  </a:lnTo>
                  <a:lnTo>
                    <a:pt x="573" y="1149"/>
                  </a:lnTo>
                  <a:lnTo>
                    <a:pt x="573" y="1149"/>
                  </a:lnTo>
                  <a:lnTo>
                    <a:pt x="573" y="1149"/>
                  </a:lnTo>
                  <a:lnTo>
                    <a:pt x="575" y="1149"/>
                  </a:lnTo>
                  <a:lnTo>
                    <a:pt x="575" y="1147"/>
                  </a:lnTo>
                  <a:lnTo>
                    <a:pt x="575" y="1147"/>
                  </a:lnTo>
                  <a:lnTo>
                    <a:pt x="578" y="1149"/>
                  </a:lnTo>
                  <a:lnTo>
                    <a:pt x="578" y="1149"/>
                  </a:lnTo>
                  <a:lnTo>
                    <a:pt x="578" y="1149"/>
                  </a:lnTo>
                  <a:lnTo>
                    <a:pt x="578" y="1149"/>
                  </a:lnTo>
                  <a:lnTo>
                    <a:pt x="578" y="1149"/>
                  </a:lnTo>
                  <a:lnTo>
                    <a:pt x="575" y="1149"/>
                  </a:lnTo>
                  <a:lnTo>
                    <a:pt x="578" y="1149"/>
                  </a:lnTo>
                  <a:lnTo>
                    <a:pt x="578" y="1149"/>
                  </a:lnTo>
                  <a:lnTo>
                    <a:pt x="575" y="1149"/>
                  </a:lnTo>
                  <a:lnTo>
                    <a:pt x="575" y="1152"/>
                  </a:lnTo>
                  <a:lnTo>
                    <a:pt x="578" y="1152"/>
                  </a:lnTo>
                  <a:lnTo>
                    <a:pt x="578" y="1152"/>
                  </a:lnTo>
                  <a:lnTo>
                    <a:pt x="575" y="1152"/>
                  </a:lnTo>
                  <a:lnTo>
                    <a:pt x="575" y="1152"/>
                  </a:lnTo>
                  <a:lnTo>
                    <a:pt x="575" y="1154"/>
                  </a:lnTo>
                  <a:lnTo>
                    <a:pt x="575" y="1154"/>
                  </a:lnTo>
                  <a:lnTo>
                    <a:pt x="568" y="1152"/>
                  </a:lnTo>
                  <a:lnTo>
                    <a:pt x="568" y="1149"/>
                  </a:lnTo>
                  <a:lnTo>
                    <a:pt x="568" y="1149"/>
                  </a:lnTo>
                  <a:lnTo>
                    <a:pt x="568" y="1152"/>
                  </a:lnTo>
                  <a:lnTo>
                    <a:pt x="568" y="1152"/>
                  </a:lnTo>
                  <a:lnTo>
                    <a:pt x="568" y="1152"/>
                  </a:lnTo>
                  <a:lnTo>
                    <a:pt x="570" y="1154"/>
                  </a:lnTo>
                  <a:lnTo>
                    <a:pt x="568" y="1154"/>
                  </a:lnTo>
                  <a:lnTo>
                    <a:pt x="570" y="1154"/>
                  </a:lnTo>
                  <a:lnTo>
                    <a:pt x="570" y="1154"/>
                  </a:lnTo>
                  <a:lnTo>
                    <a:pt x="568" y="1154"/>
                  </a:lnTo>
                  <a:lnTo>
                    <a:pt x="568" y="1156"/>
                  </a:lnTo>
                  <a:lnTo>
                    <a:pt x="568" y="1156"/>
                  </a:lnTo>
                  <a:lnTo>
                    <a:pt x="568" y="1156"/>
                  </a:lnTo>
                  <a:lnTo>
                    <a:pt x="563" y="1154"/>
                  </a:lnTo>
                  <a:lnTo>
                    <a:pt x="563" y="1154"/>
                  </a:lnTo>
                  <a:lnTo>
                    <a:pt x="563" y="1152"/>
                  </a:lnTo>
                  <a:lnTo>
                    <a:pt x="563" y="1152"/>
                  </a:lnTo>
                  <a:lnTo>
                    <a:pt x="563" y="1152"/>
                  </a:lnTo>
                  <a:lnTo>
                    <a:pt x="563" y="1152"/>
                  </a:lnTo>
                  <a:lnTo>
                    <a:pt x="563" y="1152"/>
                  </a:lnTo>
                  <a:lnTo>
                    <a:pt x="563" y="1152"/>
                  </a:lnTo>
                  <a:lnTo>
                    <a:pt x="563" y="1152"/>
                  </a:lnTo>
                  <a:lnTo>
                    <a:pt x="563" y="1149"/>
                  </a:lnTo>
                  <a:lnTo>
                    <a:pt x="563" y="1149"/>
                  </a:lnTo>
                  <a:lnTo>
                    <a:pt x="561" y="1149"/>
                  </a:lnTo>
                  <a:lnTo>
                    <a:pt x="561" y="1149"/>
                  </a:lnTo>
                  <a:lnTo>
                    <a:pt x="561" y="1149"/>
                  </a:lnTo>
                  <a:lnTo>
                    <a:pt x="556" y="1147"/>
                  </a:lnTo>
                  <a:lnTo>
                    <a:pt x="554" y="1142"/>
                  </a:lnTo>
                  <a:lnTo>
                    <a:pt x="554" y="1140"/>
                  </a:lnTo>
                  <a:lnTo>
                    <a:pt x="554" y="1140"/>
                  </a:lnTo>
                  <a:lnTo>
                    <a:pt x="552" y="1140"/>
                  </a:lnTo>
                  <a:lnTo>
                    <a:pt x="552" y="1140"/>
                  </a:lnTo>
                  <a:lnTo>
                    <a:pt x="552" y="1137"/>
                  </a:lnTo>
                  <a:lnTo>
                    <a:pt x="552" y="1137"/>
                  </a:lnTo>
                  <a:lnTo>
                    <a:pt x="552" y="1137"/>
                  </a:lnTo>
                  <a:lnTo>
                    <a:pt x="547" y="1123"/>
                  </a:lnTo>
                  <a:lnTo>
                    <a:pt x="544" y="1121"/>
                  </a:lnTo>
                  <a:lnTo>
                    <a:pt x="544" y="1119"/>
                  </a:lnTo>
                  <a:lnTo>
                    <a:pt x="544" y="1119"/>
                  </a:lnTo>
                  <a:lnTo>
                    <a:pt x="544" y="1119"/>
                  </a:lnTo>
                  <a:lnTo>
                    <a:pt x="544" y="1116"/>
                  </a:lnTo>
                  <a:lnTo>
                    <a:pt x="544" y="1114"/>
                  </a:lnTo>
                  <a:lnTo>
                    <a:pt x="544" y="1109"/>
                  </a:lnTo>
                  <a:lnTo>
                    <a:pt x="544" y="1109"/>
                  </a:lnTo>
                  <a:lnTo>
                    <a:pt x="544" y="1109"/>
                  </a:lnTo>
                  <a:lnTo>
                    <a:pt x="547" y="1107"/>
                  </a:lnTo>
                  <a:lnTo>
                    <a:pt x="547" y="1107"/>
                  </a:lnTo>
                  <a:lnTo>
                    <a:pt x="547" y="1107"/>
                  </a:lnTo>
                  <a:lnTo>
                    <a:pt x="547" y="1104"/>
                  </a:lnTo>
                  <a:lnTo>
                    <a:pt x="547" y="1104"/>
                  </a:lnTo>
                  <a:lnTo>
                    <a:pt x="547" y="1104"/>
                  </a:lnTo>
                  <a:lnTo>
                    <a:pt x="547" y="1104"/>
                  </a:lnTo>
                  <a:lnTo>
                    <a:pt x="547" y="1104"/>
                  </a:lnTo>
                  <a:lnTo>
                    <a:pt x="544" y="1102"/>
                  </a:lnTo>
                  <a:lnTo>
                    <a:pt x="544" y="1102"/>
                  </a:lnTo>
                  <a:lnTo>
                    <a:pt x="544" y="1102"/>
                  </a:lnTo>
                  <a:lnTo>
                    <a:pt x="544" y="1102"/>
                  </a:lnTo>
                  <a:lnTo>
                    <a:pt x="544" y="1100"/>
                  </a:lnTo>
                  <a:lnTo>
                    <a:pt x="544" y="1097"/>
                  </a:lnTo>
                  <a:lnTo>
                    <a:pt x="544" y="1095"/>
                  </a:lnTo>
                  <a:lnTo>
                    <a:pt x="544" y="1090"/>
                  </a:lnTo>
                  <a:lnTo>
                    <a:pt x="544" y="1085"/>
                  </a:lnTo>
                  <a:lnTo>
                    <a:pt x="544" y="1085"/>
                  </a:lnTo>
                  <a:lnTo>
                    <a:pt x="544" y="1083"/>
                  </a:lnTo>
                  <a:lnTo>
                    <a:pt x="542" y="1081"/>
                  </a:lnTo>
                  <a:lnTo>
                    <a:pt x="542" y="1081"/>
                  </a:lnTo>
                  <a:lnTo>
                    <a:pt x="540" y="1071"/>
                  </a:lnTo>
                  <a:lnTo>
                    <a:pt x="535" y="1064"/>
                  </a:lnTo>
                  <a:lnTo>
                    <a:pt x="530" y="1057"/>
                  </a:lnTo>
                  <a:lnTo>
                    <a:pt x="530" y="1057"/>
                  </a:lnTo>
                  <a:lnTo>
                    <a:pt x="530" y="1057"/>
                  </a:lnTo>
                  <a:lnTo>
                    <a:pt x="530" y="1057"/>
                  </a:lnTo>
                  <a:lnTo>
                    <a:pt x="530" y="1057"/>
                  </a:lnTo>
                  <a:lnTo>
                    <a:pt x="530" y="1057"/>
                  </a:lnTo>
                  <a:lnTo>
                    <a:pt x="530" y="1057"/>
                  </a:lnTo>
                  <a:lnTo>
                    <a:pt x="530" y="1057"/>
                  </a:lnTo>
                  <a:lnTo>
                    <a:pt x="528" y="1057"/>
                  </a:lnTo>
                  <a:lnTo>
                    <a:pt x="528" y="1057"/>
                  </a:lnTo>
                  <a:lnTo>
                    <a:pt x="525" y="1059"/>
                  </a:lnTo>
                  <a:lnTo>
                    <a:pt x="523" y="1062"/>
                  </a:lnTo>
                  <a:lnTo>
                    <a:pt x="523" y="1064"/>
                  </a:lnTo>
                  <a:lnTo>
                    <a:pt x="521" y="1069"/>
                  </a:lnTo>
                  <a:lnTo>
                    <a:pt x="521" y="1069"/>
                  </a:lnTo>
                  <a:lnTo>
                    <a:pt x="523" y="1069"/>
                  </a:lnTo>
                  <a:lnTo>
                    <a:pt x="523" y="1071"/>
                  </a:lnTo>
                  <a:lnTo>
                    <a:pt x="528" y="1069"/>
                  </a:lnTo>
                  <a:lnTo>
                    <a:pt x="528" y="1069"/>
                  </a:lnTo>
                  <a:lnTo>
                    <a:pt x="528" y="1071"/>
                  </a:lnTo>
                  <a:lnTo>
                    <a:pt x="525" y="1074"/>
                  </a:lnTo>
                  <a:lnTo>
                    <a:pt x="525" y="1074"/>
                  </a:lnTo>
                  <a:lnTo>
                    <a:pt x="525" y="1071"/>
                  </a:lnTo>
                  <a:lnTo>
                    <a:pt x="523" y="1071"/>
                  </a:lnTo>
                  <a:lnTo>
                    <a:pt x="523" y="1071"/>
                  </a:lnTo>
                  <a:lnTo>
                    <a:pt x="523" y="1071"/>
                  </a:lnTo>
                  <a:lnTo>
                    <a:pt x="523" y="1074"/>
                  </a:lnTo>
                  <a:lnTo>
                    <a:pt x="523" y="1074"/>
                  </a:lnTo>
                  <a:lnTo>
                    <a:pt x="523" y="1074"/>
                  </a:lnTo>
                  <a:lnTo>
                    <a:pt x="523" y="1076"/>
                  </a:lnTo>
                  <a:lnTo>
                    <a:pt x="523" y="1076"/>
                  </a:lnTo>
                  <a:lnTo>
                    <a:pt x="528" y="1078"/>
                  </a:lnTo>
                  <a:lnTo>
                    <a:pt x="530" y="1081"/>
                  </a:lnTo>
                  <a:lnTo>
                    <a:pt x="533" y="1081"/>
                  </a:lnTo>
                  <a:lnTo>
                    <a:pt x="533" y="1083"/>
                  </a:lnTo>
                  <a:lnTo>
                    <a:pt x="535" y="1083"/>
                  </a:lnTo>
                  <a:lnTo>
                    <a:pt x="533" y="1083"/>
                  </a:lnTo>
                  <a:lnTo>
                    <a:pt x="528" y="1083"/>
                  </a:lnTo>
                  <a:lnTo>
                    <a:pt x="525" y="1083"/>
                  </a:lnTo>
                  <a:lnTo>
                    <a:pt x="525" y="1083"/>
                  </a:lnTo>
                  <a:lnTo>
                    <a:pt x="523" y="1083"/>
                  </a:lnTo>
                  <a:lnTo>
                    <a:pt x="521" y="1083"/>
                  </a:lnTo>
                  <a:lnTo>
                    <a:pt x="518" y="1083"/>
                  </a:lnTo>
                  <a:lnTo>
                    <a:pt x="518" y="1083"/>
                  </a:lnTo>
                  <a:lnTo>
                    <a:pt x="518" y="1083"/>
                  </a:lnTo>
                  <a:lnTo>
                    <a:pt x="516" y="1083"/>
                  </a:lnTo>
                  <a:lnTo>
                    <a:pt x="516" y="1083"/>
                  </a:lnTo>
                  <a:lnTo>
                    <a:pt x="516" y="1085"/>
                  </a:lnTo>
                  <a:lnTo>
                    <a:pt x="516" y="1085"/>
                  </a:lnTo>
                  <a:lnTo>
                    <a:pt x="514" y="1085"/>
                  </a:lnTo>
                  <a:lnTo>
                    <a:pt x="514" y="1085"/>
                  </a:lnTo>
                  <a:lnTo>
                    <a:pt x="511" y="1088"/>
                  </a:lnTo>
                  <a:lnTo>
                    <a:pt x="511" y="1088"/>
                  </a:lnTo>
                  <a:lnTo>
                    <a:pt x="511" y="1090"/>
                  </a:lnTo>
                  <a:lnTo>
                    <a:pt x="511" y="1090"/>
                  </a:lnTo>
                  <a:lnTo>
                    <a:pt x="511" y="1093"/>
                  </a:lnTo>
                  <a:lnTo>
                    <a:pt x="511" y="1093"/>
                  </a:lnTo>
                  <a:lnTo>
                    <a:pt x="511" y="1093"/>
                  </a:lnTo>
                  <a:lnTo>
                    <a:pt x="511" y="1093"/>
                  </a:lnTo>
                  <a:lnTo>
                    <a:pt x="511" y="1093"/>
                  </a:lnTo>
                  <a:lnTo>
                    <a:pt x="511" y="1095"/>
                  </a:lnTo>
                  <a:lnTo>
                    <a:pt x="511" y="1095"/>
                  </a:lnTo>
                  <a:lnTo>
                    <a:pt x="511" y="1095"/>
                  </a:lnTo>
                  <a:lnTo>
                    <a:pt x="511" y="1095"/>
                  </a:lnTo>
                  <a:lnTo>
                    <a:pt x="511" y="1095"/>
                  </a:lnTo>
                  <a:lnTo>
                    <a:pt x="511" y="1097"/>
                  </a:lnTo>
                  <a:lnTo>
                    <a:pt x="511" y="1097"/>
                  </a:lnTo>
                  <a:lnTo>
                    <a:pt x="511" y="1097"/>
                  </a:lnTo>
                  <a:lnTo>
                    <a:pt x="511" y="1097"/>
                  </a:lnTo>
                  <a:lnTo>
                    <a:pt x="509" y="1097"/>
                  </a:lnTo>
                  <a:lnTo>
                    <a:pt x="502" y="1102"/>
                  </a:lnTo>
                  <a:lnTo>
                    <a:pt x="502" y="1102"/>
                  </a:lnTo>
                  <a:lnTo>
                    <a:pt x="499" y="1104"/>
                  </a:lnTo>
                  <a:lnTo>
                    <a:pt x="499" y="1104"/>
                  </a:lnTo>
                  <a:lnTo>
                    <a:pt x="497" y="1107"/>
                  </a:lnTo>
                  <a:lnTo>
                    <a:pt x="497" y="1107"/>
                  </a:lnTo>
                  <a:lnTo>
                    <a:pt x="495" y="1107"/>
                  </a:lnTo>
                  <a:lnTo>
                    <a:pt x="492" y="1107"/>
                  </a:lnTo>
                  <a:lnTo>
                    <a:pt x="492" y="1107"/>
                  </a:lnTo>
                  <a:lnTo>
                    <a:pt x="492" y="1109"/>
                  </a:lnTo>
                  <a:lnTo>
                    <a:pt x="492" y="1109"/>
                  </a:lnTo>
                  <a:lnTo>
                    <a:pt x="492" y="1109"/>
                  </a:lnTo>
                  <a:lnTo>
                    <a:pt x="492" y="1111"/>
                  </a:lnTo>
                  <a:lnTo>
                    <a:pt x="492" y="1111"/>
                  </a:lnTo>
                  <a:lnTo>
                    <a:pt x="490" y="1111"/>
                  </a:lnTo>
                  <a:lnTo>
                    <a:pt x="490" y="1111"/>
                  </a:lnTo>
                  <a:lnTo>
                    <a:pt x="490" y="1111"/>
                  </a:lnTo>
                  <a:lnTo>
                    <a:pt x="488" y="1109"/>
                  </a:lnTo>
                  <a:lnTo>
                    <a:pt x="488" y="1109"/>
                  </a:lnTo>
                  <a:lnTo>
                    <a:pt x="488" y="1109"/>
                  </a:lnTo>
                  <a:lnTo>
                    <a:pt x="488" y="1109"/>
                  </a:lnTo>
                  <a:lnTo>
                    <a:pt x="488" y="1107"/>
                  </a:lnTo>
                  <a:lnTo>
                    <a:pt x="488" y="1104"/>
                  </a:lnTo>
                  <a:lnTo>
                    <a:pt x="488" y="1104"/>
                  </a:lnTo>
                  <a:lnTo>
                    <a:pt x="490" y="1104"/>
                  </a:lnTo>
                  <a:lnTo>
                    <a:pt x="490" y="1100"/>
                  </a:lnTo>
                  <a:lnTo>
                    <a:pt x="490" y="1100"/>
                  </a:lnTo>
                  <a:lnTo>
                    <a:pt x="495" y="1102"/>
                  </a:lnTo>
                  <a:lnTo>
                    <a:pt x="495" y="1100"/>
                  </a:lnTo>
                  <a:lnTo>
                    <a:pt x="495" y="1100"/>
                  </a:lnTo>
                  <a:lnTo>
                    <a:pt x="495" y="1097"/>
                  </a:lnTo>
                  <a:lnTo>
                    <a:pt x="495" y="1097"/>
                  </a:lnTo>
                  <a:lnTo>
                    <a:pt x="495" y="1097"/>
                  </a:lnTo>
                  <a:lnTo>
                    <a:pt x="497" y="1097"/>
                  </a:lnTo>
                  <a:lnTo>
                    <a:pt x="497" y="1095"/>
                  </a:lnTo>
                  <a:lnTo>
                    <a:pt x="497" y="1093"/>
                  </a:lnTo>
                  <a:lnTo>
                    <a:pt x="497" y="1093"/>
                  </a:lnTo>
                  <a:lnTo>
                    <a:pt x="499" y="1095"/>
                  </a:lnTo>
                  <a:lnTo>
                    <a:pt x="497" y="1093"/>
                  </a:lnTo>
                  <a:lnTo>
                    <a:pt x="497" y="1093"/>
                  </a:lnTo>
                  <a:lnTo>
                    <a:pt x="497" y="1093"/>
                  </a:lnTo>
                  <a:lnTo>
                    <a:pt x="495" y="1095"/>
                  </a:lnTo>
                  <a:lnTo>
                    <a:pt x="495" y="1095"/>
                  </a:lnTo>
                  <a:lnTo>
                    <a:pt x="495" y="1097"/>
                  </a:lnTo>
                  <a:lnTo>
                    <a:pt x="492" y="1097"/>
                  </a:lnTo>
                  <a:lnTo>
                    <a:pt x="492" y="1097"/>
                  </a:lnTo>
                  <a:lnTo>
                    <a:pt x="490" y="1100"/>
                  </a:lnTo>
                  <a:lnTo>
                    <a:pt x="483" y="1097"/>
                  </a:lnTo>
                  <a:lnTo>
                    <a:pt x="481" y="1100"/>
                  </a:lnTo>
                  <a:lnTo>
                    <a:pt x="481" y="1097"/>
                  </a:lnTo>
                  <a:lnTo>
                    <a:pt x="478" y="1097"/>
                  </a:lnTo>
                  <a:lnTo>
                    <a:pt x="476" y="1100"/>
                  </a:lnTo>
                  <a:lnTo>
                    <a:pt x="471" y="1100"/>
                  </a:lnTo>
                  <a:lnTo>
                    <a:pt x="469" y="1100"/>
                  </a:lnTo>
                  <a:lnTo>
                    <a:pt x="464" y="1102"/>
                  </a:lnTo>
                  <a:lnTo>
                    <a:pt x="459" y="1102"/>
                  </a:lnTo>
                  <a:lnTo>
                    <a:pt x="459" y="1102"/>
                  </a:lnTo>
                  <a:lnTo>
                    <a:pt x="459" y="1102"/>
                  </a:lnTo>
                  <a:lnTo>
                    <a:pt x="459" y="1102"/>
                  </a:lnTo>
                  <a:lnTo>
                    <a:pt x="459" y="1102"/>
                  </a:lnTo>
                  <a:lnTo>
                    <a:pt x="459" y="1102"/>
                  </a:lnTo>
                  <a:lnTo>
                    <a:pt x="459" y="1102"/>
                  </a:lnTo>
                  <a:lnTo>
                    <a:pt x="459" y="1102"/>
                  </a:lnTo>
                  <a:lnTo>
                    <a:pt x="459" y="1104"/>
                  </a:lnTo>
                  <a:lnTo>
                    <a:pt x="457" y="1104"/>
                  </a:lnTo>
                  <a:lnTo>
                    <a:pt x="457" y="1104"/>
                  </a:lnTo>
                  <a:lnTo>
                    <a:pt x="457" y="1104"/>
                  </a:lnTo>
                  <a:lnTo>
                    <a:pt x="457" y="1107"/>
                  </a:lnTo>
                  <a:lnTo>
                    <a:pt x="454" y="1107"/>
                  </a:lnTo>
                  <a:lnTo>
                    <a:pt x="454" y="1107"/>
                  </a:lnTo>
                  <a:lnTo>
                    <a:pt x="454" y="1107"/>
                  </a:lnTo>
                  <a:lnTo>
                    <a:pt x="454" y="1107"/>
                  </a:lnTo>
                  <a:lnTo>
                    <a:pt x="454" y="1109"/>
                  </a:lnTo>
                  <a:lnTo>
                    <a:pt x="454" y="1109"/>
                  </a:lnTo>
                  <a:lnTo>
                    <a:pt x="454" y="1109"/>
                  </a:lnTo>
                  <a:lnTo>
                    <a:pt x="452" y="1109"/>
                  </a:lnTo>
                  <a:lnTo>
                    <a:pt x="452" y="1111"/>
                  </a:lnTo>
                  <a:lnTo>
                    <a:pt x="445" y="1116"/>
                  </a:lnTo>
                  <a:lnTo>
                    <a:pt x="447" y="1116"/>
                  </a:lnTo>
                  <a:lnTo>
                    <a:pt x="447" y="1116"/>
                  </a:lnTo>
                  <a:lnTo>
                    <a:pt x="447" y="1116"/>
                  </a:lnTo>
                  <a:lnTo>
                    <a:pt x="447" y="1119"/>
                  </a:lnTo>
                  <a:lnTo>
                    <a:pt x="445" y="1119"/>
                  </a:lnTo>
                  <a:lnTo>
                    <a:pt x="445" y="1119"/>
                  </a:lnTo>
                  <a:lnTo>
                    <a:pt x="443" y="1119"/>
                  </a:lnTo>
                  <a:lnTo>
                    <a:pt x="443" y="1119"/>
                  </a:lnTo>
                  <a:lnTo>
                    <a:pt x="443" y="1119"/>
                  </a:lnTo>
                  <a:lnTo>
                    <a:pt x="443" y="1121"/>
                  </a:lnTo>
                  <a:lnTo>
                    <a:pt x="443" y="1121"/>
                  </a:lnTo>
                  <a:lnTo>
                    <a:pt x="443" y="1121"/>
                  </a:lnTo>
                  <a:lnTo>
                    <a:pt x="443" y="1123"/>
                  </a:lnTo>
                  <a:lnTo>
                    <a:pt x="440" y="1123"/>
                  </a:lnTo>
                  <a:lnTo>
                    <a:pt x="438" y="1126"/>
                  </a:lnTo>
                  <a:lnTo>
                    <a:pt x="438" y="1126"/>
                  </a:lnTo>
                  <a:lnTo>
                    <a:pt x="438" y="1128"/>
                  </a:lnTo>
                  <a:lnTo>
                    <a:pt x="438" y="1128"/>
                  </a:lnTo>
                  <a:lnTo>
                    <a:pt x="436" y="1130"/>
                  </a:lnTo>
                  <a:lnTo>
                    <a:pt x="436" y="1130"/>
                  </a:lnTo>
                  <a:lnTo>
                    <a:pt x="436" y="1133"/>
                  </a:lnTo>
                  <a:lnTo>
                    <a:pt x="436" y="1133"/>
                  </a:lnTo>
                  <a:lnTo>
                    <a:pt x="436" y="1135"/>
                  </a:lnTo>
                  <a:lnTo>
                    <a:pt x="436" y="1135"/>
                  </a:lnTo>
                  <a:lnTo>
                    <a:pt x="436" y="1135"/>
                  </a:lnTo>
                  <a:lnTo>
                    <a:pt x="436" y="1133"/>
                  </a:lnTo>
                  <a:lnTo>
                    <a:pt x="436" y="1135"/>
                  </a:lnTo>
                  <a:lnTo>
                    <a:pt x="433" y="1135"/>
                  </a:lnTo>
                  <a:lnTo>
                    <a:pt x="433" y="1135"/>
                  </a:lnTo>
                  <a:lnTo>
                    <a:pt x="433" y="1135"/>
                  </a:lnTo>
                  <a:lnTo>
                    <a:pt x="433" y="1133"/>
                  </a:lnTo>
                  <a:lnTo>
                    <a:pt x="433" y="1133"/>
                  </a:lnTo>
                  <a:lnTo>
                    <a:pt x="433" y="1133"/>
                  </a:lnTo>
                  <a:lnTo>
                    <a:pt x="433" y="1130"/>
                  </a:lnTo>
                  <a:lnTo>
                    <a:pt x="436" y="1130"/>
                  </a:lnTo>
                  <a:lnTo>
                    <a:pt x="436" y="1130"/>
                  </a:lnTo>
                  <a:lnTo>
                    <a:pt x="436" y="1130"/>
                  </a:lnTo>
                  <a:lnTo>
                    <a:pt x="436" y="1130"/>
                  </a:lnTo>
                  <a:lnTo>
                    <a:pt x="436" y="1128"/>
                  </a:lnTo>
                  <a:lnTo>
                    <a:pt x="436" y="1128"/>
                  </a:lnTo>
                  <a:lnTo>
                    <a:pt x="436" y="1128"/>
                  </a:lnTo>
                  <a:lnTo>
                    <a:pt x="436" y="1126"/>
                  </a:lnTo>
                  <a:lnTo>
                    <a:pt x="436" y="1126"/>
                  </a:lnTo>
                  <a:lnTo>
                    <a:pt x="438" y="1123"/>
                  </a:lnTo>
                  <a:lnTo>
                    <a:pt x="440" y="1123"/>
                  </a:lnTo>
                  <a:lnTo>
                    <a:pt x="440" y="1121"/>
                  </a:lnTo>
                  <a:lnTo>
                    <a:pt x="440" y="1121"/>
                  </a:lnTo>
                  <a:lnTo>
                    <a:pt x="440" y="1119"/>
                  </a:lnTo>
                  <a:lnTo>
                    <a:pt x="440" y="1119"/>
                  </a:lnTo>
                  <a:lnTo>
                    <a:pt x="440" y="1119"/>
                  </a:lnTo>
                  <a:lnTo>
                    <a:pt x="440" y="1119"/>
                  </a:lnTo>
                  <a:lnTo>
                    <a:pt x="438" y="1121"/>
                  </a:lnTo>
                  <a:lnTo>
                    <a:pt x="438" y="1121"/>
                  </a:lnTo>
                  <a:lnTo>
                    <a:pt x="436" y="1123"/>
                  </a:lnTo>
                  <a:lnTo>
                    <a:pt x="436" y="1123"/>
                  </a:lnTo>
                  <a:lnTo>
                    <a:pt x="436" y="1123"/>
                  </a:lnTo>
                  <a:lnTo>
                    <a:pt x="436" y="1121"/>
                  </a:lnTo>
                  <a:lnTo>
                    <a:pt x="436" y="1121"/>
                  </a:lnTo>
                  <a:lnTo>
                    <a:pt x="438" y="1121"/>
                  </a:lnTo>
                  <a:lnTo>
                    <a:pt x="438" y="1119"/>
                  </a:lnTo>
                  <a:lnTo>
                    <a:pt x="438" y="1119"/>
                  </a:lnTo>
                  <a:lnTo>
                    <a:pt x="438" y="1119"/>
                  </a:lnTo>
                  <a:lnTo>
                    <a:pt x="440" y="1116"/>
                  </a:lnTo>
                  <a:lnTo>
                    <a:pt x="440" y="1116"/>
                  </a:lnTo>
                  <a:lnTo>
                    <a:pt x="440" y="1116"/>
                  </a:lnTo>
                  <a:lnTo>
                    <a:pt x="440" y="1116"/>
                  </a:lnTo>
                  <a:lnTo>
                    <a:pt x="440" y="1116"/>
                  </a:lnTo>
                  <a:lnTo>
                    <a:pt x="440" y="1116"/>
                  </a:lnTo>
                  <a:lnTo>
                    <a:pt x="440" y="1114"/>
                  </a:lnTo>
                  <a:lnTo>
                    <a:pt x="440" y="1114"/>
                  </a:lnTo>
                  <a:lnTo>
                    <a:pt x="443" y="1111"/>
                  </a:lnTo>
                  <a:lnTo>
                    <a:pt x="443" y="1109"/>
                  </a:lnTo>
                  <a:lnTo>
                    <a:pt x="443" y="1109"/>
                  </a:lnTo>
                  <a:lnTo>
                    <a:pt x="443" y="1109"/>
                  </a:lnTo>
                  <a:lnTo>
                    <a:pt x="443" y="1109"/>
                  </a:lnTo>
                  <a:lnTo>
                    <a:pt x="443" y="1107"/>
                  </a:lnTo>
                  <a:lnTo>
                    <a:pt x="443" y="1107"/>
                  </a:lnTo>
                  <a:lnTo>
                    <a:pt x="443" y="1107"/>
                  </a:lnTo>
                  <a:lnTo>
                    <a:pt x="440" y="1109"/>
                  </a:lnTo>
                  <a:lnTo>
                    <a:pt x="440" y="1109"/>
                  </a:lnTo>
                  <a:lnTo>
                    <a:pt x="440" y="1109"/>
                  </a:lnTo>
                  <a:lnTo>
                    <a:pt x="440" y="1109"/>
                  </a:lnTo>
                  <a:lnTo>
                    <a:pt x="440" y="1111"/>
                  </a:lnTo>
                  <a:lnTo>
                    <a:pt x="440" y="1111"/>
                  </a:lnTo>
                  <a:lnTo>
                    <a:pt x="440" y="1111"/>
                  </a:lnTo>
                  <a:lnTo>
                    <a:pt x="440" y="1111"/>
                  </a:lnTo>
                  <a:lnTo>
                    <a:pt x="438" y="1116"/>
                  </a:lnTo>
                  <a:lnTo>
                    <a:pt x="438" y="1119"/>
                  </a:lnTo>
                  <a:lnTo>
                    <a:pt x="438" y="1119"/>
                  </a:lnTo>
                  <a:lnTo>
                    <a:pt x="436" y="1121"/>
                  </a:lnTo>
                  <a:lnTo>
                    <a:pt x="436" y="1121"/>
                  </a:lnTo>
                  <a:lnTo>
                    <a:pt x="436" y="1121"/>
                  </a:lnTo>
                  <a:lnTo>
                    <a:pt x="436" y="1121"/>
                  </a:lnTo>
                  <a:lnTo>
                    <a:pt x="436" y="1119"/>
                  </a:lnTo>
                  <a:lnTo>
                    <a:pt x="436" y="1119"/>
                  </a:lnTo>
                  <a:lnTo>
                    <a:pt x="436" y="1119"/>
                  </a:lnTo>
                  <a:lnTo>
                    <a:pt x="438" y="1116"/>
                  </a:lnTo>
                  <a:lnTo>
                    <a:pt x="438" y="1116"/>
                  </a:lnTo>
                  <a:lnTo>
                    <a:pt x="438" y="1116"/>
                  </a:lnTo>
                  <a:lnTo>
                    <a:pt x="438" y="1114"/>
                  </a:lnTo>
                  <a:lnTo>
                    <a:pt x="440" y="1114"/>
                  </a:lnTo>
                  <a:lnTo>
                    <a:pt x="440" y="1109"/>
                  </a:lnTo>
                  <a:lnTo>
                    <a:pt x="440" y="1109"/>
                  </a:lnTo>
                  <a:lnTo>
                    <a:pt x="440" y="1107"/>
                  </a:lnTo>
                  <a:lnTo>
                    <a:pt x="440" y="1104"/>
                  </a:lnTo>
                  <a:lnTo>
                    <a:pt x="440" y="1104"/>
                  </a:lnTo>
                  <a:lnTo>
                    <a:pt x="440" y="1104"/>
                  </a:lnTo>
                  <a:lnTo>
                    <a:pt x="440" y="1102"/>
                  </a:lnTo>
                  <a:lnTo>
                    <a:pt x="440" y="1102"/>
                  </a:lnTo>
                  <a:lnTo>
                    <a:pt x="440" y="1102"/>
                  </a:lnTo>
                  <a:lnTo>
                    <a:pt x="440" y="1102"/>
                  </a:lnTo>
                  <a:lnTo>
                    <a:pt x="438" y="1102"/>
                  </a:lnTo>
                  <a:lnTo>
                    <a:pt x="438" y="1102"/>
                  </a:lnTo>
                  <a:lnTo>
                    <a:pt x="438" y="1104"/>
                  </a:lnTo>
                  <a:lnTo>
                    <a:pt x="438" y="1104"/>
                  </a:lnTo>
                  <a:lnTo>
                    <a:pt x="438" y="1104"/>
                  </a:lnTo>
                  <a:lnTo>
                    <a:pt x="438" y="1104"/>
                  </a:lnTo>
                  <a:lnTo>
                    <a:pt x="438" y="1107"/>
                  </a:lnTo>
                  <a:lnTo>
                    <a:pt x="438" y="1107"/>
                  </a:lnTo>
                  <a:lnTo>
                    <a:pt x="438" y="1107"/>
                  </a:lnTo>
                  <a:lnTo>
                    <a:pt x="440" y="1107"/>
                  </a:lnTo>
                  <a:lnTo>
                    <a:pt x="440" y="1109"/>
                  </a:lnTo>
                  <a:lnTo>
                    <a:pt x="440" y="1109"/>
                  </a:lnTo>
                  <a:lnTo>
                    <a:pt x="438" y="1111"/>
                  </a:lnTo>
                  <a:lnTo>
                    <a:pt x="438" y="1111"/>
                  </a:lnTo>
                  <a:lnTo>
                    <a:pt x="438" y="1114"/>
                  </a:lnTo>
                  <a:lnTo>
                    <a:pt x="438" y="1114"/>
                  </a:lnTo>
                  <a:lnTo>
                    <a:pt x="438" y="1114"/>
                  </a:lnTo>
                  <a:lnTo>
                    <a:pt x="438" y="1114"/>
                  </a:lnTo>
                  <a:lnTo>
                    <a:pt x="438" y="1116"/>
                  </a:lnTo>
                  <a:lnTo>
                    <a:pt x="436" y="1116"/>
                  </a:lnTo>
                  <a:lnTo>
                    <a:pt x="436" y="1119"/>
                  </a:lnTo>
                  <a:lnTo>
                    <a:pt x="436" y="1119"/>
                  </a:lnTo>
                  <a:lnTo>
                    <a:pt x="436" y="1119"/>
                  </a:lnTo>
                  <a:lnTo>
                    <a:pt x="436" y="1119"/>
                  </a:lnTo>
                  <a:lnTo>
                    <a:pt x="436" y="1116"/>
                  </a:lnTo>
                  <a:lnTo>
                    <a:pt x="436" y="1116"/>
                  </a:lnTo>
                  <a:lnTo>
                    <a:pt x="436" y="1116"/>
                  </a:lnTo>
                  <a:lnTo>
                    <a:pt x="436" y="1114"/>
                  </a:lnTo>
                  <a:lnTo>
                    <a:pt x="436" y="1114"/>
                  </a:lnTo>
                  <a:lnTo>
                    <a:pt x="436" y="1114"/>
                  </a:lnTo>
                  <a:lnTo>
                    <a:pt x="436" y="1114"/>
                  </a:lnTo>
                  <a:lnTo>
                    <a:pt x="436" y="1114"/>
                  </a:lnTo>
                  <a:lnTo>
                    <a:pt x="438" y="1111"/>
                  </a:lnTo>
                  <a:lnTo>
                    <a:pt x="438" y="1109"/>
                  </a:lnTo>
                  <a:lnTo>
                    <a:pt x="438" y="1109"/>
                  </a:lnTo>
                  <a:lnTo>
                    <a:pt x="438" y="1109"/>
                  </a:lnTo>
                  <a:lnTo>
                    <a:pt x="438" y="1109"/>
                  </a:lnTo>
                  <a:lnTo>
                    <a:pt x="438" y="1109"/>
                  </a:lnTo>
                  <a:lnTo>
                    <a:pt x="438" y="1109"/>
                  </a:lnTo>
                  <a:lnTo>
                    <a:pt x="438" y="1109"/>
                  </a:lnTo>
                  <a:lnTo>
                    <a:pt x="438" y="1109"/>
                  </a:lnTo>
                  <a:lnTo>
                    <a:pt x="438" y="1107"/>
                  </a:lnTo>
                  <a:lnTo>
                    <a:pt x="438" y="1107"/>
                  </a:lnTo>
                  <a:lnTo>
                    <a:pt x="438" y="1107"/>
                  </a:lnTo>
                  <a:lnTo>
                    <a:pt x="438" y="1107"/>
                  </a:lnTo>
                  <a:lnTo>
                    <a:pt x="438" y="1107"/>
                  </a:lnTo>
                  <a:lnTo>
                    <a:pt x="438" y="1107"/>
                  </a:lnTo>
                  <a:lnTo>
                    <a:pt x="438" y="1104"/>
                  </a:lnTo>
                  <a:lnTo>
                    <a:pt x="438" y="1104"/>
                  </a:lnTo>
                  <a:lnTo>
                    <a:pt x="438" y="1104"/>
                  </a:lnTo>
                  <a:lnTo>
                    <a:pt x="436" y="1104"/>
                  </a:lnTo>
                  <a:lnTo>
                    <a:pt x="436" y="1104"/>
                  </a:lnTo>
                  <a:lnTo>
                    <a:pt x="436" y="1104"/>
                  </a:lnTo>
                  <a:lnTo>
                    <a:pt x="436" y="1104"/>
                  </a:lnTo>
                  <a:lnTo>
                    <a:pt x="436" y="1107"/>
                  </a:lnTo>
                  <a:lnTo>
                    <a:pt x="438" y="1109"/>
                  </a:lnTo>
                  <a:lnTo>
                    <a:pt x="436" y="1111"/>
                  </a:lnTo>
                  <a:lnTo>
                    <a:pt x="436" y="1111"/>
                  </a:lnTo>
                  <a:lnTo>
                    <a:pt x="436" y="1111"/>
                  </a:lnTo>
                  <a:lnTo>
                    <a:pt x="436" y="1114"/>
                  </a:lnTo>
                  <a:lnTo>
                    <a:pt x="436" y="1114"/>
                  </a:lnTo>
                  <a:lnTo>
                    <a:pt x="436" y="1114"/>
                  </a:lnTo>
                  <a:lnTo>
                    <a:pt x="436" y="1114"/>
                  </a:lnTo>
                  <a:lnTo>
                    <a:pt x="436" y="1114"/>
                  </a:lnTo>
                  <a:lnTo>
                    <a:pt x="436" y="1114"/>
                  </a:lnTo>
                  <a:lnTo>
                    <a:pt x="436" y="1116"/>
                  </a:lnTo>
                  <a:lnTo>
                    <a:pt x="436" y="1116"/>
                  </a:lnTo>
                  <a:lnTo>
                    <a:pt x="436" y="1116"/>
                  </a:lnTo>
                  <a:lnTo>
                    <a:pt x="436" y="1116"/>
                  </a:lnTo>
                  <a:lnTo>
                    <a:pt x="436" y="1116"/>
                  </a:lnTo>
                  <a:lnTo>
                    <a:pt x="436" y="1116"/>
                  </a:lnTo>
                  <a:lnTo>
                    <a:pt x="436" y="1116"/>
                  </a:lnTo>
                  <a:lnTo>
                    <a:pt x="433" y="1116"/>
                  </a:lnTo>
                  <a:lnTo>
                    <a:pt x="433" y="1116"/>
                  </a:lnTo>
                  <a:lnTo>
                    <a:pt x="433" y="1119"/>
                  </a:lnTo>
                  <a:lnTo>
                    <a:pt x="433" y="1119"/>
                  </a:lnTo>
                  <a:lnTo>
                    <a:pt x="433" y="1119"/>
                  </a:lnTo>
                  <a:lnTo>
                    <a:pt x="431" y="1119"/>
                  </a:lnTo>
                  <a:lnTo>
                    <a:pt x="431" y="1119"/>
                  </a:lnTo>
                  <a:lnTo>
                    <a:pt x="431" y="1121"/>
                  </a:lnTo>
                  <a:lnTo>
                    <a:pt x="428" y="1121"/>
                  </a:lnTo>
                  <a:lnTo>
                    <a:pt x="428" y="1121"/>
                  </a:lnTo>
                  <a:lnTo>
                    <a:pt x="426" y="1121"/>
                  </a:lnTo>
                  <a:lnTo>
                    <a:pt x="428" y="1121"/>
                  </a:lnTo>
                  <a:lnTo>
                    <a:pt x="428" y="1119"/>
                  </a:lnTo>
                  <a:lnTo>
                    <a:pt x="428" y="1119"/>
                  </a:lnTo>
                  <a:lnTo>
                    <a:pt x="431" y="1119"/>
                  </a:lnTo>
                  <a:lnTo>
                    <a:pt x="433" y="1116"/>
                  </a:lnTo>
                  <a:lnTo>
                    <a:pt x="433" y="1116"/>
                  </a:lnTo>
                  <a:lnTo>
                    <a:pt x="433" y="1116"/>
                  </a:lnTo>
                  <a:lnTo>
                    <a:pt x="433" y="1116"/>
                  </a:lnTo>
                  <a:lnTo>
                    <a:pt x="436" y="1111"/>
                  </a:lnTo>
                  <a:lnTo>
                    <a:pt x="436" y="1109"/>
                  </a:lnTo>
                  <a:lnTo>
                    <a:pt x="436" y="1109"/>
                  </a:lnTo>
                  <a:lnTo>
                    <a:pt x="433" y="1109"/>
                  </a:lnTo>
                  <a:lnTo>
                    <a:pt x="433" y="1109"/>
                  </a:lnTo>
                  <a:lnTo>
                    <a:pt x="433" y="1114"/>
                  </a:lnTo>
                  <a:lnTo>
                    <a:pt x="433" y="1114"/>
                  </a:lnTo>
                  <a:lnTo>
                    <a:pt x="433" y="1114"/>
                  </a:lnTo>
                  <a:lnTo>
                    <a:pt x="433" y="1109"/>
                  </a:lnTo>
                  <a:lnTo>
                    <a:pt x="433" y="1109"/>
                  </a:lnTo>
                  <a:lnTo>
                    <a:pt x="433" y="1109"/>
                  </a:lnTo>
                  <a:lnTo>
                    <a:pt x="433" y="1109"/>
                  </a:lnTo>
                  <a:lnTo>
                    <a:pt x="433" y="1109"/>
                  </a:lnTo>
                  <a:lnTo>
                    <a:pt x="433" y="1109"/>
                  </a:lnTo>
                  <a:lnTo>
                    <a:pt x="433" y="1109"/>
                  </a:lnTo>
                  <a:lnTo>
                    <a:pt x="431" y="1111"/>
                  </a:lnTo>
                  <a:lnTo>
                    <a:pt x="433" y="1111"/>
                  </a:lnTo>
                  <a:lnTo>
                    <a:pt x="431" y="1111"/>
                  </a:lnTo>
                  <a:lnTo>
                    <a:pt x="431" y="1111"/>
                  </a:lnTo>
                  <a:lnTo>
                    <a:pt x="431" y="1111"/>
                  </a:lnTo>
                  <a:lnTo>
                    <a:pt x="431" y="1111"/>
                  </a:lnTo>
                  <a:lnTo>
                    <a:pt x="431" y="1111"/>
                  </a:lnTo>
                  <a:lnTo>
                    <a:pt x="431" y="1114"/>
                  </a:lnTo>
                  <a:lnTo>
                    <a:pt x="431" y="1114"/>
                  </a:lnTo>
                  <a:lnTo>
                    <a:pt x="428" y="1114"/>
                  </a:lnTo>
                  <a:lnTo>
                    <a:pt x="428" y="1114"/>
                  </a:lnTo>
                  <a:lnTo>
                    <a:pt x="428" y="1116"/>
                  </a:lnTo>
                  <a:lnTo>
                    <a:pt x="428" y="1116"/>
                  </a:lnTo>
                  <a:lnTo>
                    <a:pt x="426" y="1119"/>
                  </a:lnTo>
                  <a:lnTo>
                    <a:pt x="426" y="1119"/>
                  </a:lnTo>
                  <a:lnTo>
                    <a:pt x="426" y="1119"/>
                  </a:lnTo>
                  <a:lnTo>
                    <a:pt x="426" y="1116"/>
                  </a:lnTo>
                  <a:lnTo>
                    <a:pt x="426" y="1116"/>
                  </a:lnTo>
                  <a:lnTo>
                    <a:pt x="426" y="1116"/>
                  </a:lnTo>
                  <a:lnTo>
                    <a:pt x="426" y="1116"/>
                  </a:lnTo>
                  <a:lnTo>
                    <a:pt x="426" y="1114"/>
                  </a:lnTo>
                  <a:lnTo>
                    <a:pt x="428" y="1114"/>
                  </a:lnTo>
                  <a:lnTo>
                    <a:pt x="428" y="1111"/>
                  </a:lnTo>
                  <a:lnTo>
                    <a:pt x="428" y="1111"/>
                  </a:lnTo>
                  <a:lnTo>
                    <a:pt x="428" y="1111"/>
                  </a:lnTo>
                  <a:lnTo>
                    <a:pt x="428" y="1111"/>
                  </a:lnTo>
                  <a:lnTo>
                    <a:pt x="428" y="1109"/>
                  </a:lnTo>
                  <a:lnTo>
                    <a:pt x="426" y="1109"/>
                  </a:lnTo>
                  <a:lnTo>
                    <a:pt x="426" y="1109"/>
                  </a:lnTo>
                  <a:lnTo>
                    <a:pt x="426" y="1109"/>
                  </a:lnTo>
                  <a:lnTo>
                    <a:pt x="426" y="1107"/>
                  </a:lnTo>
                  <a:lnTo>
                    <a:pt x="424" y="1109"/>
                  </a:lnTo>
                  <a:lnTo>
                    <a:pt x="424" y="1109"/>
                  </a:lnTo>
                  <a:lnTo>
                    <a:pt x="424" y="1111"/>
                  </a:lnTo>
                  <a:lnTo>
                    <a:pt x="421" y="1109"/>
                  </a:lnTo>
                  <a:lnTo>
                    <a:pt x="421" y="1109"/>
                  </a:lnTo>
                  <a:lnTo>
                    <a:pt x="419" y="1109"/>
                  </a:lnTo>
                  <a:lnTo>
                    <a:pt x="419" y="1109"/>
                  </a:lnTo>
                  <a:lnTo>
                    <a:pt x="419" y="1109"/>
                  </a:lnTo>
                  <a:lnTo>
                    <a:pt x="419" y="1109"/>
                  </a:lnTo>
                  <a:lnTo>
                    <a:pt x="419" y="1109"/>
                  </a:lnTo>
                  <a:lnTo>
                    <a:pt x="417" y="1109"/>
                  </a:lnTo>
                  <a:lnTo>
                    <a:pt x="417" y="1111"/>
                  </a:lnTo>
                  <a:lnTo>
                    <a:pt x="417" y="1109"/>
                  </a:lnTo>
                  <a:lnTo>
                    <a:pt x="419" y="1111"/>
                  </a:lnTo>
                  <a:lnTo>
                    <a:pt x="419" y="1111"/>
                  </a:lnTo>
                  <a:lnTo>
                    <a:pt x="419" y="1111"/>
                  </a:lnTo>
                  <a:lnTo>
                    <a:pt x="419" y="1111"/>
                  </a:lnTo>
                  <a:lnTo>
                    <a:pt x="419" y="1111"/>
                  </a:lnTo>
                  <a:lnTo>
                    <a:pt x="419" y="1114"/>
                  </a:lnTo>
                  <a:lnTo>
                    <a:pt x="419" y="1114"/>
                  </a:lnTo>
                  <a:lnTo>
                    <a:pt x="421" y="1111"/>
                  </a:lnTo>
                  <a:lnTo>
                    <a:pt x="421" y="1111"/>
                  </a:lnTo>
                  <a:lnTo>
                    <a:pt x="421" y="1111"/>
                  </a:lnTo>
                  <a:lnTo>
                    <a:pt x="421" y="1114"/>
                  </a:lnTo>
                  <a:lnTo>
                    <a:pt x="419" y="1116"/>
                  </a:lnTo>
                  <a:lnTo>
                    <a:pt x="417" y="1116"/>
                  </a:lnTo>
                  <a:lnTo>
                    <a:pt x="417" y="1119"/>
                  </a:lnTo>
                  <a:lnTo>
                    <a:pt x="417" y="1119"/>
                  </a:lnTo>
                  <a:lnTo>
                    <a:pt x="417" y="1119"/>
                  </a:lnTo>
                  <a:lnTo>
                    <a:pt x="417" y="1119"/>
                  </a:lnTo>
                  <a:lnTo>
                    <a:pt x="417" y="1119"/>
                  </a:lnTo>
                  <a:lnTo>
                    <a:pt x="414" y="1119"/>
                  </a:lnTo>
                  <a:lnTo>
                    <a:pt x="417" y="1119"/>
                  </a:lnTo>
                  <a:lnTo>
                    <a:pt x="417" y="1116"/>
                  </a:lnTo>
                  <a:lnTo>
                    <a:pt x="417" y="1116"/>
                  </a:lnTo>
                  <a:lnTo>
                    <a:pt x="417" y="1116"/>
                  </a:lnTo>
                  <a:lnTo>
                    <a:pt x="414" y="1119"/>
                  </a:lnTo>
                  <a:lnTo>
                    <a:pt x="414" y="1119"/>
                  </a:lnTo>
                  <a:lnTo>
                    <a:pt x="414" y="1119"/>
                  </a:lnTo>
                  <a:lnTo>
                    <a:pt x="414" y="1121"/>
                  </a:lnTo>
                  <a:lnTo>
                    <a:pt x="412" y="1121"/>
                  </a:lnTo>
                  <a:lnTo>
                    <a:pt x="412" y="1119"/>
                  </a:lnTo>
                  <a:lnTo>
                    <a:pt x="412" y="1119"/>
                  </a:lnTo>
                  <a:lnTo>
                    <a:pt x="410" y="1121"/>
                  </a:lnTo>
                  <a:lnTo>
                    <a:pt x="410" y="1121"/>
                  </a:lnTo>
                  <a:lnTo>
                    <a:pt x="410" y="1121"/>
                  </a:lnTo>
                  <a:lnTo>
                    <a:pt x="410" y="1121"/>
                  </a:lnTo>
                  <a:lnTo>
                    <a:pt x="410" y="1119"/>
                  </a:lnTo>
                  <a:lnTo>
                    <a:pt x="410" y="1119"/>
                  </a:lnTo>
                  <a:lnTo>
                    <a:pt x="410" y="1119"/>
                  </a:lnTo>
                  <a:lnTo>
                    <a:pt x="410" y="1119"/>
                  </a:lnTo>
                  <a:lnTo>
                    <a:pt x="410" y="1119"/>
                  </a:lnTo>
                  <a:lnTo>
                    <a:pt x="410" y="1119"/>
                  </a:lnTo>
                  <a:lnTo>
                    <a:pt x="410" y="1119"/>
                  </a:lnTo>
                  <a:lnTo>
                    <a:pt x="407" y="1121"/>
                  </a:lnTo>
                  <a:lnTo>
                    <a:pt x="407" y="1121"/>
                  </a:lnTo>
                  <a:lnTo>
                    <a:pt x="407" y="1121"/>
                  </a:lnTo>
                  <a:lnTo>
                    <a:pt x="407" y="1123"/>
                  </a:lnTo>
                  <a:lnTo>
                    <a:pt x="405" y="1126"/>
                  </a:lnTo>
                  <a:lnTo>
                    <a:pt x="405" y="1126"/>
                  </a:lnTo>
                  <a:lnTo>
                    <a:pt x="405" y="1123"/>
                  </a:lnTo>
                  <a:lnTo>
                    <a:pt x="407" y="1123"/>
                  </a:lnTo>
                  <a:lnTo>
                    <a:pt x="407" y="1121"/>
                  </a:lnTo>
                  <a:lnTo>
                    <a:pt x="407" y="1121"/>
                  </a:lnTo>
                  <a:lnTo>
                    <a:pt x="407" y="1121"/>
                  </a:lnTo>
                  <a:lnTo>
                    <a:pt x="407" y="1121"/>
                  </a:lnTo>
                  <a:lnTo>
                    <a:pt x="407" y="1121"/>
                  </a:lnTo>
                  <a:lnTo>
                    <a:pt x="407" y="1121"/>
                  </a:lnTo>
                  <a:lnTo>
                    <a:pt x="405" y="1121"/>
                  </a:lnTo>
                  <a:lnTo>
                    <a:pt x="405" y="1123"/>
                  </a:lnTo>
                  <a:lnTo>
                    <a:pt x="405" y="1123"/>
                  </a:lnTo>
                  <a:lnTo>
                    <a:pt x="405" y="1123"/>
                  </a:lnTo>
                  <a:lnTo>
                    <a:pt x="402" y="1121"/>
                  </a:lnTo>
                  <a:lnTo>
                    <a:pt x="405" y="1121"/>
                  </a:lnTo>
                  <a:lnTo>
                    <a:pt x="405" y="1121"/>
                  </a:lnTo>
                  <a:lnTo>
                    <a:pt x="405" y="1121"/>
                  </a:lnTo>
                  <a:lnTo>
                    <a:pt x="405" y="1121"/>
                  </a:lnTo>
                  <a:lnTo>
                    <a:pt x="405" y="1119"/>
                  </a:lnTo>
                  <a:lnTo>
                    <a:pt x="405" y="1119"/>
                  </a:lnTo>
                  <a:lnTo>
                    <a:pt x="405" y="1119"/>
                  </a:lnTo>
                  <a:lnTo>
                    <a:pt x="405" y="1119"/>
                  </a:lnTo>
                  <a:lnTo>
                    <a:pt x="405" y="1121"/>
                  </a:lnTo>
                  <a:lnTo>
                    <a:pt x="402" y="1121"/>
                  </a:lnTo>
                  <a:lnTo>
                    <a:pt x="402" y="1123"/>
                  </a:lnTo>
                  <a:lnTo>
                    <a:pt x="402" y="1123"/>
                  </a:lnTo>
                  <a:lnTo>
                    <a:pt x="400" y="1126"/>
                  </a:lnTo>
                  <a:lnTo>
                    <a:pt x="400" y="1126"/>
                  </a:lnTo>
                  <a:lnTo>
                    <a:pt x="400" y="1126"/>
                  </a:lnTo>
                  <a:lnTo>
                    <a:pt x="400" y="1126"/>
                  </a:lnTo>
                  <a:lnTo>
                    <a:pt x="400" y="1126"/>
                  </a:lnTo>
                  <a:lnTo>
                    <a:pt x="400" y="1123"/>
                  </a:lnTo>
                  <a:lnTo>
                    <a:pt x="400" y="1123"/>
                  </a:lnTo>
                  <a:lnTo>
                    <a:pt x="400" y="1123"/>
                  </a:lnTo>
                  <a:lnTo>
                    <a:pt x="400" y="1123"/>
                  </a:lnTo>
                  <a:lnTo>
                    <a:pt x="400" y="1123"/>
                  </a:lnTo>
                  <a:lnTo>
                    <a:pt x="400" y="1123"/>
                  </a:lnTo>
                  <a:lnTo>
                    <a:pt x="400" y="1123"/>
                  </a:lnTo>
                  <a:lnTo>
                    <a:pt x="400" y="1123"/>
                  </a:lnTo>
                  <a:lnTo>
                    <a:pt x="402" y="1123"/>
                  </a:lnTo>
                  <a:lnTo>
                    <a:pt x="402" y="1119"/>
                  </a:lnTo>
                  <a:lnTo>
                    <a:pt x="402" y="1119"/>
                  </a:lnTo>
                  <a:lnTo>
                    <a:pt x="402" y="1119"/>
                  </a:lnTo>
                  <a:lnTo>
                    <a:pt x="402" y="1119"/>
                  </a:lnTo>
                  <a:lnTo>
                    <a:pt x="400" y="1121"/>
                  </a:lnTo>
                  <a:lnTo>
                    <a:pt x="400" y="1121"/>
                  </a:lnTo>
                  <a:lnTo>
                    <a:pt x="400" y="1121"/>
                  </a:lnTo>
                  <a:lnTo>
                    <a:pt x="400" y="1121"/>
                  </a:lnTo>
                  <a:lnTo>
                    <a:pt x="400" y="1123"/>
                  </a:lnTo>
                  <a:lnTo>
                    <a:pt x="400" y="1123"/>
                  </a:lnTo>
                  <a:lnTo>
                    <a:pt x="400" y="1123"/>
                  </a:lnTo>
                  <a:lnTo>
                    <a:pt x="398" y="1123"/>
                  </a:lnTo>
                  <a:lnTo>
                    <a:pt x="398" y="1123"/>
                  </a:lnTo>
                  <a:lnTo>
                    <a:pt x="398" y="1123"/>
                  </a:lnTo>
                  <a:lnTo>
                    <a:pt x="395" y="1126"/>
                  </a:lnTo>
                  <a:lnTo>
                    <a:pt x="393" y="1126"/>
                  </a:lnTo>
                  <a:lnTo>
                    <a:pt x="391" y="1126"/>
                  </a:lnTo>
                  <a:lnTo>
                    <a:pt x="391" y="1126"/>
                  </a:lnTo>
                  <a:lnTo>
                    <a:pt x="388" y="1126"/>
                  </a:lnTo>
                  <a:lnTo>
                    <a:pt x="388" y="1126"/>
                  </a:lnTo>
                  <a:lnTo>
                    <a:pt x="388" y="1126"/>
                  </a:lnTo>
                  <a:lnTo>
                    <a:pt x="388" y="1128"/>
                  </a:lnTo>
                  <a:lnTo>
                    <a:pt x="388" y="1128"/>
                  </a:lnTo>
                  <a:lnTo>
                    <a:pt x="388" y="1128"/>
                  </a:lnTo>
                  <a:lnTo>
                    <a:pt x="388" y="1130"/>
                  </a:lnTo>
                  <a:lnTo>
                    <a:pt x="388" y="1130"/>
                  </a:lnTo>
                  <a:lnTo>
                    <a:pt x="388" y="1133"/>
                  </a:lnTo>
                  <a:lnTo>
                    <a:pt x="388" y="1133"/>
                  </a:lnTo>
                  <a:lnTo>
                    <a:pt x="391" y="1133"/>
                  </a:lnTo>
                  <a:lnTo>
                    <a:pt x="391" y="1135"/>
                  </a:lnTo>
                  <a:lnTo>
                    <a:pt x="391" y="1137"/>
                  </a:lnTo>
                  <a:lnTo>
                    <a:pt x="388" y="1135"/>
                  </a:lnTo>
                  <a:lnTo>
                    <a:pt x="388" y="1135"/>
                  </a:lnTo>
                  <a:lnTo>
                    <a:pt x="386" y="1135"/>
                  </a:lnTo>
                  <a:lnTo>
                    <a:pt x="386" y="1137"/>
                  </a:lnTo>
                  <a:lnTo>
                    <a:pt x="388" y="1137"/>
                  </a:lnTo>
                  <a:lnTo>
                    <a:pt x="388" y="1137"/>
                  </a:lnTo>
                  <a:lnTo>
                    <a:pt x="388" y="1140"/>
                  </a:lnTo>
                  <a:lnTo>
                    <a:pt x="388" y="1140"/>
                  </a:lnTo>
                  <a:lnTo>
                    <a:pt x="388" y="1140"/>
                  </a:lnTo>
                  <a:lnTo>
                    <a:pt x="388" y="1140"/>
                  </a:lnTo>
                  <a:lnTo>
                    <a:pt x="386" y="1140"/>
                  </a:lnTo>
                  <a:lnTo>
                    <a:pt x="386" y="1140"/>
                  </a:lnTo>
                  <a:lnTo>
                    <a:pt x="386" y="1140"/>
                  </a:lnTo>
                  <a:lnTo>
                    <a:pt x="386" y="1140"/>
                  </a:lnTo>
                  <a:lnTo>
                    <a:pt x="388" y="1142"/>
                  </a:lnTo>
                  <a:lnTo>
                    <a:pt x="388" y="1142"/>
                  </a:lnTo>
                  <a:lnTo>
                    <a:pt x="391" y="1142"/>
                  </a:lnTo>
                  <a:lnTo>
                    <a:pt x="391" y="1140"/>
                  </a:lnTo>
                  <a:lnTo>
                    <a:pt x="391" y="1140"/>
                  </a:lnTo>
                  <a:lnTo>
                    <a:pt x="391" y="1140"/>
                  </a:lnTo>
                  <a:lnTo>
                    <a:pt x="391" y="1140"/>
                  </a:lnTo>
                  <a:lnTo>
                    <a:pt x="393" y="1140"/>
                  </a:lnTo>
                  <a:lnTo>
                    <a:pt x="393" y="1140"/>
                  </a:lnTo>
                  <a:lnTo>
                    <a:pt x="393" y="1140"/>
                  </a:lnTo>
                  <a:lnTo>
                    <a:pt x="393" y="1140"/>
                  </a:lnTo>
                  <a:lnTo>
                    <a:pt x="393" y="1137"/>
                  </a:lnTo>
                  <a:lnTo>
                    <a:pt x="393" y="1137"/>
                  </a:lnTo>
                  <a:lnTo>
                    <a:pt x="395" y="1140"/>
                  </a:lnTo>
                  <a:lnTo>
                    <a:pt x="395" y="1142"/>
                  </a:lnTo>
                  <a:lnTo>
                    <a:pt x="395" y="1142"/>
                  </a:lnTo>
                  <a:lnTo>
                    <a:pt x="395" y="1142"/>
                  </a:lnTo>
                  <a:lnTo>
                    <a:pt x="395" y="1145"/>
                  </a:lnTo>
                  <a:lnTo>
                    <a:pt x="395" y="1145"/>
                  </a:lnTo>
                  <a:lnTo>
                    <a:pt x="395" y="1145"/>
                  </a:lnTo>
                  <a:lnTo>
                    <a:pt x="393" y="1145"/>
                  </a:lnTo>
                  <a:lnTo>
                    <a:pt x="393" y="1145"/>
                  </a:lnTo>
                  <a:lnTo>
                    <a:pt x="393" y="1145"/>
                  </a:lnTo>
                  <a:lnTo>
                    <a:pt x="393" y="1145"/>
                  </a:lnTo>
                  <a:lnTo>
                    <a:pt x="393" y="1145"/>
                  </a:lnTo>
                  <a:lnTo>
                    <a:pt x="393" y="1145"/>
                  </a:lnTo>
                  <a:lnTo>
                    <a:pt x="388" y="1142"/>
                  </a:lnTo>
                  <a:lnTo>
                    <a:pt x="386" y="1142"/>
                  </a:lnTo>
                  <a:lnTo>
                    <a:pt x="386" y="1142"/>
                  </a:lnTo>
                  <a:lnTo>
                    <a:pt x="388" y="1145"/>
                  </a:lnTo>
                  <a:lnTo>
                    <a:pt x="388" y="1145"/>
                  </a:lnTo>
                  <a:lnTo>
                    <a:pt x="386" y="1145"/>
                  </a:lnTo>
                  <a:lnTo>
                    <a:pt x="386" y="1142"/>
                  </a:lnTo>
                  <a:lnTo>
                    <a:pt x="386" y="1142"/>
                  </a:lnTo>
                  <a:lnTo>
                    <a:pt x="383" y="1140"/>
                  </a:lnTo>
                  <a:lnTo>
                    <a:pt x="383" y="1140"/>
                  </a:lnTo>
                  <a:lnTo>
                    <a:pt x="383" y="1140"/>
                  </a:lnTo>
                  <a:lnTo>
                    <a:pt x="383" y="1140"/>
                  </a:lnTo>
                  <a:lnTo>
                    <a:pt x="381" y="1140"/>
                  </a:lnTo>
                  <a:lnTo>
                    <a:pt x="381" y="1140"/>
                  </a:lnTo>
                  <a:lnTo>
                    <a:pt x="381" y="1142"/>
                  </a:lnTo>
                  <a:lnTo>
                    <a:pt x="381" y="1142"/>
                  </a:lnTo>
                  <a:lnTo>
                    <a:pt x="379" y="1140"/>
                  </a:lnTo>
                  <a:lnTo>
                    <a:pt x="379" y="1140"/>
                  </a:lnTo>
                  <a:lnTo>
                    <a:pt x="379" y="1140"/>
                  </a:lnTo>
                  <a:lnTo>
                    <a:pt x="379" y="1142"/>
                  </a:lnTo>
                  <a:lnTo>
                    <a:pt x="379" y="1142"/>
                  </a:lnTo>
                  <a:lnTo>
                    <a:pt x="379" y="1142"/>
                  </a:lnTo>
                  <a:lnTo>
                    <a:pt x="379" y="1140"/>
                  </a:lnTo>
                  <a:lnTo>
                    <a:pt x="379" y="1140"/>
                  </a:lnTo>
                  <a:lnTo>
                    <a:pt x="379" y="1140"/>
                  </a:lnTo>
                  <a:lnTo>
                    <a:pt x="376" y="1140"/>
                  </a:lnTo>
                  <a:lnTo>
                    <a:pt x="376" y="1140"/>
                  </a:lnTo>
                  <a:lnTo>
                    <a:pt x="376" y="1140"/>
                  </a:lnTo>
                  <a:lnTo>
                    <a:pt x="376" y="1137"/>
                  </a:lnTo>
                  <a:lnTo>
                    <a:pt x="376" y="1137"/>
                  </a:lnTo>
                  <a:lnTo>
                    <a:pt x="376" y="1137"/>
                  </a:lnTo>
                  <a:lnTo>
                    <a:pt x="376" y="1137"/>
                  </a:lnTo>
                  <a:lnTo>
                    <a:pt x="376" y="1137"/>
                  </a:lnTo>
                  <a:lnTo>
                    <a:pt x="376" y="1137"/>
                  </a:lnTo>
                  <a:lnTo>
                    <a:pt x="374" y="1137"/>
                  </a:lnTo>
                  <a:lnTo>
                    <a:pt x="372" y="1137"/>
                  </a:lnTo>
                  <a:lnTo>
                    <a:pt x="372" y="1137"/>
                  </a:lnTo>
                  <a:lnTo>
                    <a:pt x="372" y="1137"/>
                  </a:lnTo>
                  <a:lnTo>
                    <a:pt x="372" y="1137"/>
                  </a:lnTo>
                  <a:lnTo>
                    <a:pt x="372" y="1140"/>
                  </a:lnTo>
                  <a:lnTo>
                    <a:pt x="372" y="1140"/>
                  </a:lnTo>
                  <a:lnTo>
                    <a:pt x="372" y="1140"/>
                  </a:lnTo>
                  <a:lnTo>
                    <a:pt x="372" y="1140"/>
                  </a:lnTo>
                  <a:lnTo>
                    <a:pt x="372" y="1140"/>
                  </a:lnTo>
                  <a:lnTo>
                    <a:pt x="374" y="1140"/>
                  </a:lnTo>
                  <a:lnTo>
                    <a:pt x="374" y="1140"/>
                  </a:lnTo>
                  <a:lnTo>
                    <a:pt x="376" y="1142"/>
                  </a:lnTo>
                  <a:lnTo>
                    <a:pt x="376" y="1145"/>
                  </a:lnTo>
                  <a:lnTo>
                    <a:pt x="376" y="1145"/>
                  </a:lnTo>
                  <a:lnTo>
                    <a:pt x="374" y="1142"/>
                  </a:lnTo>
                  <a:lnTo>
                    <a:pt x="374" y="1142"/>
                  </a:lnTo>
                  <a:lnTo>
                    <a:pt x="374" y="1142"/>
                  </a:lnTo>
                  <a:lnTo>
                    <a:pt x="374" y="1142"/>
                  </a:lnTo>
                  <a:lnTo>
                    <a:pt x="374" y="1142"/>
                  </a:lnTo>
                  <a:lnTo>
                    <a:pt x="374" y="1142"/>
                  </a:lnTo>
                  <a:lnTo>
                    <a:pt x="374" y="1145"/>
                  </a:lnTo>
                  <a:lnTo>
                    <a:pt x="374" y="1145"/>
                  </a:lnTo>
                  <a:lnTo>
                    <a:pt x="374" y="1145"/>
                  </a:lnTo>
                  <a:lnTo>
                    <a:pt x="374" y="1145"/>
                  </a:lnTo>
                  <a:lnTo>
                    <a:pt x="376" y="1145"/>
                  </a:lnTo>
                  <a:lnTo>
                    <a:pt x="376" y="1145"/>
                  </a:lnTo>
                  <a:lnTo>
                    <a:pt x="376" y="1147"/>
                  </a:lnTo>
                  <a:lnTo>
                    <a:pt x="376" y="1147"/>
                  </a:lnTo>
                  <a:lnTo>
                    <a:pt x="379" y="1149"/>
                  </a:lnTo>
                  <a:lnTo>
                    <a:pt x="379" y="1147"/>
                  </a:lnTo>
                  <a:lnTo>
                    <a:pt x="379" y="1147"/>
                  </a:lnTo>
                  <a:lnTo>
                    <a:pt x="379" y="1147"/>
                  </a:lnTo>
                  <a:lnTo>
                    <a:pt x="379" y="1149"/>
                  </a:lnTo>
                  <a:lnTo>
                    <a:pt x="381" y="1149"/>
                  </a:lnTo>
                  <a:lnTo>
                    <a:pt x="381" y="1149"/>
                  </a:lnTo>
                  <a:lnTo>
                    <a:pt x="379" y="1149"/>
                  </a:lnTo>
                  <a:lnTo>
                    <a:pt x="376" y="1149"/>
                  </a:lnTo>
                  <a:lnTo>
                    <a:pt x="374" y="1147"/>
                  </a:lnTo>
                  <a:lnTo>
                    <a:pt x="374" y="1147"/>
                  </a:lnTo>
                  <a:lnTo>
                    <a:pt x="374" y="1145"/>
                  </a:lnTo>
                  <a:lnTo>
                    <a:pt x="374" y="1145"/>
                  </a:lnTo>
                  <a:lnTo>
                    <a:pt x="372" y="1145"/>
                  </a:lnTo>
                  <a:lnTo>
                    <a:pt x="372" y="1142"/>
                  </a:lnTo>
                  <a:lnTo>
                    <a:pt x="372" y="1142"/>
                  </a:lnTo>
                  <a:lnTo>
                    <a:pt x="372" y="1142"/>
                  </a:lnTo>
                  <a:lnTo>
                    <a:pt x="369" y="1140"/>
                  </a:lnTo>
                  <a:lnTo>
                    <a:pt x="369" y="1140"/>
                  </a:lnTo>
                  <a:lnTo>
                    <a:pt x="369" y="1140"/>
                  </a:lnTo>
                  <a:lnTo>
                    <a:pt x="369" y="1137"/>
                  </a:lnTo>
                  <a:lnTo>
                    <a:pt x="369" y="1135"/>
                  </a:lnTo>
                  <a:lnTo>
                    <a:pt x="369" y="1135"/>
                  </a:lnTo>
                  <a:lnTo>
                    <a:pt x="372" y="1135"/>
                  </a:lnTo>
                  <a:lnTo>
                    <a:pt x="372" y="1135"/>
                  </a:lnTo>
                  <a:lnTo>
                    <a:pt x="372" y="1135"/>
                  </a:lnTo>
                  <a:lnTo>
                    <a:pt x="372" y="1135"/>
                  </a:lnTo>
                  <a:lnTo>
                    <a:pt x="372" y="1133"/>
                  </a:lnTo>
                  <a:lnTo>
                    <a:pt x="372" y="1133"/>
                  </a:lnTo>
                  <a:lnTo>
                    <a:pt x="374" y="1133"/>
                  </a:lnTo>
                  <a:lnTo>
                    <a:pt x="374" y="1133"/>
                  </a:lnTo>
                  <a:lnTo>
                    <a:pt x="374" y="1133"/>
                  </a:lnTo>
                  <a:lnTo>
                    <a:pt x="374" y="1133"/>
                  </a:lnTo>
                  <a:lnTo>
                    <a:pt x="372" y="1133"/>
                  </a:lnTo>
                  <a:lnTo>
                    <a:pt x="372" y="1135"/>
                  </a:lnTo>
                  <a:lnTo>
                    <a:pt x="372" y="1135"/>
                  </a:lnTo>
                  <a:lnTo>
                    <a:pt x="374" y="1135"/>
                  </a:lnTo>
                  <a:lnTo>
                    <a:pt x="374" y="1135"/>
                  </a:lnTo>
                  <a:lnTo>
                    <a:pt x="374" y="1135"/>
                  </a:lnTo>
                  <a:lnTo>
                    <a:pt x="374" y="1135"/>
                  </a:lnTo>
                  <a:lnTo>
                    <a:pt x="374" y="1135"/>
                  </a:lnTo>
                  <a:lnTo>
                    <a:pt x="376" y="1133"/>
                  </a:lnTo>
                  <a:lnTo>
                    <a:pt x="376" y="1133"/>
                  </a:lnTo>
                  <a:lnTo>
                    <a:pt x="376" y="1133"/>
                  </a:lnTo>
                  <a:lnTo>
                    <a:pt x="376" y="1133"/>
                  </a:lnTo>
                  <a:lnTo>
                    <a:pt x="379" y="1130"/>
                  </a:lnTo>
                  <a:lnTo>
                    <a:pt x="379" y="1130"/>
                  </a:lnTo>
                  <a:lnTo>
                    <a:pt x="379" y="1130"/>
                  </a:lnTo>
                  <a:lnTo>
                    <a:pt x="379" y="1130"/>
                  </a:lnTo>
                  <a:lnTo>
                    <a:pt x="379" y="1130"/>
                  </a:lnTo>
                  <a:lnTo>
                    <a:pt x="379" y="1130"/>
                  </a:lnTo>
                  <a:lnTo>
                    <a:pt x="379" y="1128"/>
                  </a:lnTo>
                  <a:lnTo>
                    <a:pt x="379" y="1128"/>
                  </a:lnTo>
                  <a:lnTo>
                    <a:pt x="379" y="1128"/>
                  </a:lnTo>
                  <a:lnTo>
                    <a:pt x="379" y="1128"/>
                  </a:lnTo>
                  <a:lnTo>
                    <a:pt x="379" y="1128"/>
                  </a:lnTo>
                  <a:lnTo>
                    <a:pt x="379" y="1126"/>
                  </a:lnTo>
                  <a:lnTo>
                    <a:pt x="381" y="1126"/>
                  </a:lnTo>
                  <a:lnTo>
                    <a:pt x="381" y="1126"/>
                  </a:lnTo>
                  <a:lnTo>
                    <a:pt x="381" y="1126"/>
                  </a:lnTo>
                  <a:lnTo>
                    <a:pt x="381" y="1126"/>
                  </a:lnTo>
                  <a:lnTo>
                    <a:pt x="381" y="1126"/>
                  </a:lnTo>
                  <a:lnTo>
                    <a:pt x="381" y="1126"/>
                  </a:lnTo>
                  <a:lnTo>
                    <a:pt x="383" y="1126"/>
                  </a:lnTo>
                  <a:lnTo>
                    <a:pt x="383" y="1126"/>
                  </a:lnTo>
                  <a:lnTo>
                    <a:pt x="383" y="1126"/>
                  </a:lnTo>
                  <a:lnTo>
                    <a:pt x="383" y="1123"/>
                  </a:lnTo>
                  <a:lnTo>
                    <a:pt x="383" y="1123"/>
                  </a:lnTo>
                  <a:lnTo>
                    <a:pt x="383" y="1123"/>
                  </a:lnTo>
                  <a:lnTo>
                    <a:pt x="383" y="1123"/>
                  </a:lnTo>
                  <a:lnTo>
                    <a:pt x="383" y="1126"/>
                  </a:lnTo>
                  <a:lnTo>
                    <a:pt x="386" y="1126"/>
                  </a:lnTo>
                  <a:lnTo>
                    <a:pt x="386" y="1126"/>
                  </a:lnTo>
                  <a:lnTo>
                    <a:pt x="386" y="1126"/>
                  </a:lnTo>
                  <a:lnTo>
                    <a:pt x="388" y="1123"/>
                  </a:lnTo>
                  <a:lnTo>
                    <a:pt x="388" y="1126"/>
                  </a:lnTo>
                  <a:lnTo>
                    <a:pt x="388" y="1126"/>
                  </a:lnTo>
                  <a:lnTo>
                    <a:pt x="388" y="1126"/>
                  </a:lnTo>
                  <a:lnTo>
                    <a:pt x="386" y="1128"/>
                  </a:lnTo>
                  <a:lnTo>
                    <a:pt x="386" y="1128"/>
                  </a:lnTo>
                  <a:lnTo>
                    <a:pt x="386" y="1128"/>
                  </a:lnTo>
                  <a:lnTo>
                    <a:pt x="386" y="1130"/>
                  </a:lnTo>
                  <a:lnTo>
                    <a:pt x="386" y="1130"/>
                  </a:lnTo>
                  <a:lnTo>
                    <a:pt x="386" y="1130"/>
                  </a:lnTo>
                  <a:lnTo>
                    <a:pt x="386" y="1130"/>
                  </a:lnTo>
                  <a:lnTo>
                    <a:pt x="388" y="1130"/>
                  </a:lnTo>
                  <a:lnTo>
                    <a:pt x="388" y="1128"/>
                  </a:lnTo>
                  <a:lnTo>
                    <a:pt x="388" y="1128"/>
                  </a:lnTo>
                  <a:lnTo>
                    <a:pt x="388" y="1128"/>
                  </a:lnTo>
                  <a:lnTo>
                    <a:pt x="388" y="1126"/>
                  </a:lnTo>
                  <a:lnTo>
                    <a:pt x="388" y="1126"/>
                  </a:lnTo>
                  <a:lnTo>
                    <a:pt x="388" y="1123"/>
                  </a:lnTo>
                  <a:lnTo>
                    <a:pt x="391" y="1123"/>
                  </a:lnTo>
                  <a:lnTo>
                    <a:pt x="391" y="1123"/>
                  </a:lnTo>
                  <a:lnTo>
                    <a:pt x="391" y="1123"/>
                  </a:lnTo>
                  <a:lnTo>
                    <a:pt x="388" y="1123"/>
                  </a:lnTo>
                  <a:lnTo>
                    <a:pt x="388" y="1123"/>
                  </a:lnTo>
                  <a:lnTo>
                    <a:pt x="388" y="1121"/>
                  </a:lnTo>
                  <a:lnTo>
                    <a:pt x="391" y="1121"/>
                  </a:lnTo>
                  <a:lnTo>
                    <a:pt x="391" y="1121"/>
                  </a:lnTo>
                  <a:lnTo>
                    <a:pt x="391" y="1121"/>
                  </a:lnTo>
                  <a:lnTo>
                    <a:pt x="393" y="1119"/>
                  </a:lnTo>
                  <a:lnTo>
                    <a:pt x="393" y="1116"/>
                  </a:lnTo>
                  <a:lnTo>
                    <a:pt x="393" y="1116"/>
                  </a:lnTo>
                  <a:lnTo>
                    <a:pt x="393" y="1116"/>
                  </a:lnTo>
                  <a:lnTo>
                    <a:pt x="393" y="1116"/>
                  </a:lnTo>
                  <a:lnTo>
                    <a:pt x="395" y="1116"/>
                  </a:lnTo>
                  <a:lnTo>
                    <a:pt x="395" y="1114"/>
                  </a:lnTo>
                  <a:lnTo>
                    <a:pt x="395" y="1114"/>
                  </a:lnTo>
                  <a:lnTo>
                    <a:pt x="398" y="1114"/>
                  </a:lnTo>
                  <a:lnTo>
                    <a:pt x="398" y="1114"/>
                  </a:lnTo>
                  <a:lnTo>
                    <a:pt x="398" y="1114"/>
                  </a:lnTo>
                  <a:lnTo>
                    <a:pt x="400" y="1114"/>
                  </a:lnTo>
                  <a:lnTo>
                    <a:pt x="400" y="1114"/>
                  </a:lnTo>
                  <a:lnTo>
                    <a:pt x="400" y="1114"/>
                  </a:lnTo>
                  <a:lnTo>
                    <a:pt x="400" y="1114"/>
                  </a:lnTo>
                  <a:lnTo>
                    <a:pt x="400" y="1116"/>
                  </a:lnTo>
                  <a:lnTo>
                    <a:pt x="400" y="1119"/>
                  </a:lnTo>
                  <a:lnTo>
                    <a:pt x="400" y="1121"/>
                  </a:lnTo>
                  <a:lnTo>
                    <a:pt x="400" y="1123"/>
                  </a:lnTo>
                  <a:lnTo>
                    <a:pt x="400" y="1121"/>
                  </a:lnTo>
                  <a:lnTo>
                    <a:pt x="400" y="1119"/>
                  </a:lnTo>
                  <a:lnTo>
                    <a:pt x="400" y="1119"/>
                  </a:lnTo>
                  <a:lnTo>
                    <a:pt x="400" y="1119"/>
                  </a:lnTo>
                  <a:lnTo>
                    <a:pt x="402" y="1116"/>
                  </a:lnTo>
                  <a:lnTo>
                    <a:pt x="402" y="1116"/>
                  </a:lnTo>
                  <a:lnTo>
                    <a:pt x="402" y="1116"/>
                  </a:lnTo>
                  <a:lnTo>
                    <a:pt x="402" y="1116"/>
                  </a:lnTo>
                  <a:lnTo>
                    <a:pt x="402" y="1114"/>
                  </a:lnTo>
                  <a:lnTo>
                    <a:pt x="402" y="1114"/>
                  </a:lnTo>
                  <a:lnTo>
                    <a:pt x="402" y="1114"/>
                  </a:lnTo>
                  <a:lnTo>
                    <a:pt x="405" y="1114"/>
                  </a:lnTo>
                  <a:lnTo>
                    <a:pt x="405" y="1114"/>
                  </a:lnTo>
                  <a:lnTo>
                    <a:pt x="405" y="1114"/>
                  </a:lnTo>
                  <a:lnTo>
                    <a:pt x="405" y="1114"/>
                  </a:lnTo>
                  <a:lnTo>
                    <a:pt x="405" y="1116"/>
                  </a:lnTo>
                  <a:lnTo>
                    <a:pt x="405" y="1116"/>
                  </a:lnTo>
                  <a:lnTo>
                    <a:pt x="405" y="1116"/>
                  </a:lnTo>
                  <a:lnTo>
                    <a:pt x="405" y="1119"/>
                  </a:lnTo>
                  <a:lnTo>
                    <a:pt x="405" y="1119"/>
                  </a:lnTo>
                  <a:lnTo>
                    <a:pt x="405" y="1116"/>
                  </a:lnTo>
                  <a:lnTo>
                    <a:pt x="405" y="1114"/>
                  </a:lnTo>
                  <a:lnTo>
                    <a:pt x="405" y="1114"/>
                  </a:lnTo>
                  <a:lnTo>
                    <a:pt x="407" y="1114"/>
                  </a:lnTo>
                  <a:lnTo>
                    <a:pt x="412" y="1111"/>
                  </a:lnTo>
                  <a:lnTo>
                    <a:pt x="414" y="1111"/>
                  </a:lnTo>
                  <a:lnTo>
                    <a:pt x="414" y="1109"/>
                  </a:lnTo>
                  <a:lnTo>
                    <a:pt x="412" y="1109"/>
                  </a:lnTo>
                  <a:lnTo>
                    <a:pt x="412" y="1109"/>
                  </a:lnTo>
                  <a:lnTo>
                    <a:pt x="414" y="1109"/>
                  </a:lnTo>
                  <a:lnTo>
                    <a:pt x="414" y="1109"/>
                  </a:lnTo>
                  <a:lnTo>
                    <a:pt x="414" y="1107"/>
                  </a:lnTo>
                  <a:lnTo>
                    <a:pt x="414" y="1107"/>
                  </a:lnTo>
                  <a:lnTo>
                    <a:pt x="414" y="1107"/>
                  </a:lnTo>
                  <a:lnTo>
                    <a:pt x="414" y="1107"/>
                  </a:lnTo>
                  <a:lnTo>
                    <a:pt x="417" y="1107"/>
                  </a:lnTo>
                  <a:lnTo>
                    <a:pt x="417" y="1104"/>
                  </a:lnTo>
                  <a:lnTo>
                    <a:pt x="414" y="1104"/>
                  </a:lnTo>
                  <a:lnTo>
                    <a:pt x="417" y="1102"/>
                  </a:lnTo>
                  <a:lnTo>
                    <a:pt x="419" y="1102"/>
                  </a:lnTo>
                  <a:lnTo>
                    <a:pt x="419" y="1102"/>
                  </a:lnTo>
                  <a:lnTo>
                    <a:pt x="419" y="1102"/>
                  </a:lnTo>
                  <a:lnTo>
                    <a:pt x="421" y="1102"/>
                  </a:lnTo>
                  <a:lnTo>
                    <a:pt x="424" y="1102"/>
                  </a:lnTo>
                  <a:lnTo>
                    <a:pt x="424" y="1100"/>
                  </a:lnTo>
                  <a:lnTo>
                    <a:pt x="426" y="1102"/>
                  </a:lnTo>
                  <a:lnTo>
                    <a:pt x="426" y="1102"/>
                  </a:lnTo>
                  <a:lnTo>
                    <a:pt x="426" y="1104"/>
                  </a:lnTo>
                  <a:lnTo>
                    <a:pt x="426" y="1104"/>
                  </a:lnTo>
                  <a:lnTo>
                    <a:pt x="426" y="1102"/>
                  </a:lnTo>
                  <a:lnTo>
                    <a:pt x="426" y="1102"/>
                  </a:lnTo>
                  <a:lnTo>
                    <a:pt x="426" y="1102"/>
                  </a:lnTo>
                  <a:lnTo>
                    <a:pt x="426" y="1102"/>
                  </a:lnTo>
                  <a:lnTo>
                    <a:pt x="426" y="1102"/>
                  </a:lnTo>
                  <a:lnTo>
                    <a:pt x="428" y="1102"/>
                  </a:lnTo>
                  <a:lnTo>
                    <a:pt x="428" y="1102"/>
                  </a:lnTo>
                  <a:lnTo>
                    <a:pt x="428" y="1102"/>
                  </a:lnTo>
                  <a:lnTo>
                    <a:pt x="428" y="1102"/>
                  </a:lnTo>
                  <a:lnTo>
                    <a:pt x="431" y="1102"/>
                  </a:lnTo>
                  <a:lnTo>
                    <a:pt x="431" y="1102"/>
                  </a:lnTo>
                  <a:lnTo>
                    <a:pt x="431" y="1102"/>
                  </a:lnTo>
                  <a:lnTo>
                    <a:pt x="431" y="1102"/>
                  </a:lnTo>
                  <a:lnTo>
                    <a:pt x="433" y="1102"/>
                  </a:lnTo>
                  <a:lnTo>
                    <a:pt x="433" y="1102"/>
                  </a:lnTo>
                  <a:lnTo>
                    <a:pt x="433" y="1102"/>
                  </a:lnTo>
                  <a:lnTo>
                    <a:pt x="433" y="1102"/>
                  </a:lnTo>
                  <a:lnTo>
                    <a:pt x="433" y="1102"/>
                  </a:lnTo>
                  <a:lnTo>
                    <a:pt x="436" y="1102"/>
                  </a:lnTo>
                  <a:lnTo>
                    <a:pt x="436" y="1102"/>
                  </a:lnTo>
                  <a:lnTo>
                    <a:pt x="436" y="1102"/>
                  </a:lnTo>
                  <a:lnTo>
                    <a:pt x="436" y="1102"/>
                  </a:lnTo>
                  <a:lnTo>
                    <a:pt x="436" y="1102"/>
                  </a:lnTo>
                  <a:lnTo>
                    <a:pt x="438" y="1102"/>
                  </a:lnTo>
                  <a:lnTo>
                    <a:pt x="438" y="1100"/>
                  </a:lnTo>
                  <a:lnTo>
                    <a:pt x="440" y="1100"/>
                  </a:lnTo>
                  <a:lnTo>
                    <a:pt x="440" y="1102"/>
                  </a:lnTo>
                  <a:lnTo>
                    <a:pt x="443" y="1102"/>
                  </a:lnTo>
                  <a:lnTo>
                    <a:pt x="443" y="1100"/>
                  </a:lnTo>
                  <a:lnTo>
                    <a:pt x="443" y="1100"/>
                  </a:lnTo>
                  <a:lnTo>
                    <a:pt x="443" y="1102"/>
                  </a:lnTo>
                  <a:lnTo>
                    <a:pt x="443" y="1102"/>
                  </a:lnTo>
                  <a:lnTo>
                    <a:pt x="443" y="1102"/>
                  </a:lnTo>
                  <a:lnTo>
                    <a:pt x="443" y="1102"/>
                  </a:lnTo>
                  <a:lnTo>
                    <a:pt x="443" y="1104"/>
                  </a:lnTo>
                  <a:lnTo>
                    <a:pt x="443" y="1104"/>
                  </a:lnTo>
                  <a:lnTo>
                    <a:pt x="443" y="1104"/>
                  </a:lnTo>
                  <a:lnTo>
                    <a:pt x="443" y="1107"/>
                  </a:lnTo>
                  <a:lnTo>
                    <a:pt x="443" y="1107"/>
                  </a:lnTo>
                  <a:lnTo>
                    <a:pt x="445" y="1107"/>
                  </a:lnTo>
                  <a:lnTo>
                    <a:pt x="445" y="1104"/>
                  </a:lnTo>
                  <a:lnTo>
                    <a:pt x="445" y="1104"/>
                  </a:lnTo>
                  <a:lnTo>
                    <a:pt x="445" y="1104"/>
                  </a:lnTo>
                  <a:lnTo>
                    <a:pt x="447" y="1104"/>
                  </a:lnTo>
                  <a:lnTo>
                    <a:pt x="447" y="1104"/>
                  </a:lnTo>
                  <a:lnTo>
                    <a:pt x="447" y="1102"/>
                  </a:lnTo>
                  <a:lnTo>
                    <a:pt x="447" y="1102"/>
                  </a:lnTo>
                  <a:lnTo>
                    <a:pt x="450" y="1100"/>
                  </a:lnTo>
                  <a:lnTo>
                    <a:pt x="450" y="1100"/>
                  </a:lnTo>
                  <a:lnTo>
                    <a:pt x="452" y="1100"/>
                  </a:lnTo>
                  <a:lnTo>
                    <a:pt x="454" y="1100"/>
                  </a:lnTo>
                  <a:lnTo>
                    <a:pt x="454" y="1100"/>
                  </a:lnTo>
                  <a:lnTo>
                    <a:pt x="454" y="1097"/>
                  </a:lnTo>
                  <a:lnTo>
                    <a:pt x="454" y="1097"/>
                  </a:lnTo>
                  <a:lnTo>
                    <a:pt x="454" y="1097"/>
                  </a:lnTo>
                  <a:lnTo>
                    <a:pt x="454" y="1097"/>
                  </a:lnTo>
                  <a:lnTo>
                    <a:pt x="454" y="1097"/>
                  </a:lnTo>
                  <a:lnTo>
                    <a:pt x="457" y="1095"/>
                  </a:lnTo>
                  <a:lnTo>
                    <a:pt x="457" y="1095"/>
                  </a:lnTo>
                  <a:lnTo>
                    <a:pt x="457" y="1095"/>
                  </a:lnTo>
                  <a:lnTo>
                    <a:pt x="457" y="1095"/>
                  </a:lnTo>
                  <a:lnTo>
                    <a:pt x="459" y="1095"/>
                  </a:lnTo>
                  <a:lnTo>
                    <a:pt x="459" y="1095"/>
                  </a:lnTo>
                  <a:lnTo>
                    <a:pt x="459" y="1095"/>
                  </a:lnTo>
                  <a:lnTo>
                    <a:pt x="459" y="1095"/>
                  </a:lnTo>
                  <a:lnTo>
                    <a:pt x="459" y="1095"/>
                  </a:lnTo>
                  <a:lnTo>
                    <a:pt x="462" y="1093"/>
                  </a:lnTo>
                  <a:lnTo>
                    <a:pt x="462" y="1093"/>
                  </a:lnTo>
                  <a:lnTo>
                    <a:pt x="464" y="1093"/>
                  </a:lnTo>
                  <a:lnTo>
                    <a:pt x="464" y="1093"/>
                  </a:lnTo>
                  <a:lnTo>
                    <a:pt x="464" y="1093"/>
                  </a:lnTo>
                  <a:lnTo>
                    <a:pt x="464" y="1093"/>
                  </a:lnTo>
                  <a:lnTo>
                    <a:pt x="466" y="1093"/>
                  </a:lnTo>
                  <a:lnTo>
                    <a:pt x="469" y="1093"/>
                  </a:lnTo>
                  <a:lnTo>
                    <a:pt x="478" y="1088"/>
                  </a:lnTo>
                  <a:lnTo>
                    <a:pt x="478" y="1088"/>
                  </a:lnTo>
                  <a:lnTo>
                    <a:pt x="483" y="1088"/>
                  </a:lnTo>
                  <a:lnTo>
                    <a:pt x="483" y="1085"/>
                  </a:lnTo>
                  <a:lnTo>
                    <a:pt x="485" y="1085"/>
                  </a:lnTo>
                  <a:lnTo>
                    <a:pt x="485" y="1085"/>
                  </a:lnTo>
                  <a:lnTo>
                    <a:pt x="485" y="1085"/>
                  </a:lnTo>
                  <a:lnTo>
                    <a:pt x="483" y="1083"/>
                  </a:lnTo>
                  <a:lnTo>
                    <a:pt x="485" y="1083"/>
                  </a:lnTo>
                  <a:lnTo>
                    <a:pt x="485" y="1083"/>
                  </a:lnTo>
                  <a:lnTo>
                    <a:pt x="485" y="1083"/>
                  </a:lnTo>
                  <a:lnTo>
                    <a:pt x="485" y="1083"/>
                  </a:lnTo>
                  <a:lnTo>
                    <a:pt x="485" y="1083"/>
                  </a:lnTo>
                  <a:lnTo>
                    <a:pt x="488" y="1083"/>
                  </a:lnTo>
                  <a:lnTo>
                    <a:pt x="488" y="1083"/>
                  </a:lnTo>
                  <a:lnTo>
                    <a:pt x="488" y="1081"/>
                  </a:lnTo>
                  <a:lnTo>
                    <a:pt x="490" y="1078"/>
                  </a:lnTo>
                  <a:lnTo>
                    <a:pt x="490" y="1078"/>
                  </a:lnTo>
                  <a:lnTo>
                    <a:pt x="488" y="1078"/>
                  </a:lnTo>
                  <a:lnTo>
                    <a:pt x="488" y="1081"/>
                  </a:lnTo>
                  <a:lnTo>
                    <a:pt x="488" y="1081"/>
                  </a:lnTo>
                  <a:lnTo>
                    <a:pt x="488" y="1081"/>
                  </a:lnTo>
                  <a:lnTo>
                    <a:pt x="488" y="1078"/>
                  </a:lnTo>
                  <a:lnTo>
                    <a:pt x="488" y="1078"/>
                  </a:lnTo>
                  <a:lnTo>
                    <a:pt x="488" y="1078"/>
                  </a:lnTo>
                  <a:lnTo>
                    <a:pt x="488" y="1078"/>
                  </a:lnTo>
                  <a:lnTo>
                    <a:pt x="488" y="1076"/>
                  </a:lnTo>
                  <a:lnTo>
                    <a:pt x="488" y="1076"/>
                  </a:lnTo>
                  <a:lnTo>
                    <a:pt x="488" y="1076"/>
                  </a:lnTo>
                  <a:lnTo>
                    <a:pt x="488" y="1076"/>
                  </a:lnTo>
                  <a:lnTo>
                    <a:pt x="488" y="1076"/>
                  </a:lnTo>
                  <a:lnTo>
                    <a:pt x="485" y="1076"/>
                  </a:lnTo>
                  <a:lnTo>
                    <a:pt x="485" y="1076"/>
                  </a:lnTo>
                  <a:lnTo>
                    <a:pt x="485" y="1074"/>
                  </a:lnTo>
                  <a:lnTo>
                    <a:pt x="485" y="1074"/>
                  </a:lnTo>
                  <a:lnTo>
                    <a:pt x="485" y="1074"/>
                  </a:lnTo>
                  <a:lnTo>
                    <a:pt x="485" y="1074"/>
                  </a:lnTo>
                  <a:lnTo>
                    <a:pt x="485" y="1071"/>
                  </a:lnTo>
                  <a:lnTo>
                    <a:pt x="485" y="1071"/>
                  </a:lnTo>
                  <a:lnTo>
                    <a:pt x="485" y="1071"/>
                  </a:lnTo>
                  <a:lnTo>
                    <a:pt x="485" y="1071"/>
                  </a:lnTo>
                  <a:lnTo>
                    <a:pt x="485" y="1071"/>
                  </a:lnTo>
                  <a:lnTo>
                    <a:pt x="485" y="1069"/>
                  </a:lnTo>
                  <a:lnTo>
                    <a:pt x="485" y="1069"/>
                  </a:lnTo>
                  <a:lnTo>
                    <a:pt x="485" y="1069"/>
                  </a:lnTo>
                  <a:lnTo>
                    <a:pt x="485" y="1069"/>
                  </a:lnTo>
                  <a:lnTo>
                    <a:pt x="485" y="1069"/>
                  </a:lnTo>
                  <a:lnTo>
                    <a:pt x="485" y="1069"/>
                  </a:lnTo>
                  <a:lnTo>
                    <a:pt x="485" y="1066"/>
                  </a:lnTo>
                  <a:lnTo>
                    <a:pt x="485" y="1069"/>
                  </a:lnTo>
                  <a:lnTo>
                    <a:pt x="483" y="1069"/>
                  </a:lnTo>
                  <a:lnTo>
                    <a:pt x="483" y="1069"/>
                  </a:lnTo>
                  <a:lnTo>
                    <a:pt x="483" y="1071"/>
                  </a:lnTo>
                  <a:lnTo>
                    <a:pt x="483" y="1071"/>
                  </a:lnTo>
                  <a:lnTo>
                    <a:pt x="483" y="1069"/>
                  </a:lnTo>
                  <a:lnTo>
                    <a:pt x="483" y="1069"/>
                  </a:lnTo>
                  <a:lnTo>
                    <a:pt x="483" y="1071"/>
                  </a:lnTo>
                  <a:lnTo>
                    <a:pt x="481" y="1071"/>
                  </a:lnTo>
                  <a:lnTo>
                    <a:pt x="481" y="1071"/>
                  </a:lnTo>
                  <a:lnTo>
                    <a:pt x="481" y="1071"/>
                  </a:lnTo>
                  <a:lnTo>
                    <a:pt x="481" y="1071"/>
                  </a:lnTo>
                  <a:lnTo>
                    <a:pt x="481" y="1071"/>
                  </a:lnTo>
                  <a:lnTo>
                    <a:pt x="481" y="1071"/>
                  </a:lnTo>
                  <a:lnTo>
                    <a:pt x="481" y="1074"/>
                  </a:lnTo>
                  <a:lnTo>
                    <a:pt x="481" y="1074"/>
                  </a:lnTo>
                  <a:lnTo>
                    <a:pt x="481" y="1074"/>
                  </a:lnTo>
                  <a:lnTo>
                    <a:pt x="478" y="1076"/>
                  </a:lnTo>
                  <a:lnTo>
                    <a:pt x="478" y="1078"/>
                  </a:lnTo>
                  <a:lnTo>
                    <a:pt x="478" y="1078"/>
                  </a:lnTo>
                  <a:lnTo>
                    <a:pt x="478" y="1078"/>
                  </a:lnTo>
                  <a:lnTo>
                    <a:pt x="478" y="1078"/>
                  </a:lnTo>
                  <a:lnTo>
                    <a:pt x="478" y="1078"/>
                  </a:lnTo>
                  <a:lnTo>
                    <a:pt x="478" y="1078"/>
                  </a:lnTo>
                  <a:lnTo>
                    <a:pt x="476" y="1078"/>
                  </a:lnTo>
                  <a:lnTo>
                    <a:pt x="476" y="1078"/>
                  </a:lnTo>
                  <a:lnTo>
                    <a:pt x="476" y="1078"/>
                  </a:lnTo>
                  <a:lnTo>
                    <a:pt x="476" y="1078"/>
                  </a:lnTo>
                  <a:lnTo>
                    <a:pt x="476" y="1078"/>
                  </a:lnTo>
                  <a:lnTo>
                    <a:pt x="476" y="1078"/>
                  </a:lnTo>
                  <a:lnTo>
                    <a:pt x="476" y="1076"/>
                  </a:lnTo>
                  <a:lnTo>
                    <a:pt x="473" y="1078"/>
                  </a:lnTo>
                  <a:lnTo>
                    <a:pt x="473" y="1078"/>
                  </a:lnTo>
                  <a:lnTo>
                    <a:pt x="473" y="1078"/>
                  </a:lnTo>
                  <a:lnTo>
                    <a:pt x="473" y="1076"/>
                  </a:lnTo>
                  <a:lnTo>
                    <a:pt x="473" y="1076"/>
                  </a:lnTo>
                  <a:lnTo>
                    <a:pt x="473" y="1076"/>
                  </a:lnTo>
                  <a:lnTo>
                    <a:pt x="473" y="1076"/>
                  </a:lnTo>
                  <a:lnTo>
                    <a:pt x="471" y="1078"/>
                  </a:lnTo>
                  <a:lnTo>
                    <a:pt x="471" y="1078"/>
                  </a:lnTo>
                  <a:lnTo>
                    <a:pt x="469" y="1078"/>
                  </a:lnTo>
                  <a:lnTo>
                    <a:pt x="469" y="1078"/>
                  </a:lnTo>
                  <a:lnTo>
                    <a:pt x="471" y="1078"/>
                  </a:lnTo>
                  <a:lnTo>
                    <a:pt x="471" y="1076"/>
                  </a:lnTo>
                  <a:lnTo>
                    <a:pt x="471" y="1076"/>
                  </a:lnTo>
                  <a:lnTo>
                    <a:pt x="471" y="1076"/>
                  </a:lnTo>
                  <a:lnTo>
                    <a:pt x="469" y="1076"/>
                  </a:lnTo>
                  <a:lnTo>
                    <a:pt x="469" y="1076"/>
                  </a:lnTo>
                  <a:lnTo>
                    <a:pt x="466" y="1076"/>
                  </a:lnTo>
                  <a:lnTo>
                    <a:pt x="466" y="1076"/>
                  </a:lnTo>
                  <a:lnTo>
                    <a:pt x="466" y="1076"/>
                  </a:lnTo>
                  <a:lnTo>
                    <a:pt x="469" y="1076"/>
                  </a:lnTo>
                  <a:lnTo>
                    <a:pt x="469" y="1074"/>
                  </a:lnTo>
                  <a:lnTo>
                    <a:pt x="469" y="1074"/>
                  </a:lnTo>
                  <a:lnTo>
                    <a:pt x="469" y="1074"/>
                  </a:lnTo>
                  <a:lnTo>
                    <a:pt x="469" y="1071"/>
                  </a:lnTo>
                  <a:lnTo>
                    <a:pt x="469" y="1074"/>
                  </a:lnTo>
                  <a:lnTo>
                    <a:pt x="466" y="1071"/>
                  </a:lnTo>
                  <a:lnTo>
                    <a:pt x="466" y="1071"/>
                  </a:lnTo>
                  <a:lnTo>
                    <a:pt x="466" y="1071"/>
                  </a:lnTo>
                  <a:lnTo>
                    <a:pt x="466" y="1071"/>
                  </a:lnTo>
                  <a:lnTo>
                    <a:pt x="466" y="1071"/>
                  </a:lnTo>
                  <a:lnTo>
                    <a:pt x="466" y="1071"/>
                  </a:lnTo>
                  <a:lnTo>
                    <a:pt x="464" y="1071"/>
                  </a:lnTo>
                  <a:lnTo>
                    <a:pt x="464" y="1071"/>
                  </a:lnTo>
                  <a:lnTo>
                    <a:pt x="464" y="1071"/>
                  </a:lnTo>
                  <a:lnTo>
                    <a:pt x="464" y="1074"/>
                  </a:lnTo>
                  <a:lnTo>
                    <a:pt x="464" y="1074"/>
                  </a:lnTo>
                  <a:lnTo>
                    <a:pt x="464" y="1074"/>
                  </a:lnTo>
                  <a:lnTo>
                    <a:pt x="464" y="1074"/>
                  </a:lnTo>
                  <a:lnTo>
                    <a:pt x="464" y="1071"/>
                  </a:lnTo>
                  <a:lnTo>
                    <a:pt x="464" y="1069"/>
                  </a:lnTo>
                  <a:lnTo>
                    <a:pt x="464" y="1069"/>
                  </a:lnTo>
                  <a:lnTo>
                    <a:pt x="466" y="1069"/>
                  </a:lnTo>
                  <a:lnTo>
                    <a:pt x="466" y="1069"/>
                  </a:lnTo>
                  <a:lnTo>
                    <a:pt x="464" y="1069"/>
                  </a:lnTo>
                  <a:lnTo>
                    <a:pt x="464" y="1069"/>
                  </a:lnTo>
                  <a:lnTo>
                    <a:pt x="464" y="1069"/>
                  </a:lnTo>
                  <a:lnTo>
                    <a:pt x="464" y="1071"/>
                  </a:lnTo>
                  <a:lnTo>
                    <a:pt x="462" y="1071"/>
                  </a:lnTo>
                  <a:lnTo>
                    <a:pt x="462" y="1071"/>
                  </a:lnTo>
                  <a:lnTo>
                    <a:pt x="462" y="1071"/>
                  </a:lnTo>
                  <a:lnTo>
                    <a:pt x="462" y="1071"/>
                  </a:lnTo>
                  <a:lnTo>
                    <a:pt x="462" y="1071"/>
                  </a:lnTo>
                  <a:lnTo>
                    <a:pt x="459" y="1071"/>
                  </a:lnTo>
                  <a:lnTo>
                    <a:pt x="459" y="1071"/>
                  </a:lnTo>
                  <a:lnTo>
                    <a:pt x="459" y="1074"/>
                  </a:lnTo>
                  <a:lnTo>
                    <a:pt x="459" y="1074"/>
                  </a:lnTo>
                  <a:lnTo>
                    <a:pt x="457" y="1074"/>
                  </a:lnTo>
                  <a:lnTo>
                    <a:pt x="457" y="1074"/>
                  </a:lnTo>
                  <a:lnTo>
                    <a:pt x="457" y="1074"/>
                  </a:lnTo>
                  <a:lnTo>
                    <a:pt x="459" y="1071"/>
                  </a:lnTo>
                  <a:lnTo>
                    <a:pt x="459" y="1071"/>
                  </a:lnTo>
                  <a:lnTo>
                    <a:pt x="459" y="1071"/>
                  </a:lnTo>
                  <a:lnTo>
                    <a:pt x="459" y="1071"/>
                  </a:lnTo>
                  <a:lnTo>
                    <a:pt x="459" y="1071"/>
                  </a:lnTo>
                  <a:lnTo>
                    <a:pt x="457" y="1071"/>
                  </a:lnTo>
                  <a:lnTo>
                    <a:pt x="457" y="1071"/>
                  </a:lnTo>
                  <a:lnTo>
                    <a:pt x="457" y="1071"/>
                  </a:lnTo>
                  <a:lnTo>
                    <a:pt x="457" y="1071"/>
                  </a:lnTo>
                  <a:lnTo>
                    <a:pt x="454" y="1071"/>
                  </a:lnTo>
                  <a:lnTo>
                    <a:pt x="454" y="1071"/>
                  </a:lnTo>
                  <a:lnTo>
                    <a:pt x="454" y="1071"/>
                  </a:lnTo>
                  <a:lnTo>
                    <a:pt x="454" y="1074"/>
                  </a:lnTo>
                  <a:lnTo>
                    <a:pt x="454" y="1074"/>
                  </a:lnTo>
                  <a:lnTo>
                    <a:pt x="454" y="1074"/>
                  </a:lnTo>
                  <a:lnTo>
                    <a:pt x="454" y="1071"/>
                  </a:lnTo>
                  <a:lnTo>
                    <a:pt x="454" y="1071"/>
                  </a:lnTo>
                  <a:lnTo>
                    <a:pt x="454" y="1071"/>
                  </a:lnTo>
                  <a:lnTo>
                    <a:pt x="454" y="1071"/>
                  </a:lnTo>
                  <a:lnTo>
                    <a:pt x="454" y="1071"/>
                  </a:lnTo>
                  <a:lnTo>
                    <a:pt x="452" y="1071"/>
                  </a:lnTo>
                  <a:lnTo>
                    <a:pt x="450" y="1076"/>
                  </a:lnTo>
                  <a:lnTo>
                    <a:pt x="450" y="1076"/>
                  </a:lnTo>
                  <a:lnTo>
                    <a:pt x="450" y="1076"/>
                  </a:lnTo>
                  <a:lnTo>
                    <a:pt x="452" y="1076"/>
                  </a:lnTo>
                  <a:lnTo>
                    <a:pt x="452" y="1076"/>
                  </a:lnTo>
                  <a:lnTo>
                    <a:pt x="452" y="1076"/>
                  </a:lnTo>
                  <a:lnTo>
                    <a:pt x="450" y="1076"/>
                  </a:lnTo>
                  <a:lnTo>
                    <a:pt x="450" y="1078"/>
                  </a:lnTo>
                  <a:lnTo>
                    <a:pt x="450" y="1078"/>
                  </a:lnTo>
                  <a:lnTo>
                    <a:pt x="450" y="1078"/>
                  </a:lnTo>
                  <a:lnTo>
                    <a:pt x="447" y="1081"/>
                  </a:lnTo>
                  <a:lnTo>
                    <a:pt x="447" y="1083"/>
                  </a:lnTo>
                  <a:lnTo>
                    <a:pt x="445" y="1083"/>
                  </a:lnTo>
                  <a:lnTo>
                    <a:pt x="445" y="1083"/>
                  </a:lnTo>
                  <a:lnTo>
                    <a:pt x="445" y="1083"/>
                  </a:lnTo>
                  <a:lnTo>
                    <a:pt x="445" y="1083"/>
                  </a:lnTo>
                  <a:lnTo>
                    <a:pt x="443" y="1085"/>
                  </a:lnTo>
                  <a:lnTo>
                    <a:pt x="443" y="1085"/>
                  </a:lnTo>
                  <a:lnTo>
                    <a:pt x="445" y="1085"/>
                  </a:lnTo>
                  <a:lnTo>
                    <a:pt x="443" y="1085"/>
                  </a:lnTo>
                  <a:lnTo>
                    <a:pt x="443" y="1088"/>
                  </a:lnTo>
                  <a:lnTo>
                    <a:pt x="443" y="1088"/>
                  </a:lnTo>
                  <a:lnTo>
                    <a:pt x="443" y="1085"/>
                  </a:lnTo>
                  <a:lnTo>
                    <a:pt x="443" y="1085"/>
                  </a:lnTo>
                  <a:lnTo>
                    <a:pt x="443" y="1085"/>
                  </a:lnTo>
                  <a:lnTo>
                    <a:pt x="443" y="1083"/>
                  </a:lnTo>
                  <a:lnTo>
                    <a:pt x="443" y="1083"/>
                  </a:lnTo>
                  <a:lnTo>
                    <a:pt x="443" y="1083"/>
                  </a:lnTo>
                  <a:lnTo>
                    <a:pt x="443" y="1081"/>
                  </a:lnTo>
                  <a:lnTo>
                    <a:pt x="443" y="1081"/>
                  </a:lnTo>
                  <a:lnTo>
                    <a:pt x="443" y="1078"/>
                  </a:lnTo>
                  <a:lnTo>
                    <a:pt x="443" y="1078"/>
                  </a:lnTo>
                  <a:lnTo>
                    <a:pt x="440" y="1078"/>
                  </a:lnTo>
                  <a:lnTo>
                    <a:pt x="440" y="1078"/>
                  </a:lnTo>
                  <a:lnTo>
                    <a:pt x="440" y="1076"/>
                  </a:lnTo>
                  <a:lnTo>
                    <a:pt x="440" y="1078"/>
                  </a:lnTo>
                  <a:lnTo>
                    <a:pt x="438" y="1078"/>
                  </a:lnTo>
                  <a:lnTo>
                    <a:pt x="438" y="1081"/>
                  </a:lnTo>
                  <a:lnTo>
                    <a:pt x="438" y="1081"/>
                  </a:lnTo>
                  <a:lnTo>
                    <a:pt x="438" y="1081"/>
                  </a:lnTo>
                  <a:lnTo>
                    <a:pt x="438" y="1081"/>
                  </a:lnTo>
                  <a:lnTo>
                    <a:pt x="438" y="1081"/>
                  </a:lnTo>
                  <a:lnTo>
                    <a:pt x="433" y="1081"/>
                  </a:lnTo>
                  <a:lnTo>
                    <a:pt x="431" y="1083"/>
                  </a:lnTo>
                  <a:lnTo>
                    <a:pt x="431" y="1083"/>
                  </a:lnTo>
                  <a:lnTo>
                    <a:pt x="428" y="1083"/>
                  </a:lnTo>
                  <a:lnTo>
                    <a:pt x="428" y="1085"/>
                  </a:lnTo>
                  <a:lnTo>
                    <a:pt x="428" y="1085"/>
                  </a:lnTo>
                  <a:lnTo>
                    <a:pt x="426" y="1088"/>
                  </a:lnTo>
                  <a:lnTo>
                    <a:pt x="426" y="1088"/>
                  </a:lnTo>
                  <a:lnTo>
                    <a:pt x="424" y="1085"/>
                  </a:lnTo>
                  <a:lnTo>
                    <a:pt x="424" y="1088"/>
                  </a:lnTo>
                  <a:lnTo>
                    <a:pt x="421" y="1088"/>
                  </a:lnTo>
                  <a:lnTo>
                    <a:pt x="419" y="1088"/>
                  </a:lnTo>
                  <a:lnTo>
                    <a:pt x="419" y="1088"/>
                  </a:lnTo>
                  <a:lnTo>
                    <a:pt x="419" y="1090"/>
                  </a:lnTo>
                  <a:lnTo>
                    <a:pt x="419" y="1090"/>
                  </a:lnTo>
                  <a:lnTo>
                    <a:pt x="417" y="1090"/>
                  </a:lnTo>
                  <a:lnTo>
                    <a:pt x="417" y="1088"/>
                  </a:lnTo>
                  <a:lnTo>
                    <a:pt x="417" y="1088"/>
                  </a:lnTo>
                  <a:lnTo>
                    <a:pt x="417" y="1088"/>
                  </a:lnTo>
                  <a:lnTo>
                    <a:pt x="417" y="1088"/>
                  </a:lnTo>
                  <a:lnTo>
                    <a:pt x="417" y="1088"/>
                  </a:lnTo>
                  <a:lnTo>
                    <a:pt x="417" y="1088"/>
                  </a:lnTo>
                  <a:lnTo>
                    <a:pt x="414" y="1088"/>
                  </a:lnTo>
                  <a:lnTo>
                    <a:pt x="414" y="1088"/>
                  </a:lnTo>
                  <a:lnTo>
                    <a:pt x="414" y="1088"/>
                  </a:lnTo>
                  <a:lnTo>
                    <a:pt x="414" y="1085"/>
                  </a:lnTo>
                  <a:lnTo>
                    <a:pt x="414" y="1085"/>
                  </a:lnTo>
                  <a:lnTo>
                    <a:pt x="412" y="1085"/>
                  </a:lnTo>
                  <a:lnTo>
                    <a:pt x="412" y="1085"/>
                  </a:lnTo>
                  <a:lnTo>
                    <a:pt x="412" y="1085"/>
                  </a:lnTo>
                  <a:lnTo>
                    <a:pt x="414" y="1085"/>
                  </a:lnTo>
                  <a:lnTo>
                    <a:pt x="417" y="1083"/>
                  </a:lnTo>
                  <a:lnTo>
                    <a:pt x="417" y="1083"/>
                  </a:lnTo>
                  <a:lnTo>
                    <a:pt x="417" y="1083"/>
                  </a:lnTo>
                  <a:lnTo>
                    <a:pt x="417" y="1083"/>
                  </a:lnTo>
                  <a:lnTo>
                    <a:pt x="414" y="1083"/>
                  </a:lnTo>
                  <a:lnTo>
                    <a:pt x="414" y="1085"/>
                  </a:lnTo>
                  <a:lnTo>
                    <a:pt x="410" y="1083"/>
                  </a:lnTo>
                  <a:lnTo>
                    <a:pt x="410" y="1085"/>
                  </a:lnTo>
                  <a:lnTo>
                    <a:pt x="407" y="1088"/>
                  </a:lnTo>
                  <a:lnTo>
                    <a:pt x="407" y="1088"/>
                  </a:lnTo>
                  <a:lnTo>
                    <a:pt x="407" y="1088"/>
                  </a:lnTo>
                  <a:lnTo>
                    <a:pt x="407" y="1088"/>
                  </a:lnTo>
                  <a:lnTo>
                    <a:pt x="407" y="1088"/>
                  </a:lnTo>
                  <a:lnTo>
                    <a:pt x="407" y="1088"/>
                  </a:lnTo>
                  <a:lnTo>
                    <a:pt x="407" y="1088"/>
                  </a:lnTo>
                  <a:lnTo>
                    <a:pt x="407" y="1088"/>
                  </a:lnTo>
                  <a:lnTo>
                    <a:pt x="407" y="1088"/>
                  </a:lnTo>
                  <a:lnTo>
                    <a:pt x="410" y="1088"/>
                  </a:lnTo>
                  <a:lnTo>
                    <a:pt x="410" y="1088"/>
                  </a:lnTo>
                  <a:lnTo>
                    <a:pt x="410" y="1088"/>
                  </a:lnTo>
                  <a:lnTo>
                    <a:pt x="412" y="1088"/>
                  </a:lnTo>
                  <a:lnTo>
                    <a:pt x="412" y="1088"/>
                  </a:lnTo>
                  <a:lnTo>
                    <a:pt x="412" y="1088"/>
                  </a:lnTo>
                  <a:lnTo>
                    <a:pt x="412" y="1088"/>
                  </a:lnTo>
                  <a:lnTo>
                    <a:pt x="412" y="1088"/>
                  </a:lnTo>
                  <a:lnTo>
                    <a:pt x="412" y="1090"/>
                  </a:lnTo>
                  <a:lnTo>
                    <a:pt x="410" y="1090"/>
                  </a:lnTo>
                  <a:lnTo>
                    <a:pt x="410" y="1090"/>
                  </a:lnTo>
                  <a:lnTo>
                    <a:pt x="414" y="1088"/>
                  </a:lnTo>
                  <a:lnTo>
                    <a:pt x="414" y="1090"/>
                  </a:lnTo>
                  <a:lnTo>
                    <a:pt x="412" y="1090"/>
                  </a:lnTo>
                  <a:lnTo>
                    <a:pt x="412" y="1093"/>
                  </a:lnTo>
                  <a:lnTo>
                    <a:pt x="407" y="1090"/>
                  </a:lnTo>
                  <a:lnTo>
                    <a:pt x="407" y="1090"/>
                  </a:lnTo>
                  <a:lnTo>
                    <a:pt x="407" y="1090"/>
                  </a:lnTo>
                  <a:lnTo>
                    <a:pt x="405" y="1088"/>
                  </a:lnTo>
                  <a:lnTo>
                    <a:pt x="405" y="1088"/>
                  </a:lnTo>
                  <a:lnTo>
                    <a:pt x="405" y="1090"/>
                  </a:lnTo>
                  <a:lnTo>
                    <a:pt x="402" y="1090"/>
                  </a:lnTo>
                  <a:lnTo>
                    <a:pt x="402" y="1088"/>
                  </a:lnTo>
                  <a:lnTo>
                    <a:pt x="402" y="1088"/>
                  </a:lnTo>
                  <a:lnTo>
                    <a:pt x="402" y="1088"/>
                  </a:lnTo>
                  <a:lnTo>
                    <a:pt x="402" y="1088"/>
                  </a:lnTo>
                  <a:lnTo>
                    <a:pt x="402" y="1088"/>
                  </a:lnTo>
                  <a:lnTo>
                    <a:pt x="400" y="1088"/>
                  </a:lnTo>
                  <a:lnTo>
                    <a:pt x="398" y="1088"/>
                  </a:lnTo>
                  <a:lnTo>
                    <a:pt x="398" y="1090"/>
                  </a:lnTo>
                  <a:lnTo>
                    <a:pt x="395" y="1090"/>
                  </a:lnTo>
                  <a:lnTo>
                    <a:pt x="398" y="1093"/>
                  </a:lnTo>
                  <a:lnTo>
                    <a:pt x="398" y="1093"/>
                  </a:lnTo>
                  <a:lnTo>
                    <a:pt x="395" y="1093"/>
                  </a:lnTo>
                  <a:lnTo>
                    <a:pt x="395" y="1095"/>
                  </a:lnTo>
                  <a:lnTo>
                    <a:pt x="395" y="1095"/>
                  </a:lnTo>
                  <a:lnTo>
                    <a:pt x="395" y="1095"/>
                  </a:lnTo>
                  <a:lnTo>
                    <a:pt x="395" y="1097"/>
                  </a:lnTo>
                  <a:lnTo>
                    <a:pt x="395" y="1097"/>
                  </a:lnTo>
                  <a:lnTo>
                    <a:pt x="393" y="1097"/>
                  </a:lnTo>
                  <a:lnTo>
                    <a:pt x="393" y="1097"/>
                  </a:lnTo>
                  <a:lnTo>
                    <a:pt x="393" y="1097"/>
                  </a:lnTo>
                  <a:lnTo>
                    <a:pt x="393" y="1100"/>
                  </a:lnTo>
                  <a:lnTo>
                    <a:pt x="393" y="1100"/>
                  </a:lnTo>
                  <a:lnTo>
                    <a:pt x="393" y="1100"/>
                  </a:lnTo>
                  <a:lnTo>
                    <a:pt x="391" y="1100"/>
                  </a:lnTo>
                  <a:lnTo>
                    <a:pt x="391" y="1100"/>
                  </a:lnTo>
                  <a:lnTo>
                    <a:pt x="391" y="1100"/>
                  </a:lnTo>
                  <a:lnTo>
                    <a:pt x="391" y="1100"/>
                  </a:lnTo>
                  <a:lnTo>
                    <a:pt x="391" y="1100"/>
                  </a:lnTo>
                  <a:lnTo>
                    <a:pt x="388" y="1102"/>
                  </a:lnTo>
                  <a:lnTo>
                    <a:pt x="388" y="1102"/>
                  </a:lnTo>
                  <a:lnTo>
                    <a:pt x="388" y="1102"/>
                  </a:lnTo>
                  <a:lnTo>
                    <a:pt x="388" y="1102"/>
                  </a:lnTo>
                  <a:lnTo>
                    <a:pt x="388" y="1102"/>
                  </a:lnTo>
                  <a:lnTo>
                    <a:pt x="386" y="1102"/>
                  </a:lnTo>
                  <a:lnTo>
                    <a:pt x="386" y="1100"/>
                  </a:lnTo>
                  <a:lnTo>
                    <a:pt x="386" y="1100"/>
                  </a:lnTo>
                  <a:lnTo>
                    <a:pt x="381" y="1100"/>
                  </a:lnTo>
                  <a:lnTo>
                    <a:pt x="379" y="1100"/>
                  </a:lnTo>
                  <a:lnTo>
                    <a:pt x="376" y="1100"/>
                  </a:lnTo>
                  <a:lnTo>
                    <a:pt x="376" y="1100"/>
                  </a:lnTo>
                  <a:lnTo>
                    <a:pt x="376" y="1102"/>
                  </a:lnTo>
                  <a:lnTo>
                    <a:pt x="376" y="1102"/>
                  </a:lnTo>
                  <a:lnTo>
                    <a:pt x="376" y="1102"/>
                  </a:lnTo>
                  <a:lnTo>
                    <a:pt x="374" y="1102"/>
                  </a:lnTo>
                  <a:lnTo>
                    <a:pt x="374" y="1102"/>
                  </a:lnTo>
                  <a:lnTo>
                    <a:pt x="374" y="1102"/>
                  </a:lnTo>
                  <a:lnTo>
                    <a:pt x="374" y="1102"/>
                  </a:lnTo>
                  <a:lnTo>
                    <a:pt x="374" y="1100"/>
                  </a:lnTo>
                  <a:lnTo>
                    <a:pt x="374" y="1100"/>
                  </a:lnTo>
                  <a:lnTo>
                    <a:pt x="374" y="1102"/>
                  </a:lnTo>
                  <a:lnTo>
                    <a:pt x="372" y="1102"/>
                  </a:lnTo>
                  <a:lnTo>
                    <a:pt x="372" y="1100"/>
                  </a:lnTo>
                  <a:lnTo>
                    <a:pt x="372" y="1102"/>
                  </a:lnTo>
                  <a:lnTo>
                    <a:pt x="372" y="1102"/>
                  </a:lnTo>
                  <a:lnTo>
                    <a:pt x="372" y="1102"/>
                  </a:lnTo>
                  <a:lnTo>
                    <a:pt x="372" y="1102"/>
                  </a:lnTo>
                  <a:lnTo>
                    <a:pt x="369" y="1104"/>
                  </a:lnTo>
                  <a:lnTo>
                    <a:pt x="369" y="1104"/>
                  </a:lnTo>
                  <a:lnTo>
                    <a:pt x="367" y="1104"/>
                  </a:lnTo>
                  <a:lnTo>
                    <a:pt x="367" y="1104"/>
                  </a:lnTo>
                  <a:lnTo>
                    <a:pt x="365" y="1104"/>
                  </a:lnTo>
                  <a:lnTo>
                    <a:pt x="362" y="1104"/>
                  </a:lnTo>
                  <a:lnTo>
                    <a:pt x="362" y="1104"/>
                  </a:lnTo>
                  <a:lnTo>
                    <a:pt x="360" y="1107"/>
                  </a:lnTo>
                  <a:lnTo>
                    <a:pt x="360" y="1109"/>
                  </a:lnTo>
                  <a:lnTo>
                    <a:pt x="360" y="1109"/>
                  </a:lnTo>
                  <a:lnTo>
                    <a:pt x="357" y="1109"/>
                  </a:lnTo>
                  <a:lnTo>
                    <a:pt x="357" y="1109"/>
                  </a:lnTo>
                  <a:lnTo>
                    <a:pt x="357" y="1109"/>
                  </a:lnTo>
                  <a:lnTo>
                    <a:pt x="357" y="1109"/>
                  </a:lnTo>
                  <a:lnTo>
                    <a:pt x="357" y="1109"/>
                  </a:lnTo>
                  <a:lnTo>
                    <a:pt x="357" y="1109"/>
                  </a:lnTo>
                  <a:lnTo>
                    <a:pt x="357" y="1109"/>
                  </a:lnTo>
                  <a:lnTo>
                    <a:pt x="357" y="1107"/>
                  </a:lnTo>
                  <a:lnTo>
                    <a:pt x="360" y="1107"/>
                  </a:lnTo>
                  <a:lnTo>
                    <a:pt x="360" y="1107"/>
                  </a:lnTo>
                  <a:lnTo>
                    <a:pt x="360" y="1107"/>
                  </a:lnTo>
                  <a:lnTo>
                    <a:pt x="360" y="1107"/>
                  </a:lnTo>
                  <a:lnTo>
                    <a:pt x="360" y="1104"/>
                  </a:lnTo>
                  <a:lnTo>
                    <a:pt x="360" y="1104"/>
                  </a:lnTo>
                  <a:lnTo>
                    <a:pt x="360" y="1104"/>
                  </a:lnTo>
                  <a:lnTo>
                    <a:pt x="360" y="1104"/>
                  </a:lnTo>
                  <a:lnTo>
                    <a:pt x="360" y="1104"/>
                  </a:lnTo>
                  <a:lnTo>
                    <a:pt x="362" y="1104"/>
                  </a:lnTo>
                  <a:lnTo>
                    <a:pt x="362" y="1102"/>
                  </a:lnTo>
                  <a:lnTo>
                    <a:pt x="362" y="1102"/>
                  </a:lnTo>
                  <a:lnTo>
                    <a:pt x="362" y="1102"/>
                  </a:lnTo>
                  <a:lnTo>
                    <a:pt x="362" y="1102"/>
                  </a:lnTo>
                  <a:lnTo>
                    <a:pt x="362" y="1102"/>
                  </a:lnTo>
                  <a:lnTo>
                    <a:pt x="365" y="1102"/>
                  </a:lnTo>
                  <a:lnTo>
                    <a:pt x="367" y="1100"/>
                  </a:lnTo>
                  <a:lnTo>
                    <a:pt x="369" y="1097"/>
                  </a:lnTo>
                  <a:lnTo>
                    <a:pt x="374" y="1095"/>
                  </a:lnTo>
                  <a:lnTo>
                    <a:pt x="374" y="1093"/>
                  </a:lnTo>
                  <a:lnTo>
                    <a:pt x="376" y="1093"/>
                  </a:lnTo>
                  <a:lnTo>
                    <a:pt x="376" y="1093"/>
                  </a:lnTo>
                  <a:lnTo>
                    <a:pt x="376" y="1093"/>
                  </a:lnTo>
                  <a:lnTo>
                    <a:pt x="376" y="1090"/>
                  </a:lnTo>
                  <a:lnTo>
                    <a:pt x="376" y="1090"/>
                  </a:lnTo>
                  <a:lnTo>
                    <a:pt x="376" y="1090"/>
                  </a:lnTo>
                  <a:lnTo>
                    <a:pt x="376" y="1090"/>
                  </a:lnTo>
                  <a:lnTo>
                    <a:pt x="376" y="1088"/>
                  </a:lnTo>
                  <a:lnTo>
                    <a:pt x="379" y="1088"/>
                  </a:lnTo>
                  <a:lnTo>
                    <a:pt x="379" y="1088"/>
                  </a:lnTo>
                  <a:lnTo>
                    <a:pt x="379" y="1088"/>
                  </a:lnTo>
                  <a:lnTo>
                    <a:pt x="379" y="1088"/>
                  </a:lnTo>
                  <a:lnTo>
                    <a:pt x="379" y="1088"/>
                  </a:lnTo>
                  <a:lnTo>
                    <a:pt x="379" y="1085"/>
                  </a:lnTo>
                  <a:lnTo>
                    <a:pt x="379" y="1085"/>
                  </a:lnTo>
                  <a:lnTo>
                    <a:pt x="379" y="1085"/>
                  </a:lnTo>
                  <a:lnTo>
                    <a:pt x="379" y="1085"/>
                  </a:lnTo>
                  <a:lnTo>
                    <a:pt x="376" y="1085"/>
                  </a:lnTo>
                  <a:lnTo>
                    <a:pt x="376" y="1085"/>
                  </a:lnTo>
                  <a:lnTo>
                    <a:pt x="376" y="1088"/>
                  </a:lnTo>
                  <a:lnTo>
                    <a:pt x="376" y="1088"/>
                  </a:lnTo>
                  <a:lnTo>
                    <a:pt x="376" y="1088"/>
                  </a:lnTo>
                  <a:lnTo>
                    <a:pt x="376" y="1088"/>
                  </a:lnTo>
                  <a:lnTo>
                    <a:pt x="376" y="1088"/>
                  </a:lnTo>
                  <a:lnTo>
                    <a:pt x="376" y="1088"/>
                  </a:lnTo>
                  <a:lnTo>
                    <a:pt x="374" y="1088"/>
                  </a:lnTo>
                  <a:lnTo>
                    <a:pt x="374" y="1088"/>
                  </a:lnTo>
                  <a:lnTo>
                    <a:pt x="374" y="1088"/>
                  </a:lnTo>
                  <a:lnTo>
                    <a:pt x="374" y="1088"/>
                  </a:lnTo>
                  <a:lnTo>
                    <a:pt x="374" y="1090"/>
                  </a:lnTo>
                  <a:lnTo>
                    <a:pt x="374" y="1090"/>
                  </a:lnTo>
                  <a:lnTo>
                    <a:pt x="374" y="1090"/>
                  </a:lnTo>
                  <a:lnTo>
                    <a:pt x="372" y="1088"/>
                  </a:lnTo>
                  <a:lnTo>
                    <a:pt x="372" y="1088"/>
                  </a:lnTo>
                  <a:lnTo>
                    <a:pt x="372" y="1088"/>
                  </a:lnTo>
                  <a:lnTo>
                    <a:pt x="372" y="1088"/>
                  </a:lnTo>
                  <a:lnTo>
                    <a:pt x="372" y="1088"/>
                  </a:lnTo>
                  <a:lnTo>
                    <a:pt x="372" y="1088"/>
                  </a:lnTo>
                  <a:lnTo>
                    <a:pt x="372" y="1088"/>
                  </a:lnTo>
                  <a:lnTo>
                    <a:pt x="372" y="1085"/>
                  </a:lnTo>
                  <a:lnTo>
                    <a:pt x="372" y="1085"/>
                  </a:lnTo>
                  <a:lnTo>
                    <a:pt x="372" y="1085"/>
                  </a:lnTo>
                  <a:lnTo>
                    <a:pt x="372" y="1085"/>
                  </a:lnTo>
                  <a:lnTo>
                    <a:pt x="369" y="1085"/>
                  </a:lnTo>
                  <a:lnTo>
                    <a:pt x="369" y="1085"/>
                  </a:lnTo>
                  <a:lnTo>
                    <a:pt x="369" y="1085"/>
                  </a:lnTo>
                  <a:lnTo>
                    <a:pt x="369" y="1085"/>
                  </a:lnTo>
                  <a:lnTo>
                    <a:pt x="369" y="1083"/>
                  </a:lnTo>
                  <a:lnTo>
                    <a:pt x="369" y="1083"/>
                  </a:lnTo>
                  <a:lnTo>
                    <a:pt x="369" y="1083"/>
                  </a:lnTo>
                  <a:lnTo>
                    <a:pt x="369" y="1083"/>
                  </a:lnTo>
                  <a:lnTo>
                    <a:pt x="369" y="1083"/>
                  </a:lnTo>
                  <a:lnTo>
                    <a:pt x="367" y="1083"/>
                  </a:lnTo>
                  <a:lnTo>
                    <a:pt x="367" y="1083"/>
                  </a:lnTo>
                  <a:lnTo>
                    <a:pt x="367" y="1081"/>
                  </a:lnTo>
                  <a:lnTo>
                    <a:pt x="369" y="1081"/>
                  </a:lnTo>
                  <a:lnTo>
                    <a:pt x="369" y="1081"/>
                  </a:lnTo>
                  <a:lnTo>
                    <a:pt x="372" y="1081"/>
                  </a:lnTo>
                  <a:lnTo>
                    <a:pt x="372" y="1078"/>
                  </a:lnTo>
                  <a:lnTo>
                    <a:pt x="369" y="1078"/>
                  </a:lnTo>
                  <a:lnTo>
                    <a:pt x="369" y="1078"/>
                  </a:lnTo>
                  <a:lnTo>
                    <a:pt x="369" y="1076"/>
                  </a:lnTo>
                  <a:lnTo>
                    <a:pt x="369" y="1076"/>
                  </a:lnTo>
                  <a:lnTo>
                    <a:pt x="369" y="1076"/>
                  </a:lnTo>
                  <a:lnTo>
                    <a:pt x="367" y="1076"/>
                  </a:lnTo>
                  <a:lnTo>
                    <a:pt x="367" y="1076"/>
                  </a:lnTo>
                  <a:lnTo>
                    <a:pt x="367" y="1076"/>
                  </a:lnTo>
                  <a:lnTo>
                    <a:pt x="367" y="1074"/>
                  </a:lnTo>
                  <a:lnTo>
                    <a:pt x="367" y="1074"/>
                  </a:lnTo>
                  <a:lnTo>
                    <a:pt x="369" y="1074"/>
                  </a:lnTo>
                  <a:lnTo>
                    <a:pt x="369" y="1074"/>
                  </a:lnTo>
                  <a:lnTo>
                    <a:pt x="369" y="1071"/>
                  </a:lnTo>
                  <a:lnTo>
                    <a:pt x="369" y="1071"/>
                  </a:lnTo>
                  <a:lnTo>
                    <a:pt x="367" y="1071"/>
                  </a:lnTo>
                  <a:lnTo>
                    <a:pt x="367" y="1071"/>
                  </a:lnTo>
                  <a:lnTo>
                    <a:pt x="367" y="1071"/>
                  </a:lnTo>
                  <a:lnTo>
                    <a:pt x="365" y="1071"/>
                  </a:lnTo>
                  <a:lnTo>
                    <a:pt x="365" y="1071"/>
                  </a:lnTo>
                  <a:lnTo>
                    <a:pt x="365" y="1071"/>
                  </a:lnTo>
                  <a:lnTo>
                    <a:pt x="365" y="1071"/>
                  </a:lnTo>
                  <a:lnTo>
                    <a:pt x="365" y="1074"/>
                  </a:lnTo>
                  <a:lnTo>
                    <a:pt x="365" y="1076"/>
                  </a:lnTo>
                  <a:lnTo>
                    <a:pt x="365" y="1078"/>
                  </a:lnTo>
                  <a:lnTo>
                    <a:pt x="365" y="1078"/>
                  </a:lnTo>
                  <a:lnTo>
                    <a:pt x="362" y="1081"/>
                  </a:lnTo>
                  <a:lnTo>
                    <a:pt x="362" y="1081"/>
                  </a:lnTo>
                  <a:lnTo>
                    <a:pt x="362" y="1081"/>
                  </a:lnTo>
                  <a:lnTo>
                    <a:pt x="362" y="1081"/>
                  </a:lnTo>
                  <a:lnTo>
                    <a:pt x="362" y="1083"/>
                  </a:lnTo>
                  <a:lnTo>
                    <a:pt x="362" y="1083"/>
                  </a:lnTo>
                  <a:lnTo>
                    <a:pt x="360" y="1083"/>
                  </a:lnTo>
                  <a:lnTo>
                    <a:pt x="360" y="1083"/>
                  </a:lnTo>
                  <a:lnTo>
                    <a:pt x="360" y="1083"/>
                  </a:lnTo>
                  <a:lnTo>
                    <a:pt x="360" y="1083"/>
                  </a:lnTo>
                  <a:lnTo>
                    <a:pt x="360" y="1083"/>
                  </a:lnTo>
                  <a:lnTo>
                    <a:pt x="360" y="1083"/>
                  </a:lnTo>
                  <a:lnTo>
                    <a:pt x="357" y="1083"/>
                  </a:lnTo>
                  <a:lnTo>
                    <a:pt x="357" y="1085"/>
                  </a:lnTo>
                  <a:lnTo>
                    <a:pt x="357" y="1085"/>
                  </a:lnTo>
                  <a:lnTo>
                    <a:pt x="357" y="1085"/>
                  </a:lnTo>
                  <a:lnTo>
                    <a:pt x="357" y="1085"/>
                  </a:lnTo>
                  <a:lnTo>
                    <a:pt x="357" y="1088"/>
                  </a:lnTo>
                  <a:lnTo>
                    <a:pt x="357" y="1088"/>
                  </a:lnTo>
                  <a:lnTo>
                    <a:pt x="360" y="1088"/>
                  </a:lnTo>
                  <a:lnTo>
                    <a:pt x="360" y="1085"/>
                  </a:lnTo>
                  <a:lnTo>
                    <a:pt x="360" y="1085"/>
                  </a:lnTo>
                  <a:lnTo>
                    <a:pt x="360" y="1085"/>
                  </a:lnTo>
                  <a:lnTo>
                    <a:pt x="362" y="1085"/>
                  </a:lnTo>
                  <a:lnTo>
                    <a:pt x="362" y="1085"/>
                  </a:lnTo>
                  <a:lnTo>
                    <a:pt x="360" y="1088"/>
                  </a:lnTo>
                  <a:lnTo>
                    <a:pt x="360" y="1090"/>
                  </a:lnTo>
                  <a:lnTo>
                    <a:pt x="357" y="1088"/>
                  </a:lnTo>
                  <a:lnTo>
                    <a:pt x="355" y="1085"/>
                  </a:lnTo>
                  <a:lnTo>
                    <a:pt x="353" y="1085"/>
                  </a:lnTo>
                  <a:lnTo>
                    <a:pt x="353" y="1085"/>
                  </a:lnTo>
                  <a:lnTo>
                    <a:pt x="353" y="1085"/>
                  </a:lnTo>
                  <a:lnTo>
                    <a:pt x="353" y="1083"/>
                  </a:lnTo>
                  <a:lnTo>
                    <a:pt x="353" y="1083"/>
                  </a:lnTo>
                  <a:lnTo>
                    <a:pt x="353" y="1083"/>
                  </a:lnTo>
                  <a:lnTo>
                    <a:pt x="353" y="1083"/>
                  </a:lnTo>
                  <a:lnTo>
                    <a:pt x="353" y="1085"/>
                  </a:lnTo>
                  <a:lnTo>
                    <a:pt x="350" y="1083"/>
                  </a:lnTo>
                  <a:lnTo>
                    <a:pt x="350" y="1083"/>
                  </a:lnTo>
                  <a:lnTo>
                    <a:pt x="348" y="1083"/>
                  </a:lnTo>
                  <a:lnTo>
                    <a:pt x="348" y="1083"/>
                  </a:lnTo>
                  <a:lnTo>
                    <a:pt x="348" y="1083"/>
                  </a:lnTo>
                  <a:lnTo>
                    <a:pt x="346" y="1083"/>
                  </a:lnTo>
                  <a:lnTo>
                    <a:pt x="346" y="1083"/>
                  </a:lnTo>
                  <a:lnTo>
                    <a:pt x="346" y="1083"/>
                  </a:lnTo>
                  <a:lnTo>
                    <a:pt x="346" y="1083"/>
                  </a:lnTo>
                  <a:lnTo>
                    <a:pt x="346" y="1083"/>
                  </a:lnTo>
                  <a:lnTo>
                    <a:pt x="346" y="1083"/>
                  </a:lnTo>
                  <a:lnTo>
                    <a:pt x="346" y="1083"/>
                  </a:lnTo>
                  <a:lnTo>
                    <a:pt x="343" y="1083"/>
                  </a:lnTo>
                  <a:lnTo>
                    <a:pt x="343" y="1083"/>
                  </a:lnTo>
                  <a:lnTo>
                    <a:pt x="341" y="1083"/>
                  </a:lnTo>
                  <a:lnTo>
                    <a:pt x="341" y="1083"/>
                  </a:lnTo>
                  <a:lnTo>
                    <a:pt x="341" y="1085"/>
                  </a:lnTo>
                  <a:lnTo>
                    <a:pt x="341" y="1085"/>
                  </a:lnTo>
                  <a:lnTo>
                    <a:pt x="341" y="1085"/>
                  </a:lnTo>
                  <a:lnTo>
                    <a:pt x="341" y="1085"/>
                  </a:lnTo>
                  <a:lnTo>
                    <a:pt x="341" y="1088"/>
                  </a:lnTo>
                  <a:lnTo>
                    <a:pt x="341" y="1090"/>
                  </a:lnTo>
                  <a:lnTo>
                    <a:pt x="341" y="1090"/>
                  </a:lnTo>
                  <a:lnTo>
                    <a:pt x="339" y="1090"/>
                  </a:lnTo>
                  <a:lnTo>
                    <a:pt x="339" y="1093"/>
                  </a:lnTo>
                  <a:lnTo>
                    <a:pt x="339" y="1093"/>
                  </a:lnTo>
                  <a:lnTo>
                    <a:pt x="339" y="1093"/>
                  </a:lnTo>
                  <a:lnTo>
                    <a:pt x="339" y="1093"/>
                  </a:lnTo>
                  <a:lnTo>
                    <a:pt x="339" y="1093"/>
                  </a:lnTo>
                  <a:lnTo>
                    <a:pt x="339" y="1095"/>
                  </a:lnTo>
                  <a:lnTo>
                    <a:pt x="339" y="1095"/>
                  </a:lnTo>
                  <a:lnTo>
                    <a:pt x="341" y="1095"/>
                  </a:lnTo>
                  <a:lnTo>
                    <a:pt x="341" y="1095"/>
                  </a:lnTo>
                  <a:lnTo>
                    <a:pt x="341" y="1095"/>
                  </a:lnTo>
                  <a:lnTo>
                    <a:pt x="341" y="1095"/>
                  </a:lnTo>
                  <a:lnTo>
                    <a:pt x="339" y="1095"/>
                  </a:lnTo>
                  <a:lnTo>
                    <a:pt x="339" y="1097"/>
                  </a:lnTo>
                  <a:lnTo>
                    <a:pt x="339" y="1097"/>
                  </a:lnTo>
                  <a:lnTo>
                    <a:pt x="336" y="1093"/>
                  </a:lnTo>
                  <a:lnTo>
                    <a:pt x="336" y="1093"/>
                  </a:lnTo>
                  <a:lnTo>
                    <a:pt x="334" y="1090"/>
                  </a:lnTo>
                  <a:lnTo>
                    <a:pt x="334" y="1090"/>
                  </a:lnTo>
                  <a:lnTo>
                    <a:pt x="334" y="1088"/>
                  </a:lnTo>
                  <a:lnTo>
                    <a:pt x="331" y="1088"/>
                  </a:lnTo>
                  <a:lnTo>
                    <a:pt x="331" y="1088"/>
                  </a:lnTo>
                  <a:lnTo>
                    <a:pt x="331" y="1088"/>
                  </a:lnTo>
                  <a:lnTo>
                    <a:pt x="331" y="1088"/>
                  </a:lnTo>
                  <a:lnTo>
                    <a:pt x="331" y="1090"/>
                  </a:lnTo>
                  <a:lnTo>
                    <a:pt x="331" y="1090"/>
                  </a:lnTo>
                  <a:lnTo>
                    <a:pt x="331" y="1090"/>
                  </a:lnTo>
                  <a:lnTo>
                    <a:pt x="329" y="1093"/>
                  </a:lnTo>
                  <a:lnTo>
                    <a:pt x="329" y="1095"/>
                  </a:lnTo>
                  <a:lnTo>
                    <a:pt x="329" y="1095"/>
                  </a:lnTo>
                  <a:lnTo>
                    <a:pt x="329" y="1095"/>
                  </a:lnTo>
                  <a:lnTo>
                    <a:pt x="329" y="1093"/>
                  </a:lnTo>
                  <a:lnTo>
                    <a:pt x="329" y="1090"/>
                  </a:lnTo>
                  <a:lnTo>
                    <a:pt x="329" y="1090"/>
                  </a:lnTo>
                  <a:lnTo>
                    <a:pt x="329" y="1090"/>
                  </a:lnTo>
                  <a:lnTo>
                    <a:pt x="329" y="1090"/>
                  </a:lnTo>
                  <a:lnTo>
                    <a:pt x="329" y="1090"/>
                  </a:lnTo>
                  <a:lnTo>
                    <a:pt x="329" y="1088"/>
                  </a:lnTo>
                  <a:lnTo>
                    <a:pt x="329" y="1088"/>
                  </a:lnTo>
                  <a:lnTo>
                    <a:pt x="329" y="1088"/>
                  </a:lnTo>
                  <a:lnTo>
                    <a:pt x="329" y="1088"/>
                  </a:lnTo>
                  <a:lnTo>
                    <a:pt x="327" y="1088"/>
                  </a:lnTo>
                  <a:lnTo>
                    <a:pt x="327" y="1088"/>
                  </a:lnTo>
                  <a:lnTo>
                    <a:pt x="324" y="1088"/>
                  </a:lnTo>
                  <a:lnTo>
                    <a:pt x="324" y="1090"/>
                  </a:lnTo>
                  <a:lnTo>
                    <a:pt x="324" y="1090"/>
                  </a:lnTo>
                  <a:lnTo>
                    <a:pt x="327" y="1100"/>
                  </a:lnTo>
                  <a:lnTo>
                    <a:pt x="327" y="1100"/>
                  </a:lnTo>
                  <a:lnTo>
                    <a:pt x="329" y="1102"/>
                  </a:lnTo>
                  <a:lnTo>
                    <a:pt x="329" y="1104"/>
                  </a:lnTo>
                  <a:lnTo>
                    <a:pt x="329" y="1104"/>
                  </a:lnTo>
                  <a:lnTo>
                    <a:pt x="329" y="1104"/>
                  </a:lnTo>
                  <a:lnTo>
                    <a:pt x="327" y="1102"/>
                  </a:lnTo>
                  <a:lnTo>
                    <a:pt x="324" y="1097"/>
                  </a:lnTo>
                  <a:lnTo>
                    <a:pt x="324" y="1095"/>
                  </a:lnTo>
                  <a:lnTo>
                    <a:pt x="324" y="1095"/>
                  </a:lnTo>
                  <a:lnTo>
                    <a:pt x="324" y="1095"/>
                  </a:lnTo>
                  <a:lnTo>
                    <a:pt x="322" y="1093"/>
                  </a:lnTo>
                  <a:lnTo>
                    <a:pt x="322" y="1090"/>
                  </a:lnTo>
                  <a:lnTo>
                    <a:pt x="320" y="1093"/>
                  </a:lnTo>
                  <a:lnTo>
                    <a:pt x="320" y="1093"/>
                  </a:lnTo>
                  <a:lnTo>
                    <a:pt x="320" y="1095"/>
                  </a:lnTo>
                  <a:lnTo>
                    <a:pt x="320" y="1097"/>
                  </a:lnTo>
                  <a:lnTo>
                    <a:pt x="317" y="1100"/>
                  </a:lnTo>
                  <a:lnTo>
                    <a:pt x="320" y="1102"/>
                  </a:lnTo>
                  <a:lnTo>
                    <a:pt x="322" y="1104"/>
                  </a:lnTo>
                  <a:lnTo>
                    <a:pt x="322" y="1107"/>
                  </a:lnTo>
                  <a:lnTo>
                    <a:pt x="322" y="1107"/>
                  </a:lnTo>
                  <a:lnTo>
                    <a:pt x="322" y="1107"/>
                  </a:lnTo>
                  <a:lnTo>
                    <a:pt x="322" y="1107"/>
                  </a:lnTo>
                  <a:lnTo>
                    <a:pt x="322" y="1109"/>
                  </a:lnTo>
                  <a:lnTo>
                    <a:pt x="327" y="1109"/>
                  </a:lnTo>
                  <a:lnTo>
                    <a:pt x="324" y="1109"/>
                  </a:lnTo>
                  <a:lnTo>
                    <a:pt x="322" y="1109"/>
                  </a:lnTo>
                  <a:lnTo>
                    <a:pt x="320" y="1109"/>
                  </a:lnTo>
                  <a:lnTo>
                    <a:pt x="317" y="1107"/>
                  </a:lnTo>
                  <a:lnTo>
                    <a:pt x="317" y="1104"/>
                  </a:lnTo>
                  <a:lnTo>
                    <a:pt x="317" y="1104"/>
                  </a:lnTo>
                  <a:lnTo>
                    <a:pt x="315" y="1104"/>
                  </a:lnTo>
                  <a:lnTo>
                    <a:pt x="315" y="1107"/>
                  </a:lnTo>
                  <a:lnTo>
                    <a:pt x="315" y="1107"/>
                  </a:lnTo>
                  <a:lnTo>
                    <a:pt x="315" y="1109"/>
                  </a:lnTo>
                  <a:lnTo>
                    <a:pt x="315" y="1109"/>
                  </a:lnTo>
                  <a:lnTo>
                    <a:pt x="315" y="1109"/>
                  </a:lnTo>
                  <a:lnTo>
                    <a:pt x="315" y="1109"/>
                  </a:lnTo>
                  <a:lnTo>
                    <a:pt x="312" y="1109"/>
                  </a:lnTo>
                  <a:lnTo>
                    <a:pt x="315" y="1114"/>
                  </a:lnTo>
                  <a:lnTo>
                    <a:pt x="317" y="1114"/>
                  </a:lnTo>
                  <a:lnTo>
                    <a:pt x="322" y="1116"/>
                  </a:lnTo>
                  <a:lnTo>
                    <a:pt x="322" y="1116"/>
                  </a:lnTo>
                  <a:lnTo>
                    <a:pt x="322" y="1116"/>
                  </a:lnTo>
                  <a:lnTo>
                    <a:pt x="322" y="1119"/>
                  </a:lnTo>
                  <a:lnTo>
                    <a:pt x="324" y="1121"/>
                  </a:lnTo>
                  <a:lnTo>
                    <a:pt x="327" y="1123"/>
                  </a:lnTo>
                  <a:lnTo>
                    <a:pt x="322" y="1121"/>
                  </a:lnTo>
                  <a:lnTo>
                    <a:pt x="322" y="1121"/>
                  </a:lnTo>
                  <a:lnTo>
                    <a:pt x="322" y="1123"/>
                  </a:lnTo>
                  <a:lnTo>
                    <a:pt x="322" y="1123"/>
                  </a:lnTo>
                  <a:lnTo>
                    <a:pt x="324" y="1126"/>
                  </a:lnTo>
                  <a:lnTo>
                    <a:pt x="324" y="1126"/>
                  </a:lnTo>
                  <a:lnTo>
                    <a:pt x="324" y="1126"/>
                  </a:lnTo>
                  <a:lnTo>
                    <a:pt x="324" y="1126"/>
                  </a:lnTo>
                  <a:lnTo>
                    <a:pt x="324" y="1126"/>
                  </a:lnTo>
                  <a:lnTo>
                    <a:pt x="324" y="1128"/>
                  </a:lnTo>
                  <a:lnTo>
                    <a:pt x="324" y="1130"/>
                  </a:lnTo>
                  <a:lnTo>
                    <a:pt x="324" y="1130"/>
                  </a:lnTo>
                  <a:lnTo>
                    <a:pt x="327" y="1133"/>
                  </a:lnTo>
                  <a:lnTo>
                    <a:pt x="327" y="1133"/>
                  </a:lnTo>
                  <a:lnTo>
                    <a:pt x="327" y="1133"/>
                  </a:lnTo>
                  <a:lnTo>
                    <a:pt x="327" y="1133"/>
                  </a:lnTo>
                  <a:lnTo>
                    <a:pt x="327" y="1135"/>
                  </a:lnTo>
                  <a:lnTo>
                    <a:pt x="327" y="1135"/>
                  </a:lnTo>
                  <a:lnTo>
                    <a:pt x="327" y="1135"/>
                  </a:lnTo>
                  <a:lnTo>
                    <a:pt x="327" y="1135"/>
                  </a:lnTo>
                  <a:lnTo>
                    <a:pt x="324" y="1133"/>
                  </a:lnTo>
                  <a:lnTo>
                    <a:pt x="324" y="1133"/>
                  </a:lnTo>
                  <a:lnTo>
                    <a:pt x="322" y="1133"/>
                  </a:lnTo>
                  <a:lnTo>
                    <a:pt x="322" y="1133"/>
                  </a:lnTo>
                  <a:lnTo>
                    <a:pt x="322" y="1133"/>
                  </a:lnTo>
                  <a:lnTo>
                    <a:pt x="322" y="1130"/>
                  </a:lnTo>
                  <a:lnTo>
                    <a:pt x="322" y="1130"/>
                  </a:lnTo>
                  <a:lnTo>
                    <a:pt x="322" y="1130"/>
                  </a:lnTo>
                  <a:lnTo>
                    <a:pt x="322" y="1130"/>
                  </a:lnTo>
                  <a:lnTo>
                    <a:pt x="322" y="1130"/>
                  </a:lnTo>
                  <a:lnTo>
                    <a:pt x="322" y="1130"/>
                  </a:lnTo>
                  <a:lnTo>
                    <a:pt x="322" y="1128"/>
                  </a:lnTo>
                  <a:lnTo>
                    <a:pt x="322" y="1128"/>
                  </a:lnTo>
                  <a:lnTo>
                    <a:pt x="320" y="1126"/>
                  </a:lnTo>
                  <a:lnTo>
                    <a:pt x="317" y="1126"/>
                  </a:lnTo>
                  <a:lnTo>
                    <a:pt x="317" y="1123"/>
                  </a:lnTo>
                  <a:lnTo>
                    <a:pt x="317" y="1123"/>
                  </a:lnTo>
                  <a:lnTo>
                    <a:pt x="315" y="1121"/>
                  </a:lnTo>
                  <a:lnTo>
                    <a:pt x="315" y="1121"/>
                  </a:lnTo>
                  <a:lnTo>
                    <a:pt x="315" y="1121"/>
                  </a:lnTo>
                  <a:lnTo>
                    <a:pt x="315" y="1119"/>
                  </a:lnTo>
                  <a:lnTo>
                    <a:pt x="315" y="1119"/>
                  </a:lnTo>
                  <a:lnTo>
                    <a:pt x="310" y="1114"/>
                  </a:lnTo>
                  <a:lnTo>
                    <a:pt x="305" y="1111"/>
                  </a:lnTo>
                  <a:lnTo>
                    <a:pt x="303" y="1109"/>
                  </a:lnTo>
                  <a:lnTo>
                    <a:pt x="303" y="1109"/>
                  </a:lnTo>
                  <a:lnTo>
                    <a:pt x="303" y="1109"/>
                  </a:lnTo>
                  <a:lnTo>
                    <a:pt x="301" y="1109"/>
                  </a:lnTo>
                  <a:lnTo>
                    <a:pt x="301" y="1109"/>
                  </a:lnTo>
                  <a:lnTo>
                    <a:pt x="301" y="1109"/>
                  </a:lnTo>
                  <a:lnTo>
                    <a:pt x="301" y="1109"/>
                  </a:lnTo>
                  <a:lnTo>
                    <a:pt x="301" y="1109"/>
                  </a:lnTo>
                  <a:lnTo>
                    <a:pt x="298" y="1109"/>
                  </a:lnTo>
                  <a:lnTo>
                    <a:pt x="298" y="1109"/>
                  </a:lnTo>
                  <a:lnTo>
                    <a:pt x="298" y="1109"/>
                  </a:lnTo>
                  <a:lnTo>
                    <a:pt x="298" y="1109"/>
                  </a:lnTo>
                  <a:lnTo>
                    <a:pt x="296" y="1109"/>
                  </a:lnTo>
                  <a:lnTo>
                    <a:pt x="296" y="1109"/>
                  </a:lnTo>
                  <a:lnTo>
                    <a:pt x="294" y="1109"/>
                  </a:lnTo>
                  <a:lnTo>
                    <a:pt x="294" y="1107"/>
                  </a:lnTo>
                  <a:lnTo>
                    <a:pt x="291" y="1104"/>
                  </a:lnTo>
                  <a:lnTo>
                    <a:pt x="291" y="1104"/>
                  </a:lnTo>
                  <a:lnTo>
                    <a:pt x="291" y="1104"/>
                  </a:lnTo>
                  <a:lnTo>
                    <a:pt x="291" y="1102"/>
                  </a:lnTo>
                  <a:lnTo>
                    <a:pt x="291" y="1102"/>
                  </a:lnTo>
                  <a:lnTo>
                    <a:pt x="289" y="1102"/>
                  </a:lnTo>
                  <a:lnTo>
                    <a:pt x="286" y="1100"/>
                  </a:lnTo>
                  <a:lnTo>
                    <a:pt x="284" y="1100"/>
                  </a:lnTo>
                  <a:lnTo>
                    <a:pt x="284" y="1097"/>
                  </a:lnTo>
                  <a:lnTo>
                    <a:pt x="282" y="1095"/>
                  </a:lnTo>
                  <a:lnTo>
                    <a:pt x="282" y="1095"/>
                  </a:lnTo>
                  <a:lnTo>
                    <a:pt x="282" y="1095"/>
                  </a:lnTo>
                  <a:lnTo>
                    <a:pt x="282" y="1095"/>
                  </a:lnTo>
                  <a:lnTo>
                    <a:pt x="279" y="1093"/>
                  </a:lnTo>
                  <a:lnTo>
                    <a:pt x="275" y="1085"/>
                  </a:lnTo>
                  <a:lnTo>
                    <a:pt x="270" y="1081"/>
                  </a:lnTo>
                  <a:lnTo>
                    <a:pt x="268" y="1078"/>
                  </a:lnTo>
                  <a:lnTo>
                    <a:pt x="268" y="1074"/>
                  </a:lnTo>
                  <a:lnTo>
                    <a:pt x="268" y="1074"/>
                  </a:lnTo>
                  <a:lnTo>
                    <a:pt x="268" y="1071"/>
                  </a:lnTo>
                  <a:lnTo>
                    <a:pt x="268" y="1069"/>
                  </a:lnTo>
                  <a:lnTo>
                    <a:pt x="268" y="1069"/>
                  </a:lnTo>
                  <a:lnTo>
                    <a:pt x="268" y="1069"/>
                  </a:lnTo>
                  <a:lnTo>
                    <a:pt x="265" y="1069"/>
                  </a:lnTo>
                  <a:lnTo>
                    <a:pt x="265" y="1069"/>
                  </a:lnTo>
                  <a:lnTo>
                    <a:pt x="265" y="1069"/>
                  </a:lnTo>
                  <a:lnTo>
                    <a:pt x="265" y="1069"/>
                  </a:lnTo>
                  <a:lnTo>
                    <a:pt x="265" y="1069"/>
                  </a:lnTo>
                  <a:lnTo>
                    <a:pt x="265" y="1069"/>
                  </a:lnTo>
                  <a:lnTo>
                    <a:pt x="265" y="1071"/>
                  </a:lnTo>
                  <a:lnTo>
                    <a:pt x="265" y="1071"/>
                  </a:lnTo>
                  <a:lnTo>
                    <a:pt x="265" y="1071"/>
                  </a:lnTo>
                  <a:lnTo>
                    <a:pt x="265" y="1071"/>
                  </a:lnTo>
                  <a:lnTo>
                    <a:pt x="263" y="1071"/>
                  </a:lnTo>
                  <a:lnTo>
                    <a:pt x="263" y="1071"/>
                  </a:lnTo>
                  <a:lnTo>
                    <a:pt x="263" y="1071"/>
                  </a:lnTo>
                  <a:lnTo>
                    <a:pt x="263" y="1071"/>
                  </a:lnTo>
                  <a:lnTo>
                    <a:pt x="263" y="1071"/>
                  </a:lnTo>
                  <a:lnTo>
                    <a:pt x="263" y="1071"/>
                  </a:lnTo>
                  <a:lnTo>
                    <a:pt x="263" y="1071"/>
                  </a:lnTo>
                  <a:lnTo>
                    <a:pt x="263" y="1071"/>
                  </a:lnTo>
                  <a:lnTo>
                    <a:pt x="263" y="1071"/>
                  </a:lnTo>
                  <a:lnTo>
                    <a:pt x="263" y="1069"/>
                  </a:lnTo>
                  <a:lnTo>
                    <a:pt x="260" y="1069"/>
                  </a:lnTo>
                  <a:lnTo>
                    <a:pt x="260" y="1069"/>
                  </a:lnTo>
                  <a:lnTo>
                    <a:pt x="260" y="1071"/>
                  </a:lnTo>
                  <a:lnTo>
                    <a:pt x="260" y="1071"/>
                  </a:lnTo>
                  <a:lnTo>
                    <a:pt x="260" y="1071"/>
                  </a:lnTo>
                  <a:lnTo>
                    <a:pt x="260" y="1069"/>
                  </a:lnTo>
                  <a:lnTo>
                    <a:pt x="260" y="1066"/>
                  </a:lnTo>
                  <a:lnTo>
                    <a:pt x="260" y="1066"/>
                  </a:lnTo>
                  <a:lnTo>
                    <a:pt x="260" y="1064"/>
                  </a:lnTo>
                  <a:lnTo>
                    <a:pt x="260" y="1062"/>
                  </a:lnTo>
                  <a:lnTo>
                    <a:pt x="256" y="1057"/>
                  </a:lnTo>
                  <a:lnTo>
                    <a:pt x="256" y="1055"/>
                  </a:lnTo>
                  <a:lnTo>
                    <a:pt x="256" y="1055"/>
                  </a:lnTo>
                  <a:lnTo>
                    <a:pt x="256" y="1052"/>
                  </a:lnTo>
                  <a:lnTo>
                    <a:pt x="256" y="1050"/>
                  </a:lnTo>
                  <a:lnTo>
                    <a:pt x="253" y="1048"/>
                  </a:lnTo>
                  <a:lnTo>
                    <a:pt x="251" y="1048"/>
                  </a:lnTo>
                  <a:lnTo>
                    <a:pt x="251" y="1048"/>
                  </a:lnTo>
                  <a:lnTo>
                    <a:pt x="251" y="1045"/>
                  </a:lnTo>
                  <a:lnTo>
                    <a:pt x="244" y="1040"/>
                  </a:lnTo>
                  <a:lnTo>
                    <a:pt x="242" y="1038"/>
                  </a:lnTo>
                  <a:lnTo>
                    <a:pt x="242" y="1038"/>
                  </a:lnTo>
                  <a:lnTo>
                    <a:pt x="244" y="1038"/>
                  </a:lnTo>
                  <a:lnTo>
                    <a:pt x="246" y="1040"/>
                  </a:lnTo>
                  <a:lnTo>
                    <a:pt x="246" y="1040"/>
                  </a:lnTo>
                  <a:lnTo>
                    <a:pt x="239" y="1036"/>
                  </a:lnTo>
                  <a:lnTo>
                    <a:pt x="234" y="1033"/>
                  </a:lnTo>
                  <a:lnTo>
                    <a:pt x="232" y="1033"/>
                  </a:lnTo>
                  <a:lnTo>
                    <a:pt x="227" y="1031"/>
                  </a:lnTo>
                  <a:lnTo>
                    <a:pt x="223" y="1029"/>
                  </a:lnTo>
                  <a:lnTo>
                    <a:pt x="220" y="1026"/>
                  </a:lnTo>
                  <a:lnTo>
                    <a:pt x="220" y="1026"/>
                  </a:lnTo>
                  <a:lnTo>
                    <a:pt x="220" y="1026"/>
                  </a:lnTo>
                  <a:lnTo>
                    <a:pt x="220" y="1026"/>
                  </a:lnTo>
                  <a:lnTo>
                    <a:pt x="218" y="1026"/>
                  </a:lnTo>
                  <a:lnTo>
                    <a:pt x="218" y="1026"/>
                  </a:lnTo>
                  <a:lnTo>
                    <a:pt x="218" y="1026"/>
                  </a:lnTo>
                  <a:lnTo>
                    <a:pt x="218" y="1026"/>
                  </a:lnTo>
                  <a:lnTo>
                    <a:pt x="218" y="1026"/>
                  </a:lnTo>
                  <a:lnTo>
                    <a:pt x="218" y="1026"/>
                  </a:lnTo>
                  <a:lnTo>
                    <a:pt x="218" y="1026"/>
                  </a:lnTo>
                  <a:lnTo>
                    <a:pt x="215" y="1024"/>
                  </a:lnTo>
                  <a:lnTo>
                    <a:pt x="215" y="1024"/>
                  </a:lnTo>
                  <a:lnTo>
                    <a:pt x="213" y="1033"/>
                  </a:lnTo>
                  <a:lnTo>
                    <a:pt x="208" y="1043"/>
                  </a:lnTo>
                  <a:lnTo>
                    <a:pt x="206" y="1052"/>
                  </a:lnTo>
                  <a:lnTo>
                    <a:pt x="201" y="1062"/>
                  </a:lnTo>
                  <a:lnTo>
                    <a:pt x="199" y="1069"/>
                  </a:lnTo>
                  <a:lnTo>
                    <a:pt x="194" y="1078"/>
                  </a:lnTo>
                  <a:lnTo>
                    <a:pt x="189" y="1088"/>
                  </a:lnTo>
                  <a:lnTo>
                    <a:pt x="187" y="1097"/>
                  </a:lnTo>
                  <a:lnTo>
                    <a:pt x="182" y="1107"/>
                  </a:lnTo>
                  <a:lnTo>
                    <a:pt x="180" y="1116"/>
                  </a:lnTo>
                  <a:lnTo>
                    <a:pt x="175" y="1126"/>
                  </a:lnTo>
                  <a:lnTo>
                    <a:pt x="173" y="1135"/>
                  </a:lnTo>
                  <a:lnTo>
                    <a:pt x="171" y="1142"/>
                  </a:lnTo>
                  <a:lnTo>
                    <a:pt x="166" y="1152"/>
                  </a:lnTo>
                  <a:lnTo>
                    <a:pt x="163" y="1161"/>
                  </a:lnTo>
                  <a:lnTo>
                    <a:pt x="159" y="1171"/>
                  </a:lnTo>
                  <a:lnTo>
                    <a:pt x="156" y="1180"/>
                  </a:lnTo>
                  <a:lnTo>
                    <a:pt x="152" y="1187"/>
                  </a:lnTo>
                  <a:lnTo>
                    <a:pt x="149" y="1197"/>
                  </a:lnTo>
                  <a:lnTo>
                    <a:pt x="144" y="1206"/>
                  </a:lnTo>
                  <a:lnTo>
                    <a:pt x="142" y="1216"/>
                  </a:lnTo>
                  <a:lnTo>
                    <a:pt x="137" y="1223"/>
                  </a:lnTo>
                  <a:lnTo>
                    <a:pt x="135" y="1232"/>
                  </a:lnTo>
                  <a:lnTo>
                    <a:pt x="130" y="1242"/>
                  </a:lnTo>
                  <a:lnTo>
                    <a:pt x="128" y="1249"/>
                  </a:lnTo>
                  <a:lnTo>
                    <a:pt x="126" y="1258"/>
                  </a:lnTo>
                  <a:lnTo>
                    <a:pt x="121" y="1268"/>
                  </a:lnTo>
                  <a:lnTo>
                    <a:pt x="118" y="1275"/>
                  </a:lnTo>
                  <a:lnTo>
                    <a:pt x="114" y="1284"/>
                  </a:lnTo>
                  <a:lnTo>
                    <a:pt x="111" y="1294"/>
                  </a:lnTo>
                  <a:lnTo>
                    <a:pt x="107" y="1301"/>
                  </a:lnTo>
                  <a:lnTo>
                    <a:pt x="104" y="1310"/>
                  </a:lnTo>
                  <a:lnTo>
                    <a:pt x="102" y="1320"/>
                  </a:lnTo>
                  <a:lnTo>
                    <a:pt x="97" y="1327"/>
                  </a:lnTo>
                  <a:lnTo>
                    <a:pt x="95" y="1336"/>
                  </a:lnTo>
                  <a:lnTo>
                    <a:pt x="90" y="1346"/>
                  </a:lnTo>
                  <a:lnTo>
                    <a:pt x="88" y="1353"/>
                  </a:lnTo>
                  <a:lnTo>
                    <a:pt x="85" y="1362"/>
                  </a:lnTo>
                  <a:lnTo>
                    <a:pt x="81" y="1369"/>
                  </a:lnTo>
                  <a:lnTo>
                    <a:pt x="78" y="1379"/>
                  </a:lnTo>
                  <a:lnTo>
                    <a:pt x="73" y="1386"/>
                  </a:lnTo>
                  <a:lnTo>
                    <a:pt x="71" y="1395"/>
                  </a:lnTo>
                  <a:lnTo>
                    <a:pt x="69" y="1405"/>
                  </a:lnTo>
                  <a:lnTo>
                    <a:pt x="64" y="1412"/>
                  </a:lnTo>
                  <a:lnTo>
                    <a:pt x="62" y="1421"/>
                  </a:lnTo>
                  <a:lnTo>
                    <a:pt x="57" y="1428"/>
                  </a:lnTo>
                  <a:lnTo>
                    <a:pt x="55" y="1438"/>
                  </a:lnTo>
                  <a:lnTo>
                    <a:pt x="52" y="1445"/>
                  </a:lnTo>
                  <a:lnTo>
                    <a:pt x="47" y="1454"/>
                  </a:lnTo>
                  <a:lnTo>
                    <a:pt x="45" y="1462"/>
                  </a:lnTo>
                  <a:lnTo>
                    <a:pt x="43" y="1471"/>
                  </a:lnTo>
                  <a:lnTo>
                    <a:pt x="38" y="1478"/>
                  </a:lnTo>
                  <a:lnTo>
                    <a:pt x="36" y="1488"/>
                  </a:lnTo>
                  <a:lnTo>
                    <a:pt x="33" y="1495"/>
                  </a:lnTo>
                  <a:lnTo>
                    <a:pt x="29" y="1504"/>
                  </a:lnTo>
                  <a:lnTo>
                    <a:pt x="26" y="1511"/>
                  </a:lnTo>
                  <a:lnTo>
                    <a:pt x="24" y="1518"/>
                  </a:lnTo>
                  <a:lnTo>
                    <a:pt x="19" y="1528"/>
                  </a:lnTo>
                  <a:lnTo>
                    <a:pt x="17" y="1535"/>
                  </a:lnTo>
                  <a:lnTo>
                    <a:pt x="14" y="1544"/>
                  </a:lnTo>
                  <a:lnTo>
                    <a:pt x="10" y="1551"/>
                  </a:lnTo>
                  <a:lnTo>
                    <a:pt x="7" y="1561"/>
                  </a:lnTo>
                  <a:lnTo>
                    <a:pt x="5" y="1568"/>
                  </a:lnTo>
                  <a:lnTo>
                    <a:pt x="0" y="1575"/>
                  </a:lnTo>
                  <a:lnTo>
                    <a:pt x="0" y="1577"/>
                  </a:lnTo>
                  <a:lnTo>
                    <a:pt x="0" y="1577"/>
                  </a:lnTo>
                  <a:lnTo>
                    <a:pt x="2" y="1580"/>
                  </a:lnTo>
                  <a:lnTo>
                    <a:pt x="5" y="1582"/>
                  </a:lnTo>
                  <a:lnTo>
                    <a:pt x="7" y="1585"/>
                  </a:lnTo>
                  <a:lnTo>
                    <a:pt x="12" y="1587"/>
                  </a:lnTo>
                  <a:lnTo>
                    <a:pt x="12" y="1587"/>
                  </a:lnTo>
                  <a:lnTo>
                    <a:pt x="12" y="1587"/>
                  </a:lnTo>
                  <a:lnTo>
                    <a:pt x="14" y="1585"/>
                  </a:lnTo>
                  <a:lnTo>
                    <a:pt x="14" y="1585"/>
                  </a:lnTo>
                  <a:lnTo>
                    <a:pt x="14" y="1585"/>
                  </a:lnTo>
                  <a:lnTo>
                    <a:pt x="17" y="1585"/>
                  </a:lnTo>
                  <a:lnTo>
                    <a:pt x="19" y="1587"/>
                  </a:lnTo>
                  <a:lnTo>
                    <a:pt x="21" y="1589"/>
                  </a:lnTo>
                  <a:lnTo>
                    <a:pt x="24" y="1594"/>
                  </a:lnTo>
                  <a:lnTo>
                    <a:pt x="26" y="1594"/>
                  </a:lnTo>
                  <a:lnTo>
                    <a:pt x="29" y="1594"/>
                  </a:lnTo>
                  <a:lnTo>
                    <a:pt x="31" y="1592"/>
                  </a:lnTo>
                  <a:lnTo>
                    <a:pt x="36" y="1589"/>
                  </a:lnTo>
                  <a:lnTo>
                    <a:pt x="38" y="1589"/>
                  </a:lnTo>
                  <a:lnTo>
                    <a:pt x="38" y="1589"/>
                  </a:lnTo>
                  <a:lnTo>
                    <a:pt x="43" y="1592"/>
                  </a:lnTo>
                  <a:lnTo>
                    <a:pt x="45" y="1592"/>
                  </a:lnTo>
                  <a:lnTo>
                    <a:pt x="50" y="1594"/>
                  </a:lnTo>
                  <a:lnTo>
                    <a:pt x="52" y="1594"/>
                  </a:lnTo>
                  <a:lnTo>
                    <a:pt x="55" y="1594"/>
                  </a:lnTo>
                  <a:lnTo>
                    <a:pt x="55" y="1596"/>
                  </a:lnTo>
                  <a:lnTo>
                    <a:pt x="52" y="1596"/>
                  </a:lnTo>
                  <a:lnTo>
                    <a:pt x="50" y="1601"/>
                  </a:lnTo>
                  <a:lnTo>
                    <a:pt x="47" y="1603"/>
                  </a:lnTo>
                  <a:lnTo>
                    <a:pt x="45" y="1608"/>
                  </a:lnTo>
                  <a:lnTo>
                    <a:pt x="45" y="1608"/>
                  </a:lnTo>
                  <a:lnTo>
                    <a:pt x="47" y="1613"/>
                  </a:lnTo>
                  <a:lnTo>
                    <a:pt x="47" y="1615"/>
                  </a:lnTo>
                  <a:lnTo>
                    <a:pt x="47" y="1615"/>
                  </a:lnTo>
                  <a:lnTo>
                    <a:pt x="47" y="1615"/>
                  </a:lnTo>
                  <a:lnTo>
                    <a:pt x="52" y="1620"/>
                  </a:lnTo>
                  <a:lnTo>
                    <a:pt x="55" y="1622"/>
                  </a:lnTo>
                  <a:lnTo>
                    <a:pt x="55" y="1622"/>
                  </a:lnTo>
                  <a:lnTo>
                    <a:pt x="55" y="1625"/>
                  </a:lnTo>
                  <a:lnTo>
                    <a:pt x="55" y="1625"/>
                  </a:lnTo>
                  <a:lnTo>
                    <a:pt x="55" y="1629"/>
                  </a:lnTo>
                  <a:lnTo>
                    <a:pt x="55" y="1629"/>
                  </a:lnTo>
                  <a:lnTo>
                    <a:pt x="55" y="1632"/>
                  </a:lnTo>
                  <a:lnTo>
                    <a:pt x="57" y="1637"/>
                  </a:lnTo>
                  <a:lnTo>
                    <a:pt x="59" y="1641"/>
                  </a:lnTo>
                  <a:lnTo>
                    <a:pt x="62" y="1648"/>
                  </a:lnTo>
                  <a:lnTo>
                    <a:pt x="64" y="1653"/>
                  </a:lnTo>
                  <a:lnTo>
                    <a:pt x="66" y="1660"/>
                  </a:lnTo>
                  <a:lnTo>
                    <a:pt x="71" y="1665"/>
                  </a:lnTo>
                  <a:lnTo>
                    <a:pt x="73" y="1672"/>
                  </a:lnTo>
                  <a:lnTo>
                    <a:pt x="73" y="1672"/>
                  </a:lnTo>
                  <a:lnTo>
                    <a:pt x="73" y="1672"/>
                  </a:lnTo>
                  <a:lnTo>
                    <a:pt x="73" y="1677"/>
                  </a:lnTo>
                  <a:lnTo>
                    <a:pt x="71" y="1682"/>
                  </a:lnTo>
                  <a:lnTo>
                    <a:pt x="71" y="1686"/>
                  </a:lnTo>
                  <a:lnTo>
                    <a:pt x="69" y="1689"/>
                  </a:lnTo>
                  <a:lnTo>
                    <a:pt x="69" y="1689"/>
                  </a:lnTo>
                  <a:lnTo>
                    <a:pt x="69" y="1691"/>
                  </a:lnTo>
                  <a:lnTo>
                    <a:pt x="71" y="1691"/>
                  </a:lnTo>
                  <a:lnTo>
                    <a:pt x="71" y="1691"/>
                  </a:lnTo>
                  <a:lnTo>
                    <a:pt x="76" y="1689"/>
                  </a:lnTo>
                  <a:lnTo>
                    <a:pt x="78" y="1689"/>
                  </a:lnTo>
                  <a:lnTo>
                    <a:pt x="81" y="1686"/>
                  </a:lnTo>
                  <a:lnTo>
                    <a:pt x="85" y="1686"/>
                  </a:lnTo>
                  <a:lnTo>
                    <a:pt x="85" y="1686"/>
                  </a:lnTo>
                  <a:lnTo>
                    <a:pt x="90" y="1684"/>
                  </a:lnTo>
                  <a:lnTo>
                    <a:pt x="92" y="1684"/>
                  </a:lnTo>
                  <a:lnTo>
                    <a:pt x="95" y="1684"/>
                  </a:lnTo>
                  <a:lnTo>
                    <a:pt x="97" y="1686"/>
                  </a:lnTo>
                  <a:lnTo>
                    <a:pt x="100" y="1686"/>
                  </a:lnTo>
                  <a:lnTo>
                    <a:pt x="102" y="1684"/>
                  </a:lnTo>
                  <a:lnTo>
                    <a:pt x="104" y="1682"/>
                  </a:lnTo>
                  <a:lnTo>
                    <a:pt x="104" y="1682"/>
                  </a:lnTo>
                  <a:lnTo>
                    <a:pt x="107" y="1679"/>
                  </a:lnTo>
                  <a:lnTo>
                    <a:pt x="109" y="1674"/>
                  </a:lnTo>
                  <a:lnTo>
                    <a:pt x="109" y="1670"/>
                  </a:lnTo>
                  <a:lnTo>
                    <a:pt x="111" y="1672"/>
                  </a:lnTo>
                  <a:lnTo>
                    <a:pt x="111" y="1672"/>
                  </a:lnTo>
                  <a:lnTo>
                    <a:pt x="114" y="1672"/>
                  </a:lnTo>
                  <a:lnTo>
                    <a:pt x="116" y="1670"/>
                  </a:lnTo>
                  <a:lnTo>
                    <a:pt x="116" y="1667"/>
                  </a:lnTo>
                  <a:lnTo>
                    <a:pt x="116" y="1667"/>
                  </a:lnTo>
                  <a:lnTo>
                    <a:pt x="116" y="1665"/>
                  </a:lnTo>
                  <a:lnTo>
                    <a:pt x="116" y="1663"/>
                  </a:lnTo>
                  <a:lnTo>
                    <a:pt x="118" y="1663"/>
                  </a:lnTo>
                  <a:lnTo>
                    <a:pt x="121" y="1663"/>
                  </a:lnTo>
                  <a:lnTo>
                    <a:pt x="126" y="1663"/>
                  </a:lnTo>
                  <a:lnTo>
                    <a:pt x="128" y="1663"/>
                  </a:lnTo>
                  <a:lnTo>
                    <a:pt x="133" y="1663"/>
                  </a:lnTo>
                  <a:lnTo>
                    <a:pt x="137" y="1663"/>
                  </a:lnTo>
                  <a:lnTo>
                    <a:pt x="144" y="1660"/>
                  </a:lnTo>
                  <a:lnTo>
                    <a:pt x="144" y="1660"/>
                  </a:lnTo>
                  <a:lnTo>
                    <a:pt x="144" y="1663"/>
                  </a:lnTo>
                  <a:lnTo>
                    <a:pt x="147" y="1665"/>
                  </a:lnTo>
                  <a:lnTo>
                    <a:pt x="147" y="1667"/>
                  </a:lnTo>
                  <a:lnTo>
                    <a:pt x="149" y="1670"/>
                  </a:lnTo>
                  <a:lnTo>
                    <a:pt x="149" y="1672"/>
                  </a:lnTo>
                  <a:lnTo>
                    <a:pt x="149" y="1674"/>
                  </a:lnTo>
                  <a:lnTo>
                    <a:pt x="152" y="1674"/>
                  </a:lnTo>
                  <a:lnTo>
                    <a:pt x="152" y="1674"/>
                  </a:lnTo>
                  <a:lnTo>
                    <a:pt x="152" y="1677"/>
                  </a:lnTo>
                  <a:lnTo>
                    <a:pt x="152" y="1679"/>
                  </a:lnTo>
                  <a:lnTo>
                    <a:pt x="152" y="1679"/>
                  </a:lnTo>
                  <a:lnTo>
                    <a:pt x="152" y="1682"/>
                  </a:lnTo>
                  <a:lnTo>
                    <a:pt x="152" y="1684"/>
                  </a:lnTo>
                  <a:lnTo>
                    <a:pt x="149" y="1684"/>
                  </a:lnTo>
                  <a:lnTo>
                    <a:pt x="149" y="1684"/>
                  </a:lnTo>
                  <a:lnTo>
                    <a:pt x="147" y="1686"/>
                  </a:lnTo>
                  <a:lnTo>
                    <a:pt x="149" y="1689"/>
                  </a:lnTo>
                  <a:lnTo>
                    <a:pt x="149" y="1689"/>
                  </a:lnTo>
                  <a:lnTo>
                    <a:pt x="149" y="1691"/>
                  </a:lnTo>
                  <a:lnTo>
                    <a:pt x="149" y="1691"/>
                  </a:lnTo>
                  <a:lnTo>
                    <a:pt x="149" y="1693"/>
                  </a:lnTo>
                  <a:lnTo>
                    <a:pt x="149" y="1693"/>
                  </a:lnTo>
                  <a:lnTo>
                    <a:pt x="149" y="1696"/>
                  </a:lnTo>
                  <a:lnTo>
                    <a:pt x="152" y="1696"/>
                  </a:lnTo>
                  <a:lnTo>
                    <a:pt x="154" y="1698"/>
                  </a:lnTo>
                  <a:lnTo>
                    <a:pt x="156" y="1698"/>
                  </a:lnTo>
                  <a:lnTo>
                    <a:pt x="156" y="1700"/>
                  </a:lnTo>
                  <a:lnTo>
                    <a:pt x="156" y="1700"/>
                  </a:lnTo>
                  <a:lnTo>
                    <a:pt x="156" y="1703"/>
                  </a:lnTo>
                  <a:lnTo>
                    <a:pt x="156" y="1703"/>
                  </a:lnTo>
                  <a:lnTo>
                    <a:pt x="156" y="1705"/>
                  </a:lnTo>
                  <a:lnTo>
                    <a:pt x="156" y="1705"/>
                  </a:lnTo>
                  <a:lnTo>
                    <a:pt x="156" y="1708"/>
                  </a:lnTo>
                  <a:lnTo>
                    <a:pt x="159" y="1708"/>
                  </a:lnTo>
                  <a:lnTo>
                    <a:pt x="159" y="1708"/>
                  </a:lnTo>
                  <a:lnTo>
                    <a:pt x="161" y="1710"/>
                  </a:lnTo>
                  <a:lnTo>
                    <a:pt x="161" y="1712"/>
                  </a:lnTo>
                  <a:lnTo>
                    <a:pt x="161" y="1712"/>
                  </a:lnTo>
                  <a:lnTo>
                    <a:pt x="161" y="1715"/>
                  </a:lnTo>
                  <a:lnTo>
                    <a:pt x="159" y="1717"/>
                  </a:lnTo>
                  <a:lnTo>
                    <a:pt x="161" y="1717"/>
                  </a:lnTo>
                  <a:lnTo>
                    <a:pt x="161" y="1717"/>
                  </a:lnTo>
                  <a:lnTo>
                    <a:pt x="161" y="1719"/>
                  </a:lnTo>
                  <a:lnTo>
                    <a:pt x="161" y="1719"/>
                  </a:lnTo>
                  <a:lnTo>
                    <a:pt x="161" y="1719"/>
                  </a:lnTo>
                  <a:lnTo>
                    <a:pt x="161" y="1719"/>
                  </a:lnTo>
                  <a:lnTo>
                    <a:pt x="161" y="1719"/>
                  </a:lnTo>
                  <a:lnTo>
                    <a:pt x="161" y="1722"/>
                  </a:lnTo>
                  <a:lnTo>
                    <a:pt x="161" y="1726"/>
                  </a:lnTo>
                  <a:lnTo>
                    <a:pt x="163" y="1729"/>
                  </a:lnTo>
                  <a:lnTo>
                    <a:pt x="168" y="1731"/>
                  </a:lnTo>
                  <a:lnTo>
                    <a:pt x="171" y="1734"/>
                  </a:lnTo>
                  <a:lnTo>
                    <a:pt x="171" y="1736"/>
                  </a:lnTo>
                  <a:lnTo>
                    <a:pt x="171" y="1738"/>
                  </a:lnTo>
                  <a:lnTo>
                    <a:pt x="173" y="1743"/>
                  </a:lnTo>
                  <a:lnTo>
                    <a:pt x="173" y="1748"/>
                  </a:lnTo>
                  <a:lnTo>
                    <a:pt x="175" y="1750"/>
                  </a:lnTo>
                  <a:lnTo>
                    <a:pt x="178" y="1752"/>
                  </a:lnTo>
                  <a:lnTo>
                    <a:pt x="178" y="1757"/>
                  </a:lnTo>
                  <a:lnTo>
                    <a:pt x="178" y="1760"/>
                  </a:lnTo>
                  <a:lnTo>
                    <a:pt x="175" y="1762"/>
                  </a:lnTo>
                  <a:lnTo>
                    <a:pt x="178" y="1764"/>
                  </a:lnTo>
                  <a:lnTo>
                    <a:pt x="178" y="1769"/>
                  </a:lnTo>
                  <a:lnTo>
                    <a:pt x="180" y="1774"/>
                  </a:lnTo>
                  <a:lnTo>
                    <a:pt x="180" y="1776"/>
                  </a:lnTo>
                  <a:lnTo>
                    <a:pt x="180" y="1781"/>
                  </a:lnTo>
                  <a:lnTo>
                    <a:pt x="180" y="1781"/>
                  </a:lnTo>
                  <a:lnTo>
                    <a:pt x="182" y="1786"/>
                  </a:lnTo>
                  <a:lnTo>
                    <a:pt x="182" y="1790"/>
                  </a:lnTo>
                  <a:lnTo>
                    <a:pt x="185" y="1795"/>
                  </a:lnTo>
                  <a:lnTo>
                    <a:pt x="185" y="1805"/>
                  </a:lnTo>
                  <a:lnTo>
                    <a:pt x="187" y="1809"/>
                  </a:lnTo>
                  <a:lnTo>
                    <a:pt x="187" y="1814"/>
                  </a:lnTo>
                  <a:lnTo>
                    <a:pt x="189" y="1819"/>
                  </a:lnTo>
                  <a:lnTo>
                    <a:pt x="189" y="1826"/>
                  </a:lnTo>
                  <a:lnTo>
                    <a:pt x="192" y="1828"/>
                  </a:lnTo>
                  <a:lnTo>
                    <a:pt x="192" y="1835"/>
                  </a:lnTo>
                  <a:lnTo>
                    <a:pt x="189" y="1835"/>
                  </a:lnTo>
                  <a:lnTo>
                    <a:pt x="187" y="1840"/>
                  </a:lnTo>
                  <a:lnTo>
                    <a:pt x="192" y="1842"/>
                  </a:lnTo>
                  <a:lnTo>
                    <a:pt x="194" y="1845"/>
                  </a:lnTo>
                  <a:lnTo>
                    <a:pt x="189" y="1854"/>
                  </a:lnTo>
                  <a:lnTo>
                    <a:pt x="197" y="1859"/>
                  </a:lnTo>
                  <a:lnTo>
                    <a:pt x="197" y="1859"/>
                  </a:lnTo>
                  <a:lnTo>
                    <a:pt x="197" y="1861"/>
                  </a:lnTo>
                  <a:lnTo>
                    <a:pt x="194" y="1861"/>
                  </a:lnTo>
                  <a:lnTo>
                    <a:pt x="194" y="1861"/>
                  </a:lnTo>
                  <a:lnTo>
                    <a:pt x="194" y="1861"/>
                  </a:lnTo>
                  <a:lnTo>
                    <a:pt x="194" y="1864"/>
                  </a:lnTo>
                  <a:lnTo>
                    <a:pt x="194" y="1864"/>
                  </a:lnTo>
                  <a:lnTo>
                    <a:pt x="194" y="1866"/>
                  </a:lnTo>
                  <a:lnTo>
                    <a:pt x="194" y="1866"/>
                  </a:lnTo>
                  <a:lnTo>
                    <a:pt x="194" y="1868"/>
                  </a:lnTo>
                  <a:lnTo>
                    <a:pt x="194" y="1871"/>
                  </a:lnTo>
                  <a:lnTo>
                    <a:pt x="194" y="1871"/>
                  </a:lnTo>
                  <a:lnTo>
                    <a:pt x="194" y="1871"/>
                  </a:lnTo>
                  <a:lnTo>
                    <a:pt x="199" y="1873"/>
                  </a:lnTo>
                  <a:lnTo>
                    <a:pt x="201" y="1873"/>
                  </a:lnTo>
                  <a:lnTo>
                    <a:pt x="201" y="1873"/>
                  </a:lnTo>
                  <a:lnTo>
                    <a:pt x="204" y="1873"/>
                  </a:lnTo>
                  <a:lnTo>
                    <a:pt x="204" y="1875"/>
                  </a:lnTo>
                  <a:lnTo>
                    <a:pt x="208" y="1880"/>
                  </a:lnTo>
                  <a:lnTo>
                    <a:pt x="211" y="1883"/>
                  </a:lnTo>
                  <a:lnTo>
                    <a:pt x="213" y="1887"/>
                  </a:lnTo>
                  <a:lnTo>
                    <a:pt x="215" y="1890"/>
                  </a:lnTo>
                  <a:lnTo>
                    <a:pt x="220" y="1892"/>
                  </a:lnTo>
                  <a:lnTo>
                    <a:pt x="223" y="1894"/>
                  </a:lnTo>
                  <a:lnTo>
                    <a:pt x="225" y="1899"/>
                  </a:lnTo>
                  <a:lnTo>
                    <a:pt x="225" y="1899"/>
                  </a:lnTo>
                  <a:lnTo>
                    <a:pt x="230" y="1902"/>
                  </a:lnTo>
                  <a:lnTo>
                    <a:pt x="230" y="1902"/>
                  </a:lnTo>
                  <a:lnTo>
                    <a:pt x="230" y="1904"/>
                  </a:lnTo>
                  <a:lnTo>
                    <a:pt x="230" y="1906"/>
                  </a:lnTo>
                  <a:lnTo>
                    <a:pt x="230" y="1909"/>
                  </a:lnTo>
                  <a:lnTo>
                    <a:pt x="230" y="1909"/>
                  </a:lnTo>
                  <a:lnTo>
                    <a:pt x="232" y="1911"/>
                  </a:lnTo>
                  <a:lnTo>
                    <a:pt x="234" y="1911"/>
                  </a:lnTo>
                  <a:lnTo>
                    <a:pt x="234" y="1913"/>
                  </a:lnTo>
                  <a:lnTo>
                    <a:pt x="239" y="1911"/>
                  </a:lnTo>
                  <a:lnTo>
                    <a:pt x="239" y="1913"/>
                  </a:lnTo>
                  <a:lnTo>
                    <a:pt x="239" y="1913"/>
                  </a:lnTo>
                  <a:lnTo>
                    <a:pt x="239" y="1916"/>
                  </a:lnTo>
                  <a:lnTo>
                    <a:pt x="239" y="1918"/>
                  </a:lnTo>
                  <a:lnTo>
                    <a:pt x="239" y="1918"/>
                  </a:lnTo>
                  <a:lnTo>
                    <a:pt x="239" y="1920"/>
                  </a:lnTo>
                  <a:lnTo>
                    <a:pt x="239" y="1923"/>
                  </a:lnTo>
                  <a:lnTo>
                    <a:pt x="239" y="1923"/>
                  </a:lnTo>
                  <a:lnTo>
                    <a:pt x="239" y="1923"/>
                  </a:lnTo>
                  <a:lnTo>
                    <a:pt x="239" y="1923"/>
                  </a:lnTo>
                  <a:lnTo>
                    <a:pt x="239" y="1923"/>
                  </a:lnTo>
                  <a:lnTo>
                    <a:pt x="239" y="1923"/>
                  </a:lnTo>
                  <a:lnTo>
                    <a:pt x="239" y="1923"/>
                  </a:lnTo>
                  <a:lnTo>
                    <a:pt x="239" y="1923"/>
                  </a:lnTo>
                  <a:lnTo>
                    <a:pt x="239" y="1923"/>
                  </a:lnTo>
                  <a:lnTo>
                    <a:pt x="239" y="1925"/>
                  </a:lnTo>
                  <a:lnTo>
                    <a:pt x="237" y="1928"/>
                  </a:lnTo>
                  <a:lnTo>
                    <a:pt x="234" y="1930"/>
                  </a:lnTo>
                  <a:lnTo>
                    <a:pt x="232" y="1930"/>
                  </a:lnTo>
                  <a:lnTo>
                    <a:pt x="232" y="1932"/>
                  </a:lnTo>
                  <a:lnTo>
                    <a:pt x="232" y="1932"/>
                  </a:lnTo>
                  <a:lnTo>
                    <a:pt x="232" y="1935"/>
                  </a:lnTo>
                  <a:lnTo>
                    <a:pt x="232" y="1935"/>
                  </a:lnTo>
                  <a:lnTo>
                    <a:pt x="232" y="1935"/>
                  </a:lnTo>
                  <a:lnTo>
                    <a:pt x="232" y="1935"/>
                  </a:lnTo>
                  <a:lnTo>
                    <a:pt x="232" y="1937"/>
                  </a:lnTo>
                  <a:lnTo>
                    <a:pt x="232" y="1937"/>
                  </a:lnTo>
                  <a:lnTo>
                    <a:pt x="232" y="1937"/>
                  </a:lnTo>
                  <a:lnTo>
                    <a:pt x="232" y="1939"/>
                  </a:lnTo>
                  <a:lnTo>
                    <a:pt x="230" y="1942"/>
                  </a:lnTo>
                  <a:lnTo>
                    <a:pt x="230" y="1944"/>
                  </a:lnTo>
                  <a:lnTo>
                    <a:pt x="232" y="1946"/>
                  </a:lnTo>
                  <a:lnTo>
                    <a:pt x="232" y="1946"/>
                  </a:lnTo>
                  <a:lnTo>
                    <a:pt x="232" y="1946"/>
                  </a:lnTo>
                  <a:lnTo>
                    <a:pt x="232" y="1949"/>
                  </a:lnTo>
                  <a:lnTo>
                    <a:pt x="232" y="1949"/>
                  </a:lnTo>
                  <a:lnTo>
                    <a:pt x="232" y="1951"/>
                  </a:lnTo>
                  <a:lnTo>
                    <a:pt x="232" y="1951"/>
                  </a:lnTo>
                  <a:lnTo>
                    <a:pt x="232" y="1951"/>
                  </a:lnTo>
                  <a:lnTo>
                    <a:pt x="230" y="1954"/>
                  </a:lnTo>
                  <a:lnTo>
                    <a:pt x="230" y="1956"/>
                  </a:lnTo>
                  <a:lnTo>
                    <a:pt x="232" y="1956"/>
                  </a:lnTo>
                  <a:lnTo>
                    <a:pt x="232" y="1958"/>
                  </a:lnTo>
                  <a:lnTo>
                    <a:pt x="230" y="1958"/>
                  </a:lnTo>
                  <a:lnTo>
                    <a:pt x="227" y="1961"/>
                  </a:lnTo>
                  <a:lnTo>
                    <a:pt x="225" y="1963"/>
                  </a:lnTo>
                  <a:lnTo>
                    <a:pt x="225" y="1963"/>
                  </a:lnTo>
                  <a:lnTo>
                    <a:pt x="225" y="1963"/>
                  </a:lnTo>
                  <a:lnTo>
                    <a:pt x="225" y="1963"/>
                  </a:lnTo>
                  <a:lnTo>
                    <a:pt x="225" y="1963"/>
                  </a:lnTo>
                  <a:lnTo>
                    <a:pt x="223" y="1963"/>
                  </a:lnTo>
                  <a:lnTo>
                    <a:pt x="223" y="1965"/>
                  </a:lnTo>
                  <a:lnTo>
                    <a:pt x="220" y="1968"/>
                  </a:lnTo>
                  <a:lnTo>
                    <a:pt x="223" y="1970"/>
                  </a:lnTo>
                  <a:lnTo>
                    <a:pt x="220" y="1970"/>
                  </a:lnTo>
                  <a:lnTo>
                    <a:pt x="220" y="1972"/>
                  </a:lnTo>
                  <a:lnTo>
                    <a:pt x="223" y="1972"/>
                  </a:lnTo>
                  <a:lnTo>
                    <a:pt x="223" y="1972"/>
                  </a:lnTo>
                  <a:lnTo>
                    <a:pt x="223" y="1972"/>
                  </a:lnTo>
                  <a:lnTo>
                    <a:pt x="223" y="1972"/>
                  </a:lnTo>
                  <a:lnTo>
                    <a:pt x="225" y="1970"/>
                  </a:lnTo>
                  <a:lnTo>
                    <a:pt x="225" y="1970"/>
                  </a:lnTo>
                  <a:lnTo>
                    <a:pt x="227" y="1968"/>
                  </a:lnTo>
                  <a:lnTo>
                    <a:pt x="230" y="1965"/>
                  </a:lnTo>
                  <a:lnTo>
                    <a:pt x="232" y="1963"/>
                  </a:lnTo>
                  <a:lnTo>
                    <a:pt x="232" y="1961"/>
                  </a:lnTo>
                  <a:lnTo>
                    <a:pt x="232" y="1961"/>
                  </a:lnTo>
                  <a:lnTo>
                    <a:pt x="232" y="1961"/>
                  </a:lnTo>
                  <a:lnTo>
                    <a:pt x="234" y="1958"/>
                  </a:lnTo>
                  <a:lnTo>
                    <a:pt x="234" y="1958"/>
                  </a:lnTo>
                  <a:lnTo>
                    <a:pt x="234" y="1958"/>
                  </a:lnTo>
                  <a:lnTo>
                    <a:pt x="234" y="1958"/>
                  </a:lnTo>
                  <a:lnTo>
                    <a:pt x="234" y="1956"/>
                  </a:lnTo>
                  <a:lnTo>
                    <a:pt x="237" y="1956"/>
                  </a:lnTo>
                  <a:lnTo>
                    <a:pt x="237" y="1956"/>
                  </a:lnTo>
                  <a:lnTo>
                    <a:pt x="237" y="1956"/>
                  </a:lnTo>
                  <a:lnTo>
                    <a:pt x="237" y="1956"/>
                  </a:lnTo>
                  <a:lnTo>
                    <a:pt x="237" y="1956"/>
                  </a:lnTo>
                  <a:lnTo>
                    <a:pt x="237" y="1956"/>
                  </a:lnTo>
                  <a:lnTo>
                    <a:pt x="237" y="1956"/>
                  </a:lnTo>
                  <a:lnTo>
                    <a:pt x="237" y="1954"/>
                  </a:lnTo>
                  <a:lnTo>
                    <a:pt x="237" y="1954"/>
                  </a:lnTo>
                  <a:lnTo>
                    <a:pt x="237" y="1954"/>
                  </a:lnTo>
                  <a:lnTo>
                    <a:pt x="237" y="1954"/>
                  </a:lnTo>
                  <a:lnTo>
                    <a:pt x="237" y="1954"/>
                  </a:lnTo>
                  <a:lnTo>
                    <a:pt x="237" y="1954"/>
                  </a:lnTo>
                  <a:lnTo>
                    <a:pt x="237" y="1954"/>
                  </a:lnTo>
                  <a:lnTo>
                    <a:pt x="237" y="1954"/>
                  </a:lnTo>
                  <a:lnTo>
                    <a:pt x="237" y="1954"/>
                  </a:lnTo>
                  <a:lnTo>
                    <a:pt x="237" y="1954"/>
                  </a:lnTo>
                  <a:lnTo>
                    <a:pt x="237" y="1954"/>
                  </a:lnTo>
                  <a:lnTo>
                    <a:pt x="237" y="1954"/>
                  </a:lnTo>
                  <a:lnTo>
                    <a:pt x="237" y="1954"/>
                  </a:lnTo>
                  <a:lnTo>
                    <a:pt x="237" y="1954"/>
                  </a:lnTo>
                  <a:lnTo>
                    <a:pt x="237" y="1954"/>
                  </a:lnTo>
                  <a:lnTo>
                    <a:pt x="237" y="1954"/>
                  </a:lnTo>
                  <a:lnTo>
                    <a:pt x="237" y="1951"/>
                  </a:lnTo>
                  <a:lnTo>
                    <a:pt x="237" y="1951"/>
                  </a:lnTo>
                  <a:lnTo>
                    <a:pt x="237" y="1951"/>
                  </a:lnTo>
                  <a:lnTo>
                    <a:pt x="239" y="1951"/>
                  </a:lnTo>
                  <a:lnTo>
                    <a:pt x="239" y="1951"/>
                  </a:lnTo>
                  <a:lnTo>
                    <a:pt x="239" y="1951"/>
                  </a:lnTo>
                  <a:lnTo>
                    <a:pt x="239" y="1949"/>
                  </a:lnTo>
                  <a:lnTo>
                    <a:pt x="239" y="1949"/>
                  </a:lnTo>
                  <a:lnTo>
                    <a:pt x="239" y="1949"/>
                  </a:lnTo>
                  <a:lnTo>
                    <a:pt x="239" y="1946"/>
                  </a:lnTo>
                  <a:lnTo>
                    <a:pt x="239" y="1946"/>
                  </a:lnTo>
                  <a:lnTo>
                    <a:pt x="239" y="1944"/>
                  </a:lnTo>
                  <a:lnTo>
                    <a:pt x="239" y="1942"/>
                  </a:lnTo>
                  <a:lnTo>
                    <a:pt x="239" y="1942"/>
                  </a:lnTo>
                  <a:lnTo>
                    <a:pt x="242" y="1942"/>
                  </a:lnTo>
                  <a:lnTo>
                    <a:pt x="242" y="1942"/>
                  </a:lnTo>
                  <a:lnTo>
                    <a:pt x="239" y="1949"/>
                  </a:lnTo>
                  <a:lnTo>
                    <a:pt x="239" y="1949"/>
                  </a:lnTo>
                  <a:lnTo>
                    <a:pt x="242" y="1951"/>
                  </a:lnTo>
                  <a:lnTo>
                    <a:pt x="239" y="1954"/>
                  </a:lnTo>
                  <a:lnTo>
                    <a:pt x="242" y="1954"/>
                  </a:lnTo>
                  <a:lnTo>
                    <a:pt x="242" y="1954"/>
                  </a:lnTo>
                  <a:lnTo>
                    <a:pt x="242" y="1951"/>
                  </a:lnTo>
                  <a:lnTo>
                    <a:pt x="244" y="1951"/>
                  </a:lnTo>
                  <a:lnTo>
                    <a:pt x="244" y="1951"/>
                  </a:lnTo>
                  <a:lnTo>
                    <a:pt x="244" y="1951"/>
                  </a:lnTo>
                  <a:lnTo>
                    <a:pt x="246" y="1951"/>
                  </a:lnTo>
                  <a:lnTo>
                    <a:pt x="246" y="1951"/>
                  </a:lnTo>
                  <a:lnTo>
                    <a:pt x="246" y="1951"/>
                  </a:lnTo>
                  <a:lnTo>
                    <a:pt x="246" y="1951"/>
                  </a:lnTo>
                  <a:lnTo>
                    <a:pt x="249" y="1951"/>
                  </a:lnTo>
                  <a:lnTo>
                    <a:pt x="249" y="1951"/>
                  </a:lnTo>
                  <a:lnTo>
                    <a:pt x="249" y="1951"/>
                  </a:lnTo>
                  <a:lnTo>
                    <a:pt x="249" y="1951"/>
                  </a:lnTo>
                  <a:lnTo>
                    <a:pt x="249" y="1951"/>
                  </a:lnTo>
                  <a:lnTo>
                    <a:pt x="249" y="1954"/>
                  </a:lnTo>
                  <a:lnTo>
                    <a:pt x="249" y="1954"/>
                  </a:lnTo>
                  <a:lnTo>
                    <a:pt x="249" y="1954"/>
                  </a:lnTo>
                  <a:lnTo>
                    <a:pt x="246" y="1954"/>
                  </a:lnTo>
                  <a:lnTo>
                    <a:pt x="246" y="1954"/>
                  </a:lnTo>
                  <a:lnTo>
                    <a:pt x="244" y="1951"/>
                  </a:lnTo>
                  <a:lnTo>
                    <a:pt x="244" y="1951"/>
                  </a:lnTo>
                  <a:lnTo>
                    <a:pt x="242" y="1954"/>
                  </a:lnTo>
                  <a:lnTo>
                    <a:pt x="242" y="1954"/>
                  </a:lnTo>
                  <a:lnTo>
                    <a:pt x="242" y="1954"/>
                  </a:lnTo>
                  <a:lnTo>
                    <a:pt x="242" y="1954"/>
                  </a:lnTo>
                  <a:lnTo>
                    <a:pt x="242" y="1956"/>
                  </a:lnTo>
                  <a:lnTo>
                    <a:pt x="242" y="1956"/>
                  </a:lnTo>
                  <a:lnTo>
                    <a:pt x="242" y="1956"/>
                  </a:lnTo>
                  <a:lnTo>
                    <a:pt x="239" y="1956"/>
                  </a:lnTo>
                  <a:lnTo>
                    <a:pt x="239" y="1956"/>
                  </a:lnTo>
                  <a:lnTo>
                    <a:pt x="237" y="1958"/>
                  </a:lnTo>
                  <a:lnTo>
                    <a:pt x="237" y="1958"/>
                  </a:lnTo>
                  <a:lnTo>
                    <a:pt x="237" y="1958"/>
                  </a:lnTo>
                  <a:lnTo>
                    <a:pt x="237" y="1958"/>
                  </a:lnTo>
                  <a:lnTo>
                    <a:pt x="237" y="1961"/>
                  </a:lnTo>
                  <a:lnTo>
                    <a:pt x="237" y="1961"/>
                  </a:lnTo>
                  <a:lnTo>
                    <a:pt x="237" y="1961"/>
                  </a:lnTo>
                  <a:lnTo>
                    <a:pt x="237" y="1961"/>
                  </a:lnTo>
                  <a:lnTo>
                    <a:pt x="234" y="1961"/>
                  </a:lnTo>
                  <a:lnTo>
                    <a:pt x="234" y="1961"/>
                  </a:lnTo>
                  <a:lnTo>
                    <a:pt x="234" y="1961"/>
                  </a:lnTo>
                  <a:lnTo>
                    <a:pt x="234" y="1961"/>
                  </a:lnTo>
                  <a:lnTo>
                    <a:pt x="234" y="1963"/>
                  </a:lnTo>
                  <a:lnTo>
                    <a:pt x="232" y="1963"/>
                  </a:lnTo>
                  <a:lnTo>
                    <a:pt x="232" y="1963"/>
                  </a:lnTo>
                  <a:lnTo>
                    <a:pt x="232" y="1963"/>
                  </a:lnTo>
                  <a:lnTo>
                    <a:pt x="232" y="1963"/>
                  </a:lnTo>
                  <a:lnTo>
                    <a:pt x="232" y="1963"/>
                  </a:lnTo>
                  <a:lnTo>
                    <a:pt x="232" y="1965"/>
                  </a:lnTo>
                  <a:lnTo>
                    <a:pt x="232" y="1965"/>
                  </a:lnTo>
                  <a:lnTo>
                    <a:pt x="232" y="1965"/>
                  </a:lnTo>
                  <a:lnTo>
                    <a:pt x="232" y="1965"/>
                  </a:lnTo>
                  <a:lnTo>
                    <a:pt x="230" y="1968"/>
                  </a:lnTo>
                  <a:lnTo>
                    <a:pt x="230" y="1968"/>
                  </a:lnTo>
                  <a:lnTo>
                    <a:pt x="227" y="1968"/>
                  </a:lnTo>
                  <a:lnTo>
                    <a:pt x="227" y="1970"/>
                  </a:lnTo>
                  <a:lnTo>
                    <a:pt x="225" y="1970"/>
                  </a:lnTo>
                  <a:lnTo>
                    <a:pt x="225" y="1972"/>
                  </a:lnTo>
                  <a:lnTo>
                    <a:pt x="225" y="1972"/>
                  </a:lnTo>
                  <a:lnTo>
                    <a:pt x="225" y="1972"/>
                  </a:lnTo>
                  <a:lnTo>
                    <a:pt x="225" y="1972"/>
                  </a:lnTo>
                  <a:lnTo>
                    <a:pt x="227" y="1972"/>
                  </a:lnTo>
                  <a:lnTo>
                    <a:pt x="234" y="1977"/>
                  </a:lnTo>
                  <a:lnTo>
                    <a:pt x="237" y="1975"/>
                  </a:lnTo>
                  <a:lnTo>
                    <a:pt x="237" y="1977"/>
                  </a:lnTo>
                  <a:lnTo>
                    <a:pt x="234" y="1977"/>
                  </a:lnTo>
                  <a:lnTo>
                    <a:pt x="234" y="1975"/>
                  </a:lnTo>
                  <a:lnTo>
                    <a:pt x="234" y="1977"/>
                  </a:lnTo>
                  <a:lnTo>
                    <a:pt x="232" y="1977"/>
                  </a:lnTo>
                  <a:lnTo>
                    <a:pt x="232" y="1977"/>
                  </a:lnTo>
                  <a:lnTo>
                    <a:pt x="232" y="1975"/>
                  </a:lnTo>
                  <a:lnTo>
                    <a:pt x="232" y="1975"/>
                  </a:lnTo>
                  <a:lnTo>
                    <a:pt x="230" y="1975"/>
                  </a:lnTo>
                  <a:lnTo>
                    <a:pt x="230" y="1975"/>
                  </a:lnTo>
                  <a:lnTo>
                    <a:pt x="227" y="1977"/>
                  </a:lnTo>
                  <a:lnTo>
                    <a:pt x="227" y="1977"/>
                  </a:lnTo>
                  <a:lnTo>
                    <a:pt x="227" y="1977"/>
                  </a:lnTo>
                  <a:lnTo>
                    <a:pt x="227" y="1977"/>
                  </a:lnTo>
                  <a:lnTo>
                    <a:pt x="227" y="1977"/>
                  </a:lnTo>
                  <a:lnTo>
                    <a:pt x="225" y="1977"/>
                  </a:lnTo>
                  <a:lnTo>
                    <a:pt x="225" y="1977"/>
                  </a:lnTo>
                  <a:lnTo>
                    <a:pt x="225" y="1977"/>
                  </a:lnTo>
                  <a:lnTo>
                    <a:pt x="225" y="1977"/>
                  </a:lnTo>
                  <a:lnTo>
                    <a:pt x="225" y="1977"/>
                  </a:lnTo>
                  <a:lnTo>
                    <a:pt x="225" y="1977"/>
                  </a:lnTo>
                  <a:lnTo>
                    <a:pt x="225" y="1977"/>
                  </a:lnTo>
                  <a:lnTo>
                    <a:pt x="225" y="1975"/>
                  </a:lnTo>
                  <a:lnTo>
                    <a:pt x="225" y="1975"/>
                  </a:lnTo>
                  <a:lnTo>
                    <a:pt x="225" y="1975"/>
                  </a:lnTo>
                  <a:lnTo>
                    <a:pt x="225" y="1975"/>
                  </a:lnTo>
                  <a:lnTo>
                    <a:pt x="223" y="1975"/>
                  </a:lnTo>
                  <a:lnTo>
                    <a:pt x="223" y="1975"/>
                  </a:lnTo>
                  <a:lnTo>
                    <a:pt x="220" y="1977"/>
                  </a:lnTo>
                  <a:lnTo>
                    <a:pt x="220" y="1977"/>
                  </a:lnTo>
                  <a:lnTo>
                    <a:pt x="218" y="1980"/>
                  </a:lnTo>
                  <a:lnTo>
                    <a:pt x="218" y="1980"/>
                  </a:lnTo>
                  <a:lnTo>
                    <a:pt x="218" y="1980"/>
                  </a:lnTo>
                  <a:lnTo>
                    <a:pt x="218" y="1980"/>
                  </a:lnTo>
                  <a:lnTo>
                    <a:pt x="220" y="1980"/>
                  </a:lnTo>
                  <a:lnTo>
                    <a:pt x="220" y="1980"/>
                  </a:lnTo>
                  <a:lnTo>
                    <a:pt x="220" y="1977"/>
                  </a:lnTo>
                  <a:lnTo>
                    <a:pt x="223" y="1977"/>
                  </a:lnTo>
                  <a:lnTo>
                    <a:pt x="223" y="1977"/>
                  </a:lnTo>
                  <a:lnTo>
                    <a:pt x="223" y="1980"/>
                  </a:lnTo>
                  <a:lnTo>
                    <a:pt x="220" y="1980"/>
                  </a:lnTo>
                  <a:lnTo>
                    <a:pt x="220" y="1980"/>
                  </a:lnTo>
                  <a:lnTo>
                    <a:pt x="220" y="1980"/>
                  </a:lnTo>
                  <a:lnTo>
                    <a:pt x="218" y="1982"/>
                  </a:lnTo>
                  <a:lnTo>
                    <a:pt x="218" y="1982"/>
                  </a:lnTo>
                  <a:lnTo>
                    <a:pt x="218" y="1982"/>
                  </a:lnTo>
                  <a:lnTo>
                    <a:pt x="218" y="1982"/>
                  </a:lnTo>
                  <a:lnTo>
                    <a:pt x="218" y="1982"/>
                  </a:lnTo>
                  <a:lnTo>
                    <a:pt x="218" y="1982"/>
                  </a:lnTo>
                  <a:lnTo>
                    <a:pt x="218" y="1982"/>
                  </a:lnTo>
                  <a:lnTo>
                    <a:pt x="215" y="1984"/>
                  </a:lnTo>
                  <a:lnTo>
                    <a:pt x="215" y="1984"/>
                  </a:lnTo>
                  <a:lnTo>
                    <a:pt x="215" y="1984"/>
                  </a:lnTo>
                  <a:lnTo>
                    <a:pt x="215" y="1984"/>
                  </a:lnTo>
                  <a:lnTo>
                    <a:pt x="215" y="1987"/>
                  </a:lnTo>
                  <a:lnTo>
                    <a:pt x="215" y="1987"/>
                  </a:lnTo>
                  <a:lnTo>
                    <a:pt x="215" y="1987"/>
                  </a:lnTo>
                  <a:lnTo>
                    <a:pt x="215" y="1987"/>
                  </a:lnTo>
                  <a:lnTo>
                    <a:pt x="218" y="1987"/>
                  </a:lnTo>
                  <a:lnTo>
                    <a:pt x="218" y="1989"/>
                  </a:lnTo>
                  <a:lnTo>
                    <a:pt x="218" y="1989"/>
                  </a:lnTo>
                  <a:lnTo>
                    <a:pt x="218" y="1989"/>
                  </a:lnTo>
                  <a:lnTo>
                    <a:pt x="218" y="1991"/>
                  </a:lnTo>
                  <a:lnTo>
                    <a:pt x="220" y="1991"/>
                  </a:lnTo>
                  <a:lnTo>
                    <a:pt x="220" y="1994"/>
                  </a:lnTo>
                  <a:lnTo>
                    <a:pt x="220" y="1994"/>
                  </a:lnTo>
                  <a:lnTo>
                    <a:pt x="223" y="1994"/>
                  </a:lnTo>
                  <a:lnTo>
                    <a:pt x="223" y="1994"/>
                  </a:lnTo>
                  <a:lnTo>
                    <a:pt x="223" y="1994"/>
                  </a:lnTo>
                  <a:lnTo>
                    <a:pt x="223" y="1994"/>
                  </a:lnTo>
                  <a:lnTo>
                    <a:pt x="223" y="1994"/>
                  </a:lnTo>
                  <a:lnTo>
                    <a:pt x="223" y="1994"/>
                  </a:lnTo>
                  <a:lnTo>
                    <a:pt x="220" y="1994"/>
                  </a:lnTo>
                  <a:lnTo>
                    <a:pt x="218" y="1994"/>
                  </a:lnTo>
                  <a:lnTo>
                    <a:pt x="218" y="1991"/>
                  </a:lnTo>
                  <a:lnTo>
                    <a:pt x="218" y="1989"/>
                  </a:lnTo>
                  <a:lnTo>
                    <a:pt x="218" y="1989"/>
                  </a:lnTo>
                  <a:lnTo>
                    <a:pt x="218" y="1989"/>
                  </a:lnTo>
                  <a:lnTo>
                    <a:pt x="215" y="1989"/>
                  </a:lnTo>
                  <a:lnTo>
                    <a:pt x="215" y="1987"/>
                  </a:lnTo>
                  <a:lnTo>
                    <a:pt x="213" y="1987"/>
                  </a:lnTo>
                  <a:lnTo>
                    <a:pt x="211" y="1987"/>
                  </a:lnTo>
                  <a:lnTo>
                    <a:pt x="211" y="1987"/>
                  </a:lnTo>
                  <a:lnTo>
                    <a:pt x="208" y="1987"/>
                  </a:lnTo>
                  <a:lnTo>
                    <a:pt x="208" y="1989"/>
                  </a:lnTo>
                  <a:lnTo>
                    <a:pt x="208" y="1991"/>
                  </a:lnTo>
                  <a:lnTo>
                    <a:pt x="211" y="1994"/>
                  </a:lnTo>
                  <a:lnTo>
                    <a:pt x="211" y="1994"/>
                  </a:lnTo>
                  <a:lnTo>
                    <a:pt x="211" y="1994"/>
                  </a:lnTo>
                  <a:lnTo>
                    <a:pt x="211" y="1999"/>
                  </a:lnTo>
                  <a:lnTo>
                    <a:pt x="211" y="1999"/>
                  </a:lnTo>
                  <a:lnTo>
                    <a:pt x="213" y="2001"/>
                  </a:lnTo>
                  <a:lnTo>
                    <a:pt x="213" y="2003"/>
                  </a:lnTo>
                  <a:lnTo>
                    <a:pt x="213" y="2003"/>
                  </a:lnTo>
                  <a:lnTo>
                    <a:pt x="215" y="2001"/>
                  </a:lnTo>
                  <a:lnTo>
                    <a:pt x="215" y="2001"/>
                  </a:lnTo>
                  <a:lnTo>
                    <a:pt x="215" y="2001"/>
                  </a:lnTo>
                  <a:lnTo>
                    <a:pt x="215" y="1999"/>
                  </a:lnTo>
                  <a:lnTo>
                    <a:pt x="218" y="1999"/>
                  </a:lnTo>
                  <a:lnTo>
                    <a:pt x="218" y="1999"/>
                  </a:lnTo>
                  <a:lnTo>
                    <a:pt x="218" y="1999"/>
                  </a:lnTo>
                  <a:lnTo>
                    <a:pt x="218" y="2001"/>
                  </a:lnTo>
                  <a:lnTo>
                    <a:pt x="218" y="2001"/>
                  </a:lnTo>
                  <a:lnTo>
                    <a:pt x="218" y="2001"/>
                  </a:lnTo>
                  <a:lnTo>
                    <a:pt x="215" y="2001"/>
                  </a:lnTo>
                  <a:lnTo>
                    <a:pt x="215" y="2001"/>
                  </a:lnTo>
                  <a:lnTo>
                    <a:pt x="215" y="2001"/>
                  </a:lnTo>
                  <a:lnTo>
                    <a:pt x="215" y="2003"/>
                  </a:lnTo>
                  <a:lnTo>
                    <a:pt x="213" y="2003"/>
                  </a:lnTo>
                  <a:lnTo>
                    <a:pt x="213" y="2006"/>
                  </a:lnTo>
                  <a:lnTo>
                    <a:pt x="213" y="2006"/>
                  </a:lnTo>
                  <a:lnTo>
                    <a:pt x="215" y="2008"/>
                  </a:lnTo>
                  <a:lnTo>
                    <a:pt x="215" y="2008"/>
                  </a:lnTo>
                  <a:lnTo>
                    <a:pt x="215" y="2008"/>
                  </a:lnTo>
                  <a:lnTo>
                    <a:pt x="215" y="2008"/>
                  </a:lnTo>
                  <a:lnTo>
                    <a:pt x="215" y="2008"/>
                  </a:lnTo>
                  <a:lnTo>
                    <a:pt x="215" y="2010"/>
                  </a:lnTo>
                  <a:lnTo>
                    <a:pt x="215" y="2010"/>
                  </a:lnTo>
                  <a:lnTo>
                    <a:pt x="215" y="2010"/>
                  </a:lnTo>
                  <a:lnTo>
                    <a:pt x="215" y="2010"/>
                  </a:lnTo>
                  <a:lnTo>
                    <a:pt x="215" y="2010"/>
                  </a:lnTo>
                  <a:lnTo>
                    <a:pt x="213" y="2008"/>
                  </a:lnTo>
                  <a:lnTo>
                    <a:pt x="213" y="2008"/>
                  </a:lnTo>
                  <a:lnTo>
                    <a:pt x="208" y="1996"/>
                  </a:lnTo>
                  <a:lnTo>
                    <a:pt x="208" y="1996"/>
                  </a:lnTo>
                  <a:lnTo>
                    <a:pt x="208" y="1996"/>
                  </a:lnTo>
                  <a:lnTo>
                    <a:pt x="208" y="1994"/>
                  </a:lnTo>
                  <a:lnTo>
                    <a:pt x="208" y="1991"/>
                  </a:lnTo>
                  <a:lnTo>
                    <a:pt x="208" y="1991"/>
                  </a:lnTo>
                  <a:lnTo>
                    <a:pt x="208" y="1989"/>
                  </a:lnTo>
                  <a:lnTo>
                    <a:pt x="206" y="1989"/>
                  </a:lnTo>
                  <a:lnTo>
                    <a:pt x="206" y="1989"/>
                  </a:lnTo>
                  <a:lnTo>
                    <a:pt x="206" y="1989"/>
                  </a:lnTo>
                  <a:lnTo>
                    <a:pt x="206" y="1991"/>
                  </a:lnTo>
                  <a:lnTo>
                    <a:pt x="206" y="1991"/>
                  </a:lnTo>
                  <a:lnTo>
                    <a:pt x="206" y="1991"/>
                  </a:lnTo>
                  <a:lnTo>
                    <a:pt x="206" y="1994"/>
                  </a:lnTo>
                  <a:lnTo>
                    <a:pt x="206" y="1994"/>
                  </a:lnTo>
                  <a:lnTo>
                    <a:pt x="206" y="1991"/>
                  </a:lnTo>
                  <a:lnTo>
                    <a:pt x="206" y="1991"/>
                  </a:lnTo>
                  <a:lnTo>
                    <a:pt x="206" y="1994"/>
                  </a:lnTo>
                  <a:lnTo>
                    <a:pt x="204" y="1994"/>
                  </a:lnTo>
                  <a:lnTo>
                    <a:pt x="204" y="1994"/>
                  </a:lnTo>
                  <a:lnTo>
                    <a:pt x="204" y="1996"/>
                  </a:lnTo>
                  <a:lnTo>
                    <a:pt x="204" y="1996"/>
                  </a:lnTo>
                  <a:lnTo>
                    <a:pt x="206" y="1999"/>
                  </a:lnTo>
                  <a:lnTo>
                    <a:pt x="204" y="1999"/>
                  </a:lnTo>
                  <a:lnTo>
                    <a:pt x="204" y="1999"/>
                  </a:lnTo>
                  <a:lnTo>
                    <a:pt x="201" y="1999"/>
                  </a:lnTo>
                  <a:lnTo>
                    <a:pt x="201" y="1999"/>
                  </a:lnTo>
                  <a:lnTo>
                    <a:pt x="201" y="2001"/>
                  </a:lnTo>
                  <a:lnTo>
                    <a:pt x="201" y="2001"/>
                  </a:lnTo>
                  <a:lnTo>
                    <a:pt x="201" y="2001"/>
                  </a:lnTo>
                  <a:lnTo>
                    <a:pt x="201" y="2003"/>
                  </a:lnTo>
                  <a:lnTo>
                    <a:pt x="201" y="2003"/>
                  </a:lnTo>
                  <a:lnTo>
                    <a:pt x="201" y="2003"/>
                  </a:lnTo>
                  <a:lnTo>
                    <a:pt x="201" y="2003"/>
                  </a:lnTo>
                  <a:lnTo>
                    <a:pt x="201" y="2006"/>
                  </a:lnTo>
                  <a:lnTo>
                    <a:pt x="204" y="2006"/>
                  </a:lnTo>
                  <a:lnTo>
                    <a:pt x="204" y="2006"/>
                  </a:lnTo>
                  <a:lnTo>
                    <a:pt x="206" y="2006"/>
                  </a:lnTo>
                  <a:lnTo>
                    <a:pt x="206" y="2006"/>
                  </a:lnTo>
                  <a:lnTo>
                    <a:pt x="206" y="2006"/>
                  </a:lnTo>
                  <a:lnTo>
                    <a:pt x="208" y="2003"/>
                  </a:lnTo>
                  <a:lnTo>
                    <a:pt x="208" y="2003"/>
                  </a:lnTo>
                  <a:lnTo>
                    <a:pt x="208" y="2003"/>
                  </a:lnTo>
                  <a:lnTo>
                    <a:pt x="208" y="2003"/>
                  </a:lnTo>
                  <a:lnTo>
                    <a:pt x="206" y="2006"/>
                  </a:lnTo>
                  <a:lnTo>
                    <a:pt x="206" y="2006"/>
                  </a:lnTo>
                  <a:lnTo>
                    <a:pt x="208" y="2008"/>
                  </a:lnTo>
                  <a:lnTo>
                    <a:pt x="208" y="2008"/>
                  </a:lnTo>
                  <a:lnTo>
                    <a:pt x="206" y="2008"/>
                  </a:lnTo>
                  <a:lnTo>
                    <a:pt x="206" y="2010"/>
                  </a:lnTo>
                  <a:lnTo>
                    <a:pt x="206" y="2010"/>
                  </a:lnTo>
                  <a:lnTo>
                    <a:pt x="208" y="2010"/>
                  </a:lnTo>
                  <a:lnTo>
                    <a:pt x="208" y="2010"/>
                  </a:lnTo>
                  <a:lnTo>
                    <a:pt x="206" y="2010"/>
                  </a:lnTo>
                  <a:lnTo>
                    <a:pt x="206" y="2010"/>
                  </a:lnTo>
                  <a:lnTo>
                    <a:pt x="204" y="2010"/>
                  </a:lnTo>
                  <a:lnTo>
                    <a:pt x="204" y="2013"/>
                  </a:lnTo>
                  <a:lnTo>
                    <a:pt x="204" y="2013"/>
                  </a:lnTo>
                  <a:lnTo>
                    <a:pt x="204" y="2013"/>
                  </a:lnTo>
                  <a:lnTo>
                    <a:pt x="204" y="2013"/>
                  </a:lnTo>
                  <a:lnTo>
                    <a:pt x="208" y="2015"/>
                  </a:lnTo>
                  <a:lnTo>
                    <a:pt x="208" y="2015"/>
                  </a:lnTo>
                  <a:lnTo>
                    <a:pt x="208" y="2015"/>
                  </a:lnTo>
                  <a:lnTo>
                    <a:pt x="208" y="2017"/>
                  </a:lnTo>
                  <a:lnTo>
                    <a:pt x="208" y="2017"/>
                  </a:lnTo>
                  <a:lnTo>
                    <a:pt x="208" y="2017"/>
                  </a:lnTo>
                  <a:lnTo>
                    <a:pt x="208" y="2017"/>
                  </a:lnTo>
                  <a:lnTo>
                    <a:pt x="211" y="2017"/>
                  </a:lnTo>
                  <a:lnTo>
                    <a:pt x="211" y="2017"/>
                  </a:lnTo>
                  <a:lnTo>
                    <a:pt x="211" y="2017"/>
                  </a:lnTo>
                  <a:lnTo>
                    <a:pt x="213" y="2017"/>
                  </a:lnTo>
                  <a:lnTo>
                    <a:pt x="213" y="2017"/>
                  </a:lnTo>
                  <a:lnTo>
                    <a:pt x="213" y="2015"/>
                  </a:lnTo>
                  <a:lnTo>
                    <a:pt x="213" y="2015"/>
                  </a:lnTo>
                  <a:lnTo>
                    <a:pt x="215" y="2015"/>
                  </a:lnTo>
                  <a:lnTo>
                    <a:pt x="218" y="2015"/>
                  </a:lnTo>
                  <a:lnTo>
                    <a:pt x="220" y="2015"/>
                  </a:lnTo>
                  <a:lnTo>
                    <a:pt x="220" y="2015"/>
                  </a:lnTo>
                  <a:lnTo>
                    <a:pt x="225" y="2020"/>
                  </a:lnTo>
                  <a:lnTo>
                    <a:pt x="225" y="2020"/>
                  </a:lnTo>
                  <a:lnTo>
                    <a:pt x="225" y="2020"/>
                  </a:lnTo>
                  <a:lnTo>
                    <a:pt x="227" y="2017"/>
                  </a:lnTo>
                  <a:lnTo>
                    <a:pt x="227" y="2017"/>
                  </a:lnTo>
                  <a:lnTo>
                    <a:pt x="230" y="2017"/>
                  </a:lnTo>
                  <a:lnTo>
                    <a:pt x="230" y="2017"/>
                  </a:lnTo>
                  <a:lnTo>
                    <a:pt x="230" y="2020"/>
                  </a:lnTo>
                  <a:lnTo>
                    <a:pt x="230" y="2017"/>
                  </a:lnTo>
                  <a:lnTo>
                    <a:pt x="230" y="2017"/>
                  </a:lnTo>
                  <a:lnTo>
                    <a:pt x="227" y="2020"/>
                  </a:lnTo>
                  <a:lnTo>
                    <a:pt x="227" y="2020"/>
                  </a:lnTo>
                  <a:lnTo>
                    <a:pt x="227" y="2020"/>
                  </a:lnTo>
                  <a:lnTo>
                    <a:pt x="227" y="2020"/>
                  </a:lnTo>
                  <a:lnTo>
                    <a:pt x="225" y="2020"/>
                  </a:lnTo>
                  <a:lnTo>
                    <a:pt x="225" y="2020"/>
                  </a:lnTo>
                  <a:lnTo>
                    <a:pt x="223" y="2017"/>
                  </a:lnTo>
                  <a:lnTo>
                    <a:pt x="220" y="2017"/>
                  </a:lnTo>
                  <a:lnTo>
                    <a:pt x="220" y="2017"/>
                  </a:lnTo>
                  <a:lnTo>
                    <a:pt x="220" y="2017"/>
                  </a:lnTo>
                  <a:lnTo>
                    <a:pt x="220" y="2017"/>
                  </a:lnTo>
                  <a:lnTo>
                    <a:pt x="218" y="2015"/>
                  </a:lnTo>
                  <a:lnTo>
                    <a:pt x="218" y="2015"/>
                  </a:lnTo>
                  <a:lnTo>
                    <a:pt x="218" y="2017"/>
                  </a:lnTo>
                  <a:lnTo>
                    <a:pt x="215" y="2017"/>
                  </a:lnTo>
                  <a:lnTo>
                    <a:pt x="215" y="2017"/>
                  </a:lnTo>
                  <a:lnTo>
                    <a:pt x="215" y="2017"/>
                  </a:lnTo>
                  <a:lnTo>
                    <a:pt x="215" y="2020"/>
                  </a:lnTo>
                  <a:lnTo>
                    <a:pt x="215" y="2020"/>
                  </a:lnTo>
                  <a:lnTo>
                    <a:pt x="215" y="2020"/>
                  </a:lnTo>
                  <a:lnTo>
                    <a:pt x="215" y="2020"/>
                  </a:lnTo>
                  <a:lnTo>
                    <a:pt x="215" y="2022"/>
                  </a:lnTo>
                  <a:lnTo>
                    <a:pt x="215" y="2022"/>
                  </a:lnTo>
                  <a:lnTo>
                    <a:pt x="215" y="2025"/>
                  </a:lnTo>
                  <a:lnTo>
                    <a:pt x="215" y="2025"/>
                  </a:lnTo>
                  <a:lnTo>
                    <a:pt x="215" y="2025"/>
                  </a:lnTo>
                  <a:lnTo>
                    <a:pt x="218" y="2027"/>
                  </a:lnTo>
                  <a:lnTo>
                    <a:pt x="218" y="2029"/>
                  </a:lnTo>
                  <a:lnTo>
                    <a:pt x="218" y="2029"/>
                  </a:lnTo>
                  <a:lnTo>
                    <a:pt x="218" y="2032"/>
                  </a:lnTo>
                  <a:lnTo>
                    <a:pt x="218" y="2032"/>
                  </a:lnTo>
                  <a:lnTo>
                    <a:pt x="218" y="2032"/>
                  </a:lnTo>
                  <a:lnTo>
                    <a:pt x="218" y="2032"/>
                  </a:lnTo>
                  <a:lnTo>
                    <a:pt x="218" y="2029"/>
                  </a:lnTo>
                  <a:lnTo>
                    <a:pt x="218" y="2029"/>
                  </a:lnTo>
                  <a:lnTo>
                    <a:pt x="218" y="2029"/>
                  </a:lnTo>
                  <a:lnTo>
                    <a:pt x="218" y="2029"/>
                  </a:lnTo>
                  <a:lnTo>
                    <a:pt x="218" y="2029"/>
                  </a:lnTo>
                  <a:lnTo>
                    <a:pt x="218" y="2029"/>
                  </a:lnTo>
                  <a:lnTo>
                    <a:pt x="218" y="2029"/>
                  </a:lnTo>
                  <a:lnTo>
                    <a:pt x="218" y="2029"/>
                  </a:lnTo>
                  <a:lnTo>
                    <a:pt x="218" y="2027"/>
                  </a:lnTo>
                  <a:lnTo>
                    <a:pt x="218" y="2027"/>
                  </a:lnTo>
                  <a:lnTo>
                    <a:pt x="215" y="2027"/>
                  </a:lnTo>
                  <a:lnTo>
                    <a:pt x="215" y="2027"/>
                  </a:lnTo>
                  <a:lnTo>
                    <a:pt x="215" y="2027"/>
                  </a:lnTo>
                  <a:lnTo>
                    <a:pt x="215" y="2027"/>
                  </a:lnTo>
                  <a:lnTo>
                    <a:pt x="215" y="2027"/>
                  </a:lnTo>
                  <a:lnTo>
                    <a:pt x="215" y="2027"/>
                  </a:lnTo>
                  <a:lnTo>
                    <a:pt x="215" y="2025"/>
                  </a:lnTo>
                  <a:lnTo>
                    <a:pt x="215" y="2025"/>
                  </a:lnTo>
                  <a:lnTo>
                    <a:pt x="215" y="2022"/>
                  </a:lnTo>
                  <a:lnTo>
                    <a:pt x="215" y="2022"/>
                  </a:lnTo>
                  <a:lnTo>
                    <a:pt x="215" y="2022"/>
                  </a:lnTo>
                  <a:lnTo>
                    <a:pt x="213" y="2020"/>
                  </a:lnTo>
                  <a:lnTo>
                    <a:pt x="213" y="2020"/>
                  </a:lnTo>
                  <a:lnTo>
                    <a:pt x="213" y="2020"/>
                  </a:lnTo>
                  <a:lnTo>
                    <a:pt x="213" y="2020"/>
                  </a:lnTo>
                  <a:lnTo>
                    <a:pt x="213" y="2017"/>
                  </a:lnTo>
                  <a:lnTo>
                    <a:pt x="213" y="2017"/>
                  </a:lnTo>
                  <a:lnTo>
                    <a:pt x="213" y="2017"/>
                  </a:lnTo>
                  <a:lnTo>
                    <a:pt x="211" y="2017"/>
                  </a:lnTo>
                  <a:lnTo>
                    <a:pt x="211" y="2017"/>
                  </a:lnTo>
                  <a:lnTo>
                    <a:pt x="211" y="2020"/>
                  </a:lnTo>
                  <a:lnTo>
                    <a:pt x="208" y="2020"/>
                  </a:lnTo>
                  <a:lnTo>
                    <a:pt x="208" y="2022"/>
                  </a:lnTo>
                  <a:lnTo>
                    <a:pt x="208" y="2025"/>
                  </a:lnTo>
                  <a:lnTo>
                    <a:pt x="206" y="2027"/>
                  </a:lnTo>
                  <a:lnTo>
                    <a:pt x="206" y="2029"/>
                  </a:lnTo>
                  <a:lnTo>
                    <a:pt x="206" y="2029"/>
                  </a:lnTo>
                  <a:lnTo>
                    <a:pt x="206" y="2032"/>
                  </a:lnTo>
                  <a:lnTo>
                    <a:pt x="206" y="2032"/>
                  </a:lnTo>
                  <a:lnTo>
                    <a:pt x="208" y="2032"/>
                  </a:lnTo>
                  <a:lnTo>
                    <a:pt x="208" y="2034"/>
                  </a:lnTo>
                  <a:lnTo>
                    <a:pt x="208" y="2034"/>
                  </a:lnTo>
                  <a:lnTo>
                    <a:pt x="208" y="2032"/>
                  </a:lnTo>
                  <a:lnTo>
                    <a:pt x="211" y="2034"/>
                  </a:lnTo>
                  <a:lnTo>
                    <a:pt x="208" y="2034"/>
                  </a:lnTo>
                  <a:lnTo>
                    <a:pt x="208" y="2034"/>
                  </a:lnTo>
                  <a:lnTo>
                    <a:pt x="208" y="2034"/>
                  </a:lnTo>
                  <a:lnTo>
                    <a:pt x="208" y="2036"/>
                  </a:lnTo>
                  <a:lnTo>
                    <a:pt x="208" y="2036"/>
                  </a:lnTo>
                  <a:lnTo>
                    <a:pt x="208" y="2036"/>
                  </a:lnTo>
                  <a:lnTo>
                    <a:pt x="211" y="2036"/>
                  </a:lnTo>
                  <a:lnTo>
                    <a:pt x="211" y="2039"/>
                  </a:lnTo>
                  <a:lnTo>
                    <a:pt x="211" y="2039"/>
                  </a:lnTo>
                  <a:lnTo>
                    <a:pt x="211" y="2039"/>
                  </a:lnTo>
                  <a:lnTo>
                    <a:pt x="211" y="2041"/>
                  </a:lnTo>
                  <a:lnTo>
                    <a:pt x="211" y="2041"/>
                  </a:lnTo>
                  <a:lnTo>
                    <a:pt x="211" y="2041"/>
                  </a:lnTo>
                  <a:lnTo>
                    <a:pt x="213" y="2041"/>
                  </a:lnTo>
                  <a:lnTo>
                    <a:pt x="213" y="2041"/>
                  </a:lnTo>
                  <a:lnTo>
                    <a:pt x="213" y="2043"/>
                  </a:lnTo>
                  <a:lnTo>
                    <a:pt x="213" y="2043"/>
                  </a:lnTo>
                  <a:lnTo>
                    <a:pt x="213" y="2043"/>
                  </a:lnTo>
                  <a:lnTo>
                    <a:pt x="213" y="2046"/>
                  </a:lnTo>
                  <a:lnTo>
                    <a:pt x="215" y="2046"/>
                  </a:lnTo>
                  <a:lnTo>
                    <a:pt x="215" y="2046"/>
                  </a:lnTo>
                  <a:lnTo>
                    <a:pt x="213" y="2046"/>
                  </a:lnTo>
                  <a:lnTo>
                    <a:pt x="213" y="2046"/>
                  </a:lnTo>
                  <a:lnTo>
                    <a:pt x="213" y="2046"/>
                  </a:lnTo>
                  <a:lnTo>
                    <a:pt x="213" y="2046"/>
                  </a:lnTo>
                  <a:lnTo>
                    <a:pt x="213" y="2046"/>
                  </a:lnTo>
                  <a:lnTo>
                    <a:pt x="215" y="2048"/>
                  </a:lnTo>
                  <a:lnTo>
                    <a:pt x="215" y="2048"/>
                  </a:lnTo>
                  <a:lnTo>
                    <a:pt x="215" y="2051"/>
                  </a:lnTo>
                  <a:lnTo>
                    <a:pt x="215" y="2053"/>
                  </a:lnTo>
                  <a:lnTo>
                    <a:pt x="218" y="2053"/>
                  </a:lnTo>
                  <a:lnTo>
                    <a:pt x="223" y="2065"/>
                  </a:lnTo>
                  <a:lnTo>
                    <a:pt x="223" y="2065"/>
                  </a:lnTo>
                  <a:lnTo>
                    <a:pt x="225" y="2065"/>
                  </a:lnTo>
                  <a:lnTo>
                    <a:pt x="225" y="2065"/>
                  </a:lnTo>
                  <a:lnTo>
                    <a:pt x="225" y="2062"/>
                  </a:lnTo>
                  <a:lnTo>
                    <a:pt x="225" y="2062"/>
                  </a:lnTo>
                  <a:lnTo>
                    <a:pt x="227" y="2062"/>
                  </a:lnTo>
                  <a:lnTo>
                    <a:pt x="227" y="2060"/>
                  </a:lnTo>
                  <a:lnTo>
                    <a:pt x="227" y="2060"/>
                  </a:lnTo>
                  <a:lnTo>
                    <a:pt x="227" y="2060"/>
                  </a:lnTo>
                  <a:lnTo>
                    <a:pt x="227" y="2058"/>
                  </a:lnTo>
                  <a:lnTo>
                    <a:pt x="227" y="2058"/>
                  </a:lnTo>
                  <a:lnTo>
                    <a:pt x="227" y="2058"/>
                  </a:lnTo>
                  <a:lnTo>
                    <a:pt x="227" y="2055"/>
                  </a:lnTo>
                  <a:lnTo>
                    <a:pt x="230" y="2053"/>
                  </a:lnTo>
                  <a:lnTo>
                    <a:pt x="230" y="2053"/>
                  </a:lnTo>
                  <a:lnTo>
                    <a:pt x="230" y="2051"/>
                  </a:lnTo>
                  <a:lnTo>
                    <a:pt x="232" y="2051"/>
                  </a:lnTo>
                  <a:lnTo>
                    <a:pt x="232" y="2051"/>
                  </a:lnTo>
                  <a:lnTo>
                    <a:pt x="232" y="2051"/>
                  </a:lnTo>
                  <a:lnTo>
                    <a:pt x="232" y="2051"/>
                  </a:lnTo>
                  <a:lnTo>
                    <a:pt x="232" y="2051"/>
                  </a:lnTo>
                  <a:lnTo>
                    <a:pt x="232" y="2051"/>
                  </a:lnTo>
                  <a:lnTo>
                    <a:pt x="234" y="2051"/>
                  </a:lnTo>
                  <a:lnTo>
                    <a:pt x="234" y="2048"/>
                  </a:lnTo>
                  <a:lnTo>
                    <a:pt x="234" y="2048"/>
                  </a:lnTo>
                  <a:lnTo>
                    <a:pt x="237" y="2048"/>
                  </a:lnTo>
                  <a:lnTo>
                    <a:pt x="237" y="2048"/>
                  </a:lnTo>
                  <a:lnTo>
                    <a:pt x="237" y="2048"/>
                  </a:lnTo>
                  <a:lnTo>
                    <a:pt x="237" y="2046"/>
                  </a:lnTo>
                  <a:lnTo>
                    <a:pt x="237" y="2046"/>
                  </a:lnTo>
                  <a:lnTo>
                    <a:pt x="237" y="2046"/>
                  </a:lnTo>
                  <a:lnTo>
                    <a:pt x="237" y="2048"/>
                  </a:lnTo>
                  <a:lnTo>
                    <a:pt x="239" y="2048"/>
                  </a:lnTo>
                  <a:lnTo>
                    <a:pt x="239" y="2048"/>
                  </a:lnTo>
                  <a:lnTo>
                    <a:pt x="239" y="2046"/>
                  </a:lnTo>
                  <a:lnTo>
                    <a:pt x="242" y="2043"/>
                  </a:lnTo>
                  <a:lnTo>
                    <a:pt x="239" y="2041"/>
                  </a:lnTo>
                  <a:lnTo>
                    <a:pt x="239" y="2041"/>
                  </a:lnTo>
                  <a:lnTo>
                    <a:pt x="242" y="2041"/>
                  </a:lnTo>
                  <a:lnTo>
                    <a:pt x="242" y="2041"/>
                  </a:lnTo>
                  <a:lnTo>
                    <a:pt x="242" y="2043"/>
                  </a:lnTo>
                  <a:lnTo>
                    <a:pt x="242" y="2043"/>
                  </a:lnTo>
                  <a:lnTo>
                    <a:pt x="242" y="2043"/>
                  </a:lnTo>
                  <a:lnTo>
                    <a:pt x="242" y="2046"/>
                  </a:lnTo>
                  <a:lnTo>
                    <a:pt x="242" y="2043"/>
                  </a:lnTo>
                  <a:lnTo>
                    <a:pt x="242" y="2043"/>
                  </a:lnTo>
                  <a:lnTo>
                    <a:pt x="242" y="2043"/>
                  </a:lnTo>
                  <a:lnTo>
                    <a:pt x="242" y="2046"/>
                  </a:lnTo>
                  <a:lnTo>
                    <a:pt x="242" y="2046"/>
                  </a:lnTo>
                  <a:lnTo>
                    <a:pt x="242" y="2048"/>
                  </a:lnTo>
                  <a:lnTo>
                    <a:pt x="244" y="2046"/>
                  </a:lnTo>
                  <a:lnTo>
                    <a:pt x="244" y="2043"/>
                  </a:lnTo>
                  <a:lnTo>
                    <a:pt x="246" y="2043"/>
                  </a:lnTo>
                  <a:lnTo>
                    <a:pt x="246" y="2043"/>
                  </a:lnTo>
                  <a:lnTo>
                    <a:pt x="246" y="2041"/>
                  </a:lnTo>
                  <a:lnTo>
                    <a:pt x="249" y="2041"/>
                  </a:lnTo>
                  <a:lnTo>
                    <a:pt x="249" y="2041"/>
                  </a:lnTo>
                  <a:lnTo>
                    <a:pt x="249" y="2041"/>
                  </a:lnTo>
                  <a:lnTo>
                    <a:pt x="249" y="2041"/>
                  </a:lnTo>
                  <a:lnTo>
                    <a:pt x="249" y="2041"/>
                  </a:lnTo>
                  <a:lnTo>
                    <a:pt x="249" y="2041"/>
                  </a:lnTo>
                  <a:lnTo>
                    <a:pt x="251" y="2041"/>
                  </a:lnTo>
                  <a:lnTo>
                    <a:pt x="251" y="2039"/>
                  </a:lnTo>
                  <a:lnTo>
                    <a:pt x="251" y="2039"/>
                  </a:lnTo>
                  <a:lnTo>
                    <a:pt x="253" y="2036"/>
                  </a:lnTo>
                  <a:lnTo>
                    <a:pt x="253" y="2036"/>
                  </a:lnTo>
                  <a:lnTo>
                    <a:pt x="256" y="2036"/>
                  </a:lnTo>
                  <a:lnTo>
                    <a:pt x="253" y="2036"/>
                  </a:lnTo>
                  <a:lnTo>
                    <a:pt x="253" y="2039"/>
                  </a:lnTo>
                  <a:lnTo>
                    <a:pt x="253" y="2039"/>
                  </a:lnTo>
                  <a:lnTo>
                    <a:pt x="253" y="2039"/>
                  </a:lnTo>
                  <a:lnTo>
                    <a:pt x="253" y="2039"/>
                  </a:lnTo>
                  <a:lnTo>
                    <a:pt x="253" y="2039"/>
                  </a:lnTo>
                  <a:lnTo>
                    <a:pt x="251" y="2041"/>
                  </a:lnTo>
                  <a:lnTo>
                    <a:pt x="251" y="2043"/>
                  </a:lnTo>
                  <a:lnTo>
                    <a:pt x="251" y="2043"/>
                  </a:lnTo>
                  <a:lnTo>
                    <a:pt x="251" y="2043"/>
                  </a:lnTo>
                  <a:lnTo>
                    <a:pt x="251" y="2043"/>
                  </a:lnTo>
                  <a:lnTo>
                    <a:pt x="251" y="2043"/>
                  </a:lnTo>
                  <a:lnTo>
                    <a:pt x="251" y="2043"/>
                  </a:lnTo>
                  <a:lnTo>
                    <a:pt x="251" y="2043"/>
                  </a:lnTo>
                  <a:lnTo>
                    <a:pt x="251" y="2043"/>
                  </a:lnTo>
                  <a:lnTo>
                    <a:pt x="251" y="2043"/>
                  </a:lnTo>
                  <a:lnTo>
                    <a:pt x="251" y="2043"/>
                  </a:lnTo>
                  <a:lnTo>
                    <a:pt x="251" y="2043"/>
                  </a:lnTo>
                  <a:lnTo>
                    <a:pt x="251" y="2046"/>
                  </a:lnTo>
                  <a:lnTo>
                    <a:pt x="253" y="2046"/>
                  </a:lnTo>
                  <a:lnTo>
                    <a:pt x="253" y="2046"/>
                  </a:lnTo>
                  <a:lnTo>
                    <a:pt x="256" y="2046"/>
                  </a:lnTo>
                  <a:lnTo>
                    <a:pt x="256" y="2046"/>
                  </a:lnTo>
                  <a:lnTo>
                    <a:pt x="256" y="2048"/>
                  </a:lnTo>
                  <a:lnTo>
                    <a:pt x="256" y="2048"/>
                  </a:lnTo>
                  <a:lnTo>
                    <a:pt x="256" y="2048"/>
                  </a:lnTo>
                  <a:lnTo>
                    <a:pt x="253" y="2048"/>
                  </a:lnTo>
                  <a:lnTo>
                    <a:pt x="251" y="2046"/>
                  </a:lnTo>
                  <a:lnTo>
                    <a:pt x="251" y="2046"/>
                  </a:lnTo>
                  <a:lnTo>
                    <a:pt x="249" y="2046"/>
                  </a:lnTo>
                  <a:lnTo>
                    <a:pt x="249" y="2048"/>
                  </a:lnTo>
                  <a:lnTo>
                    <a:pt x="249" y="2048"/>
                  </a:lnTo>
                  <a:lnTo>
                    <a:pt x="249" y="2048"/>
                  </a:lnTo>
                  <a:lnTo>
                    <a:pt x="246" y="2048"/>
                  </a:lnTo>
                  <a:lnTo>
                    <a:pt x="246" y="2048"/>
                  </a:lnTo>
                  <a:lnTo>
                    <a:pt x="246" y="2048"/>
                  </a:lnTo>
                  <a:lnTo>
                    <a:pt x="244" y="2051"/>
                  </a:lnTo>
                  <a:lnTo>
                    <a:pt x="244" y="2053"/>
                  </a:lnTo>
                  <a:lnTo>
                    <a:pt x="244" y="2053"/>
                  </a:lnTo>
                  <a:lnTo>
                    <a:pt x="244" y="2055"/>
                  </a:lnTo>
                  <a:lnTo>
                    <a:pt x="244" y="2055"/>
                  </a:lnTo>
                  <a:lnTo>
                    <a:pt x="242" y="2055"/>
                  </a:lnTo>
                  <a:lnTo>
                    <a:pt x="242" y="2055"/>
                  </a:lnTo>
                  <a:lnTo>
                    <a:pt x="242" y="2058"/>
                  </a:lnTo>
                  <a:lnTo>
                    <a:pt x="242" y="2058"/>
                  </a:lnTo>
                  <a:lnTo>
                    <a:pt x="242" y="2058"/>
                  </a:lnTo>
                  <a:lnTo>
                    <a:pt x="242" y="2058"/>
                  </a:lnTo>
                  <a:lnTo>
                    <a:pt x="244" y="2058"/>
                  </a:lnTo>
                  <a:lnTo>
                    <a:pt x="244" y="2060"/>
                  </a:lnTo>
                  <a:lnTo>
                    <a:pt x="244" y="2060"/>
                  </a:lnTo>
                  <a:lnTo>
                    <a:pt x="244" y="2060"/>
                  </a:lnTo>
                  <a:lnTo>
                    <a:pt x="244" y="2062"/>
                  </a:lnTo>
                  <a:lnTo>
                    <a:pt x="244" y="2062"/>
                  </a:lnTo>
                  <a:lnTo>
                    <a:pt x="244" y="2065"/>
                  </a:lnTo>
                  <a:lnTo>
                    <a:pt x="246" y="2065"/>
                  </a:lnTo>
                  <a:lnTo>
                    <a:pt x="246" y="2065"/>
                  </a:lnTo>
                  <a:lnTo>
                    <a:pt x="246" y="2065"/>
                  </a:lnTo>
                  <a:lnTo>
                    <a:pt x="246" y="2067"/>
                  </a:lnTo>
                  <a:lnTo>
                    <a:pt x="246" y="2067"/>
                  </a:lnTo>
                  <a:lnTo>
                    <a:pt x="246" y="2067"/>
                  </a:lnTo>
                  <a:lnTo>
                    <a:pt x="249" y="2067"/>
                  </a:lnTo>
                  <a:lnTo>
                    <a:pt x="249" y="2067"/>
                  </a:lnTo>
                  <a:lnTo>
                    <a:pt x="249" y="2067"/>
                  </a:lnTo>
                  <a:lnTo>
                    <a:pt x="249" y="2069"/>
                  </a:lnTo>
                  <a:lnTo>
                    <a:pt x="249" y="2069"/>
                  </a:lnTo>
                  <a:lnTo>
                    <a:pt x="249" y="2069"/>
                  </a:lnTo>
                  <a:lnTo>
                    <a:pt x="249" y="2069"/>
                  </a:lnTo>
                  <a:lnTo>
                    <a:pt x="249" y="2069"/>
                  </a:lnTo>
                  <a:lnTo>
                    <a:pt x="251" y="2069"/>
                  </a:lnTo>
                  <a:lnTo>
                    <a:pt x="251" y="2069"/>
                  </a:lnTo>
                  <a:lnTo>
                    <a:pt x="251" y="2069"/>
                  </a:lnTo>
                  <a:lnTo>
                    <a:pt x="253" y="2069"/>
                  </a:lnTo>
                  <a:lnTo>
                    <a:pt x="253" y="2069"/>
                  </a:lnTo>
                  <a:lnTo>
                    <a:pt x="253" y="2069"/>
                  </a:lnTo>
                  <a:lnTo>
                    <a:pt x="253" y="2067"/>
                  </a:lnTo>
                  <a:lnTo>
                    <a:pt x="253" y="2067"/>
                  </a:lnTo>
                  <a:lnTo>
                    <a:pt x="256" y="2067"/>
                  </a:lnTo>
                  <a:lnTo>
                    <a:pt x="256" y="2069"/>
                  </a:lnTo>
                  <a:lnTo>
                    <a:pt x="260" y="2069"/>
                  </a:lnTo>
                  <a:lnTo>
                    <a:pt x="263" y="2069"/>
                  </a:lnTo>
                  <a:lnTo>
                    <a:pt x="263" y="2069"/>
                  </a:lnTo>
                  <a:lnTo>
                    <a:pt x="263" y="2072"/>
                  </a:lnTo>
                  <a:lnTo>
                    <a:pt x="263" y="2072"/>
                  </a:lnTo>
                  <a:lnTo>
                    <a:pt x="263" y="2072"/>
                  </a:lnTo>
                  <a:lnTo>
                    <a:pt x="263" y="2072"/>
                  </a:lnTo>
                  <a:lnTo>
                    <a:pt x="263" y="2072"/>
                  </a:lnTo>
                  <a:lnTo>
                    <a:pt x="263" y="2074"/>
                  </a:lnTo>
                  <a:lnTo>
                    <a:pt x="263" y="2074"/>
                  </a:lnTo>
                  <a:lnTo>
                    <a:pt x="263" y="2077"/>
                  </a:lnTo>
                  <a:lnTo>
                    <a:pt x="263" y="2077"/>
                  </a:lnTo>
                  <a:lnTo>
                    <a:pt x="263" y="2077"/>
                  </a:lnTo>
                  <a:lnTo>
                    <a:pt x="265" y="2077"/>
                  </a:lnTo>
                  <a:lnTo>
                    <a:pt x="265" y="2079"/>
                  </a:lnTo>
                  <a:lnTo>
                    <a:pt x="265" y="2079"/>
                  </a:lnTo>
                  <a:lnTo>
                    <a:pt x="265" y="2079"/>
                  </a:lnTo>
                  <a:lnTo>
                    <a:pt x="265" y="2079"/>
                  </a:lnTo>
                  <a:lnTo>
                    <a:pt x="265" y="2081"/>
                  </a:lnTo>
                  <a:lnTo>
                    <a:pt x="265" y="2081"/>
                  </a:lnTo>
                  <a:lnTo>
                    <a:pt x="265" y="2081"/>
                  </a:lnTo>
                  <a:lnTo>
                    <a:pt x="265" y="2084"/>
                  </a:lnTo>
                  <a:lnTo>
                    <a:pt x="265" y="2084"/>
                  </a:lnTo>
                  <a:lnTo>
                    <a:pt x="268" y="2084"/>
                  </a:lnTo>
                  <a:lnTo>
                    <a:pt x="268" y="2086"/>
                  </a:lnTo>
                  <a:lnTo>
                    <a:pt x="265" y="2084"/>
                  </a:lnTo>
                  <a:lnTo>
                    <a:pt x="265" y="2084"/>
                  </a:lnTo>
                  <a:lnTo>
                    <a:pt x="265" y="2081"/>
                  </a:lnTo>
                  <a:lnTo>
                    <a:pt x="265" y="2079"/>
                  </a:lnTo>
                  <a:lnTo>
                    <a:pt x="265" y="2079"/>
                  </a:lnTo>
                  <a:lnTo>
                    <a:pt x="263" y="2079"/>
                  </a:lnTo>
                  <a:lnTo>
                    <a:pt x="263" y="2077"/>
                  </a:lnTo>
                  <a:lnTo>
                    <a:pt x="263" y="2077"/>
                  </a:lnTo>
                  <a:lnTo>
                    <a:pt x="263" y="2077"/>
                  </a:lnTo>
                  <a:lnTo>
                    <a:pt x="260" y="2079"/>
                  </a:lnTo>
                  <a:lnTo>
                    <a:pt x="263" y="2077"/>
                  </a:lnTo>
                  <a:lnTo>
                    <a:pt x="263" y="2077"/>
                  </a:lnTo>
                  <a:lnTo>
                    <a:pt x="263" y="2077"/>
                  </a:lnTo>
                  <a:lnTo>
                    <a:pt x="263" y="2077"/>
                  </a:lnTo>
                  <a:lnTo>
                    <a:pt x="263" y="2074"/>
                  </a:lnTo>
                  <a:lnTo>
                    <a:pt x="263" y="2074"/>
                  </a:lnTo>
                  <a:lnTo>
                    <a:pt x="263" y="2074"/>
                  </a:lnTo>
                  <a:lnTo>
                    <a:pt x="263" y="2074"/>
                  </a:lnTo>
                  <a:lnTo>
                    <a:pt x="263" y="2072"/>
                  </a:lnTo>
                  <a:lnTo>
                    <a:pt x="260" y="2072"/>
                  </a:lnTo>
                  <a:lnTo>
                    <a:pt x="260" y="2072"/>
                  </a:lnTo>
                  <a:lnTo>
                    <a:pt x="258" y="2072"/>
                  </a:lnTo>
                  <a:lnTo>
                    <a:pt x="256" y="2069"/>
                  </a:lnTo>
                  <a:lnTo>
                    <a:pt x="256" y="2069"/>
                  </a:lnTo>
                  <a:lnTo>
                    <a:pt x="253" y="2069"/>
                  </a:lnTo>
                  <a:lnTo>
                    <a:pt x="253" y="2069"/>
                  </a:lnTo>
                  <a:lnTo>
                    <a:pt x="251" y="2069"/>
                  </a:lnTo>
                  <a:lnTo>
                    <a:pt x="251" y="2069"/>
                  </a:lnTo>
                  <a:lnTo>
                    <a:pt x="249" y="2072"/>
                  </a:lnTo>
                  <a:lnTo>
                    <a:pt x="249" y="2072"/>
                  </a:lnTo>
                  <a:lnTo>
                    <a:pt x="249" y="2072"/>
                  </a:lnTo>
                  <a:lnTo>
                    <a:pt x="249" y="2072"/>
                  </a:lnTo>
                  <a:lnTo>
                    <a:pt x="249" y="2072"/>
                  </a:lnTo>
                  <a:lnTo>
                    <a:pt x="249" y="2072"/>
                  </a:lnTo>
                  <a:lnTo>
                    <a:pt x="249" y="2074"/>
                  </a:lnTo>
                  <a:lnTo>
                    <a:pt x="249" y="2074"/>
                  </a:lnTo>
                  <a:lnTo>
                    <a:pt x="249" y="2074"/>
                  </a:lnTo>
                  <a:lnTo>
                    <a:pt x="249" y="2074"/>
                  </a:lnTo>
                  <a:lnTo>
                    <a:pt x="249" y="2074"/>
                  </a:lnTo>
                  <a:lnTo>
                    <a:pt x="249" y="2074"/>
                  </a:lnTo>
                  <a:lnTo>
                    <a:pt x="249" y="2072"/>
                  </a:lnTo>
                  <a:lnTo>
                    <a:pt x="249" y="2072"/>
                  </a:lnTo>
                  <a:lnTo>
                    <a:pt x="249" y="2072"/>
                  </a:lnTo>
                  <a:lnTo>
                    <a:pt x="249" y="2072"/>
                  </a:lnTo>
                  <a:lnTo>
                    <a:pt x="249" y="2072"/>
                  </a:lnTo>
                  <a:lnTo>
                    <a:pt x="249" y="2072"/>
                  </a:lnTo>
                  <a:lnTo>
                    <a:pt x="249" y="2072"/>
                  </a:lnTo>
                  <a:lnTo>
                    <a:pt x="246" y="2069"/>
                  </a:lnTo>
                  <a:lnTo>
                    <a:pt x="246" y="2067"/>
                  </a:lnTo>
                  <a:lnTo>
                    <a:pt x="244" y="2065"/>
                  </a:lnTo>
                  <a:lnTo>
                    <a:pt x="244" y="2065"/>
                  </a:lnTo>
                  <a:lnTo>
                    <a:pt x="244" y="2065"/>
                  </a:lnTo>
                  <a:lnTo>
                    <a:pt x="244" y="2065"/>
                  </a:lnTo>
                  <a:lnTo>
                    <a:pt x="244" y="2067"/>
                  </a:lnTo>
                  <a:lnTo>
                    <a:pt x="244" y="2067"/>
                  </a:lnTo>
                  <a:lnTo>
                    <a:pt x="244" y="2067"/>
                  </a:lnTo>
                  <a:lnTo>
                    <a:pt x="244" y="2065"/>
                  </a:lnTo>
                  <a:lnTo>
                    <a:pt x="244" y="2065"/>
                  </a:lnTo>
                  <a:lnTo>
                    <a:pt x="242" y="2065"/>
                  </a:lnTo>
                  <a:lnTo>
                    <a:pt x="242" y="2065"/>
                  </a:lnTo>
                  <a:lnTo>
                    <a:pt x="242" y="2062"/>
                  </a:lnTo>
                  <a:lnTo>
                    <a:pt x="242" y="2060"/>
                  </a:lnTo>
                  <a:lnTo>
                    <a:pt x="242" y="2060"/>
                  </a:lnTo>
                  <a:lnTo>
                    <a:pt x="242" y="2060"/>
                  </a:lnTo>
                  <a:lnTo>
                    <a:pt x="242" y="2060"/>
                  </a:lnTo>
                  <a:lnTo>
                    <a:pt x="239" y="2060"/>
                  </a:lnTo>
                  <a:lnTo>
                    <a:pt x="239" y="2062"/>
                  </a:lnTo>
                  <a:lnTo>
                    <a:pt x="239" y="2060"/>
                  </a:lnTo>
                  <a:lnTo>
                    <a:pt x="237" y="2060"/>
                  </a:lnTo>
                  <a:lnTo>
                    <a:pt x="237" y="2060"/>
                  </a:lnTo>
                  <a:lnTo>
                    <a:pt x="237" y="2060"/>
                  </a:lnTo>
                  <a:lnTo>
                    <a:pt x="237" y="2062"/>
                  </a:lnTo>
                  <a:lnTo>
                    <a:pt x="237" y="2065"/>
                  </a:lnTo>
                  <a:lnTo>
                    <a:pt x="237" y="2065"/>
                  </a:lnTo>
                  <a:lnTo>
                    <a:pt x="237" y="2065"/>
                  </a:lnTo>
                  <a:lnTo>
                    <a:pt x="237" y="2065"/>
                  </a:lnTo>
                  <a:lnTo>
                    <a:pt x="237" y="2065"/>
                  </a:lnTo>
                  <a:lnTo>
                    <a:pt x="239" y="2065"/>
                  </a:lnTo>
                  <a:lnTo>
                    <a:pt x="239" y="2065"/>
                  </a:lnTo>
                  <a:lnTo>
                    <a:pt x="239" y="2065"/>
                  </a:lnTo>
                  <a:lnTo>
                    <a:pt x="239" y="2065"/>
                  </a:lnTo>
                  <a:lnTo>
                    <a:pt x="237" y="2065"/>
                  </a:lnTo>
                  <a:lnTo>
                    <a:pt x="237" y="2067"/>
                  </a:lnTo>
                  <a:lnTo>
                    <a:pt x="237" y="2067"/>
                  </a:lnTo>
                  <a:lnTo>
                    <a:pt x="237" y="2067"/>
                  </a:lnTo>
                  <a:lnTo>
                    <a:pt x="237" y="2069"/>
                  </a:lnTo>
                  <a:lnTo>
                    <a:pt x="237" y="2069"/>
                  </a:lnTo>
                  <a:lnTo>
                    <a:pt x="237" y="2069"/>
                  </a:lnTo>
                  <a:lnTo>
                    <a:pt x="237" y="2069"/>
                  </a:lnTo>
                  <a:lnTo>
                    <a:pt x="237" y="2069"/>
                  </a:lnTo>
                  <a:lnTo>
                    <a:pt x="237" y="2069"/>
                  </a:lnTo>
                  <a:lnTo>
                    <a:pt x="237" y="2072"/>
                  </a:lnTo>
                  <a:lnTo>
                    <a:pt x="237" y="2072"/>
                  </a:lnTo>
                  <a:lnTo>
                    <a:pt x="237" y="2074"/>
                  </a:lnTo>
                  <a:lnTo>
                    <a:pt x="237" y="2074"/>
                  </a:lnTo>
                  <a:lnTo>
                    <a:pt x="237" y="2077"/>
                  </a:lnTo>
                  <a:lnTo>
                    <a:pt x="237" y="2077"/>
                  </a:lnTo>
                  <a:lnTo>
                    <a:pt x="237" y="2077"/>
                  </a:lnTo>
                  <a:lnTo>
                    <a:pt x="239" y="2081"/>
                  </a:lnTo>
                  <a:lnTo>
                    <a:pt x="239" y="2081"/>
                  </a:lnTo>
                  <a:lnTo>
                    <a:pt x="242" y="2081"/>
                  </a:lnTo>
                  <a:lnTo>
                    <a:pt x="242" y="2079"/>
                  </a:lnTo>
                  <a:lnTo>
                    <a:pt x="242" y="2079"/>
                  </a:lnTo>
                  <a:lnTo>
                    <a:pt x="242" y="2079"/>
                  </a:lnTo>
                  <a:lnTo>
                    <a:pt x="242" y="2079"/>
                  </a:lnTo>
                  <a:lnTo>
                    <a:pt x="242" y="2079"/>
                  </a:lnTo>
                  <a:lnTo>
                    <a:pt x="242" y="2079"/>
                  </a:lnTo>
                  <a:lnTo>
                    <a:pt x="242" y="2079"/>
                  </a:lnTo>
                  <a:lnTo>
                    <a:pt x="242" y="2079"/>
                  </a:lnTo>
                  <a:lnTo>
                    <a:pt x="244" y="2084"/>
                  </a:lnTo>
                  <a:lnTo>
                    <a:pt x="244" y="2084"/>
                  </a:lnTo>
                  <a:lnTo>
                    <a:pt x="244" y="2084"/>
                  </a:lnTo>
                  <a:lnTo>
                    <a:pt x="246" y="2086"/>
                  </a:lnTo>
                  <a:lnTo>
                    <a:pt x="246" y="2086"/>
                  </a:lnTo>
                  <a:lnTo>
                    <a:pt x="246" y="2086"/>
                  </a:lnTo>
                  <a:lnTo>
                    <a:pt x="244" y="2086"/>
                  </a:lnTo>
                  <a:lnTo>
                    <a:pt x="244" y="2086"/>
                  </a:lnTo>
                  <a:lnTo>
                    <a:pt x="244" y="2086"/>
                  </a:lnTo>
                  <a:lnTo>
                    <a:pt x="244" y="2086"/>
                  </a:lnTo>
                  <a:lnTo>
                    <a:pt x="244" y="2086"/>
                  </a:lnTo>
                  <a:lnTo>
                    <a:pt x="244" y="2088"/>
                  </a:lnTo>
                  <a:lnTo>
                    <a:pt x="244" y="2088"/>
                  </a:lnTo>
                  <a:lnTo>
                    <a:pt x="244" y="2088"/>
                  </a:lnTo>
                  <a:lnTo>
                    <a:pt x="244" y="2088"/>
                  </a:lnTo>
                  <a:lnTo>
                    <a:pt x="244" y="2088"/>
                  </a:lnTo>
                  <a:lnTo>
                    <a:pt x="244" y="2088"/>
                  </a:lnTo>
                  <a:lnTo>
                    <a:pt x="244" y="2091"/>
                  </a:lnTo>
                  <a:lnTo>
                    <a:pt x="244" y="2091"/>
                  </a:lnTo>
                  <a:lnTo>
                    <a:pt x="244" y="2091"/>
                  </a:lnTo>
                  <a:lnTo>
                    <a:pt x="244" y="2093"/>
                  </a:lnTo>
                  <a:lnTo>
                    <a:pt x="242" y="2095"/>
                  </a:lnTo>
                  <a:lnTo>
                    <a:pt x="242" y="2095"/>
                  </a:lnTo>
                  <a:lnTo>
                    <a:pt x="242" y="2098"/>
                  </a:lnTo>
                  <a:lnTo>
                    <a:pt x="242" y="2098"/>
                  </a:lnTo>
                  <a:lnTo>
                    <a:pt x="242" y="2098"/>
                  </a:lnTo>
                  <a:lnTo>
                    <a:pt x="242" y="2100"/>
                  </a:lnTo>
                  <a:lnTo>
                    <a:pt x="242" y="2100"/>
                  </a:lnTo>
                  <a:lnTo>
                    <a:pt x="242" y="2100"/>
                  </a:lnTo>
                  <a:lnTo>
                    <a:pt x="244" y="2100"/>
                  </a:lnTo>
                  <a:lnTo>
                    <a:pt x="244" y="2103"/>
                  </a:lnTo>
                  <a:lnTo>
                    <a:pt x="244" y="2103"/>
                  </a:lnTo>
                  <a:lnTo>
                    <a:pt x="244" y="2103"/>
                  </a:lnTo>
                  <a:lnTo>
                    <a:pt x="246" y="2105"/>
                  </a:lnTo>
                  <a:lnTo>
                    <a:pt x="249" y="2105"/>
                  </a:lnTo>
                  <a:lnTo>
                    <a:pt x="249" y="2105"/>
                  </a:lnTo>
                  <a:lnTo>
                    <a:pt x="249" y="2105"/>
                  </a:lnTo>
                  <a:lnTo>
                    <a:pt x="249" y="2105"/>
                  </a:lnTo>
                  <a:lnTo>
                    <a:pt x="249" y="2105"/>
                  </a:lnTo>
                  <a:lnTo>
                    <a:pt x="251" y="2105"/>
                  </a:lnTo>
                  <a:lnTo>
                    <a:pt x="251" y="2103"/>
                  </a:lnTo>
                  <a:lnTo>
                    <a:pt x="251" y="2103"/>
                  </a:lnTo>
                  <a:lnTo>
                    <a:pt x="253" y="2103"/>
                  </a:lnTo>
                  <a:lnTo>
                    <a:pt x="253" y="2100"/>
                  </a:lnTo>
                  <a:lnTo>
                    <a:pt x="253" y="2100"/>
                  </a:lnTo>
                  <a:lnTo>
                    <a:pt x="253" y="2100"/>
                  </a:lnTo>
                  <a:lnTo>
                    <a:pt x="253" y="2100"/>
                  </a:lnTo>
                  <a:lnTo>
                    <a:pt x="256" y="2100"/>
                  </a:lnTo>
                  <a:lnTo>
                    <a:pt x="258" y="2100"/>
                  </a:lnTo>
                  <a:lnTo>
                    <a:pt x="258" y="2100"/>
                  </a:lnTo>
                  <a:lnTo>
                    <a:pt x="258" y="2100"/>
                  </a:lnTo>
                  <a:lnTo>
                    <a:pt x="258" y="2103"/>
                  </a:lnTo>
                  <a:lnTo>
                    <a:pt x="258" y="2103"/>
                  </a:lnTo>
                  <a:lnTo>
                    <a:pt x="256" y="2103"/>
                  </a:lnTo>
                  <a:lnTo>
                    <a:pt x="253" y="2103"/>
                  </a:lnTo>
                  <a:lnTo>
                    <a:pt x="253" y="2103"/>
                  </a:lnTo>
                  <a:lnTo>
                    <a:pt x="253" y="2105"/>
                  </a:lnTo>
                  <a:lnTo>
                    <a:pt x="253" y="2105"/>
                  </a:lnTo>
                  <a:lnTo>
                    <a:pt x="253" y="2107"/>
                  </a:lnTo>
                  <a:lnTo>
                    <a:pt x="251" y="2107"/>
                  </a:lnTo>
                  <a:lnTo>
                    <a:pt x="251" y="2110"/>
                  </a:lnTo>
                  <a:lnTo>
                    <a:pt x="251" y="2110"/>
                  </a:lnTo>
                  <a:lnTo>
                    <a:pt x="251" y="2110"/>
                  </a:lnTo>
                  <a:lnTo>
                    <a:pt x="251" y="2110"/>
                  </a:lnTo>
                  <a:lnTo>
                    <a:pt x="251" y="2110"/>
                  </a:lnTo>
                  <a:lnTo>
                    <a:pt x="251" y="2112"/>
                  </a:lnTo>
                  <a:lnTo>
                    <a:pt x="251" y="2112"/>
                  </a:lnTo>
                  <a:lnTo>
                    <a:pt x="251" y="2112"/>
                  </a:lnTo>
                  <a:lnTo>
                    <a:pt x="249" y="2112"/>
                  </a:lnTo>
                  <a:lnTo>
                    <a:pt x="249" y="2112"/>
                  </a:lnTo>
                  <a:lnTo>
                    <a:pt x="249" y="2114"/>
                  </a:lnTo>
                  <a:lnTo>
                    <a:pt x="249" y="2114"/>
                  </a:lnTo>
                  <a:lnTo>
                    <a:pt x="249" y="2114"/>
                  </a:lnTo>
                  <a:lnTo>
                    <a:pt x="246" y="2117"/>
                  </a:lnTo>
                  <a:lnTo>
                    <a:pt x="246" y="2117"/>
                  </a:lnTo>
                  <a:lnTo>
                    <a:pt x="246" y="2119"/>
                  </a:lnTo>
                  <a:lnTo>
                    <a:pt x="246" y="2119"/>
                  </a:lnTo>
                  <a:lnTo>
                    <a:pt x="246" y="2119"/>
                  </a:lnTo>
                  <a:lnTo>
                    <a:pt x="244" y="2122"/>
                  </a:lnTo>
                  <a:lnTo>
                    <a:pt x="244" y="2124"/>
                  </a:lnTo>
                  <a:lnTo>
                    <a:pt x="244" y="2124"/>
                  </a:lnTo>
                  <a:lnTo>
                    <a:pt x="244" y="2124"/>
                  </a:lnTo>
                  <a:lnTo>
                    <a:pt x="244" y="2126"/>
                  </a:lnTo>
                  <a:lnTo>
                    <a:pt x="244" y="2126"/>
                  </a:lnTo>
                  <a:lnTo>
                    <a:pt x="244" y="2126"/>
                  </a:lnTo>
                  <a:lnTo>
                    <a:pt x="244" y="2126"/>
                  </a:lnTo>
                  <a:lnTo>
                    <a:pt x="242" y="2126"/>
                  </a:lnTo>
                  <a:lnTo>
                    <a:pt x="242" y="2126"/>
                  </a:lnTo>
                  <a:lnTo>
                    <a:pt x="242" y="2126"/>
                  </a:lnTo>
                  <a:lnTo>
                    <a:pt x="242" y="2126"/>
                  </a:lnTo>
                  <a:lnTo>
                    <a:pt x="242" y="2126"/>
                  </a:lnTo>
                  <a:lnTo>
                    <a:pt x="239" y="2126"/>
                  </a:lnTo>
                  <a:lnTo>
                    <a:pt x="239" y="2129"/>
                  </a:lnTo>
                  <a:lnTo>
                    <a:pt x="239" y="2129"/>
                  </a:lnTo>
                  <a:lnTo>
                    <a:pt x="239" y="2131"/>
                  </a:lnTo>
                  <a:lnTo>
                    <a:pt x="239" y="2131"/>
                  </a:lnTo>
                  <a:lnTo>
                    <a:pt x="237" y="2131"/>
                  </a:lnTo>
                  <a:lnTo>
                    <a:pt x="237" y="2131"/>
                  </a:lnTo>
                  <a:lnTo>
                    <a:pt x="237" y="2131"/>
                  </a:lnTo>
                  <a:lnTo>
                    <a:pt x="237" y="2131"/>
                  </a:lnTo>
                  <a:lnTo>
                    <a:pt x="239" y="2131"/>
                  </a:lnTo>
                  <a:lnTo>
                    <a:pt x="239" y="2131"/>
                  </a:lnTo>
                  <a:lnTo>
                    <a:pt x="239" y="2133"/>
                  </a:lnTo>
                  <a:lnTo>
                    <a:pt x="239" y="2133"/>
                  </a:lnTo>
                  <a:lnTo>
                    <a:pt x="239" y="2133"/>
                  </a:lnTo>
                  <a:lnTo>
                    <a:pt x="242" y="2133"/>
                  </a:lnTo>
                  <a:lnTo>
                    <a:pt x="242" y="2131"/>
                  </a:lnTo>
                  <a:lnTo>
                    <a:pt x="244" y="2129"/>
                  </a:lnTo>
                  <a:lnTo>
                    <a:pt x="244" y="2129"/>
                  </a:lnTo>
                  <a:lnTo>
                    <a:pt x="246" y="2126"/>
                  </a:lnTo>
                  <a:lnTo>
                    <a:pt x="246" y="2126"/>
                  </a:lnTo>
                  <a:lnTo>
                    <a:pt x="246" y="2126"/>
                  </a:lnTo>
                  <a:lnTo>
                    <a:pt x="246" y="2126"/>
                  </a:lnTo>
                  <a:lnTo>
                    <a:pt x="246" y="2126"/>
                  </a:lnTo>
                  <a:lnTo>
                    <a:pt x="249" y="2124"/>
                  </a:lnTo>
                  <a:lnTo>
                    <a:pt x="249" y="2122"/>
                  </a:lnTo>
                  <a:lnTo>
                    <a:pt x="249" y="2122"/>
                  </a:lnTo>
                  <a:lnTo>
                    <a:pt x="249" y="2122"/>
                  </a:lnTo>
                  <a:lnTo>
                    <a:pt x="251" y="2122"/>
                  </a:lnTo>
                  <a:lnTo>
                    <a:pt x="251" y="2122"/>
                  </a:lnTo>
                  <a:lnTo>
                    <a:pt x="251" y="2122"/>
                  </a:lnTo>
                  <a:lnTo>
                    <a:pt x="251" y="2122"/>
                  </a:lnTo>
                  <a:lnTo>
                    <a:pt x="253" y="2122"/>
                  </a:lnTo>
                  <a:lnTo>
                    <a:pt x="256" y="2122"/>
                  </a:lnTo>
                  <a:lnTo>
                    <a:pt x="258" y="2122"/>
                  </a:lnTo>
                  <a:lnTo>
                    <a:pt x="258" y="2119"/>
                  </a:lnTo>
                  <a:lnTo>
                    <a:pt x="258" y="2122"/>
                  </a:lnTo>
                  <a:lnTo>
                    <a:pt x="256" y="2122"/>
                  </a:lnTo>
                  <a:lnTo>
                    <a:pt x="256" y="2122"/>
                  </a:lnTo>
                  <a:lnTo>
                    <a:pt x="256" y="2122"/>
                  </a:lnTo>
                  <a:lnTo>
                    <a:pt x="256" y="2122"/>
                  </a:lnTo>
                  <a:lnTo>
                    <a:pt x="256" y="2122"/>
                  </a:lnTo>
                  <a:lnTo>
                    <a:pt x="256" y="2124"/>
                  </a:lnTo>
                  <a:lnTo>
                    <a:pt x="256" y="2124"/>
                  </a:lnTo>
                  <a:lnTo>
                    <a:pt x="256" y="2124"/>
                  </a:lnTo>
                  <a:lnTo>
                    <a:pt x="253" y="2124"/>
                  </a:lnTo>
                  <a:lnTo>
                    <a:pt x="253" y="2124"/>
                  </a:lnTo>
                  <a:lnTo>
                    <a:pt x="253" y="2124"/>
                  </a:lnTo>
                  <a:lnTo>
                    <a:pt x="253" y="2124"/>
                  </a:lnTo>
                  <a:lnTo>
                    <a:pt x="253" y="2122"/>
                  </a:lnTo>
                  <a:lnTo>
                    <a:pt x="251" y="2124"/>
                  </a:lnTo>
                  <a:lnTo>
                    <a:pt x="251" y="2124"/>
                  </a:lnTo>
                  <a:lnTo>
                    <a:pt x="249" y="2126"/>
                  </a:lnTo>
                  <a:lnTo>
                    <a:pt x="249" y="2129"/>
                  </a:lnTo>
                  <a:lnTo>
                    <a:pt x="249" y="2129"/>
                  </a:lnTo>
                  <a:lnTo>
                    <a:pt x="249" y="2129"/>
                  </a:lnTo>
                  <a:lnTo>
                    <a:pt x="249" y="2129"/>
                  </a:lnTo>
                  <a:lnTo>
                    <a:pt x="251" y="2131"/>
                  </a:lnTo>
                  <a:lnTo>
                    <a:pt x="251" y="2131"/>
                  </a:lnTo>
                  <a:lnTo>
                    <a:pt x="251" y="2133"/>
                  </a:lnTo>
                  <a:lnTo>
                    <a:pt x="251" y="2133"/>
                  </a:lnTo>
                  <a:lnTo>
                    <a:pt x="253" y="2131"/>
                  </a:lnTo>
                  <a:lnTo>
                    <a:pt x="253" y="2131"/>
                  </a:lnTo>
                  <a:lnTo>
                    <a:pt x="253" y="2129"/>
                  </a:lnTo>
                  <a:lnTo>
                    <a:pt x="253" y="2129"/>
                  </a:lnTo>
                  <a:lnTo>
                    <a:pt x="253" y="2129"/>
                  </a:lnTo>
                  <a:lnTo>
                    <a:pt x="253" y="2129"/>
                  </a:lnTo>
                  <a:lnTo>
                    <a:pt x="253" y="2126"/>
                  </a:lnTo>
                  <a:lnTo>
                    <a:pt x="253" y="2126"/>
                  </a:lnTo>
                  <a:lnTo>
                    <a:pt x="256" y="2126"/>
                  </a:lnTo>
                  <a:lnTo>
                    <a:pt x="256" y="2126"/>
                  </a:lnTo>
                  <a:lnTo>
                    <a:pt x="256" y="2124"/>
                  </a:lnTo>
                  <a:lnTo>
                    <a:pt x="256" y="2124"/>
                  </a:lnTo>
                  <a:lnTo>
                    <a:pt x="256" y="2124"/>
                  </a:lnTo>
                  <a:lnTo>
                    <a:pt x="256" y="2124"/>
                  </a:lnTo>
                  <a:lnTo>
                    <a:pt x="256" y="2124"/>
                  </a:lnTo>
                  <a:lnTo>
                    <a:pt x="256" y="2124"/>
                  </a:lnTo>
                  <a:lnTo>
                    <a:pt x="256" y="2124"/>
                  </a:lnTo>
                  <a:lnTo>
                    <a:pt x="256" y="2126"/>
                  </a:lnTo>
                  <a:lnTo>
                    <a:pt x="256" y="2126"/>
                  </a:lnTo>
                  <a:lnTo>
                    <a:pt x="256" y="2126"/>
                  </a:lnTo>
                  <a:lnTo>
                    <a:pt x="256" y="2126"/>
                  </a:lnTo>
                  <a:lnTo>
                    <a:pt x="253" y="2126"/>
                  </a:lnTo>
                  <a:lnTo>
                    <a:pt x="253" y="2129"/>
                  </a:lnTo>
                  <a:lnTo>
                    <a:pt x="256" y="2129"/>
                  </a:lnTo>
                  <a:lnTo>
                    <a:pt x="256" y="2131"/>
                  </a:lnTo>
                  <a:lnTo>
                    <a:pt x="256" y="2131"/>
                  </a:lnTo>
                  <a:lnTo>
                    <a:pt x="256" y="2133"/>
                  </a:lnTo>
                  <a:lnTo>
                    <a:pt x="256" y="2133"/>
                  </a:lnTo>
                  <a:lnTo>
                    <a:pt x="253" y="2133"/>
                  </a:lnTo>
                  <a:lnTo>
                    <a:pt x="253" y="2133"/>
                  </a:lnTo>
                  <a:lnTo>
                    <a:pt x="253" y="2133"/>
                  </a:lnTo>
                  <a:lnTo>
                    <a:pt x="253" y="2133"/>
                  </a:lnTo>
                  <a:lnTo>
                    <a:pt x="253" y="2133"/>
                  </a:lnTo>
                  <a:lnTo>
                    <a:pt x="253" y="2133"/>
                  </a:lnTo>
                  <a:lnTo>
                    <a:pt x="251" y="2136"/>
                  </a:lnTo>
                  <a:lnTo>
                    <a:pt x="253" y="2136"/>
                  </a:lnTo>
                  <a:lnTo>
                    <a:pt x="253" y="2136"/>
                  </a:lnTo>
                  <a:lnTo>
                    <a:pt x="253" y="2136"/>
                  </a:lnTo>
                  <a:lnTo>
                    <a:pt x="253" y="2138"/>
                  </a:lnTo>
                  <a:lnTo>
                    <a:pt x="253" y="2138"/>
                  </a:lnTo>
                  <a:lnTo>
                    <a:pt x="253" y="2138"/>
                  </a:lnTo>
                  <a:lnTo>
                    <a:pt x="253" y="2140"/>
                  </a:lnTo>
                  <a:lnTo>
                    <a:pt x="253" y="2140"/>
                  </a:lnTo>
                  <a:lnTo>
                    <a:pt x="253" y="2140"/>
                  </a:lnTo>
                  <a:lnTo>
                    <a:pt x="253" y="2138"/>
                  </a:lnTo>
                  <a:lnTo>
                    <a:pt x="256" y="2138"/>
                  </a:lnTo>
                  <a:lnTo>
                    <a:pt x="256" y="2138"/>
                  </a:lnTo>
                  <a:lnTo>
                    <a:pt x="256" y="2138"/>
                  </a:lnTo>
                  <a:lnTo>
                    <a:pt x="256" y="2138"/>
                  </a:lnTo>
                  <a:lnTo>
                    <a:pt x="256" y="2138"/>
                  </a:lnTo>
                  <a:lnTo>
                    <a:pt x="256" y="2136"/>
                  </a:lnTo>
                  <a:lnTo>
                    <a:pt x="256" y="2136"/>
                  </a:lnTo>
                  <a:lnTo>
                    <a:pt x="258" y="2133"/>
                  </a:lnTo>
                  <a:lnTo>
                    <a:pt x="258" y="2133"/>
                  </a:lnTo>
                  <a:lnTo>
                    <a:pt x="260" y="2133"/>
                  </a:lnTo>
                  <a:lnTo>
                    <a:pt x="258" y="2136"/>
                  </a:lnTo>
                  <a:lnTo>
                    <a:pt x="258" y="2136"/>
                  </a:lnTo>
                  <a:lnTo>
                    <a:pt x="258" y="2136"/>
                  </a:lnTo>
                  <a:lnTo>
                    <a:pt x="258" y="2136"/>
                  </a:lnTo>
                  <a:lnTo>
                    <a:pt x="258" y="2138"/>
                  </a:lnTo>
                  <a:lnTo>
                    <a:pt x="258" y="2138"/>
                  </a:lnTo>
                  <a:lnTo>
                    <a:pt x="258" y="2138"/>
                  </a:lnTo>
                  <a:lnTo>
                    <a:pt x="260" y="2138"/>
                  </a:lnTo>
                  <a:lnTo>
                    <a:pt x="260" y="2136"/>
                  </a:lnTo>
                  <a:lnTo>
                    <a:pt x="260" y="2138"/>
                  </a:lnTo>
                  <a:lnTo>
                    <a:pt x="263" y="2138"/>
                  </a:lnTo>
                  <a:lnTo>
                    <a:pt x="263" y="2138"/>
                  </a:lnTo>
                  <a:lnTo>
                    <a:pt x="263" y="2136"/>
                  </a:lnTo>
                  <a:lnTo>
                    <a:pt x="263" y="2136"/>
                  </a:lnTo>
                  <a:lnTo>
                    <a:pt x="265" y="2136"/>
                  </a:lnTo>
                  <a:lnTo>
                    <a:pt x="268" y="2136"/>
                  </a:lnTo>
                  <a:lnTo>
                    <a:pt x="268" y="2133"/>
                  </a:lnTo>
                  <a:lnTo>
                    <a:pt x="270" y="2133"/>
                  </a:lnTo>
                  <a:lnTo>
                    <a:pt x="275" y="2131"/>
                  </a:lnTo>
                  <a:lnTo>
                    <a:pt x="275" y="2131"/>
                  </a:lnTo>
                  <a:lnTo>
                    <a:pt x="277" y="2131"/>
                  </a:lnTo>
                  <a:lnTo>
                    <a:pt x="277" y="2131"/>
                  </a:lnTo>
                  <a:lnTo>
                    <a:pt x="277" y="2131"/>
                  </a:lnTo>
                  <a:lnTo>
                    <a:pt x="277" y="2129"/>
                  </a:lnTo>
                  <a:lnTo>
                    <a:pt x="277" y="2129"/>
                  </a:lnTo>
                  <a:lnTo>
                    <a:pt x="277" y="2129"/>
                  </a:lnTo>
                  <a:lnTo>
                    <a:pt x="277" y="2129"/>
                  </a:lnTo>
                  <a:lnTo>
                    <a:pt x="277" y="2129"/>
                  </a:lnTo>
                  <a:lnTo>
                    <a:pt x="277" y="2126"/>
                  </a:lnTo>
                  <a:lnTo>
                    <a:pt x="277" y="2126"/>
                  </a:lnTo>
                  <a:lnTo>
                    <a:pt x="279" y="2126"/>
                  </a:lnTo>
                  <a:lnTo>
                    <a:pt x="279" y="2126"/>
                  </a:lnTo>
                  <a:lnTo>
                    <a:pt x="282" y="2124"/>
                  </a:lnTo>
                  <a:lnTo>
                    <a:pt x="284" y="2124"/>
                  </a:lnTo>
                  <a:lnTo>
                    <a:pt x="289" y="2122"/>
                  </a:lnTo>
                  <a:lnTo>
                    <a:pt x="289" y="2119"/>
                  </a:lnTo>
                  <a:lnTo>
                    <a:pt x="289" y="2119"/>
                  </a:lnTo>
                  <a:lnTo>
                    <a:pt x="289" y="2119"/>
                  </a:lnTo>
                  <a:lnTo>
                    <a:pt x="289" y="2119"/>
                  </a:lnTo>
                  <a:lnTo>
                    <a:pt x="289" y="2117"/>
                  </a:lnTo>
                  <a:lnTo>
                    <a:pt x="289" y="2117"/>
                  </a:lnTo>
                  <a:lnTo>
                    <a:pt x="289" y="2114"/>
                  </a:lnTo>
                  <a:lnTo>
                    <a:pt x="289" y="2112"/>
                  </a:lnTo>
                  <a:lnTo>
                    <a:pt x="286" y="2110"/>
                  </a:lnTo>
                  <a:lnTo>
                    <a:pt x="289" y="2112"/>
                  </a:lnTo>
                  <a:lnTo>
                    <a:pt x="289" y="2112"/>
                  </a:lnTo>
                  <a:lnTo>
                    <a:pt x="289" y="2112"/>
                  </a:lnTo>
                  <a:lnTo>
                    <a:pt x="289" y="2112"/>
                  </a:lnTo>
                  <a:lnTo>
                    <a:pt x="289" y="2114"/>
                  </a:lnTo>
                  <a:lnTo>
                    <a:pt x="291" y="2114"/>
                  </a:lnTo>
                  <a:lnTo>
                    <a:pt x="291" y="2117"/>
                  </a:lnTo>
                  <a:lnTo>
                    <a:pt x="291" y="2119"/>
                  </a:lnTo>
                  <a:lnTo>
                    <a:pt x="291" y="2119"/>
                  </a:lnTo>
                  <a:lnTo>
                    <a:pt x="289" y="2122"/>
                  </a:lnTo>
                  <a:lnTo>
                    <a:pt x="289" y="2122"/>
                  </a:lnTo>
                  <a:lnTo>
                    <a:pt x="289" y="2124"/>
                  </a:lnTo>
                  <a:lnTo>
                    <a:pt x="286" y="2124"/>
                  </a:lnTo>
                  <a:lnTo>
                    <a:pt x="286" y="2124"/>
                  </a:lnTo>
                  <a:lnTo>
                    <a:pt x="284" y="2124"/>
                  </a:lnTo>
                  <a:lnTo>
                    <a:pt x="284" y="2126"/>
                  </a:lnTo>
                  <a:lnTo>
                    <a:pt x="282" y="2126"/>
                  </a:lnTo>
                  <a:lnTo>
                    <a:pt x="282" y="2126"/>
                  </a:lnTo>
                  <a:lnTo>
                    <a:pt x="279" y="2126"/>
                  </a:lnTo>
                  <a:lnTo>
                    <a:pt x="279" y="2126"/>
                  </a:lnTo>
                  <a:lnTo>
                    <a:pt x="277" y="2129"/>
                  </a:lnTo>
                  <a:lnTo>
                    <a:pt x="277" y="2129"/>
                  </a:lnTo>
                  <a:lnTo>
                    <a:pt x="277" y="2133"/>
                  </a:lnTo>
                  <a:lnTo>
                    <a:pt x="277" y="2133"/>
                  </a:lnTo>
                  <a:lnTo>
                    <a:pt x="277" y="2133"/>
                  </a:lnTo>
                  <a:lnTo>
                    <a:pt x="277" y="2133"/>
                  </a:lnTo>
                  <a:lnTo>
                    <a:pt x="277" y="2136"/>
                  </a:lnTo>
                  <a:lnTo>
                    <a:pt x="277" y="2136"/>
                  </a:lnTo>
                  <a:lnTo>
                    <a:pt x="277" y="2136"/>
                  </a:lnTo>
                  <a:lnTo>
                    <a:pt x="277" y="2138"/>
                  </a:lnTo>
                  <a:lnTo>
                    <a:pt x="277" y="2138"/>
                  </a:lnTo>
                  <a:lnTo>
                    <a:pt x="277" y="2138"/>
                  </a:lnTo>
                  <a:lnTo>
                    <a:pt x="277" y="2138"/>
                  </a:lnTo>
                  <a:lnTo>
                    <a:pt x="277" y="2138"/>
                  </a:lnTo>
                  <a:lnTo>
                    <a:pt x="279" y="2138"/>
                  </a:lnTo>
                  <a:lnTo>
                    <a:pt x="279" y="2138"/>
                  </a:lnTo>
                  <a:lnTo>
                    <a:pt x="279" y="2138"/>
                  </a:lnTo>
                  <a:lnTo>
                    <a:pt x="282" y="2140"/>
                  </a:lnTo>
                  <a:lnTo>
                    <a:pt x="282" y="2140"/>
                  </a:lnTo>
                  <a:lnTo>
                    <a:pt x="284" y="2140"/>
                  </a:lnTo>
                  <a:lnTo>
                    <a:pt x="284" y="2140"/>
                  </a:lnTo>
                  <a:lnTo>
                    <a:pt x="286" y="2140"/>
                  </a:lnTo>
                  <a:lnTo>
                    <a:pt x="291" y="2138"/>
                  </a:lnTo>
                  <a:lnTo>
                    <a:pt x="291" y="2140"/>
                  </a:lnTo>
                  <a:lnTo>
                    <a:pt x="291" y="2140"/>
                  </a:lnTo>
                  <a:lnTo>
                    <a:pt x="291" y="2140"/>
                  </a:lnTo>
                  <a:lnTo>
                    <a:pt x="289" y="2140"/>
                  </a:lnTo>
                  <a:lnTo>
                    <a:pt x="289" y="2140"/>
                  </a:lnTo>
                  <a:lnTo>
                    <a:pt x="286" y="2140"/>
                  </a:lnTo>
                  <a:lnTo>
                    <a:pt x="286" y="2140"/>
                  </a:lnTo>
                  <a:lnTo>
                    <a:pt x="286" y="2140"/>
                  </a:lnTo>
                  <a:lnTo>
                    <a:pt x="286" y="2140"/>
                  </a:lnTo>
                  <a:lnTo>
                    <a:pt x="286" y="2140"/>
                  </a:lnTo>
                  <a:lnTo>
                    <a:pt x="284" y="2140"/>
                  </a:lnTo>
                  <a:lnTo>
                    <a:pt x="284" y="2143"/>
                  </a:lnTo>
                  <a:lnTo>
                    <a:pt x="284" y="2143"/>
                  </a:lnTo>
                  <a:lnTo>
                    <a:pt x="284" y="2143"/>
                  </a:lnTo>
                  <a:lnTo>
                    <a:pt x="284" y="2145"/>
                  </a:lnTo>
                  <a:lnTo>
                    <a:pt x="284" y="2145"/>
                  </a:lnTo>
                  <a:lnTo>
                    <a:pt x="284" y="2145"/>
                  </a:lnTo>
                  <a:lnTo>
                    <a:pt x="284" y="2148"/>
                  </a:lnTo>
                  <a:lnTo>
                    <a:pt x="284" y="2150"/>
                  </a:lnTo>
                  <a:lnTo>
                    <a:pt x="286" y="2152"/>
                  </a:lnTo>
                  <a:lnTo>
                    <a:pt x="289" y="2155"/>
                  </a:lnTo>
                  <a:lnTo>
                    <a:pt x="289" y="2155"/>
                  </a:lnTo>
                  <a:lnTo>
                    <a:pt x="289" y="2155"/>
                  </a:lnTo>
                  <a:lnTo>
                    <a:pt x="289" y="2157"/>
                  </a:lnTo>
                  <a:lnTo>
                    <a:pt x="289" y="2157"/>
                  </a:lnTo>
                  <a:lnTo>
                    <a:pt x="289" y="2157"/>
                  </a:lnTo>
                  <a:lnTo>
                    <a:pt x="289" y="2157"/>
                  </a:lnTo>
                  <a:lnTo>
                    <a:pt x="289" y="2159"/>
                  </a:lnTo>
                  <a:lnTo>
                    <a:pt x="289" y="2159"/>
                  </a:lnTo>
                  <a:lnTo>
                    <a:pt x="289" y="2159"/>
                  </a:lnTo>
                  <a:lnTo>
                    <a:pt x="289" y="2162"/>
                  </a:lnTo>
                  <a:lnTo>
                    <a:pt x="289" y="2162"/>
                  </a:lnTo>
                  <a:lnTo>
                    <a:pt x="289" y="2159"/>
                  </a:lnTo>
                  <a:lnTo>
                    <a:pt x="289" y="2159"/>
                  </a:lnTo>
                  <a:lnTo>
                    <a:pt x="289" y="2157"/>
                  </a:lnTo>
                  <a:lnTo>
                    <a:pt x="286" y="2157"/>
                  </a:lnTo>
                  <a:lnTo>
                    <a:pt x="286" y="2155"/>
                  </a:lnTo>
                  <a:lnTo>
                    <a:pt x="284" y="2150"/>
                  </a:lnTo>
                  <a:lnTo>
                    <a:pt x="282" y="2148"/>
                  </a:lnTo>
                  <a:lnTo>
                    <a:pt x="284" y="2148"/>
                  </a:lnTo>
                  <a:lnTo>
                    <a:pt x="284" y="2145"/>
                  </a:lnTo>
                  <a:lnTo>
                    <a:pt x="284" y="2145"/>
                  </a:lnTo>
                  <a:lnTo>
                    <a:pt x="282" y="2143"/>
                  </a:lnTo>
                  <a:lnTo>
                    <a:pt x="282" y="2143"/>
                  </a:lnTo>
                  <a:lnTo>
                    <a:pt x="282" y="2140"/>
                  </a:lnTo>
                  <a:lnTo>
                    <a:pt x="279" y="2140"/>
                  </a:lnTo>
                  <a:lnTo>
                    <a:pt x="277" y="2140"/>
                  </a:lnTo>
                  <a:lnTo>
                    <a:pt x="277" y="2140"/>
                  </a:lnTo>
                  <a:lnTo>
                    <a:pt x="277" y="2140"/>
                  </a:lnTo>
                  <a:lnTo>
                    <a:pt x="275" y="2143"/>
                  </a:lnTo>
                  <a:lnTo>
                    <a:pt x="272" y="2143"/>
                  </a:lnTo>
                  <a:lnTo>
                    <a:pt x="272" y="2143"/>
                  </a:lnTo>
                  <a:lnTo>
                    <a:pt x="270" y="2143"/>
                  </a:lnTo>
                  <a:lnTo>
                    <a:pt x="270" y="2143"/>
                  </a:lnTo>
                  <a:lnTo>
                    <a:pt x="268" y="2145"/>
                  </a:lnTo>
                  <a:lnTo>
                    <a:pt x="268" y="2145"/>
                  </a:lnTo>
                  <a:lnTo>
                    <a:pt x="268" y="2145"/>
                  </a:lnTo>
                  <a:lnTo>
                    <a:pt x="268" y="2145"/>
                  </a:lnTo>
                  <a:lnTo>
                    <a:pt x="265" y="2145"/>
                  </a:lnTo>
                  <a:lnTo>
                    <a:pt x="265" y="2145"/>
                  </a:lnTo>
                  <a:lnTo>
                    <a:pt x="265" y="2145"/>
                  </a:lnTo>
                  <a:lnTo>
                    <a:pt x="265" y="2145"/>
                  </a:lnTo>
                  <a:lnTo>
                    <a:pt x="265" y="2148"/>
                  </a:lnTo>
                  <a:lnTo>
                    <a:pt x="268" y="2150"/>
                  </a:lnTo>
                  <a:lnTo>
                    <a:pt x="265" y="2150"/>
                  </a:lnTo>
                  <a:lnTo>
                    <a:pt x="265" y="2150"/>
                  </a:lnTo>
                  <a:lnTo>
                    <a:pt x="260" y="2150"/>
                  </a:lnTo>
                  <a:lnTo>
                    <a:pt x="260" y="2150"/>
                  </a:lnTo>
                  <a:lnTo>
                    <a:pt x="260" y="2150"/>
                  </a:lnTo>
                  <a:lnTo>
                    <a:pt x="258" y="2152"/>
                  </a:lnTo>
                  <a:lnTo>
                    <a:pt x="260" y="2148"/>
                  </a:lnTo>
                  <a:lnTo>
                    <a:pt x="260" y="2148"/>
                  </a:lnTo>
                  <a:lnTo>
                    <a:pt x="263" y="2150"/>
                  </a:lnTo>
                  <a:lnTo>
                    <a:pt x="263" y="2150"/>
                  </a:lnTo>
                  <a:lnTo>
                    <a:pt x="265" y="2150"/>
                  </a:lnTo>
                  <a:lnTo>
                    <a:pt x="265" y="2148"/>
                  </a:lnTo>
                  <a:lnTo>
                    <a:pt x="265" y="2148"/>
                  </a:lnTo>
                  <a:lnTo>
                    <a:pt x="265" y="2148"/>
                  </a:lnTo>
                  <a:lnTo>
                    <a:pt x="265" y="2145"/>
                  </a:lnTo>
                  <a:lnTo>
                    <a:pt x="263" y="2145"/>
                  </a:lnTo>
                  <a:lnTo>
                    <a:pt x="263" y="2145"/>
                  </a:lnTo>
                  <a:lnTo>
                    <a:pt x="260" y="2148"/>
                  </a:lnTo>
                  <a:lnTo>
                    <a:pt x="260" y="2148"/>
                  </a:lnTo>
                  <a:lnTo>
                    <a:pt x="258" y="2148"/>
                  </a:lnTo>
                  <a:lnTo>
                    <a:pt x="258" y="2150"/>
                  </a:lnTo>
                  <a:lnTo>
                    <a:pt x="256" y="2152"/>
                  </a:lnTo>
                  <a:lnTo>
                    <a:pt x="256" y="2155"/>
                  </a:lnTo>
                  <a:lnTo>
                    <a:pt x="256" y="2155"/>
                  </a:lnTo>
                  <a:lnTo>
                    <a:pt x="256" y="2155"/>
                  </a:lnTo>
                  <a:lnTo>
                    <a:pt x="253" y="2155"/>
                  </a:lnTo>
                  <a:lnTo>
                    <a:pt x="253" y="2155"/>
                  </a:lnTo>
                  <a:lnTo>
                    <a:pt x="251" y="2155"/>
                  </a:lnTo>
                  <a:lnTo>
                    <a:pt x="251" y="2155"/>
                  </a:lnTo>
                  <a:lnTo>
                    <a:pt x="249" y="2155"/>
                  </a:lnTo>
                  <a:lnTo>
                    <a:pt x="249" y="2157"/>
                  </a:lnTo>
                  <a:lnTo>
                    <a:pt x="249" y="2157"/>
                  </a:lnTo>
                  <a:lnTo>
                    <a:pt x="249" y="2157"/>
                  </a:lnTo>
                  <a:lnTo>
                    <a:pt x="249" y="2157"/>
                  </a:lnTo>
                  <a:lnTo>
                    <a:pt x="249" y="2157"/>
                  </a:lnTo>
                  <a:lnTo>
                    <a:pt x="249" y="2159"/>
                  </a:lnTo>
                  <a:lnTo>
                    <a:pt x="249" y="2159"/>
                  </a:lnTo>
                  <a:lnTo>
                    <a:pt x="249" y="2159"/>
                  </a:lnTo>
                  <a:lnTo>
                    <a:pt x="249" y="2159"/>
                  </a:lnTo>
                  <a:lnTo>
                    <a:pt x="246" y="2159"/>
                  </a:lnTo>
                  <a:lnTo>
                    <a:pt x="246" y="2162"/>
                  </a:lnTo>
                  <a:lnTo>
                    <a:pt x="246" y="2162"/>
                  </a:lnTo>
                  <a:lnTo>
                    <a:pt x="246" y="2162"/>
                  </a:lnTo>
                  <a:lnTo>
                    <a:pt x="246" y="2162"/>
                  </a:lnTo>
                  <a:lnTo>
                    <a:pt x="246" y="2164"/>
                  </a:lnTo>
                  <a:lnTo>
                    <a:pt x="246" y="2164"/>
                  </a:lnTo>
                  <a:lnTo>
                    <a:pt x="246" y="2164"/>
                  </a:lnTo>
                  <a:lnTo>
                    <a:pt x="246" y="2164"/>
                  </a:lnTo>
                  <a:lnTo>
                    <a:pt x="246" y="2166"/>
                  </a:lnTo>
                  <a:lnTo>
                    <a:pt x="246" y="2166"/>
                  </a:lnTo>
                  <a:lnTo>
                    <a:pt x="246" y="2166"/>
                  </a:lnTo>
                  <a:lnTo>
                    <a:pt x="246" y="2166"/>
                  </a:lnTo>
                  <a:lnTo>
                    <a:pt x="246" y="2169"/>
                  </a:lnTo>
                  <a:lnTo>
                    <a:pt x="246" y="2169"/>
                  </a:lnTo>
                  <a:lnTo>
                    <a:pt x="246" y="2169"/>
                  </a:lnTo>
                  <a:lnTo>
                    <a:pt x="246" y="2171"/>
                  </a:lnTo>
                  <a:lnTo>
                    <a:pt x="246" y="2171"/>
                  </a:lnTo>
                  <a:lnTo>
                    <a:pt x="246" y="2171"/>
                  </a:lnTo>
                  <a:lnTo>
                    <a:pt x="246" y="2174"/>
                  </a:lnTo>
                  <a:lnTo>
                    <a:pt x="246" y="2174"/>
                  </a:lnTo>
                  <a:lnTo>
                    <a:pt x="246" y="2174"/>
                  </a:lnTo>
                  <a:lnTo>
                    <a:pt x="246" y="2174"/>
                  </a:lnTo>
                  <a:lnTo>
                    <a:pt x="246" y="2174"/>
                  </a:lnTo>
                  <a:lnTo>
                    <a:pt x="246" y="2176"/>
                  </a:lnTo>
                  <a:lnTo>
                    <a:pt x="246" y="2176"/>
                  </a:lnTo>
                  <a:lnTo>
                    <a:pt x="246" y="2176"/>
                  </a:lnTo>
                  <a:lnTo>
                    <a:pt x="246" y="2176"/>
                  </a:lnTo>
                  <a:lnTo>
                    <a:pt x="246" y="2176"/>
                  </a:lnTo>
                  <a:lnTo>
                    <a:pt x="246" y="2176"/>
                  </a:lnTo>
                  <a:lnTo>
                    <a:pt x="249" y="2176"/>
                  </a:lnTo>
                  <a:lnTo>
                    <a:pt x="249" y="2176"/>
                  </a:lnTo>
                  <a:lnTo>
                    <a:pt x="249" y="2178"/>
                  </a:lnTo>
                  <a:lnTo>
                    <a:pt x="251" y="2178"/>
                  </a:lnTo>
                  <a:lnTo>
                    <a:pt x="251" y="2178"/>
                  </a:lnTo>
                  <a:lnTo>
                    <a:pt x="251" y="2178"/>
                  </a:lnTo>
                  <a:lnTo>
                    <a:pt x="249" y="2178"/>
                  </a:lnTo>
                  <a:lnTo>
                    <a:pt x="246" y="2178"/>
                  </a:lnTo>
                  <a:lnTo>
                    <a:pt x="246" y="2178"/>
                  </a:lnTo>
                  <a:lnTo>
                    <a:pt x="246" y="2178"/>
                  </a:lnTo>
                  <a:lnTo>
                    <a:pt x="246" y="2181"/>
                  </a:lnTo>
                  <a:lnTo>
                    <a:pt x="249" y="2181"/>
                  </a:lnTo>
                  <a:lnTo>
                    <a:pt x="249" y="2181"/>
                  </a:lnTo>
                  <a:lnTo>
                    <a:pt x="251" y="2181"/>
                  </a:lnTo>
                  <a:lnTo>
                    <a:pt x="251" y="2181"/>
                  </a:lnTo>
                  <a:lnTo>
                    <a:pt x="253" y="2178"/>
                  </a:lnTo>
                  <a:lnTo>
                    <a:pt x="253" y="2178"/>
                  </a:lnTo>
                  <a:lnTo>
                    <a:pt x="253" y="2176"/>
                  </a:lnTo>
                  <a:lnTo>
                    <a:pt x="253" y="2176"/>
                  </a:lnTo>
                  <a:lnTo>
                    <a:pt x="253" y="2176"/>
                  </a:lnTo>
                  <a:lnTo>
                    <a:pt x="253" y="2176"/>
                  </a:lnTo>
                  <a:lnTo>
                    <a:pt x="256" y="2174"/>
                  </a:lnTo>
                  <a:lnTo>
                    <a:pt x="256" y="2174"/>
                  </a:lnTo>
                  <a:lnTo>
                    <a:pt x="258" y="2174"/>
                  </a:lnTo>
                  <a:lnTo>
                    <a:pt x="258" y="2171"/>
                  </a:lnTo>
                  <a:lnTo>
                    <a:pt x="258" y="2171"/>
                  </a:lnTo>
                  <a:lnTo>
                    <a:pt x="258" y="2171"/>
                  </a:lnTo>
                  <a:lnTo>
                    <a:pt x="256" y="2171"/>
                  </a:lnTo>
                  <a:lnTo>
                    <a:pt x="256" y="2171"/>
                  </a:lnTo>
                  <a:lnTo>
                    <a:pt x="253" y="2169"/>
                  </a:lnTo>
                  <a:lnTo>
                    <a:pt x="253" y="2169"/>
                  </a:lnTo>
                  <a:lnTo>
                    <a:pt x="253" y="2169"/>
                  </a:lnTo>
                  <a:lnTo>
                    <a:pt x="253" y="2169"/>
                  </a:lnTo>
                  <a:lnTo>
                    <a:pt x="256" y="2169"/>
                  </a:lnTo>
                  <a:lnTo>
                    <a:pt x="256" y="2169"/>
                  </a:lnTo>
                  <a:lnTo>
                    <a:pt x="258" y="2169"/>
                  </a:lnTo>
                  <a:lnTo>
                    <a:pt x="258" y="2171"/>
                  </a:lnTo>
                  <a:lnTo>
                    <a:pt x="258" y="2169"/>
                  </a:lnTo>
                  <a:lnTo>
                    <a:pt x="260" y="2166"/>
                  </a:lnTo>
                  <a:lnTo>
                    <a:pt x="260" y="2166"/>
                  </a:lnTo>
                  <a:lnTo>
                    <a:pt x="260" y="2166"/>
                  </a:lnTo>
                  <a:lnTo>
                    <a:pt x="260" y="2166"/>
                  </a:lnTo>
                  <a:lnTo>
                    <a:pt x="263" y="2166"/>
                  </a:lnTo>
                  <a:lnTo>
                    <a:pt x="263" y="2166"/>
                  </a:lnTo>
                  <a:lnTo>
                    <a:pt x="263" y="2166"/>
                  </a:lnTo>
                  <a:lnTo>
                    <a:pt x="263" y="2164"/>
                  </a:lnTo>
                  <a:lnTo>
                    <a:pt x="263" y="2164"/>
                  </a:lnTo>
                  <a:lnTo>
                    <a:pt x="265" y="2164"/>
                  </a:lnTo>
                  <a:lnTo>
                    <a:pt x="265" y="2162"/>
                  </a:lnTo>
                  <a:lnTo>
                    <a:pt x="265" y="2164"/>
                  </a:lnTo>
                  <a:lnTo>
                    <a:pt x="263" y="2166"/>
                  </a:lnTo>
                  <a:lnTo>
                    <a:pt x="263" y="2166"/>
                  </a:lnTo>
                  <a:lnTo>
                    <a:pt x="263" y="2166"/>
                  </a:lnTo>
                  <a:lnTo>
                    <a:pt x="260" y="2166"/>
                  </a:lnTo>
                  <a:lnTo>
                    <a:pt x="260" y="2169"/>
                  </a:lnTo>
                  <a:lnTo>
                    <a:pt x="260" y="2169"/>
                  </a:lnTo>
                  <a:lnTo>
                    <a:pt x="260" y="2171"/>
                  </a:lnTo>
                  <a:lnTo>
                    <a:pt x="260" y="2171"/>
                  </a:lnTo>
                  <a:lnTo>
                    <a:pt x="260" y="2171"/>
                  </a:lnTo>
                  <a:lnTo>
                    <a:pt x="260" y="2171"/>
                  </a:lnTo>
                  <a:lnTo>
                    <a:pt x="260" y="2171"/>
                  </a:lnTo>
                  <a:lnTo>
                    <a:pt x="260" y="2171"/>
                  </a:lnTo>
                  <a:lnTo>
                    <a:pt x="260" y="2171"/>
                  </a:lnTo>
                  <a:lnTo>
                    <a:pt x="260" y="2171"/>
                  </a:lnTo>
                  <a:lnTo>
                    <a:pt x="260" y="2171"/>
                  </a:lnTo>
                  <a:lnTo>
                    <a:pt x="260" y="2171"/>
                  </a:lnTo>
                  <a:lnTo>
                    <a:pt x="260" y="2174"/>
                  </a:lnTo>
                  <a:lnTo>
                    <a:pt x="263" y="2171"/>
                  </a:lnTo>
                  <a:lnTo>
                    <a:pt x="263" y="2171"/>
                  </a:lnTo>
                  <a:lnTo>
                    <a:pt x="263" y="2171"/>
                  </a:lnTo>
                  <a:lnTo>
                    <a:pt x="265" y="2171"/>
                  </a:lnTo>
                  <a:lnTo>
                    <a:pt x="265" y="2174"/>
                  </a:lnTo>
                  <a:lnTo>
                    <a:pt x="272" y="2174"/>
                  </a:lnTo>
                  <a:lnTo>
                    <a:pt x="284" y="2178"/>
                  </a:lnTo>
                  <a:lnTo>
                    <a:pt x="284" y="2178"/>
                  </a:lnTo>
                  <a:lnTo>
                    <a:pt x="284" y="2176"/>
                  </a:lnTo>
                  <a:lnTo>
                    <a:pt x="286" y="2176"/>
                  </a:lnTo>
                  <a:lnTo>
                    <a:pt x="286" y="2176"/>
                  </a:lnTo>
                  <a:lnTo>
                    <a:pt x="286" y="2176"/>
                  </a:lnTo>
                  <a:lnTo>
                    <a:pt x="286" y="2176"/>
                  </a:lnTo>
                  <a:lnTo>
                    <a:pt x="286" y="2174"/>
                  </a:lnTo>
                  <a:lnTo>
                    <a:pt x="286" y="2174"/>
                  </a:lnTo>
                  <a:lnTo>
                    <a:pt x="286" y="2171"/>
                  </a:lnTo>
                  <a:lnTo>
                    <a:pt x="286" y="2171"/>
                  </a:lnTo>
                  <a:lnTo>
                    <a:pt x="286" y="2171"/>
                  </a:lnTo>
                  <a:lnTo>
                    <a:pt x="286" y="2171"/>
                  </a:lnTo>
                  <a:lnTo>
                    <a:pt x="286" y="2171"/>
                  </a:lnTo>
                  <a:lnTo>
                    <a:pt x="286" y="2174"/>
                  </a:lnTo>
                  <a:lnTo>
                    <a:pt x="286" y="2174"/>
                  </a:lnTo>
                  <a:lnTo>
                    <a:pt x="286" y="2174"/>
                  </a:lnTo>
                  <a:lnTo>
                    <a:pt x="286" y="2176"/>
                  </a:lnTo>
                  <a:lnTo>
                    <a:pt x="286" y="2176"/>
                  </a:lnTo>
                  <a:lnTo>
                    <a:pt x="286" y="2178"/>
                  </a:lnTo>
                  <a:lnTo>
                    <a:pt x="286" y="2178"/>
                  </a:lnTo>
                  <a:lnTo>
                    <a:pt x="286" y="2178"/>
                  </a:lnTo>
                  <a:lnTo>
                    <a:pt x="286" y="2178"/>
                  </a:lnTo>
                  <a:lnTo>
                    <a:pt x="286" y="2178"/>
                  </a:lnTo>
                  <a:lnTo>
                    <a:pt x="286" y="2178"/>
                  </a:lnTo>
                  <a:lnTo>
                    <a:pt x="286" y="2178"/>
                  </a:lnTo>
                  <a:lnTo>
                    <a:pt x="284" y="2178"/>
                  </a:lnTo>
                  <a:lnTo>
                    <a:pt x="284" y="2178"/>
                  </a:lnTo>
                  <a:lnTo>
                    <a:pt x="284" y="2181"/>
                  </a:lnTo>
                  <a:lnTo>
                    <a:pt x="284" y="2181"/>
                  </a:lnTo>
                  <a:lnTo>
                    <a:pt x="272" y="2176"/>
                  </a:lnTo>
                  <a:lnTo>
                    <a:pt x="263" y="2174"/>
                  </a:lnTo>
                  <a:lnTo>
                    <a:pt x="258" y="2174"/>
                  </a:lnTo>
                  <a:lnTo>
                    <a:pt x="258" y="2174"/>
                  </a:lnTo>
                  <a:lnTo>
                    <a:pt x="256" y="2176"/>
                  </a:lnTo>
                  <a:lnTo>
                    <a:pt x="256" y="2176"/>
                  </a:lnTo>
                  <a:lnTo>
                    <a:pt x="256" y="2176"/>
                  </a:lnTo>
                  <a:lnTo>
                    <a:pt x="256" y="2178"/>
                  </a:lnTo>
                  <a:lnTo>
                    <a:pt x="256" y="2178"/>
                  </a:lnTo>
                  <a:lnTo>
                    <a:pt x="256" y="2181"/>
                  </a:lnTo>
                  <a:lnTo>
                    <a:pt x="253" y="2181"/>
                  </a:lnTo>
                  <a:lnTo>
                    <a:pt x="253" y="2181"/>
                  </a:lnTo>
                  <a:lnTo>
                    <a:pt x="253" y="2181"/>
                  </a:lnTo>
                  <a:lnTo>
                    <a:pt x="253" y="2181"/>
                  </a:lnTo>
                  <a:lnTo>
                    <a:pt x="253" y="2181"/>
                  </a:lnTo>
                  <a:lnTo>
                    <a:pt x="253" y="2181"/>
                  </a:lnTo>
                  <a:lnTo>
                    <a:pt x="253" y="2181"/>
                  </a:lnTo>
                  <a:lnTo>
                    <a:pt x="251" y="2181"/>
                  </a:lnTo>
                  <a:lnTo>
                    <a:pt x="251" y="2183"/>
                  </a:lnTo>
                  <a:lnTo>
                    <a:pt x="251" y="2183"/>
                  </a:lnTo>
                  <a:lnTo>
                    <a:pt x="249" y="2185"/>
                  </a:lnTo>
                  <a:lnTo>
                    <a:pt x="249" y="2185"/>
                  </a:lnTo>
                  <a:lnTo>
                    <a:pt x="246" y="2185"/>
                  </a:lnTo>
                  <a:lnTo>
                    <a:pt x="246" y="2185"/>
                  </a:lnTo>
                  <a:lnTo>
                    <a:pt x="246" y="2185"/>
                  </a:lnTo>
                  <a:lnTo>
                    <a:pt x="244" y="2185"/>
                  </a:lnTo>
                  <a:lnTo>
                    <a:pt x="244" y="2185"/>
                  </a:lnTo>
                  <a:lnTo>
                    <a:pt x="244" y="2188"/>
                  </a:lnTo>
                  <a:lnTo>
                    <a:pt x="244" y="2188"/>
                  </a:lnTo>
                  <a:lnTo>
                    <a:pt x="246" y="2188"/>
                  </a:lnTo>
                  <a:lnTo>
                    <a:pt x="246" y="2188"/>
                  </a:lnTo>
                  <a:lnTo>
                    <a:pt x="246" y="2188"/>
                  </a:lnTo>
                  <a:lnTo>
                    <a:pt x="249" y="2188"/>
                  </a:lnTo>
                  <a:lnTo>
                    <a:pt x="251" y="2188"/>
                  </a:lnTo>
                  <a:lnTo>
                    <a:pt x="251" y="2188"/>
                  </a:lnTo>
                  <a:lnTo>
                    <a:pt x="253" y="2188"/>
                  </a:lnTo>
                  <a:lnTo>
                    <a:pt x="253" y="2188"/>
                  </a:lnTo>
                  <a:lnTo>
                    <a:pt x="253" y="2188"/>
                  </a:lnTo>
                  <a:lnTo>
                    <a:pt x="253" y="2190"/>
                  </a:lnTo>
                  <a:lnTo>
                    <a:pt x="253" y="2190"/>
                  </a:lnTo>
                  <a:lnTo>
                    <a:pt x="253" y="2190"/>
                  </a:lnTo>
                  <a:lnTo>
                    <a:pt x="253" y="2190"/>
                  </a:lnTo>
                  <a:lnTo>
                    <a:pt x="260" y="2192"/>
                  </a:lnTo>
                  <a:lnTo>
                    <a:pt x="260" y="2192"/>
                  </a:lnTo>
                  <a:lnTo>
                    <a:pt x="263" y="2192"/>
                  </a:lnTo>
                  <a:lnTo>
                    <a:pt x="263" y="2192"/>
                  </a:lnTo>
                  <a:lnTo>
                    <a:pt x="265" y="2192"/>
                  </a:lnTo>
                  <a:lnTo>
                    <a:pt x="265" y="2190"/>
                  </a:lnTo>
                  <a:lnTo>
                    <a:pt x="268" y="2190"/>
                  </a:lnTo>
                  <a:lnTo>
                    <a:pt x="268" y="2190"/>
                  </a:lnTo>
                  <a:lnTo>
                    <a:pt x="265" y="2190"/>
                  </a:lnTo>
                  <a:lnTo>
                    <a:pt x="265" y="2192"/>
                  </a:lnTo>
                  <a:lnTo>
                    <a:pt x="265" y="2192"/>
                  </a:lnTo>
                  <a:lnTo>
                    <a:pt x="265" y="2192"/>
                  </a:lnTo>
                  <a:lnTo>
                    <a:pt x="263" y="2192"/>
                  </a:lnTo>
                  <a:lnTo>
                    <a:pt x="260" y="2195"/>
                  </a:lnTo>
                  <a:lnTo>
                    <a:pt x="256" y="2192"/>
                  </a:lnTo>
                  <a:lnTo>
                    <a:pt x="256" y="2192"/>
                  </a:lnTo>
                  <a:lnTo>
                    <a:pt x="256" y="2192"/>
                  </a:lnTo>
                  <a:lnTo>
                    <a:pt x="256" y="2192"/>
                  </a:lnTo>
                  <a:lnTo>
                    <a:pt x="251" y="2190"/>
                  </a:lnTo>
                  <a:lnTo>
                    <a:pt x="249" y="2190"/>
                  </a:lnTo>
                  <a:lnTo>
                    <a:pt x="249" y="2192"/>
                  </a:lnTo>
                  <a:lnTo>
                    <a:pt x="244" y="2192"/>
                  </a:lnTo>
                  <a:lnTo>
                    <a:pt x="244" y="2192"/>
                  </a:lnTo>
                  <a:lnTo>
                    <a:pt x="244" y="2192"/>
                  </a:lnTo>
                  <a:lnTo>
                    <a:pt x="242" y="2192"/>
                  </a:lnTo>
                  <a:lnTo>
                    <a:pt x="242" y="2192"/>
                  </a:lnTo>
                  <a:lnTo>
                    <a:pt x="242" y="2192"/>
                  </a:lnTo>
                  <a:lnTo>
                    <a:pt x="242" y="2195"/>
                  </a:lnTo>
                  <a:lnTo>
                    <a:pt x="242" y="2195"/>
                  </a:lnTo>
                  <a:lnTo>
                    <a:pt x="242" y="2195"/>
                  </a:lnTo>
                  <a:lnTo>
                    <a:pt x="244" y="2200"/>
                  </a:lnTo>
                  <a:lnTo>
                    <a:pt x="244" y="2200"/>
                  </a:lnTo>
                  <a:lnTo>
                    <a:pt x="244" y="2200"/>
                  </a:lnTo>
                  <a:lnTo>
                    <a:pt x="246" y="2200"/>
                  </a:lnTo>
                  <a:lnTo>
                    <a:pt x="249" y="2200"/>
                  </a:lnTo>
                  <a:lnTo>
                    <a:pt x="249" y="2200"/>
                  </a:lnTo>
                  <a:lnTo>
                    <a:pt x="251" y="2200"/>
                  </a:lnTo>
                  <a:lnTo>
                    <a:pt x="251" y="2202"/>
                  </a:lnTo>
                  <a:lnTo>
                    <a:pt x="251" y="2202"/>
                  </a:lnTo>
                  <a:lnTo>
                    <a:pt x="251" y="2202"/>
                  </a:lnTo>
                  <a:lnTo>
                    <a:pt x="249" y="2202"/>
                  </a:lnTo>
                  <a:lnTo>
                    <a:pt x="249" y="2204"/>
                  </a:lnTo>
                  <a:lnTo>
                    <a:pt x="249" y="2207"/>
                  </a:lnTo>
                  <a:lnTo>
                    <a:pt x="249" y="2207"/>
                  </a:lnTo>
                  <a:lnTo>
                    <a:pt x="249" y="2207"/>
                  </a:lnTo>
                  <a:lnTo>
                    <a:pt x="249" y="2209"/>
                  </a:lnTo>
                  <a:lnTo>
                    <a:pt x="251" y="2209"/>
                  </a:lnTo>
                  <a:lnTo>
                    <a:pt x="251" y="2209"/>
                  </a:lnTo>
                  <a:lnTo>
                    <a:pt x="251" y="2209"/>
                  </a:lnTo>
                  <a:lnTo>
                    <a:pt x="251" y="2209"/>
                  </a:lnTo>
                  <a:lnTo>
                    <a:pt x="251" y="2209"/>
                  </a:lnTo>
                  <a:lnTo>
                    <a:pt x="251" y="2209"/>
                  </a:lnTo>
                  <a:lnTo>
                    <a:pt x="251" y="2209"/>
                  </a:lnTo>
                  <a:lnTo>
                    <a:pt x="251" y="2209"/>
                  </a:lnTo>
                  <a:lnTo>
                    <a:pt x="249" y="2209"/>
                  </a:lnTo>
                  <a:lnTo>
                    <a:pt x="251" y="2211"/>
                  </a:lnTo>
                  <a:lnTo>
                    <a:pt x="253" y="2214"/>
                  </a:lnTo>
                  <a:lnTo>
                    <a:pt x="253" y="2214"/>
                  </a:lnTo>
                  <a:lnTo>
                    <a:pt x="253" y="2214"/>
                  </a:lnTo>
                  <a:lnTo>
                    <a:pt x="256" y="2214"/>
                  </a:lnTo>
                  <a:lnTo>
                    <a:pt x="256" y="2214"/>
                  </a:lnTo>
                  <a:lnTo>
                    <a:pt x="256" y="2214"/>
                  </a:lnTo>
                  <a:lnTo>
                    <a:pt x="256" y="2214"/>
                  </a:lnTo>
                  <a:lnTo>
                    <a:pt x="256" y="2216"/>
                  </a:lnTo>
                  <a:lnTo>
                    <a:pt x="256" y="2216"/>
                  </a:lnTo>
                  <a:lnTo>
                    <a:pt x="258" y="2216"/>
                  </a:lnTo>
                  <a:lnTo>
                    <a:pt x="260" y="2219"/>
                  </a:lnTo>
                  <a:lnTo>
                    <a:pt x="260" y="2221"/>
                  </a:lnTo>
                  <a:lnTo>
                    <a:pt x="263" y="2221"/>
                  </a:lnTo>
                  <a:lnTo>
                    <a:pt x="263" y="2221"/>
                  </a:lnTo>
                  <a:lnTo>
                    <a:pt x="265" y="2219"/>
                  </a:lnTo>
                  <a:lnTo>
                    <a:pt x="265" y="2219"/>
                  </a:lnTo>
                  <a:lnTo>
                    <a:pt x="265" y="2219"/>
                  </a:lnTo>
                  <a:lnTo>
                    <a:pt x="265" y="2219"/>
                  </a:lnTo>
                  <a:lnTo>
                    <a:pt x="265" y="2219"/>
                  </a:lnTo>
                  <a:lnTo>
                    <a:pt x="265" y="2219"/>
                  </a:lnTo>
                  <a:lnTo>
                    <a:pt x="263" y="2216"/>
                  </a:lnTo>
                  <a:lnTo>
                    <a:pt x="263" y="2216"/>
                  </a:lnTo>
                  <a:lnTo>
                    <a:pt x="260" y="2216"/>
                  </a:lnTo>
                  <a:lnTo>
                    <a:pt x="260" y="2214"/>
                  </a:lnTo>
                  <a:lnTo>
                    <a:pt x="258" y="2214"/>
                  </a:lnTo>
                  <a:lnTo>
                    <a:pt x="258" y="2214"/>
                  </a:lnTo>
                  <a:lnTo>
                    <a:pt x="258" y="2214"/>
                  </a:lnTo>
                  <a:lnTo>
                    <a:pt x="258" y="2214"/>
                  </a:lnTo>
                  <a:lnTo>
                    <a:pt x="260" y="2214"/>
                  </a:lnTo>
                  <a:lnTo>
                    <a:pt x="260" y="2214"/>
                  </a:lnTo>
                  <a:lnTo>
                    <a:pt x="260" y="2214"/>
                  </a:lnTo>
                  <a:lnTo>
                    <a:pt x="263" y="2214"/>
                  </a:lnTo>
                  <a:lnTo>
                    <a:pt x="263" y="2216"/>
                  </a:lnTo>
                  <a:lnTo>
                    <a:pt x="263" y="2216"/>
                  </a:lnTo>
                  <a:lnTo>
                    <a:pt x="268" y="2216"/>
                  </a:lnTo>
                  <a:lnTo>
                    <a:pt x="268" y="2216"/>
                  </a:lnTo>
                  <a:lnTo>
                    <a:pt x="268" y="2216"/>
                  </a:lnTo>
                  <a:lnTo>
                    <a:pt x="268" y="2216"/>
                  </a:lnTo>
                  <a:lnTo>
                    <a:pt x="268" y="2216"/>
                  </a:lnTo>
                  <a:lnTo>
                    <a:pt x="270" y="2216"/>
                  </a:lnTo>
                  <a:lnTo>
                    <a:pt x="270" y="2216"/>
                  </a:lnTo>
                  <a:lnTo>
                    <a:pt x="270" y="2216"/>
                  </a:lnTo>
                  <a:lnTo>
                    <a:pt x="270" y="2216"/>
                  </a:lnTo>
                  <a:lnTo>
                    <a:pt x="270" y="2216"/>
                  </a:lnTo>
                  <a:lnTo>
                    <a:pt x="272" y="2219"/>
                  </a:lnTo>
                  <a:lnTo>
                    <a:pt x="272" y="2219"/>
                  </a:lnTo>
                  <a:lnTo>
                    <a:pt x="272" y="2219"/>
                  </a:lnTo>
                  <a:lnTo>
                    <a:pt x="272" y="2219"/>
                  </a:lnTo>
                  <a:lnTo>
                    <a:pt x="272" y="2219"/>
                  </a:lnTo>
                  <a:lnTo>
                    <a:pt x="275" y="2221"/>
                  </a:lnTo>
                  <a:lnTo>
                    <a:pt x="275" y="2221"/>
                  </a:lnTo>
                  <a:lnTo>
                    <a:pt x="277" y="2219"/>
                  </a:lnTo>
                  <a:lnTo>
                    <a:pt x="279" y="2219"/>
                  </a:lnTo>
                  <a:lnTo>
                    <a:pt x="279" y="2219"/>
                  </a:lnTo>
                  <a:lnTo>
                    <a:pt x="279" y="2219"/>
                  </a:lnTo>
                  <a:lnTo>
                    <a:pt x="279" y="2216"/>
                  </a:lnTo>
                  <a:lnTo>
                    <a:pt x="279" y="2216"/>
                  </a:lnTo>
                  <a:lnTo>
                    <a:pt x="279" y="2214"/>
                  </a:lnTo>
                  <a:lnTo>
                    <a:pt x="282" y="2214"/>
                  </a:lnTo>
                  <a:lnTo>
                    <a:pt x="282" y="2211"/>
                  </a:lnTo>
                  <a:lnTo>
                    <a:pt x="282" y="2211"/>
                  </a:lnTo>
                  <a:lnTo>
                    <a:pt x="282" y="2211"/>
                  </a:lnTo>
                  <a:lnTo>
                    <a:pt x="282" y="2214"/>
                  </a:lnTo>
                  <a:lnTo>
                    <a:pt x="282" y="2216"/>
                  </a:lnTo>
                  <a:lnTo>
                    <a:pt x="282" y="2219"/>
                  </a:lnTo>
                  <a:lnTo>
                    <a:pt x="284" y="2219"/>
                  </a:lnTo>
                  <a:lnTo>
                    <a:pt x="289" y="2221"/>
                  </a:lnTo>
                  <a:lnTo>
                    <a:pt x="289" y="2221"/>
                  </a:lnTo>
                  <a:lnTo>
                    <a:pt x="291" y="2221"/>
                  </a:lnTo>
                  <a:lnTo>
                    <a:pt x="291" y="2221"/>
                  </a:lnTo>
                  <a:lnTo>
                    <a:pt x="291" y="2221"/>
                  </a:lnTo>
                  <a:lnTo>
                    <a:pt x="291" y="2221"/>
                  </a:lnTo>
                  <a:lnTo>
                    <a:pt x="291" y="2223"/>
                  </a:lnTo>
                  <a:lnTo>
                    <a:pt x="289" y="2223"/>
                  </a:lnTo>
                  <a:lnTo>
                    <a:pt x="286" y="2221"/>
                  </a:lnTo>
                  <a:lnTo>
                    <a:pt x="284" y="2221"/>
                  </a:lnTo>
                  <a:lnTo>
                    <a:pt x="282" y="2221"/>
                  </a:lnTo>
                  <a:lnTo>
                    <a:pt x="282" y="2221"/>
                  </a:lnTo>
                  <a:lnTo>
                    <a:pt x="282" y="2219"/>
                  </a:lnTo>
                  <a:lnTo>
                    <a:pt x="282" y="2219"/>
                  </a:lnTo>
                  <a:lnTo>
                    <a:pt x="279" y="2221"/>
                  </a:lnTo>
                  <a:lnTo>
                    <a:pt x="277" y="2221"/>
                  </a:lnTo>
                  <a:lnTo>
                    <a:pt x="277" y="2221"/>
                  </a:lnTo>
                  <a:lnTo>
                    <a:pt x="277" y="2223"/>
                  </a:lnTo>
                  <a:lnTo>
                    <a:pt x="277" y="2223"/>
                  </a:lnTo>
                  <a:lnTo>
                    <a:pt x="277" y="2223"/>
                  </a:lnTo>
                  <a:lnTo>
                    <a:pt x="279" y="2223"/>
                  </a:lnTo>
                  <a:lnTo>
                    <a:pt x="279" y="2223"/>
                  </a:lnTo>
                  <a:lnTo>
                    <a:pt x="279" y="2226"/>
                  </a:lnTo>
                  <a:lnTo>
                    <a:pt x="282" y="2226"/>
                  </a:lnTo>
                  <a:lnTo>
                    <a:pt x="284" y="2223"/>
                  </a:lnTo>
                  <a:lnTo>
                    <a:pt x="284" y="2223"/>
                  </a:lnTo>
                  <a:lnTo>
                    <a:pt x="286" y="2223"/>
                  </a:lnTo>
                  <a:lnTo>
                    <a:pt x="286" y="2223"/>
                  </a:lnTo>
                  <a:lnTo>
                    <a:pt x="289" y="2223"/>
                  </a:lnTo>
                  <a:lnTo>
                    <a:pt x="289" y="2223"/>
                  </a:lnTo>
                  <a:lnTo>
                    <a:pt x="289" y="2226"/>
                  </a:lnTo>
                  <a:lnTo>
                    <a:pt x="289" y="2226"/>
                  </a:lnTo>
                  <a:lnTo>
                    <a:pt x="289" y="2226"/>
                  </a:lnTo>
                  <a:lnTo>
                    <a:pt x="289" y="2226"/>
                  </a:lnTo>
                  <a:lnTo>
                    <a:pt x="289" y="2226"/>
                  </a:lnTo>
                  <a:lnTo>
                    <a:pt x="289" y="2226"/>
                  </a:lnTo>
                  <a:lnTo>
                    <a:pt x="289" y="2226"/>
                  </a:lnTo>
                  <a:lnTo>
                    <a:pt x="291" y="2226"/>
                  </a:lnTo>
                  <a:lnTo>
                    <a:pt x="291" y="2226"/>
                  </a:lnTo>
                  <a:lnTo>
                    <a:pt x="291" y="2226"/>
                  </a:lnTo>
                  <a:lnTo>
                    <a:pt x="289" y="2228"/>
                  </a:lnTo>
                  <a:lnTo>
                    <a:pt x="289" y="2228"/>
                  </a:lnTo>
                  <a:lnTo>
                    <a:pt x="289" y="2230"/>
                  </a:lnTo>
                  <a:lnTo>
                    <a:pt x="291" y="2230"/>
                  </a:lnTo>
                  <a:lnTo>
                    <a:pt x="291" y="2230"/>
                  </a:lnTo>
                  <a:lnTo>
                    <a:pt x="291" y="2230"/>
                  </a:lnTo>
                  <a:lnTo>
                    <a:pt x="294" y="2230"/>
                  </a:lnTo>
                  <a:lnTo>
                    <a:pt x="294" y="2230"/>
                  </a:lnTo>
                  <a:lnTo>
                    <a:pt x="294" y="2230"/>
                  </a:lnTo>
                  <a:lnTo>
                    <a:pt x="294" y="2230"/>
                  </a:lnTo>
                  <a:lnTo>
                    <a:pt x="291" y="2230"/>
                  </a:lnTo>
                  <a:lnTo>
                    <a:pt x="289" y="2233"/>
                  </a:lnTo>
                  <a:lnTo>
                    <a:pt x="289" y="2233"/>
                  </a:lnTo>
                  <a:lnTo>
                    <a:pt x="286" y="2233"/>
                  </a:lnTo>
                  <a:lnTo>
                    <a:pt x="286" y="2233"/>
                  </a:lnTo>
                  <a:lnTo>
                    <a:pt x="286" y="2235"/>
                  </a:lnTo>
                  <a:lnTo>
                    <a:pt x="289" y="2235"/>
                  </a:lnTo>
                  <a:lnTo>
                    <a:pt x="291" y="2235"/>
                  </a:lnTo>
                  <a:lnTo>
                    <a:pt x="294" y="2235"/>
                  </a:lnTo>
                  <a:lnTo>
                    <a:pt x="294" y="2235"/>
                  </a:lnTo>
                  <a:lnTo>
                    <a:pt x="294" y="2235"/>
                  </a:lnTo>
                  <a:lnTo>
                    <a:pt x="296" y="2235"/>
                  </a:lnTo>
                  <a:lnTo>
                    <a:pt x="296" y="2235"/>
                  </a:lnTo>
                  <a:lnTo>
                    <a:pt x="296" y="2235"/>
                  </a:lnTo>
                  <a:lnTo>
                    <a:pt x="296" y="2235"/>
                  </a:lnTo>
                  <a:lnTo>
                    <a:pt x="296" y="2237"/>
                  </a:lnTo>
                  <a:lnTo>
                    <a:pt x="296" y="2237"/>
                  </a:lnTo>
                  <a:lnTo>
                    <a:pt x="298" y="2237"/>
                  </a:lnTo>
                  <a:lnTo>
                    <a:pt x="298" y="2235"/>
                  </a:lnTo>
                  <a:lnTo>
                    <a:pt x="298" y="2235"/>
                  </a:lnTo>
                  <a:lnTo>
                    <a:pt x="303" y="2235"/>
                  </a:lnTo>
                  <a:lnTo>
                    <a:pt x="303" y="2237"/>
                  </a:lnTo>
                  <a:lnTo>
                    <a:pt x="303" y="2235"/>
                  </a:lnTo>
                  <a:lnTo>
                    <a:pt x="305" y="2235"/>
                  </a:lnTo>
                  <a:lnTo>
                    <a:pt x="305" y="2233"/>
                  </a:lnTo>
                  <a:lnTo>
                    <a:pt x="305" y="2233"/>
                  </a:lnTo>
                  <a:lnTo>
                    <a:pt x="308" y="2233"/>
                  </a:lnTo>
                  <a:lnTo>
                    <a:pt x="308" y="2233"/>
                  </a:lnTo>
                  <a:lnTo>
                    <a:pt x="308" y="2233"/>
                  </a:lnTo>
                  <a:lnTo>
                    <a:pt x="308" y="2233"/>
                  </a:lnTo>
                  <a:lnTo>
                    <a:pt x="308" y="2230"/>
                  </a:lnTo>
                  <a:lnTo>
                    <a:pt x="308" y="2230"/>
                  </a:lnTo>
                  <a:lnTo>
                    <a:pt x="308" y="2230"/>
                  </a:lnTo>
                  <a:lnTo>
                    <a:pt x="308" y="2228"/>
                  </a:lnTo>
                  <a:lnTo>
                    <a:pt x="308" y="2228"/>
                  </a:lnTo>
                  <a:lnTo>
                    <a:pt x="308" y="2228"/>
                  </a:lnTo>
                  <a:lnTo>
                    <a:pt x="308" y="2228"/>
                  </a:lnTo>
                  <a:lnTo>
                    <a:pt x="310" y="2228"/>
                  </a:lnTo>
                  <a:lnTo>
                    <a:pt x="310" y="2228"/>
                  </a:lnTo>
                  <a:lnTo>
                    <a:pt x="310" y="2228"/>
                  </a:lnTo>
                  <a:lnTo>
                    <a:pt x="310" y="2228"/>
                  </a:lnTo>
                  <a:lnTo>
                    <a:pt x="312" y="2228"/>
                  </a:lnTo>
                  <a:lnTo>
                    <a:pt x="312" y="2226"/>
                  </a:lnTo>
                  <a:lnTo>
                    <a:pt x="312" y="2226"/>
                  </a:lnTo>
                  <a:lnTo>
                    <a:pt x="312" y="2226"/>
                  </a:lnTo>
                  <a:lnTo>
                    <a:pt x="312" y="2223"/>
                  </a:lnTo>
                  <a:lnTo>
                    <a:pt x="312" y="2221"/>
                  </a:lnTo>
                  <a:lnTo>
                    <a:pt x="312" y="2219"/>
                  </a:lnTo>
                  <a:lnTo>
                    <a:pt x="312" y="2219"/>
                  </a:lnTo>
                  <a:lnTo>
                    <a:pt x="312" y="2216"/>
                  </a:lnTo>
                  <a:lnTo>
                    <a:pt x="312" y="2219"/>
                  </a:lnTo>
                  <a:lnTo>
                    <a:pt x="312" y="2221"/>
                  </a:lnTo>
                  <a:lnTo>
                    <a:pt x="312" y="2223"/>
                  </a:lnTo>
                  <a:lnTo>
                    <a:pt x="315" y="2223"/>
                  </a:lnTo>
                  <a:lnTo>
                    <a:pt x="315" y="2226"/>
                  </a:lnTo>
                  <a:lnTo>
                    <a:pt x="315" y="2226"/>
                  </a:lnTo>
                  <a:lnTo>
                    <a:pt x="315" y="2226"/>
                  </a:lnTo>
                  <a:lnTo>
                    <a:pt x="315" y="2226"/>
                  </a:lnTo>
                  <a:lnTo>
                    <a:pt x="312" y="2228"/>
                  </a:lnTo>
                  <a:lnTo>
                    <a:pt x="312" y="2228"/>
                  </a:lnTo>
                  <a:lnTo>
                    <a:pt x="312" y="2228"/>
                  </a:lnTo>
                  <a:lnTo>
                    <a:pt x="312" y="2228"/>
                  </a:lnTo>
                  <a:lnTo>
                    <a:pt x="312" y="2228"/>
                  </a:lnTo>
                  <a:lnTo>
                    <a:pt x="312" y="2230"/>
                  </a:lnTo>
                  <a:lnTo>
                    <a:pt x="310" y="2230"/>
                  </a:lnTo>
                  <a:lnTo>
                    <a:pt x="310" y="2230"/>
                  </a:lnTo>
                  <a:lnTo>
                    <a:pt x="308" y="2230"/>
                  </a:lnTo>
                  <a:lnTo>
                    <a:pt x="308" y="2230"/>
                  </a:lnTo>
                  <a:lnTo>
                    <a:pt x="308" y="2233"/>
                  </a:lnTo>
                  <a:lnTo>
                    <a:pt x="308" y="2233"/>
                  </a:lnTo>
                  <a:lnTo>
                    <a:pt x="308" y="2233"/>
                  </a:lnTo>
                  <a:lnTo>
                    <a:pt x="308" y="2235"/>
                  </a:lnTo>
                  <a:lnTo>
                    <a:pt x="308" y="2235"/>
                  </a:lnTo>
                  <a:lnTo>
                    <a:pt x="305" y="2235"/>
                  </a:lnTo>
                  <a:lnTo>
                    <a:pt x="305" y="2235"/>
                  </a:lnTo>
                  <a:lnTo>
                    <a:pt x="305" y="2235"/>
                  </a:lnTo>
                  <a:lnTo>
                    <a:pt x="305" y="2235"/>
                  </a:lnTo>
                  <a:lnTo>
                    <a:pt x="305" y="2237"/>
                  </a:lnTo>
                  <a:lnTo>
                    <a:pt x="303" y="2237"/>
                  </a:lnTo>
                  <a:lnTo>
                    <a:pt x="303" y="2237"/>
                  </a:lnTo>
                  <a:lnTo>
                    <a:pt x="303" y="2237"/>
                  </a:lnTo>
                  <a:lnTo>
                    <a:pt x="303" y="2237"/>
                  </a:lnTo>
                  <a:lnTo>
                    <a:pt x="303" y="2237"/>
                  </a:lnTo>
                  <a:lnTo>
                    <a:pt x="301" y="2237"/>
                  </a:lnTo>
                  <a:lnTo>
                    <a:pt x="296" y="2237"/>
                  </a:lnTo>
                  <a:lnTo>
                    <a:pt x="296" y="2237"/>
                  </a:lnTo>
                  <a:lnTo>
                    <a:pt x="294" y="2237"/>
                  </a:lnTo>
                  <a:lnTo>
                    <a:pt x="294" y="2237"/>
                  </a:lnTo>
                  <a:lnTo>
                    <a:pt x="289" y="2237"/>
                  </a:lnTo>
                  <a:lnTo>
                    <a:pt x="286" y="2235"/>
                  </a:lnTo>
                  <a:lnTo>
                    <a:pt x="286" y="2235"/>
                  </a:lnTo>
                  <a:lnTo>
                    <a:pt x="284" y="2237"/>
                  </a:lnTo>
                  <a:lnTo>
                    <a:pt x="284" y="2237"/>
                  </a:lnTo>
                  <a:lnTo>
                    <a:pt x="284" y="2237"/>
                  </a:lnTo>
                  <a:lnTo>
                    <a:pt x="284" y="2237"/>
                  </a:lnTo>
                  <a:lnTo>
                    <a:pt x="284" y="2237"/>
                  </a:lnTo>
                  <a:lnTo>
                    <a:pt x="284" y="2237"/>
                  </a:lnTo>
                  <a:lnTo>
                    <a:pt x="289" y="2240"/>
                  </a:lnTo>
                  <a:lnTo>
                    <a:pt x="289" y="2240"/>
                  </a:lnTo>
                  <a:lnTo>
                    <a:pt x="291" y="2237"/>
                  </a:lnTo>
                  <a:lnTo>
                    <a:pt x="294" y="2237"/>
                  </a:lnTo>
                  <a:lnTo>
                    <a:pt x="294" y="2237"/>
                  </a:lnTo>
                  <a:lnTo>
                    <a:pt x="296" y="2237"/>
                  </a:lnTo>
                  <a:lnTo>
                    <a:pt x="296" y="2240"/>
                  </a:lnTo>
                  <a:lnTo>
                    <a:pt x="296" y="2240"/>
                  </a:lnTo>
                  <a:lnTo>
                    <a:pt x="294" y="2240"/>
                  </a:lnTo>
                  <a:lnTo>
                    <a:pt x="291" y="2240"/>
                  </a:lnTo>
                  <a:lnTo>
                    <a:pt x="291" y="2240"/>
                  </a:lnTo>
                  <a:lnTo>
                    <a:pt x="291" y="2240"/>
                  </a:lnTo>
                  <a:lnTo>
                    <a:pt x="289" y="2240"/>
                  </a:lnTo>
                  <a:lnTo>
                    <a:pt x="289" y="2240"/>
                  </a:lnTo>
                  <a:lnTo>
                    <a:pt x="289" y="2240"/>
                  </a:lnTo>
                  <a:lnTo>
                    <a:pt x="289" y="2240"/>
                  </a:lnTo>
                  <a:lnTo>
                    <a:pt x="286" y="2240"/>
                  </a:lnTo>
                  <a:lnTo>
                    <a:pt x="286" y="2240"/>
                  </a:lnTo>
                  <a:lnTo>
                    <a:pt x="286" y="2240"/>
                  </a:lnTo>
                  <a:lnTo>
                    <a:pt x="286" y="2242"/>
                  </a:lnTo>
                  <a:lnTo>
                    <a:pt x="286" y="2242"/>
                  </a:lnTo>
                  <a:lnTo>
                    <a:pt x="286" y="2242"/>
                  </a:lnTo>
                  <a:lnTo>
                    <a:pt x="284" y="2242"/>
                  </a:lnTo>
                  <a:lnTo>
                    <a:pt x="284" y="2242"/>
                  </a:lnTo>
                  <a:lnTo>
                    <a:pt x="284" y="2242"/>
                  </a:lnTo>
                  <a:lnTo>
                    <a:pt x="284" y="2242"/>
                  </a:lnTo>
                  <a:lnTo>
                    <a:pt x="282" y="2242"/>
                  </a:lnTo>
                  <a:lnTo>
                    <a:pt x="284" y="2242"/>
                  </a:lnTo>
                  <a:lnTo>
                    <a:pt x="284" y="2245"/>
                  </a:lnTo>
                  <a:lnTo>
                    <a:pt x="286" y="2245"/>
                  </a:lnTo>
                  <a:lnTo>
                    <a:pt x="289" y="2245"/>
                  </a:lnTo>
                  <a:lnTo>
                    <a:pt x="289" y="2245"/>
                  </a:lnTo>
                  <a:lnTo>
                    <a:pt x="289" y="2247"/>
                  </a:lnTo>
                  <a:lnTo>
                    <a:pt x="291" y="2247"/>
                  </a:lnTo>
                  <a:lnTo>
                    <a:pt x="294" y="2247"/>
                  </a:lnTo>
                  <a:lnTo>
                    <a:pt x="296" y="2247"/>
                  </a:lnTo>
                  <a:lnTo>
                    <a:pt x="296" y="2247"/>
                  </a:lnTo>
                  <a:lnTo>
                    <a:pt x="298" y="2245"/>
                  </a:lnTo>
                  <a:lnTo>
                    <a:pt x="298" y="2245"/>
                  </a:lnTo>
                  <a:lnTo>
                    <a:pt x="298" y="2245"/>
                  </a:lnTo>
                  <a:lnTo>
                    <a:pt x="301" y="2245"/>
                  </a:lnTo>
                  <a:lnTo>
                    <a:pt x="301" y="2247"/>
                  </a:lnTo>
                  <a:lnTo>
                    <a:pt x="301" y="2247"/>
                  </a:lnTo>
                  <a:lnTo>
                    <a:pt x="298" y="2247"/>
                  </a:lnTo>
                  <a:lnTo>
                    <a:pt x="298" y="2247"/>
                  </a:lnTo>
                  <a:lnTo>
                    <a:pt x="298" y="2247"/>
                  </a:lnTo>
                  <a:lnTo>
                    <a:pt x="301" y="2252"/>
                  </a:lnTo>
                  <a:lnTo>
                    <a:pt x="301" y="2252"/>
                  </a:lnTo>
                  <a:lnTo>
                    <a:pt x="301" y="2252"/>
                  </a:lnTo>
                  <a:lnTo>
                    <a:pt x="303" y="2252"/>
                  </a:lnTo>
                  <a:lnTo>
                    <a:pt x="303" y="2252"/>
                  </a:lnTo>
                  <a:lnTo>
                    <a:pt x="303" y="2252"/>
                  </a:lnTo>
                  <a:lnTo>
                    <a:pt x="303" y="2252"/>
                  </a:lnTo>
                  <a:lnTo>
                    <a:pt x="305" y="2249"/>
                  </a:lnTo>
                  <a:lnTo>
                    <a:pt x="305" y="2249"/>
                  </a:lnTo>
                  <a:lnTo>
                    <a:pt x="305" y="2249"/>
                  </a:lnTo>
                  <a:lnTo>
                    <a:pt x="305" y="2249"/>
                  </a:lnTo>
                  <a:lnTo>
                    <a:pt x="305" y="2247"/>
                  </a:lnTo>
                  <a:lnTo>
                    <a:pt x="305" y="2247"/>
                  </a:lnTo>
                  <a:lnTo>
                    <a:pt x="305" y="2247"/>
                  </a:lnTo>
                  <a:lnTo>
                    <a:pt x="308" y="2247"/>
                  </a:lnTo>
                  <a:lnTo>
                    <a:pt x="308" y="2245"/>
                  </a:lnTo>
                  <a:lnTo>
                    <a:pt x="308" y="2245"/>
                  </a:lnTo>
                  <a:lnTo>
                    <a:pt x="308" y="2242"/>
                  </a:lnTo>
                  <a:lnTo>
                    <a:pt x="308" y="2242"/>
                  </a:lnTo>
                  <a:lnTo>
                    <a:pt x="308" y="2240"/>
                  </a:lnTo>
                  <a:lnTo>
                    <a:pt x="310" y="2240"/>
                  </a:lnTo>
                  <a:lnTo>
                    <a:pt x="310" y="2240"/>
                  </a:lnTo>
                  <a:lnTo>
                    <a:pt x="312" y="2240"/>
                  </a:lnTo>
                  <a:lnTo>
                    <a:pt x="312" y="2237"/>
                  </a:lnTo>
                  <a:lnTo>
                    <a:pt x="315" y="2240"/>
                  </a:lnTo>
                  <a:lnTo>
                    <a:pt x="312" y="2240"/>
                  </a:lnTo>
                  <a:lnTo>
                    <a:pt x="312" y="2240"/>
                  </a:lnTo>
                  <a:lnTo>
                    <a:pt x="312" y="2240"/>
                  </a:lnTo>
                  <a:lnTo>
                    <a:pt x="312" y="2240"/>
                  </a:lnTo>
                  <a:lnTo>
                    <a:pt x="310" y="2240"/>
                  </a:lnTo>
                  <a:lnTo>
                    <a:pt x="310" y="2240"/>
                  </a:lnTo>
                  <a:lnTo>
                    <a:pt x="310" y="2242"/>
                  </a:lnTo>
                  <a:lnTo>
                    <a:pt x="310" y="2242"/>
                  </a:lnTo>
                  <a:lnTo>
                    <a:pt x="310" y="2242"/>
                  </a:lnTo>
                  <a:lnTo>
                    <a:pt x="308" y="2245"/>
                  </a:lnTo>
                  <a:lnTo>
                    <a:pt x="308" y="2245"/>
                  </a:lnTo>
                  <a:lnTo>
                    <a:pt x="308" y="2247"/>
                  </a:lnTo>
                  <a:lnTo>
                    <a:pt x="308" y="2247"/>
                  </a:lnTo>
                  <a:lnTo>
                    <a:pt x="308" y="2247"/>
                  </a:lnTo>
                  <a:lnTo>
                    <a:pt x="308" y="2249"/>
                  </a:lnTo>
                  <a:lnTo>
                    <a:pt x="308" y="2249"/>
                  </a:lnTo>
                  <a:lnTo>
                    <a:pt x="305" y="2249"/>
                  </a:lnTo>
                  <a:lnTo>
                    <a:pt x="305" y="2249"/>
                  </a:lnTo>
                  <a:lnTo>
                    <a:pt x="305" y="2249"/>
                  </a:lnTo>
                  <a:lnTo>
                    <a:pt x="305" y="2252"/>
                  </a:lnTo>
                  <a:lnTo>
                    <a:pt x="308" y="2252"/>
                  </a:lnTo>
                  <a:lnTo>
                    <a:pt x="308" y="2252"/>
                  </a:lnTo>
                  <a:lnTo>
                    <a:pt x="310" y="2252"/>
                  </a:lnTo>
                  <a:lnTo>
                    <a:pt x="310" y="2252"/>
                  </a:lnTo>
                  <a:lnTo>
                    <a:pt x="312" y="2252"/>
                  </a:lnTo>
                  <a:lnTo>
                    <a:pt x="312" y="2249"/>
                  </a:lnTo>
                  <a:lnTo>
                    <a:pt x="312" y="2249"/>
                  </a:lnTo>
                  <a:lnTo>
                    <a:pt x="312" y="2249"/>
                  </a:lnTo>
                  <a:lnTo>
                    <a:pt x="312" y="2249"/>
                  </a:lnTo>
                  <a:lnTo>
                    <a:pt x="315" y="2249"/>
                  </a:lnTo>
                  <a:lnTo>
                    <a:pt x="315" y="2249"/>
                  </a:lnTo>
                  <a:lnTo>
                    <a:pt x="315" y="2252"/>
                  </a:lnTo>
                  <a:lnTo>
                    <a:pt x="315" y="2252"/>
                  </a:lnTo>
                  <a:lnTo>
                    <a:pt x="315" y="2252"/>
                  </a:lnTo>
                  <a:lnTo>
                    <a:pt x="315" y="2252"/>
                  </a:lnTo>
                  <a:lnTo>
                    <a:pt x="315" y="2252"/>
                  </a:lnTo>
                  <a:lnTo>
                    <a:pt x="315" y="2252"/>
                  </a:lnTo>
                  <a:lnTo>
                    <a:pt x="317" y="2252"/>
                  </a:lnTo>
                  <a:lnTo>
                    <a:pt x="317" y="2252"/>
                  </a:lnTo>
                  <a:lnTo>
                    <a:pt x="317" y="2252"/>
                  </a:lnTo>
                  <a:lnTo>
                    <a:pt x="317" y="2252"/>
                  </a:lnTo>
                  <a:lnTo>
                    <a:pt x="317" y="2252"/>
                  </a:lnTo>
                  <a:lnTo>
                    <a:pt x="317" y="2252"/>
                  </a:lnTo>
                  <a:lnTo>
                    <a:pt x="317" y="2252"/>
                  </a:lnTo>
                  <a:lnTo>
                    <a:pt x="317" y="2254"/>
                  </a:lnTo>
                  <a:lnTo>
                    <a:pt x="317" y="2254"/>
                  </a:lnTo>
                  <a:lnTo>
                    <a:pt x="317" y="2256"/>
                  </a:lnTo>
                  <a:lnTo>
                    <a:pt x="317" y="2256"/>
                  </a:lnTo>
                  <a:lnTo>
                    <a:pt x="320" y="2256"/>
                  </a:lnTo>
                  <a:lnTo>
                    <a:pt x="320" y="2256"/>
                  </a:lnTo>
                  <a:lnTo>
                    <a:pt x="320" y="2256"/>
                  </a:lnTo>
                  <a:lnTo>
                    <a:pt x="322" y="2254"/>
                  </a:lnTo>
                  <a:lnTo>
                    <a:pt x="322" y="2254"/>
                  </a:lnTo>
                  <a:lnTo>
                    <a:pt x="322" y="2252"/>
                  </a:lnTo>
                  <a:lnTo>
                    <a:pt x="324" y="2252"/>
                  </a:lnTo>
                  <a:lnTo>
                    <a:pt x="324" y="2249"/>
                  </a:lnTo>
                  <a:lnTo>
                    <a:pt x="327" y="2249"/>
                  </a:lnTo>
                  <a:lnTo>
                    <a:pt x="329" y="2249"/>
                  </a:lnTo>
                  <a:lnTo>
                    <a:pt x="329" y="2249"/>
                  </a:lnTo>
                  <a:lnTo>
                    <a:pt x="329" y="2249"/>
                  </a:lnTo>
                  <a:lnTo>
                    <a:pt x="329" y="2249"/>
                  </a:lnTo>
                  <a:lnTo>
                    <a:pt x="329" y="2249"/>
                  </a:lnTo>
                  <a:lnTo>
                    <a:pt x="329" y="2249"/>
                  </a:lnTo>
                  <a:lnTo>
                    <a:pt x="329" y="2249"/>
                  </a:lnTo>
                  <a:lnTo>
                    <a:pt x="329" y="2249"/>
                  </a:lnTo>
                  <a:lnTo>
                    <a:pt x="329" y="2247"/>
                  </a:lnTo>
                  <a:lnTo>
                    <a:pt x="329" y="2247"/>
                  </a:lnTo>
                  <a:lnTo>
                    <a:pt x="329" y="2247"/>
                  </a:lnTo>
                  <a:lnTo>
                    <a:pt x="329" y="2245"/>
                  </a:lnTo>
                  <a:lnTo>
                    <a:pt x="329" y="2245"/>
                  </a:lnTo>
                  <a:lnTo>
                    <a:pt x="331" y="2242"/>
                  </a:lnTo>
                  <a:lnTo>
                    <a:pt x="331" y="2242"/>
                  </a:lnTo>
                  <a:lnTo>
                    <a:pt x="331" y="2240"/>
                  </a:lnTo>
                  <a:lnTo>
                    <a:pt x="331" y="2240"/>
                  </a:lnTo>
                  <a:lnTo>
                    <a:pt x="331" y="2240"/>
                  </a:lnTo>
                  <a:lnTo>
                    <a:pt x="331" y="2240"/>
                  </a:lnTo>
                  <a:lnTo>
                    <a:pt x="331" y="2237"/>
                  </a:lnTo>
                  <a:lnTo>
                    <a:pt x="331" y="2237"/>
                  </a:lnTo>
                  <a:lnTo>
                    <a:pt x="331" y="2237"/>
                  </a:lnTo>
                  <a:lnTo>
                    <a:pt x="329" y="2237"/>
                  </a:lnTo>
                  <a:lnTo>
                    <a:pt x="331" y="2237"/>
                  </a:lnTo>
                  <a:lnTo>
                    <a:pt x="331" y="2235"/>
                  </a:lnTo>
                  <a:lnTo>
                    <a:pt x="331" y="2235"/>
                  </a:lnTo>
                  <a:lnTo>
                    <a:pt x="334" y="2235"/>
                  </a:lnTo>
                  <a:lnTo>
                    <a:pt x="334" y="2233"/>
                  </a:lnTo>
                  <a:lnTo>
                    <a:pt x="334" y="2233"/>
                  </a:lnTo>
                  <a:lnTo>
                    <a:pt x="336" y="2233"/>
                  </a:lnTo>
                  <a:lnTo>
                    <a:pt x="336" y="2233"/>
                  </a:lnTo>
                  <a:lnTo>
                    <a:pt x="336" y="2233"/>
                  </a:lnTo>
                  <a:lnTo>
                    <a:pt x="336" y="2233"/>
                  </a:lnTo>
                  <a:lnTo>
                    <a:pt x="336" y="2233"/>
                  </a:lnTo>
                  <a:lnTo>
                    <a:pt x="336" y="2235"/>
                  </a:lnTo>
                  <a:lnTo>
                    <a:pt x="336" y="2235"/>
                  </a:lnTo>
                  <a:lnTo>
                    <a:pt x="336" y="2235"/>
                  </a:lnTo>
                  <a:lnTo>
                    <a:pt x="334" y="2237"/>
                  </a:lnTo>
                  <a:lnTo>
                    <a:pt x="334" y="2237"/>
                  </a:lnTo>
                  <a:lnTo>
                    <a:pt x="334" y="2237"/>
                  </a:lnTo>
                  <a:lnTo>
                    <a:pt x="331" y="2237"/>
                  </a:lnTo>
                  <a:lnTo>
                    <a:pt x="331" y="2237"/>
                  </a:lnTo>
                  <a:lnTo>
                    <a:pt x="331" y="2240"/>
                  </a:lnTo>
                  <a:lnTo>
                    <a:pt x="331" y="2240"/>
                  </a:lnTo>
                  <a:lnTo>
                    <a:pt x="331" y="2240"/>
                  </a:lnTo>
                  <a:lnTo>
                    <a:pt x="334" y="2242"/>
                  </a:lnTo>
                  <a:lnTo>
                    <a:pt x="334" y="2242"/>
                  </a:lnTo>
                  <a:lnTo>
                    <a:pt x="334" y="2242"/>
                  </a:lnTo>
                  <a:lnTo>
                    <a:pt x="334" y="2245"/>
                  </a:lnTo>
                  <a:lnTo>
                    <a:pt x="331" y="2245"/>
                  </a:lnTo>
                  <a:lnTo>
                    <a:pt x="331" y="2247"/>
                  </a:lnTo>
                  <a:lnTo>
                    <a:pt x="331" y="2249"/>
                  </a:lnTo>
                  <a:lnTo>
                    <a:pt x="331" y="2249"/>
                  </a:lnTo>
                  <a:lnTo>
                    <a:pt x="331" y="2249"/>
                  </a:lnTo>
                  <a:lnTo>
                    <a:pt x="331" y="2249"/>
                  </a:lnTo>
                  <a:lnTo>
                    <a:pt x="331" y="2249"/>
                  </a:lnTo>
                  <a:lnTo>
                    <a:pt x="329" y="2252"/>
                  </a:lnTo>
                  <a:lnTo>
                    <a:pt x="329" y="2252"/>
                  </a:lnTo>
                  <a:lnTo>
                    <a:pt x="329" y="2252"/>
                  </a:lnTo>
                  <a:lnTo>
                    <a:pt x="327" y="2252"/>
                  </a:lnTo>
                  <a:lnTo>
                    <a:pt x="327" y="2254"/>
                  </a:lnTo>
                  <a:lnTo>
                    <a:pt x="327" y="2254"/>
                  </a:lnTo>
                  <a:lnTo>
                    <a:pt x="324" y="2254"/>
                  </a:lnTo>
                  <a:lnTo>
                    <a:pt x="324" y="2254"/>
                  </a:lnTo>
                  <a:lnTo>
                    <a:pt x="324" y="2254"/>
                  </a:lnTo>
                  <a:lnTo>
                    <a:pt x="322" y="2254"/>
                  </a:lnTo>
                  <a:lnTo>
                    <a:pt x="322" y="2256"/>
                  </a:lnTo>
                  <a:lnTo>
                    <a:pt x="322" y="2256"/>
                  </a:lnTo>
                  <a:lnTo>
                    <a:pt x="322" y="2256"/>
                  </a:lnTo>
                  <a:lnTo>
                    <a:pt x="322" y="2256"/>
                  </a:lnTo>
                  <a:lnTo>
                    <a:pt x="322" y="2256"/>
                  </a:lnTo>
                  <a:lnTo>
                    <a:pt x="322" y="2259"/>
                  </a:lnTo>
                  <a:lnTo>
                    <a:pt x="322" y="2259"/>
                  </a:lnTo>
                  <a:lnTo>
                    <a:pt x="322" y="2259"/>
                  </a:lnTo>
                  <a:lnTo>
                    <a:pt x="322" y="2259"/>
                  </a:lnTo>
                  <a:lnTo>
                    <a:pt x="320" y="2261"/>
                  </a:lnTo>
                  <a:lnTo>
                    <a:pt x="320" y="2261"/>
                  </a:lnTo>
                  <a:lnTo>
                    <a:pt x="322" y="2261"/>
                  </a:lnTo>
                  <a:lnTo>
                    <a:pt x="322" y="2261"/>
                  </a:lnTo>
                  <a:lnTo>
                    <a:pt x="324" y="2261"/>
                  </a:lnTo>
                  <a:lnTo>
                    <a:pt x="324" y="2259"/>
                  </a:lnTo>
                  <a:lnTo>
                    <a:pt x="324" y="2259"/>
                  </a:lnTo>
                  <a:lnTo>
                    <a:pt x="324" y="2256"/>
                  </a:lnTo>
                  <a:lnTo>
                    <a:pt x="324" y="2256"/>
                  </a:lnTo>
                  <a:lnTo>
                    <a:pt x="327" y="2259"/>
                  </a:lnTo>
                  <a:lnTo>
                    <a:pt x="327" y="2259"/>
                  </a:lnTo>
                  <a:lnTo>
                    <a:pt x="327" y="2261"/>
                  </a:lnTo>
                  <a:lnTo>
                    <a:pt x="324" y="2261"/>
                  </a:lnTo>
                  <a:lnTo>
                    <a:pt x="324" y="2261"/>
                  </a:lnTo>
                  <a:lnTo>
                    <a:pt x="324" y="2261"/>
                  </a:lnTo>
                  <a:lnTo>
                    <a:pt x="324" y="2263"/>
                  </a:lnTo>
                  <a:lnTo>
                    <a:pt x="324" y="2263"/>
                  </a:lnTo>
                  <a:lnTo>
                    <a:pt x="327" y="2263"/>
                  </a:lnTo>
                  <a:lnTo>
                    <a:pt x="327" y="2263"/>
                  </a:lnTo>
                  <a:lnTo>
                    <a:pt x="329" y="2263"/>
                  </a:lnTo>
                  <a:lnTo>
                    <a:pt x="329" y="2263"/>
                  </a:lnTo>
                  <a:lnTo>
                    <a:pt x="329" y="2263"/>
                  </a:lnTo>
                  <a:lnTo>
                    <a:pt x="331" y="2263"/>
                  </a:lnTo>
                  <a:lnTo>
                    <a:pt x="331" y="2263"/>
                  </a:lnTo>
                  <a:lnTo>
                    <a:pt x="334" y="2261"/>
                  </a:lnTo>
                  <a:lnTo>
                    <a:pt x="334" y="2261"/>
                  </a:lnTo>
                  <a:lnTo>
                    <a:pt x="336" y="2259"/>
                  </a:lnTo>
                  <a:lnTo>
                    <a:pt x="336" y="2259"/>
                  </a:lnTo>
                  <a:lnTo>
                    <a:pt x="339" y="2261"/>
                  </a:lnTo>
                  <a:lnTo>
                    <a:pt x="341" y="2261"/>
                  </a:lnTo>
                  <a:lnTo>
                    <a:pt x="343" y="2259"/>
                  </a:lnTo>
                  <a:lnTo>
                    <a:pt x="346" y="2259"/>
                  </a:lnTo>
                  <a:lnTo>
                    <a:pt x="348" y="2259"/>
                  </a:lnTo>
                  <a:lnTo>
                    <a:pt x="348" y="2259"/>
                  </a:lnTo>
                  <a:lnTo>
                    <a:pt x="348" y="2259"/>
                  </a:lnTo>
                  <a:lnTo>
                    <a:pt x="346" y="2261"/>
                  </a:lnTo>
                  <a:lnTo>
                    <a:pt x="343" y="2261"/>
                  </a:lnTo>
                  <a:lnTo>
                    <a:pt x="343" y="2261"/>
                  </a:lnTo>
                  <a:lnTo>
                    <a:pt x="341" y="2261"/>
                  </a:lnTo>
                  <a:lnTo>
                    <a:pt x="341" y="2261"/>
                  </a:lnTo>
                  <a:lnTo>
                    <a:pt x="341" y="2261"/>
                  </a:lnTo>
                  <a:lnTo>
                    <a:pt x="341" y="2263"/>
                  </a:lnTo>
                  <a:lnTo>
                    <a:pt x="339" y="2261"/>
                  </a:lnTo>
                  <a:lnTo>
                    <a:pt x="339" y="2261"/>
                  </a:lnTo>
                  <a:lnTo>
                    <a:pt x="339" y="2261"/>
                  </a:lnTo>
                  <a:lnTo>
                    <a:pt x="336" y="2261"/>
                  </a:lnTo>
                  <a:lnTo>
                    <a:pt x="336" y="2261"/>
                  </a:lnTo>
                  <a:lnTo>
                    <a:pt x="334" y="2263"/>
                  </a:lnTo>
                  <a:lnTo>
                    <a:pt x="334" y="2263"/>
                  </a:lnTo>
                  <a:lnTo>
                    <a:pt x="334" y="2263"/>
                  </a:lnTo>
                  <a:lnTo>
                    <a:pt x="334" y="2263"/>
                  </a:lnTo>
                  <a:lnTo>
                    <a:pt x="334" y="2263"/>
                  </a:lnTo>
                  <a:lnTo>
                    <a:pt x="334" y="2263"/>
                  </a:lnTo>
                  <a:lnTo>
                    <a:pt x="334" y="2266"/>
                  </a:lnTo>
                  <a:lnTo>
                    <a:pt x="334" y="2266"/>
                  </a:lnTo>
                  <a:lnTo>
                    <a:pt x="334" y="2266"/>
                  </a:lnTo>
                  <a:lnTo>
                    <a:pt x="336" y="2266"/>
                  </a:lnTo>
                  <a:lnTo>
                    <a:pt x="336" y="2268"/>
                  </a:lnTo>
                  <a:lnTo>
                    <a:pt x="336" y="2268"/>
                  </a:lnTo>
                  <a:lnTo>
                    <a:pt x="336" y="2271"/>
                  </a:lnTo>
                  <a:lnTo>
                    <a:pt x="336" y="2271"/>
                  </a:lnTo>
                  <a:lnTo>
                    <a:pt x="336" y="2271"/>
                  </a:lnTo>
                  <a:lnTo>
                    <a:pt x="334" y="2271"/>
                  </a:lnTo>
                  <a:lnTo>
                    <a:pt x="334" y="2273"/>
                  </a:lnTo>
                  <a:lnTo>
                    <a:pt x="334" y="2273"/>
                  </a:lnTo>
                  <a:lnTo>
                    <a:pt x="334" y="2275"/>
                  </a:lnTo>
                  <a:lnTo>
                    <a:pt x="331" y="2275"/>
                  </a:lnTo>
                  <a:lnTo>
                    <a:pt x="331" y="2275"/>
                  </a:lnTo>
                  <a:lnTo>
                    <a:pt x="331" y="2275"/>
                  </a:lnTo>
                  <a:lnTo>
                    <a:pt x="331" y="2275"/>
                  </a:lnTo>
                  <a:lnTo>
                    <a:pt x="331" y="2275"/>
                  </a:lnTo>
                  <a:lnTo>
                    <a:pt x="331" y="2278"/>
                  </a:lnTo>
                  <a:lnTo>
                    <a:pt x="331" y="2278"/>
                  </a:lnTo>
                  <a:lnTo>
                    <a:pt x="331" y="2278"/>
                  </a:lnTo>
                  <a:lnTo>
                    <a:pt x="331" y="2278"/>
                  </a:lnTo>
                  <a:lnTo>
                    <a:pt x="331" y="2280"/>
                  </a:lnTo>
                  <a:lnTo>
                    <a:pt x="331" y="2280"/>
                  </a:lnTo>
                  <a:lnTo>
                    <a:pt x="329" y="2280"/>
                  </a:lnTo>
                  <a:lnTo>
                    <a:pt x="329" y="2280"/>
                  </a:lnTo>
                  <a:lnTo>
                    <a:pt x="329" y="2282"/>
                  </a:lnTo>
                  <a:lnTo>
                    <a:pt x="329" y="2282"/>
                  </a:lnTo>
                  <a:lnTo>
                    <a:pt x="329" y="2280"/>
                  </a:lnTo>
                  <a:lnTo>
                    <a:pt x="327" y="2280"/>
                  </a:lnTo>
                  <a:lnTo>
                    <a:pt x="327" y="2280"/>
                  </a:lnTo>
                  <a:lnTo>
                    <a:pt x="327" y="2278"/>
                  </a:lnTo>
                  <a:lnTo>
                    <a:pt x="327" y="2278"/>
                  </a:lnTo>
                  <a:lnTo>
                    <a:pt x="327" y="2278"/>
                  </a:lnTo>
                  <a:lnTo>
                    <a:pt x="327" y="2278"/>
                  </a:lnTo>
                  <a:lnTo>
                    <a:pt x="327" y="2282"/>
                  </a:lnTo>
                  <a:lnTo>
                    <a:pt x="329" y="2285"/>
                  </a:lnTo>
                  <a:lnTo>
                    <a:pt x="329" y="2285"/>
                  </a:lnTo>
                  <a:lnTo>
                    <a:pt x="329" y="2287"/>
                  </a:lnTo>
                  <a:lnTo>
                    <a:pt x="331" y="2287"/>
                  </a:lnTo>
                  <a:lnTo>
                    <a:pt x="331" y="2287"/>
                  </a:lnTo>
                  <a:lnTo>
                    <a:pt x="331" y="2287"/>
                  </a:lnTo>
                  <a:lnTo>
                    <a:pt x="331" y="2287"/>
                  </a:lnTo>
                  <a:lnTo>
                    <a:pt x="331" y="2289"/>
                  </a:lnTo>
                  <a:lnTo>
                    <a:pt x="334" y="2292"/>
                  </a:lnTo>
                  <a:lnTo>
                    <a:pt x="334" y="2292"/>
                  </a:lnTo>
                  <a:lnTo>
                    <a:pt x="334" y="2292"/>
                  </a:lnTo>
                  <a:lnTo>
                    <a:pt x="334" y="2294"/>
                  </a:lnTo>
                  <a:lnTo>
                    <a:pt x="334" y="2294"/>
                  </a:lnTo>
                  <a:lnTo>
                    <a:pt x="334" y="2294"/>
                  </a:lnTo>
                  <a:lnTo>
                    <a:pt x="336" y="2297"/>
                  </a:lnTo>
                  <a:lnTo>
                    <a:pt x="336" y="2297"/>
                  </a:lnTo>
                  <a:lnTo>
                    <a:pt x="339" y="2297"/>
                  </a:lnTo>
                  <a:lnTo>
                    <a:pt x="339" y="2297"/>
                  </a:lnTo>
                  <a:lnTo>
                    <a:pt x="341" y="2299"/>
                  </a:lnTo>
                  <a:lnTo>
                    <a:pt x="341" y="2299"/>
                  </a:lnTo>
                  <a:lnTo>
                    <a:pt x="341" y="2299"/>
                  </a:lnTo>
                  <a:lnTo>
                    <a:pt x="341" y="2297"/>
                  </a:lnTo>
                  <a:lnTo>
                    <a:pt x="343" y="2297"/>
                  </a:lnTo>
                  <a:lnTo>
                    <a:pt x="346" y="2297"/>
                  </a:lnTo>
                  <a:lnTo>
                    <a:pt x="346" y="2297"/>
                  </a:lnTo>
                  <a:lnTo>
                    <a:pt x="348" y="2297"/>
                  </a:lnTo>
                  <a:lnTo>
                    <a:pt x="348" y="2297"/>
                  </a:lnTo>
                  <a:lnTo>
                    <a:pt x="348" y="2297"/>
                  </a:lnTo>
                  <a:lnTo>
                    <a:pt x="348" y="2297"/>
                  </a:lnTo>
                  <a:lnTo>
                    <a:pt x="348" y="2294"/>
                  </a:lnTo>
                  <a:lnTo>
                    <a:pt x="350" y="2294"/>
                  </a:lnTo>
                  <a:lnTo>
                    <a:pt x="350" y="2294"/>
                  </a:lnTo>
                  <a:lnTo>
                    <a:pt x="350" y="2294"/>
                  </a:lnTo>
                  <a:lnTo>
                    <a:pt x="350" y="2294"/>
                  </a:lnTo>
                  <a:lnTo>
                    <a:pt x="350" y="2294"/>
                  </a:lnTo>
                  <a:lnTo>
                    <a:pt x="350" y="2292"/>
                  </a:lnTo>
                  <a:lnTo>
                    <a:pt x="350" y="2292"/>
                  </a:lnTo>
                  <a:lnTo>
                    <a:pt x="350" y="2292"/>
                  </a:lnTo>
                  <a:lnTo>
                    <a:pt x="350" y="2292"/>
                  </a:lnTo>
                  <a:lnTo>
                    <a:pt x="350" y="2292"/>
                  </a:lnTo>
                  <a:lnTo>
                    <a:pt x="350" y="2292"/>
                  </a:lnTo>
                  <a:lnTo>
                    <a:pt x="350" y="2294"/>
                  </a:lnTo>
                  <a:lnTo>
                    <a:pt x="350" y="2294"/>
                  </a:lnTo>
                  <a:lnTo>
                    <a:pt x="350" y="2294"/>
                  </a:lnTo>
                  <a:lnTo>
                    <a:pt x="350" y="2294"/>
                  </a:lnTo>
                  <a:lnTo>
                    <a:pt x="350" y="2294"/>
                  </a:lnTo>
                  <a:lnTo>
                    <a:pt x="350" y="2294"/>
                  </a:lnTo>
                  <a:lnTo>
                    <a:pt x="350" y="2294"/>
                  </a:lnTo>
                  <a:lnTo>
                    <a:pt x="350" y="2297"/>
                  </a:lnTo>
                  <a:lnTo>
                    <a:pt x="350" y="2297"/>
                  </a:lnTo>
                  <a:lnTo>
                    <a:pt x="350" y="2297"/>
                  </a:lnTo>
                  <a:lnTo>
                    <a:pt x="353" y="2297"/>
                  </a:lnTo>
                  <a:lnTo>
                    <a:pt x="353" y="2297"/>
                  </a:lnTo>
                  <a:lnTo>
                    <a:pt x="353" y="2297"/>
                  </a:lnTo>
                  <a:lnTo>
                    <a:pt x="353" y="2297"/>
                  </a:lnTo>
                  <a:lnTo>
                    <a:pt x="353" y="2297"/>
                  </a:lnTo>
                  <a:lnTo>
                    <a:pt x="353" y="2297"/>
                  </a:lnTo>
                  <a:lnTo>
                    <a:pt x="353" y="2297"/>
                  </a:lnTo>
                  <a:lnTo>
                    <a:pt x="355" y="2294"/>
                  </a:lnTo>
                  <a:lnTo>
                    <a:pt x="355" y="2294"/>
                  </a:lnTo>
                  <a:lnTo>
                    <a:pt x="355" y="2294"/>
                  </a:lnTo>
                  <a:lnTo>
                    <a:pt x="353" y="2292"/>
                  </a:lnTo>
                  <a:lnTo>
                    <a:pt x="353" y="2292"/>
                  </a:lnTo>
                  <a:lnTo>
                    <a:pt x="353" y="2292"/>
                  </a:lnTo>
                  <a:lnTo>
                    <a:pt x="353" y="2289"/>
                  </a:lnTo>
                  <a:lnTo>
                    <a:pt x="353" y="2289"/>
                  </a:lnTo>
                  <a:lnTo>
                    <a:pt x="353" y="2287"/>
                  </a:lnTo>
                  <a:lnTo>
                    <a:pt x="353" y="2287"/>
                  </a:lnTo>
                  <a:lnTo>
                    <a:pt x="355" y="2287"/>
                  </a:lnTo>
                  <a:lnTo>
                    <a:pt x="357" y="2285"/>
                  </a:lnTo>
                  <a:lnTo>
                    <a:pt x="360" y="2285"/>
                  </a:lnTo>
                  <a:lnTo>
                    <a:pt x="360" y="2285"/>
                  </a:lnTo>
                  <a:lnTo>
                    <a:pt x="360" y="2282"/>
                  </a:lnTo>
                  <a:lnTo>
                    <a:pt x="360" y="2282"/>
                  </a:lnTo>
                  <a:lnTo>
                    <a:pt x="360" y="2282"/>
                  </a:lnTo>
                  <a:lnTo>
                    <a:pt x="360" y="2282"/>
                  </a:lnTo>
                  <a:lnTo>
                    <a:pt x="360" y="2282"/>
                  </a:lnTo>
                  <a:lnTo>
                    <a:pt x="360" y="2280"/>
                  </a:lnTo>
                  <a:lnTo>
                    <a:pt x="360" y="2280"/>
                  </a:lnTo>
                  <a:lnTo>
                    <a:pt x="360" y="2280"/>
                  </a:lnTo>
                  <a:lnTo>
                    <a:pt x="357" y="2280"/>
                  </a:lnTo>
                  <a:lnTo>
                    <a:pt x="357" y="2278"/>
                  </a:lnTo>
                  <a:lnTo>
                    <a:pt x="357" y="2278"/>
                  </a:lnTo>
                  <a:lnTo>
                    <a:pt x="357" y="2278"/>
                  </a:lnTo>
                  <a:lnTo>
                    <a:pt x="355" y="2275"/>
                  </a:lnTo>
                  <a:lnTo>
                    <a:pt x="355" y="2275"/>
                  </a:lnTo>
                  <a:lnTo>
                    <a:pt x="357" y="2275"/>
                  </a:lnTo>
                  <a:lnTo>
                    <a:pt x="357" y="2278"/>
                  </a:lnTo>
                  <a:lnTo>
                    <a:pt x="360" y="2278"/>
                  </a:lnTo>
                  <a:lnTo>
                    <a:pt x="360" y="2280"/>
                  </a:lnTo>
                  <a:lnTo>
                    <a:pt x="362" y="2280"/>
                  </a:lnTo>
                  <a:lnTo>
                    <a:pt x="362" y="2282"/>
                  </a:lnTo>
                  <a:lnTo>
                    <a:pt x="362" y="2282"/>
                  </a:lnTo>
                  <a:lnTo>
                    <a:pt x="362" y="2285"/>
                  </a:lnTo>
                  <a:lnTo>
                    <a:pt x="362" y="2285"/>
                  </a:lnTo>
                  <a:lnTo>
                    <a:pt x="360" y="2287"/>
                  </a:lnTo>
                  <a:lnTo>
                    <a:pt x="360" y="2287"/>
                  </a:lnTo>
                  <a:lnTo>
                    <a:pt x="357" y="2287"/>
                  </a:lnTo>
                  <a:lnTo>
                    <a:pt x="357" y="2287"/>
                  </a:lnTo>
                  <a:lnTo>
                    <a:pt x="357" y="2287"/>
                  </a:lnTo>
                  <a:lnTo>
                    <a:pt x="355" y="2287"/>
                  </a:lnTo>
                  <a:lnTo>
                    <a:pt x="355" y="2287"/>
                  </a:lnTo>
                  <a:lnTo>
                    <a:pt x="355" y="2289"/>
                  </a:lnTo>
                  <a:lnTo>
                    <a:pt x="355" y="2289"/>
                  </a:lnTo>
                  <a:lnTo>
                    <a:pt x="355" y="2292"/>
                  </a:lnTo>
                  <a:lnTo>
                    <a:pt x="355" y="2292"/>
                  </a:lnTo>
                  <a:lnTo>
                    <a:pt x="355" y="2292"/>
                  </a:lnTo>
                  <a:lnTo>
                    <a:pt x="355" y="2294"/>
                  </a:lnTo>
                  <a:lnTo>
                    <a:pt x="355" y="2294"/>
                  </a:lnTo>
                  <a:lnTo>
                    <a:pt x="355" y="2297"/>
                  </a:lnTo>
                  <a:lnTo>
                    <a:pt x="355" y="2297"/>
                  </a:lnTo>
                  <a:lnTo>
                    <a:pt x="353" y="2299"/>
                  </a:lnTo>
                  <a:lnTo>
                    <a:pt x="353" y="2299"/>
                  </a:lnTo>
                  <a:lnTo>
                    <a:pt x="353" y="2299"/>
                  </a:lnTo>
                  <a:lnTo>
                    <a:pt x="353" y="2301"/>
                  </a:lnTo>
                  <a:lnTo>
                    <a:pt x="355" y="2301"/>
                  </a:lnTo>
                  <a:lnTo>
                    <a:pt x="355" y="2306"/>
                  </a:lnTo>
                  <a:lnTo>
                    <a:pt x="355" y="2306"/>
                  </a:lnTo>
                  <a:lnTo>
                    <a:pt x="355" y="2306"/>
                  </a:lnTo>
                  <a:lnTo>
                    <a:pt x="355" y="2308"/>
                  </a:lnTo>
                  <a:lnTo>
                    <a:pt x="360" y="2308"/>
                  </a:lnTo>
                  <a:lnTo>
                    <a:pt x="365" y="2306"/>
                  </a:lnTo>
                  <a:lnTo>
                    <a:pt x="365" y="2308"/>
                  </a:lnTo>
                  <a:lnTo>
                    <a:pt x="362" y="2308"/>
                  </a:lnTo>
                  <a:lnTo>
                    <a:pt x="362" y="2308"/>
                  </a:lnTo>
                  <a:lnTo>
                    <a:pt x="360" y="2308"/>
                  </a:lnTo>
                  <a:lnTo>
                    <a:pt x="360" y="2308"/>
                  </a:lnTo>
                  <a:lnTo>
                    <a:pt x="360" y="2308"/>
                  </a:lnTo>
                  <a:lnTo>
                    <a:pt x="357" y="2308"/>
                  </a:lnTo>
                  <a:lnTo>
                    <a:pt x="357" y="2308"/>
                  </a:lnTo>
                  <a:lnTo>
                    <a:pt x="357" y="2308"/>
                  </a:lnTo>
                  <a:lnTo>
                    <a:pt x="355" y="2311"/>
                  </a:lnTo>
                  <a:lnTo>
                    <a:pt x="355" y="2311"/>
                  </a:lnTo>
                  <a:lnTo>
                    <a:pt x="355" y="2313"/>
                  </a:lnTo>
                  <a:lnTo>
                    <a:pt x="357" y="2313"/>
                  </a:lnTo>
                  <a:lnTo>
                    <a:pt x="355" y="2313"/>
                  </a:lnTo>
                  <a:lnTo>
                    <a:pt x="355" y="2315"/>
                  </a:lnTo>
                  <a:lnTo>
                    <a:pt x="355" y="2315"/>
                  </a:lnTo>
                  <a:lnTo>
                    <a:pt x="355" y="2313"/>
                  </a:lnTo>
                  <a:lnTo>
                    <a:pt x="355" y="2313"/>
                  </a:lnTo>
                  <a:lnTo>
                    <a:pt x="355" y="2311"/>
                  </a:lnTo>
                  <a:lnTo>
                    <a:pt x="355" y="2311"/>
                  </a:lnTo>
                  <a:lnTo>
                    <a:pt x="355" y="2311"/>
                  </a:lnTo>
                  <a:lnTo>
                    <a:pt x="355" y="2308"/>
                  </a:lnTo>
                  <a:lnTo>
                    <a:pt x="355" y="2308"/>
                  </a:lnTo>
                  <a:lnTo>
                    <a:pt x="353" y="2306"/>
                  </a:lnTo>
                  <a:lnTo>
                    <a:pt x="353" y="2304"/>
                  </a:lnTo>
                  <a:lnTo>
                    <a:pt x="353" y="2301"/>
                  </a:lnTo>
                  <a:lnTo>
                    <a:pt x="353" y="2301"/>
                  </a:lnTo>
                  <a:lnTo>
                    <a:pt x="353" y="2301"/>
                  </a:lnTo>
                  <a:lnTo>
                    <a:pt x="353" y="2301"/>
                  </a:lnTo>
                  <a:lnTo>
                    <a:pt x="350" y="2301"/>
                  </a:lnTo>
                  <a:lnTo>
                    <a:pt x="350" y="2301"/>
                  </a:lnTo>
                  <a:lnTo>
                    <a:pt x="350" y="2301"/>
                  </a:lnTo>
                  <a:lnTo>
                    <a:pt x="348" y="2301"/>
                  </a:lnTo>
                  <a:lnTo>
                    <a:pt x="348" y="2304"/>
                  </a:lnTo>
                  <a:lnTo>
                    <a:pt x="348" y="2304"/>
                  </a:lnTo>
                  <a:lnTo>
                    <a:pt x="348" y="2304"/>
                  </a:lnTo>
                  <a:lnTo>
                    <a:pt x="348" y="2304"/>
                  </a:lnTo>
                  <a:lnTo>
                    <a:pt x="348" y="2306"/>
                  </a:lnTo>
                  <a:lnTo>
                    <a:pt x="348" y="2306"/>
                  </a:lnTo>
                  <a:lnTo>
                    <a:pt x="348" y="2306"/>
                  </a:lnTo>
                  <a:lnTo>
                    <a:pt x="348" y="2308"/>
                  </a:lnTo>
                  <a:lnTo>
                    <a:pt x="348" y="2308"/>
                  </a:lnTo>
                  <a:lnTo>
                    <a:pt x="348" y="2311"/>
                  </a:lnTo>
                  <a:lnTo>
                    <a:pt x="348" y="2311"/>
                  </a:lnTo>
                  <a:lnTo>
                    <a:pt x="348" y="2313"/>
                  </a:lnTo>
                  <a:lnTo>
                    <a:pt x="348" y="2313"/>
                  </a:lnTo>
                  <a:lnTo>
                    <a:pt x="350" y="2313"/>
                  </a:lnTo>
                  <a:lnTo>
                    <a:pt x="350" y="2313"/>
                  </a:lnTo>
                  <a:lnTo>
                    <a:pt x="350" y="2313"/>
                  </a:lnTo>
                  <a:lnTo>
                    <a:pt x="350" y="2313"/>
                  </a:lnTo>
                  <a:lnTo>
                    <a:pt x="350" y="2315"/>
                  </a:lnTo>
                  <a:lnTo>
                    <a:pt x="350" y="2315"/>
                  </a:lnTo>
                  <a:lnTo>
                    <a:pt x="350" y="2315"/>
                  </a:lnTo>
                  <a:lnTo>
                    <a:pt x="353" y="2315"/>
                  </a:lnTo>
                  <a:lnTo>
                    <a:pt x="353" y="2315"/>
                  </a:lnTo>
                  <a:lnTo>
                    <a:pt x="355" y="2318"/>
                  </a:lnTo>
                  <a:lnTo>
                    <a:pt x="362" y="2323"/>
                  </a:lnTo>
                  <a:lnTo>
                    <a:pt x="362" y="2323"/>
                  </a:lnTo>
                  <a:lnTo>
                    <a:pt x="362" y="2323"/>
                  </a:lnTo>
                  <a:lnTo>
                    <a:pt x="362" y="2323"/>
                  </a:lnTo>
                  <a:lnTo>
                    <a:pt x="365" y="2323"/>
                  </a:lnTo>
                  <a:lnTo>
                    <a:pt x="365" y="2320"/>
                  </a:lnTo>
                  <a:lnTo>
                    <a:pt x="365" y="2318"/>
                  </a:lnTo>
                  <a:lnTo>
                    <a:pt x="365" y="2318"/>
                  </a:lnTo>
                  <a:lnTo>
                    <a:pt x="365" y="2318"/>
                  </a:lnTo>
                  <a:lnTo>
                    <a:pt x="365" y="2315"/>
                  </a:lnTo>
                  <a:lnTo>
                    <a:pt x="367" y="2315"/>
                  </a:lnTo>
                  <a:lnTo>
                    <a:pt x="367" y="2315"/>
                  </a:lnTo>
                  <a:lnTo>
                    <a:pt x="367" y="2315"/>
                  </a:lnTo>
                  <a:lnTo>
                    <a:pt x="369" y="2315"/>
                  </a:lnTo>
                  <a:lnTo>
                    <a:pt x="369" y="2315"/>
                  </a:lnTo>
                  <a:lnTo>
                    <a:pt x="369" y="2315"/>
                  </a:lnTo>
                  <a:lnTo>
                    <a:pt x="369" y="2315"/>
                  </a:lnTo>
                  <a:lnTo>
                    <a:pt x="369" y="2315"/>
                  </a:lnTo>
                  <a:lnTo>
                    <a:pt x="372" y="2313"/>
                  </a:lnTo>
                  <a:lnTo>
                    <a:pt x="372" y="2313"/>
                  </a:lnTo>
                  <a:lnTo>
                    <a:pt x="372" y="2313"/>
                  </a:lnTo>
                  <a:lnTo>
                    <a:pt x="372" y="2315"/>
                  </a:lnTo>
                  <a:lnTo>
                    <a:pt x="374" y="2313"/>
                  </a:lnTo>
                  <a:lnTo>
                    <a:pt x="374" y="2313"/>
                  </a:lnTo>
                  <a:lnTo>
                    <a:pt x="374" y="2313"/>
                  </a:lnTo>
                  <a:lnTo>
                    <a:pt x="374" y="2313"/>
                  </a:lnTo>
                  <a:lnTo>
                    <a:pt x="374" y="2313"/>
                  </a:lnTo>
                  <a:lnTo>
                    <a:pt x="374" y="2311"/>
                  </a:lnTo>
                  <a:lnTo>
                    <a:pt x="374" y="2311"/>
                  </a:lnTo>
                  <a:lnTo>
                    <a:pt x="376" y="2311"/>
                  </a:lnTo>
                  <a:lnTo>
                    <a:pt x="376" y="2311"/>
                  </a:lnTo>
                  <a:lnTo>
                    <a:pt x="376" y="2311"/>
                  </a:lnTo>
                  <a:lnTo>
                    <a:pt x="376" y="2311"/>
                  </a:lnTo>
                  <a:lnTo>
                    <a:pt x="376" y="2308"/>
                  </a:lnTo>
                  <a:lnTo>
                    <a:pt x="379" y="2308"/>
                  </a:lnTo>
                  <a:lnTo>
                    <a:pt x="379" y="2308"/>
                  </a:lnTo>
                  <a:lnTo>
                    <a:pt x="379" y="2311"/>
                  </a:lnTo>
                  <a:lnTo>
                    <a:pt x="376" y="2311"/>
                  </a:lnTo>
                  <a:lnTo>
                    <a:pt x="376" y="2313"/>
                  </a:lnTo>
                  <a:lnTo>
                    <a:pt x="376" y="2313"/>
                  </a:lnTo>
                  <a:lnTo>
                    <a:pt x="376" y="2313"/>
                  </a:lnTo>
                  <a:lnTo>
                    <a:pt x="374" y="2313"/>
                  </a:lnTo>
                  <a:lnTo>
                    <a:pt x="374" y="2313"/>
                  </a:lnTo>
                  <a:lnTo>
                    <a:pt x="374" y="2313"/>
                  </a:lnTo>
                  <a:lnTo>
                    <a:pt x="374" y="2313"/>
                  </a:lnTo>
                  <a:lnTo>
                    <a:pt x="374" y="2313"/>
                  </a:lnTo>
                  <a:lnTo>
                    <a:pt x="374" y="2315"/>
                  </a:lnTo>
                  <a:lnTo>
                    <a:pt x="374" y="2315"/>
                  </a:lnTo>
                  <a:lnTo>
                    <a:pt x="374" y="2318"/>
                  </a:lnTo>
                  <a:lnTo>
                    <a:pt x="374" y="2318"/>
                  </a:lnTo>
                  <a:lnTo>
                    <a:pt x="372" y="2323"/>
                  </a:lnTo>
                  <a:lnTo>
                    <a:pt x="372" y="2323"/>
                  </a:lnTo>
                  <a:lnTo>
                    <a:pt x="372" y="2323"/>
                  </a:lnTo>
                  <a:lnTo>
                    <a:pt x="372" y="2325"/>
                  </a:lnTo>
                  <a:lnTo>
                    <a:pt x="372" y="2325"/>
                  </a:lnTo>
                  <a:lnTo>
                    <a:pt x="369" y="2325"/>
                  </a:lnTo>
                  <a:lnTo>
                    <a:pt x="369" y="2325"/>
                  </a:lnTo>
                  <a:lnTo>
                    <a:pt x="369" y="2327"/>
                  </a:lnTo>
                  <a:lnTo>
                    <a:pt x="372" y="2327"/>
                  </a:lnTo>
                  <a:lnTo>
                    <a:pt x="372" y="2327"/>
                  </a:lnTo>
                  <a:lnTo>
                    <a:pt x="372" y="2327"/>
                  </a:lnTo>
                  <a:lnTo>
                    <a:pt x="379" y="2330"/>
                  </a:lnTo>
                  <a:lnTo>
                    <a:pt x="381" y="2330"/>
                  </a:lnTo>
                  <a:lnTo>
                    <a:pt x="383" y="2327"/>
                  </a:lnTo>
                  <a:lnTo>
                    <a:pt x="386" y="2325"/>
                  </a:lnTo>
                  <a:lnTo>
                    <a:pt x="386" y="2325"/>
                  </a:lnTo>
                  <a:lnTo>
                    <a:pt x="386" y="2325"/>
                  </a:lnTo>
                  <a:lnTo>
                    <a:pt x="386" y="2325"/>
                  </a:lnTo>
                  <a:lnTo>
                    <a:pt x="386" y="2325"/>
                  </a:lnTo>
                  <a:lnTo>
                    <a:pt x="386" y="2325"/>
                  </a:lnTo>
                  <a:lnTo>
                    <a:pt x="386" y="2325"/>
                  </a:lnTo>
                  <a:lnTo>
                    <a:pt x="386" y="2327"/>
                  </a:lnTo>
                  <a:lnTo>
                    <a:pt x="383" y="2330"/>
                  </a:lnTo>
                  <a:lnTo>
                    <a:pt x="381" y="2332"/>
                  </a:lnTo>
                  <a:lnTo>
                    <a:pt x="381" y="2332"/>
                  </a:lnTo>
                  <a:lnTo>
                    <a:pt x="379" y="2332"/>
                  </a:lnTo>
                  <a:lnTo>
                    <a:pt x="379" y="2332"/>
                  </a:lnTo>
                  <a:lnTo>
                    <a:pt x="379" y="2332"/>
                  </a:lnTo>
                  <a:lnTo>
                    <a:pt x="376" y="2332"/>
                  </a:lnTo>
                  <a:lnTo>
                    <a:pt x="376" y="2332"/>
                  </a:lnTo>
                  <a:lnTo>
                    <a:pt x="376" y="2332"/>
                  </a:lnTo>
                  <a:lnTo>
                    <a:pt x="376" y="2332"/>
                  </a:lnTo>
                  <a:lnTo>
                    <a:pt x="376" y="2332"/>
                  </a:lnTo>
                  <a:lnTo>
                    <a:pt x="374" y="2330"/>
                  </a:lnTo>
                  <a:lnTo>
                    <a:pt x="374" y="2330"/>
                  </a:lnTo>
                  <a:lnTo>
                    <a:pt x="374" y="2330"/>
                  </a:lnTo>
                  <a:lnTo>
                    <a:pt x="374" y="2330"/>
                  </a:lnTo>
                  <a:lnTo>
                    <a:pt x="374" y="2330"/>
                  </a:lnTo>
                  <a:lnTo>
                    <a:pt x="374" y="2332"/>
                  </a:lnTo>
                  <a:lnTo>
                    <a:pt x="374" y="2332"/>
                  </a:lnTo>
                  <a:lnTo>
                    <a:pt x="372" y="2330"/>
                  </a:lnTo>
                  <a:lnTo>
                    <a:pt x="372" y="2330"/>
                  </a:lnTo>
                  <a:lnTo>
                    <a:pt x="372" y="2332"/>
                  </a:lnTo>
                  <a:lnTo>
                    <a:pt x="372" y="2332"/>
                  </a:lnTo>
                  <a:lnTo>
                    <a:pt x="372" y="2334"/>
                  </a:lnTo>
                  <a:lnTo>
                    <a:pt x="374" y="2334"/>
                  </a:lnTo>
                  <a:lnTo>
                    <a:pt x="374" y="2337"/>
                  </a:lnTo>
                  <a:lnTo>
                    <a:pt x="374" y="2334"/>
                  </a:lnTo>
                  <a:lnTo>
                    <a:pt x="372" y="2334"/>
                  </a:lnTo>
                  <a:lnTo>
                    <a:pt x="372" y="2334"/>
                  </a:lnTo>
                  <a:lnTo>
                    <a:pt x="372" y="2334"/>
                  </a:lnTo>
                  <a:lnTo>
                    <a:pt x="372" y="2337"/>
                  </a:lnTo>
                  <a:lnTo>
                    <a:pt x="369" y="2339"/>
                  </a:lnTo>
                  <a:lnTo>
                    <a:pt x="369" y="2339"/>
                  </a:lnTo>
                  <a:lnTo>
                    <a:pt x="372" y="2339"/>
                  </a:lnTo>
                  <a:lnTo>
                    <a:pt x="374" y="2339"/>
                  </a:lnTo>
                  <a:lnTo>
                    <a:pt x="374" y="2339"/>
                  </a:lnTo>
                  <a:lnTo>
                    <a:pt x="376" y="2339"/>
                  </a:lnTo>
                  <a:lnTo>
                    <a:pt x="376" y="2339"/>
                  </a:lnTo>
                  <a:lnTo>
                    <a:pt x="374" y="2342"/>
                  </a:lnTo>
                  <a:lnTo>
                    <a:pt x="372" y="2342"/>
                  </a:lnTo>
                  <a:lnTo>
                    <a:pt x="372" y="2342"/>
                  </a:lnTo>
                  <a:lnTo>
                    <a:pt x="372" y="2344"/>
                  </a:lnTo>
                  <a:lnTo>
                    <a:pt x="372" y="2344"/>
                  </a:lnTo>
                  <a:lnTo>
                    <a:pt x="372" y="2344"/>
                  </a:lnTo>
                  <a:lnTo>
                    <a:pt x="372" y="2344"/>
                  </a:lnTo>
                  <a:lnTo>
                    <a:pt x="374" y="2346"/>
                  </a:lnTo>
                  <a:lnTo>
                    <a:pt x="372" y="2346"/>
                  </a:lnTo>
                  <a:lnTo>
                    <a:pt x="374" y="2346"/>
                  </a:lnTo>
                  <a:lnTo>
                    <a:pt x="374" y="2346"/>
                  </a:lnTo>
                  <a:lnTo>
                    <a:pt x="374" y="2346"/>
                  </a:lnTo>
                  <a:lnTo>
                    <a:pt x="374" y="2346"/>
                  </a:lnTo>
                  <a:lnTo>
                    <a:pt x="374" y="2344"/>
                  </a:lnTo>
                  <a:lnTo>
                    <a:pt x="376" y="2344"/>
                  </a:lnTo>
                  <a:lnTo>
                    <a:pt x="379" y="2344"/>
                  </a:lnTo>
                  <a:lnTo>
                    <a:pt x="379" y="2344"/>
                  </a:lnTo>
                  <a:lnTo>
                    <a:pt x="381" y="2344"/>
                  </a:lnTo>
                  <a:lnTo>
                    <a:pt x="381" y="2344"/>
                  </a:lnTo>
                  <a:lnTo>
                    <a:pt x="381" y="2344"/>
                  </a:lnTo>
                  <a:lnTo>
                    <a:pt x="381" y="2344"/>
                  </a:lnTo>
                  <a:lnTo>
                    <a:pt x="381" y="2344"/>
                  </a:lnTo>
                  <a:lnTo>
                    <a:pt x="381" y="2346"/>
                  </a:lnTo>
                  <a:lnTo>
                    <a:pt x="381" y="2346"/>
                  </a:lnTo>
                  <a:lnTo>
                    <a:pt x="381" y="2349"/>
                  </a:lnTo>
                  <a:lnTo>
                    <a:pt x="383" y="2349"/>
                  </a:lnTo>
                  <a:lnTo>
                    <a:pt x="383" y="2349"/>
                  </a:lnTo>
                  <a:lnTo>
                    <a:pt x="383" y="2349"/>
                  </a:lnTo>
                  <a:lnTo>
                    <a:pt x="383" y="2349"/>
                  </a:lnTo>
                  <a:lnTo>
                    <a:pt x="388" y="2349"/>
                  </a:lnTo>
                  <a:lnTo>
                    <a:pt x="395" y="2351"/>
                  </a:lnTo>
                  <a:lnTo>
                    <a:pt x="402" y="2353"/>
                  </a:lnTo>
                  <a:lnTo>
                    <a:pt x="410" y="2353"/>
                  </a:lnTo>
                  <a:lnTo>
                    <a:pt x="419" y="2356"/>
                  </a:lnTo>
                  <a:lnTo>
                    <a:pt x="426" y="2358"/>
                  </a:lnTo>
                  <a:lnTo>
                    <a:pt x="433" y="2358"/>
                  </a:lnTo>
                  <a:lnTo>
                    <a:pt x="440" y="2360"/>
                  </a:lnTo>
                  <a:lnTo>
                    <a:pt x="447" y="2363"/>
                  </a:lnTo>
                  <a:lnTo>
                    <a:pt x="457" y="2363"/>
                  </a:lnTo>
                  <a:lnTo>
                    <a:pt x="464" y="2365"/>
                  </a:lnTo>
                  <a:lnTo>
                    <a:pt x="471" y="2365"/>
                  </a:lnTo>
                  <a:lnTo>
                    <a:pt x="478" y="2368"/>
                  </a:lnTo>
                  <a:lnTo>
                    <a:pt x="485" y="2370"/>
                  </a:lnTo>
                  <a:lnTo>
                    <a:pt x="495" y="2370"/>
                  </a:lnTo>
                  <a:lnTo>
                    <a:pt x="502" y="2372"/>
                  </a:lnTo>
                  <a:lnTo>
                    <a:pt x="509" y="2372"/>
                  </a:lnTo>
                  <a:lnTo>
                    <a:pt x="516" y="2375"/>
                  </a:lnTo>
                  <a:lnTo>
                    <a:pt x="525" y="2375"/>
                  </a:lnTo>
                  <a:lnTo>
                    <a:pt x="533" y="2377"/>
                  </a:lnTo>
                  <a:lnTo>
                    <a:pt x="540" y="2379"/>
                  </a:lnTo>
                  <a:lnTo>
                    <a:pt x="547" y="2379"/>
                  </a:lnTo>
                  <a:lnTo>
                    <a:pt x="554" y="2382"/>
                  </a:lnTo>
                  <a:lnTo>
                    <a:pt x="563" y="2382"/>
                  </a:lnTo>
                  <a:lnTo>
                    <a:pt x="570" y="2384"/>
                  </a:lnTo>
                  <a:lnTo>
                    <a:pt x="578" y="2384"/>
                  </a:lnTo>
                  <a:lnTo>
                    <a:pt x="582" y="2384"/>
                  </a:lnTo>
                  <a:lnTo>
                    <a:pt x="585" y="2386"/>
                  </a:lnTo>
                  <a:lnTo>
                    <a:pt x="594" y="2386"/>
                  </a:lnTo>
                  <a:lnTo>
                    <a:pt x="601" y="2389"/>
                  </a:lnTo>
                  <a:lnTo>
                    <a:pt x="608" y="2389"/>
                  </a:lnTo>
                  <a:lnTo>
                    <a:pt x="615" y="2391"/>
                  </a:lnTo>
                  <a:lnTo>
                    <a:pt x="615" y="2391"/>
                  </a:lnTo>
                  <a:lnTo>
                    <a:pt x="622" y="2391"/>
                  </a:lnTo>
                  <a:lnTo>
                    <a:pt x="632" y="2394"/>
                  </a:lnTo>
                  <a:lnTo>
                    <a:pt x="639" y="2394"/>
                  </a:lnTo>
                  <a:lnTo>
                    <a:pt x="646" y="2394"/>
                  </a:lnTo>
                  <a:lnTo>
                    <a:pt x="653" y="2396"/>
                  </a:lnTo>
                  <a:lnTo>
                    <a:pt x="663" y="2396"/>
                  </a:lnTo>
                  <a:lnTo>
                    <a:pt x="670" y="2398"/>
                  </a:lnTo>
                  <a:lnTo>
                    <a:pt x="677" y="2398"/>
                  </a:lnTo>
                  <a:lnTo>
                    <a:pt x="684" y="2401"/>
                  </a:lnTo>
                  <a:lnTo>
                    <a:pt x="686" y="2401"/>
                  </a:lnTo>
                  <a:lnTo>
                    <a:pt x="693" y="2401"/>
                  </a:lnTo>
                  <a:lnTo>
                    <a:pt x="701" y="2401"/>
                  </a:lnTo>
                  <a:lnTo>
                    <a:pt x="708" y="2403"/>
                  </a:lnTo>
                  <a:lnTo>
                    <a:pt x="715" y="2403"/>
                  </a:lnTo>
                  <a:lnTo>
                    <a:pt x="724" y="2405"/>
                  </a:lnTo>
                  <a:lnTo>
                    <a:pt x="731" y="2405"/>
                  </a:lnTo>
                  <a:lnTo>
                    <a:pt x="738" y="2405"/>
                  </a:lnTo>
                  <a:lnTo>
                    <a:pt x="746" y="2408"/>
                  </a:lnTo>
                  <a:lnTo>
                    <a:pt x="755" y="2408"/>
                  </a:lnTo>
                  <a:lnTo>
                    <a:pt x="762" y="2408"/>
                  </a:lnTo>
                  <a:lnTo>
                    <a:pt x="769" y="2410"/>
                  </a:lnTo>
                  <a:lnTo>
                    <a:pt x="776" y="2410"/>
                  </a:lnTo>
                  <a:lnTo>
                    <a:pt x="783" y="2410"/>
                  </a:lnTo>
                  <a:lnTo>
                    <a:pt x="793" y="2412"/>
                  </a:lnTo>
                  <a:lnTo>
                    <a:pt x="800" y="2412"/>
                  </a:lnTo>
                  <a:lnTo>
                    <a:pt x="807" y="2412"/>
                  </a:lnTo>
                  <a:lnTo>
                    <a:pt x="814" y="2415"/>
                  </a:lnTo>
                  <a:lnTo>
                    <a:pt x="824" y="2415"/>
                  </a:lnTo>
                  <a:lnTo>
                    <a:pt x="828" y="2415"/>
                  </a:lnTo>
                  <a:lnTo>
                    <a:pt x="831" y="2415"/>
                  </a:lnTo>
                  <a:lnTo>
                    <a:pt x="838" y="2417"/>
                  </a:lnTo>
                  <a:lnTo>
                    <a:pt x="845" y="2417"/>
                  </a:lnTo>
                  <a:lnTo>
                    <a:pt x="854" y="2417"/>
                  </a:lnTo>
                  <a:lnTo>
                    <a:pt x="861" y="2417"/>
                  </a:lnTo>
                  <a:lnTo>
                    <a:pt x="869" y="2420"/>
                  </a:lnTo>
                  <a:lnTo>
                    <a:pt x="878" y="2420"/>
                  </a:lnTo>
                  <a:lnTo>
                    <a:pt x="885" y="2420"/>
                  </a:lnTo>
                  <a:lnTo>
                    <a:pt x="892" y="2420"/>
                  </a:lnTo>
                  <a:lnTo>
                    <a:pt x="899" y="2422"/>
                  </a:lnTo>
                  <a:lnTo>
                    <a:pt x="909" y="2422"/>
                  </a:lnTo>
                  <a:lnTo>
                    <a:pt x="916" y="2422"/>
                  </a:lnTo>
                  <a:lnTo>
                    <a:pt x="923" y="2422"/>
                  </a:lnTo>
                  <a:lnTo>
                    <a:pt x="930" y="2424"/>
                  </a:lnTo>
                  <a:lnTo>
                    <a:pt x="940" y="2424"/>
                  </a:lnTo>
                  <a:lnTo>
                    <a:pt x="947" y="2424"/>
                  </a:lnTo>
                  <a:lnTo>
                    <a:pt x="954" y="2424"/>
                  </a:lnTo>
                  <a:lnTo>
                    <a:pt x="961" y="2424"/>
                  </a:lnTo>
                  <a:lnTo>
                    <a:pt x="970" y="2427"/>
                  </a:lnTo>
                  <a:lnTo>
                    <a:pt x="977" y="2427"/>
                  </a:lnTo>
                  <a:lnTo>
                    <a:pt x="985" y="2427"/>
                  </a:lnTo>
                  <a:lnTo>
                    <a:pt x="992" y="2427"/>
                  </a:lnTo>
                  <a:lnTo>
                    <a:pt x="1001" y="2427"/>
                  </a:lnTo>
                  <a:lnTo>
                    <a:pt x="1008" y="2427"/>
                  </a:lnTo>
                  <a:lnTo>
                    <a:pt x="1015" y="2427"/>
                  </a:lnTo>
                  <a:lnTo>
                    <a:pt x="1022" y="2429"/>
                  </a:lnTo>
                  <a:lnTo>
                    <a:pt x="1032" y="2429"/>
                  </a:lnTo>
                  <a:lnTo>
                    <a:pt x="1037" y="2429"/>
                  </a:lnTo>
                  <a:lnTo>
                    <a:pt x="1039" y="2429"/>
                  </a:lnTo>
                  <a:lnTo>
                    <a:pt x="1046" y="2429"/>
                  </a:lnTo>
                  <a:lnTo>
                    <a:pt x="1053" y="2429"/>
                  </a:lnTo>
                  <a:lnTo>
                    <a:pt x="1063" y="2429"/>
                  </a:lnTo>
                  <a:lnTo>
                    <a:pt x="1070" y="2429"/>
                  </a:lnTo>
                  <a:lnTo>
                    <a:pt x="1077" y="2429"/>
                  </a:lnTo>
                  <a:lnTo>
                    <a:pt x="1086" y="2429"/>
                  </a:lnTo>
                  <a:lnTo>
                    <a:pt x="1093" y="2429"/>
                  </a:lnTo>
                  <a:lnTo>
                    <a:pt x="1101" y="2431"/>
                  </a:lnTo>
                  <a:lnTo>
                    <a:pt x="1108" y="2431"/>
                  </a:lnTo>
                  <a:lnTo>
                    <a:pt x="1117" y="2431"/>
                  </a:lnTo>
                  <a:lnTo>
                    <a:pt x="1124" y="2431"/>
                  </a:lnTo>
                  <a:lnTo>
                    <a:pt x="1131" y="2431"/>
                  </a:lnTo>
                  <a:lnTo>
                    <a:pt x="1131" y="2431"/>
                  </a:lnTo>
                  <a:lnTo>
                    <a:pt x="1138" y="2431"/>
                  </a:lnTo>
                  <a:lnTo>
                    <a:pt x="1148" y="2431"/>
                  </a:lnTo>
                  <a:lnTo>
                    <a:pt x="1155" y="2431"/>
                  </a:lnTo>
                  <a:lnTo>
                    <a:pt x="1162" y="2431"/>
                  </a:lnTo>
                  <a:lnTo>
                    <a:pt x="1169" y="2431"/>
                  </a:lnTo>
                  <a:lnTo>
                    <a:pt x="1179" y="2431"/>
                  </a:lnTo>
                  <a:lnTo>
                    <a:pt x="1186" y="2431"/>
                  </a:lnTo>
                  <a:lnTo>
                    <a:pt x="1193" y="2431"/>
                  </a:lnTo>
                  <a:lnTo>
                    <a:pt x="1200" y="2431"/>
                  </a:lnTo>
                  <a:lnTo>
                    <a:pt x="1209" y="2431"/>
                  </a:lnTo>
                  <a:lnTo>
                    <a:pt x="1216" y="2431"/>
                  </a:lnTo>
                  <a:lnTo>
                    <a:pt x="1224" y="2431"/>
                  </a:lnTo>
                  <a:lnTo>
                    <a:pt x="1233" y="2431"/>
                  </a:lnTo>
                  <a:lnTo>
                    <a:pt x="1240" y="2431"/>
                  </a:lnTo>
                  <a:lnTo>
                    <a:pt x="1247" y="2431"/>
                  </a:lnTo>
                  <a:lnTo>
                    <a:pt x="1254" y="2431"/>
                  </a:lnTo>
                  <a:lnTo>
                    <a:pt x="1264" y="2429"/>
                  </a:lnTo>
                  <a:lnTo>
                    <a:pt x="1271" y="2429"/>
                  </a:lnTo>
                  <a:lnTo>
                    <a:pt x="1276" y="2429"/>
                  </a:lnTo>
                  <a:lnTo>
                    <a:pt x="1278" y="2429"/>
                  </a:lnTo>
                  <a:lnTo>
                    <a:pt x="1285" y="2429"/>
                  </a:lnTo>
                  <a:lnTo>
                    <a:pt x="1295" y="2429"/>
                  </a:lnTo>
                  <a:lnTo>
                    <a:pt x="1302" y="2429"/>
                  </a:lnTo>
                  <a:lnTo>
                    <a:pt x="1309" y="2429"/>
                  </a:lnTo>
                  <a:lnTo>
                    <a:pt x="1316" y="2429"/>
                  </a:lnTo>
                  <a:lnTo>
                    <a:pt x="1325" y="2429"/>
                  </a:lnTo>
                  <a:lnTo>
                    <a:pt x="1332" y="2429"/>
                  </a:lnTo>
                  <a:lnTo>
                    <a:pt x="1340" y="2427"/>
                  </a:lnTo>
                  <a:lnTo>
                    <a:pt x="1347" y="2427"/>
                  </a:lnTo>
                  <a:lnTo>
                    <a:pt x="1349" y="2427"/>
                  </a:lnTo>
                  <a:lnTo>
                    <a:pt x="1349" y="2427"/>
                  </a:lnTo>
                  <a:lnTo>
                    <a:pt x="1349" y="2427"/>
                  </a:lnTo>
                  <a:lnTo>
                    <a:pt x="1349" y="2422"/>
                  </a:lnTo>
                  <a:lnTo>
                    <a:pt x="1347" y="2415"/>
                  </a:lnTo>
                  <a:lnTo>
                    <a:pt x="1347" y="2410"/>
                  </a:lnTo>
                  <a:lnTo>
                    <a:pt x="1347" y="2408"/>
                  </a:lnTo>
                  <a:lnTo>
                    <a:pt x="1349" y="2408"/>
                  </a:lnTo>
                  <a:lnTo>
                    <a:pt x="1354" y="2408"/>
                  </a:lnTo>
                  <a:lnTo>
                    <a:pt x="1356" y="2408"/>
                  </a:lnTo>
                  <a:lnTo>
                    <a:pt x="1358" y="2410"/>
                  </a:lnTo>
                  <a:lnTo>
                    <a:pt x="1358" y="2410"/>
                  </a:lnTo>
                  <a:lnTo>
                    <a:pt x="1358" y="2410"/>
                  </a:lnTo>
                  <a:lnTo>
                    <a:pt x="1358" y="2412"/>
                  </a:lnTo>
                  <a:lnTo>
                    <a:pt x="1361" y="2415"/>
                  </a:lnTo>
                  <a:lnTo>
                    <a:pt x="1361" y="2415"/>
                  </a:lnTo>
                  <a:lnTo>
                    <a:pt x="1361" y="2417"/>
                  </a:lnTo>
                  <a:lnTo>
                    <a:pt x="1361" y="2420"/>
                  </a:lnTo>
                  <a:lnTo>
                    <a:pt x="1361" y="2420"/>
                  </a:lnTo>
                  <a:lnTo>
                    <a:pt x="1363" y="2424"/>
                  </a:lnTo>
                  <a:lnTo>
                    <a:pt x="1363" y="2431"/>
                  </a:lnTo>
                  <a:lnTo>
                    <a:pt x="1363" y="2434"/>
                  </a:lnTo>
                  <a:lnTo>
                    <a:pt x="1366" y="2434"/>
                  </a:lnTo>
                  <a:lnTo>
                    <a:pt x="1366" y="2436"/>
                  </a:lnTo>
                  <a:lnTo>
                    <a:pt x="1366" y="2436"/>
                  </a:lnTo>
                  <a:lnTo>
                    <a:pt x="1366" y="2438"/>
                  </a:lnTo>
                  <a:lnTo>
                    <a:pt x="1366" y="2438"/>
                  </a:lnTo>
                  <a:lnTo>
                    <a:pt x="1368" y="2441"/>
                  </a:lnTo>
                  <a:lnTo>
                    <a:pt x="1373" y="2441"/>
                  </a:lnTo>
                  <a:lnTo>
                    <a:pt x="1373" y="2441"/>
                  </a:lnTo>
                  <a:lnTo>
                    <a:pt x="1380" y="2441"/>
                  </a:lnTo>
                  <a:lnTo>
                    <a:pt x="1380" y="2441"/>
                  </a:lnTo>
                  <a:lnTo>
                    <a:pt x="1380" y="2441"/>
                  </a:lnTo>
                  <a:lnTo>
                    <a:pt x="1380" y="2441"/>
                  </a:lnTo>
                  <a:lnTo>
                    <a:pt x="1380" y="2441"/>
                  </a:lnTo>
                  <a:lnTo>
                    <a:pt x="1380" y="2441"/>
                  </a:lnTo>
                  <a:lnTo>
                    <a:pt x="1380" y="2443"/>
                  </a:lnTo>
                  <a:lnTo>
                    <a:pt x="1382" y="2443"/>
                  </a:lnTo>
                  <a:lnTo>
                    <a:pt x="1382" y="2443"/>
                  </a:lnTo>
                  <a:lnTo>
                    <a:pt x="1382" y="2443"/>
                  </a:lnTo>
                  <a:lnTo>
                    <a:pt x="1389" y="2443"/>
                  </a:lnTo>
                  <a:lnTo>
                    <a:pt x="1394" y="2443"/>
                  </a:lnTo>
                  <a:lnTo>
                    <a:pt x="1396" y="2446"/>
                  </a:lnTo>
                  <a:lnTo>
                    <a:pt x="1396" y="2448"/>
                  </a:lnTo>
                  <a:lnTo>
                    <a:pt x="1399" y="2450"/>
                  </a:lnTo>
                  <a:lnTo>
                    <a:pt x="1399" y="2450"/>
                  </a:lnTo>
                  <a:lnTo>
                    <a:pt x="1403" y="2450"/>
                  </a:lnTo>
                  <a:lnTo>
                    <a:pt x="1403" y="2450"/>
                  </a:lnTo>
                  <a:lnTo>
                    <a:pt x="1406" y="2448"/>
                  </a:lnTo>
                  <a:lnTo>
                    <a:pt x="1408" y="2448"/>
                  </a:lnTo>
                  <a:lnTo>
                    <a:pt x="1408" y="2448"/>
                  </a:lnTo>
                  <a:lnTo>
                    <a:pt x="1411" y="2446"/>
                  </a:lnTo>
                  <a:lnTo>
                    <a:pt x="1411" y="2446"/>
                  </a:lnTo>
                  <a:lnTo>
                    <a:pt x="1411" y="2446"/>
                  </a:lnTo>
                  <a:lnTo>
                    <a:pt x="1411" y="2446"/>
                  </a:lnTo>
                  <a:lnTo>
                    <a:pt x="1413" y="2443"/>
                  </a:lnTo>
                  <a:lnTo>
                    <a:pt x="1415" y="2443"/>
                  </a:lnTo>
                  <a:lnTo>
                    <a:pt x="1420" y="2443"/>
                  </a:lnTo>
                  <a:lnTo>
                    <a:pt x="1427" y="2443"/>
                  </a:lnTo>
                  <a:lnTo>
                    <a:pt x="1427" y="2443"/>
                  </a:lnTo>
                  <a:lnTo>
                    <a:pt x="1429" y="2446"/>
                  </a:lnTo>
                  <a:lnTo>
                    <a:pt x="1434" y="2446"/>
                  </a:lnTo>
                  <a:lnTo>
                    <a:pt x="1439" y="2448"/>
                  </a:lnTo>
                  <a:lnTo>
                    <a:pt x="1439" y="2448"/>
                  </a:lnTo>
                  <a:lnTo>
                    <a:pt x="1439" y="2448"/>
                  </a:lnTo>
                  <a:lnTo>
                    <a:pt x="1439" y="2448"/>
                  </a:lnTo>
                  <a:lnTo>
                    <a:pt x="1437" y="2450"/>
                  </a:lnTo>
                  <a:lnTo>
                    <a:pt x="1437" y="2450"/>
                  </a:lnTo>
                  <a:lnTo>
                    <a:pt x="1437" y="2450"/>
                  </a:lnTo>
                  <a:lnTo>
                    <a:pt x="1437" y="2453"/>
                  </a:lnTo>
                  <a:lnTo>
                    <a:pt x="1437" y="2453"/>
                  </a:lnTo>
                  <a:lnTo>
                    <a:pt x="1439" y="2453"/>
                  </a:lnTo>
                  <a:lnTo>
                    <a:pt x="1441" y="2450"/>
                  </a:lnTo>
                  <a:lnTo>
                    <a:pt x="1444" y="2450"/>
                  </a:lnTo>
                  <a:lnTo>
                    <a:pt x="1444" y="2453"/>
                  </a:lnTo>
                  <a:lnTo>
                    <a:pt x="1444" y="2453"/>
                  </a:lnTo>
                  <a:lnTo>
                    <a:pt x="1446" y="2455"/>
                  </a:lnTo>
                  <a:lnTo>
                    <a:pt x="1446" y="2455"/>
                  </a:lnTo>
                  <a:lnTo>
                    <a:pt x="1446" y="2457"/>
                  </a:lnTo>
                  <a:lnTo>
                    <a:pt x="1446" y="2457"/>
                  </a:lnTo>
                  <a:lnTo>
                    <a:pt x="1446" y="2460"/>
                  </a:lnTo>
                  <a:lnTo>
                    <a:pt x="1448" y="2462"/>
                  </a:lnTo>
                  <a:lnTo>
                    <a:pt x="1448" y="2462"/>
                  </a:lnTo>
                  <a:lnTo>
                    <a:pt x="1451" y="2462"/>
                  </a:lnTo>
                  <a:lnTo>
                    <a:pt x="1451" y="2462"/>
                  </a:lnTo>
                  <a:lnTo>
                    <a:pt x="1451" y="2462"/>
                  </a:lnTo>
                  <a:lnTo>
                    <a:pt x="1451" y="2462"/>
                  </a:lnTo>
                  <a:lnTo>
                    <a:pt x="1451" y="2460"/>
                  </a:lnTo>
                  <a:lnTo>
                    <a:pt x="1451" y="2460"/>
                  </a:lnTo>
                  <a:lnTo>
                    <a:pt x="1451" y="2457"/>
                  </a:lnTo>
                  <a:lnTo>
                    <a:pt x="1451" y="2457"/>
                  </a:lnTo>
                  <a:lnTo>
                    <a:pt x="1453" y="2457"/>
                  </a:lnTo>
                  <a:lnTo>
                    <a:pt x="1455" y="2455"/>
                  </a:lnTo>
                  <a:lnTo>
                    <a:pt x="1460" y="2455"/>
                  </a:lnTo>
                  <a:lnTo>
                    <a:pt x="1460" y="2455"/>
                  </a:lnTo>
                  <a:lnTo>
                    <a:pt x="1460" y="2457"/>
                  </a:lnTo>
                  <a:lnTo>
                    <a:pt x="1460" y="2457"/>
                  </a:lnTo>
                  <a:lnTo>
                    <a:pt x="1463" y="2460"/>
                  </a:lnTo>
                  <a:lnTo>
                    <a:pt x="1463" y="2460"/>
                  </a:lnTo>
                  <a:lnTo>
                    <a:pt x="1463" y="2462"/>
                  </a:lnTo>
                  <a:lnTo>
                    <a:pt x="1463" y="2462"/>
                  </a:lnTo>
                  <a:lnTo>
                    <a:pt x="1467" y="2462"/>
                  </a:lnTo>
                  <a:lnTo>
                    <a:pt x="1470" y="2462"/>
                  </a:lnTo>
                  <a:lnTo>
                    <a:pt x="1472" y="2465"/>
                  </a:lnTo>
                  <a:lnTo>
                    <a:pt x="1472" y="2465"/>
                  </a:lnTo>
                  <a:lnTo>
                    <a:pt x="1472" y="2465"/>
                  </a:lnTo>
                  <a:lnTo>
                    <a:pt x="1472" y="2467"/>
                  </a:lnTo>
                  <a:lnTo>
                    <a:pt x="1474" y="2467"/>
                  </a:lnTo>
                  <a:lnTo>
                    <a:pt x="1477" y="2467"/>
                  </a:lnTo>
                  <a:lnTo>
                    <a:pt x="1477" y="2467"/>
                  </a:lnTo>
                  <a:lnTo>
                    <a:pt x="1477" y="2467"/>
                  </a:lnTo>
                  <a:lnTo>
                    <a:pt x="1477" y="2469"/>
                  </a:lnTo>
                  <a:lnTo>
                    <a:pt x="1477" y="2469"/>
                  </a:lnTo>
                  <a:lnTo>
                    <a:pt x="1477" y="2469"/>
                  </a:lnTo>
                  <a:lnTo>
                    <a:pt x="1477" y="2469"/>
                  </a:lnTo>
                  <a:lnTo>
                    <a:pt x="1477" y="2469"/>
                  </a:lnTo>
                  <a:lnTo>
                    <a:pt x="1481" y="2469"/>
                  </a:lnTo>
                  <a:lnTo>
                    <a:pt x="1481" y="2469"/>
                  </a:lnTo>
                  <a:lnTo>
                    <a:pt x="1481" y="2469"/>
                  </a:lnTo>
                  <a:lnTo>
                    <a:pt x="1484" y="2469"/>
                  </a:lnTo>
                  <a:lnTo>
                    <a:pt x="1486" y="2469"/>
                  </a:lnTo>
                  <a:lnTo>
                    <a:pt x="1489" y="2469"/>
                  </a:lnTo>
                  <a:lnTo>
                    <a:pt x="1489" y="2467"/>
                  </a:lnTo>
                  <a:lnTo>
                    <a:pt x="1491" y="2467"/>
                  </a:lnTo>
                  <a:lnTo>
                    <a:pt x="1496" y="2462"/>
                  </a:lnTo>
                  <a:lnTo>
                    <a:pt x="1496" y="2462"/>
                  </a:lnTo>
                  <a:lnTo>
                    <a:pt x="1498" y="2460"/>
                  </a:lnTo>
                  <a:lnTo>
                    <a:pt x="1500" y="2460"/>
                  </a:lnTo>
                  <a:lnTo>
                    <a:pt x="1503" y="2457"/>
                  </a:lnTo>
                  <a:lnTo>
                    <a:pt x="1503" y="2460"/>
                  </a:lnTo>
                  <a:lnTo>
                    <a:pt x="1503" y="2460"/>
                  </a:lnTo>
                  <a:lnTo>
                    <a:pt x="1503" y="2460"/>
                  </a:lnTo>
                  <a:lnTo>
                    <a:pt x="1503" y="2460"/>
                  </a:lnTo>
                  <a:lnTo>
                    <a:pt x="1503" y="2462"/>
                  </a:lnTo>
                  <a:lnTo>
                    <a:pt x="1503" y="2462"/>
                  </a:lnTo>
                  <a:lnTo>
                    <a:pt x="1503" y="2462"/>
                  </a:lnTo>
                  <a:lnTo>
                    <a:pt x="1505" y="2462"/>
                  </a:lnTo>
                  <a:lnTo>
                    <a:pt x="1505" y="2462"/>
                  </a:lnTo>
                  <a:lnTo>
                    <a:pt x="1505" y="2465"/>
                  </a:lnTo>
                  <a:lnTo>
                    <a:pt x="1505" y="2465"/>
                  </a:lnTo>
                  <a:lnTo>
                    <a:pt x="1508" y="2467"/>
                  </a:lnTo>
                  <a:lnTo>
                    <a:pt x="1508" y="2465"/>
                  </a:lnTo>
                  <a:lnTo>
                    <a:pt x="1512" y="2465"/>
                  </a:lnTo>
                  <a:lnTo>
                    <a:pt x="1512" y="2465"/>
                  </a:lnTo>
                  <a:lnTo>
                    <a:pt x="1512" y="2465"/>
                  </a:lnTo>
                  <a:lnTo>
                    <a:pt x="1515" y="2465"/>
                  </a:lnTo>
                  <a:lnTo>
                    <a:pt x="1515" y="2465"/>
                  </a:lnTo>
                  <a:lnTo>
                    <a:pt x="1515" y="2465"/>
                  </a:lnTo>
                  <a:lnTo>
                    <a:pt x="1515" y="2465"/>
                  </a:lnTo>
                  <a:lnTo>
                    <a:pt x="1517" y="2465"/>
                  </a:lnTo>
                  <a:lnTo>
                    <a:pt x="1517" y="2465"/>
                  </a:lnTo>
                  <a:lnTo>
                    <a:pt x="1517" y="2465"/>
                  </a:lnTo>
                  <a:lnTo>
                    <a:pt x="1517" y="2465"/>
                  </a:lnTo>
                  <a:lnTo>
                    <a:pt x="1526" y="2462"/>
                  </a:lnTo>
                  <a:lnTo>
                    <a:pt x="1529" y="2462"/>
                  </a:lnTo>
                  <a:lnTo>
                    <a:pt x="1531" y="2462"/>
                  </a:lnTo>
                  <a:lnTo>
                    <a:pt x="1531" y="2462"/>
                  </a:lnTo>
                  <a:lnTo>
                    <a:pt x="1534" y="2467"/>
                  </a:lnTo>
                  <a:lnTo>
                    <a:pt x="1534" y="2467"/>
                  </a:lnTo>
                  <a:lnTo>
                    <a:pt x="1534" y="2467"/>
                  </a:lnTo>
                  <a:lnTo>
                    <a:pt x="1536" y="2469"/>
                  </a:lnTo>
                  <a:lnTo>
                    <a:pt x="1538" y="2469"/>
                  </a:lnTo>
                  <a:lnTo>
                    <a:pt x="1541" y="2467"/>
                  </a:lnTo>
                  <a:lnTo>
                    <a:pt x="1541" y="2467"/>
                  </a:lnTo>
                  <a:lnTo>
                    <a:pt x="1543" y="2467"/>
                  </a:lnTo>
                  <a:lnTo>
                    <a:pt x="1543" y="2467"/>
                  </a:lnTo>
                  <a:lnTo>
                    <a:pt x="1543" y="2467"/>
                  </a:lnTo>
                  <a:lnTo>
                    <a:pt x="1543" y="2467"/>
                  </a:lnTo>
                  <a:lnTo>
                    <a:pt x="1545" y="2467"/>
                  </a:lnTo>
                  <a:lnTo>
                    <a:pt x="1545" y="2467"/>
                  </a:lnTo>
                  <a:lnTo>
                    <a:pt x="1548" y="2467"/>
                  </a:lnTo>
                  <a:lnTo>
                    <a:pt x="1548" y="2467"/>
                  </a:lnTo>
                  <a:lnTo>
                    <a:pt x="1548" y="2467"/>
                  </a:lnTo>
                  <a:lnTo>
                    <a:pt x="1548" y="2467"/>
                  </a:lnTo>
                  <a:lnTo>
                    <a:pt x="1548" y="2467"/>
                  </a:lnTo>
                  <a:lnTo>
                    <a:pt x="1550" y="2465"/>
                  </a:lnTo>
                  <a:lnTo>
                    <a:pt x="1550" y="2465"/>
                  </a:lnTo>
                  <a:lnTo>
                    <a:pt x="1550" y="2465"/>
                  </a:lnTo>
                  <a:lnTo>
                    <a:pt x="1550" y="2465"/>
                  </a:lnTo>
                  <a:lnTo>
                    <a:pt x="1552" y="2465"/>
                  </a:lnTo>
                  <a:lnTo>
                    <a:pt x="1552" y="2465"/>
                  </a:lnTo>
                  <a:lnTo>
                    <a:pt x="1552" y="2462"/>
                  </a:lnTo>
                  <a:lnTo>
                    <a:pt x="1552" y="2462"/>
                  </a:lnTo>
                  <a:lnTo>
                    <a:pt x="1555" y="2462"/>
                  </a:lnTo>
                  <a:lnTo>
                    <a:pt x="1555" y="2462"/>
                  </a:lnTo>
                  <a:lnTo>
                    <a:pt x="1552" y="2462"/>
                  </a:lnTo>
                  <a:lnTo>
                    <a:pt x="1552" y="2460"/>
                  </a:lnTo>
                  <a:lnTo>
                    <a:pt x="1557" y="2460"/>
                  </a:lnTo>
                  <a:lnTo>
                    <a:pt x="1557" y="2460"/>
                  </a:lnTo>
                  <a:lnTo>
                    <a:pt x="1557" y="2460"/>
                  </a:lnTo>
                  <a:lnTo>
                    <a:pt x="1557" y="2457"/>
                  </a:lnTo>
                  <a:lnTo>
                    <a:pt x="1557" y="2457"/>
                  </a:lnTo>
                  <a:lnTo>
                    <a:pt x="1557" y="2457"/>
                  </a:lnTo>
                  <a:lnTo>
                    <a:pt x="1557" y="2455"/>
                  </a:lnTo>
                  <a:lnTo>
                    <a:pt x="1557" y="2455"/>
                  </a:lnTo>
                  <a:lnTo>
                    <a:pt x="1557" y="2455"/>
                  </a:lnTo>
                  <a:lnTo>
                    <a:pt x="1560" y="2455"/>
                  </a:lnTo>
                  <a:lnTo>
                    <a:pt x="1560" y="2455"/>
                  </a:lnTo>
                  <a:lnTo>
                    <a:pt x="1560" y="2453"/>
                  </a:lnTo>
                  <a:lnTo>
                    <a:pt x="1560" y="2450"/>
                  </a:lnTo>
                  <a:lnTo>
                    <a:pt x="1560" y="2450"/>
                  </a:lnTo>
                  <a:lnTo>
                    <a:pt x="1560" y="2450"/>
                  </a:lnTo>
                  <a:lnTo>
                    <a:pt x="1560" y="2450"/>
                  </a:lnTo>
                  <a:lnTo>
                    <a:pt x="1560" y="2450"/>
                  </a:lnTo>
                  <a:lnTo>
                    <a:pt x="1560" y="2448"/>
                  </a:lnTo>
                  <a:lnTo>
                    <a:pt x="1560" y="2448"/>
                  </a:lnTo>
                  <a:lnTo>
                    <a:pt x="1560" y="2448"/>
                  </a:lnTo>
                  <a:lnTo>
                    <a:pt x="1560" y="2448"/>
                  </a:lnTo>
                  <a:lnTo>
                    <a:pt x="1560" y="2448"/>
                  </a:lnTo>
                  <a:lnTo>
                    <a:pt x="1560" y="2446"/>
                  </a:lnTo>
                  <a:lnTo>
                    <a:pt x="1560" y="2446"/>
                  </a:lnTo>
                  <a:lnTo>
                    <a:pt x="1560" y="2446"/>
                  </a:lnTo>
                  <a:lnTo>
                    <a:pt x="1560" y="2443"/>
                  </a:lnTo>
                  <a:lnTo>
                    <a:pt x="1560" y="2443"/>
                  </a:lnTo>
                  <a:lnTo>
                    <a:pt x="1560" y="2441"/>
                  </a:lnTo>
                  <a:lnTo>
                    <a:pt x="1560" y="2441"/>
                  </a:lnTo>
                  <a:lnTo>
                    <a:pt x="1562" y="2438"/>
                  </a:lnTo>
                  <a:lnTo>
                    <a:pt x="1574" y="2434"/>
                  </a:lnTo>
                  <a:lnTo>
                    <a:pt x="1574" y="2431"/>
                  </a:lnTo>
                  <a:lnTo>
                    <a:pt x="1574" y="2434"/>
                  </a:lnTo>
                  <a:lnTo>
                    <a:pt x="1574" y="2434"/>
                  </a:lnTo>
                  <a:lnTo>
                    <a:pt x="1574" y="2434"/>
                  </a:lnTo>
                  <a:lnTo>
                    <a:pt x="1571" y="2438"/>
                  </a:lnTo>
                  <a:lnTo>
                    <a:pt x="1571" y="2441"/>
                  </a:lnTo>
                  <a:lnTo>
                    <a:pt x="1571" y="2441"/>
                  </a:lnTo>
                  <a:lnTo>
                    <a:pt x="1571" y="2441"/>
                  </a:lnTo>
                  <a:lnTo>
                    <a:pt x="1571" y="2441"/>
                  </a:lnTo>
                  <a:lnTo>
                    <a:pt x="1571" y="2443"/>
                  </a:lnTo>
                  <a:lnTo>
                    <a:pt x="1571" y="2443"/>
                  </a:lnTo>
                  <a:lnTo>
                    <a:pt x="1571" y="2443"/>
                  </a:lnTo>
                  <a:lnTo>
                    <a:pt x="1571" y="2443"/>
                  </a:lnTo>
                  <a:lnTo>
                    <a:pt x="1571" y="2443"/>
                  </a:lnTo>
                  <a:lnTo>
                    <a:pt x="1571" y="2443"/>
                  </a:lnTo>
                  <a:lnTo>
                    <a:pt x="1571" y="2443"/>
                  </a:lnTo>
                  <a:lnTo>
                    <a:pt x="1571" y="2443"/>
                  </a:lnTo>
                  <a:lnTo>
                    <a:pt x="1571" y="2443"/>
                  </a:lnTo>
                  <a:lnTo>
                    <a:pt x="1571" y="2446"/>
                  </a:lnTo>
                  <a:lnTo>
                    <a:pt x="1569" y="2446"/>
                  </a:lnTo>
                  <a:lnTo>
                    <a:pt x="1569" y="2448"/>
                  </a:lnTo>
                  <a:lnTo>
                    <a:pt x="1569" y="2448"/>
                  </a:lnTo>
                  <a:lnTo>
                    <a:pt x="1571" y="2448"/>
                  </a:lnTo>
                  <a:lnTo>
                    <a:pt x="1571" y="2448"/>
                  </a:lnTo>
                  <a:lnTo>
                    <a:pt x="1571" y="2446"/>
                  </a:lnTo>
                  <a:lnTo>
                    <a:pt x="1571" y="2446"/>
                  </a:lnTo>
                  <a:lnTo>
                    <a:pt x="1571" y="2446"/>
                  </a:lnTo>
                  <a:lnTo>
                    <a:pt x="1571" y="2446"/>
                  </a:lnTo>
                  <a:lnTo>
                    <a:pt x="1574" y="2446"/>
                  </a:lnTo>
                  <a:lnTo>
                    <a:pt x="1576" y="2443"/>
                  </a:lnTo>
                  <a:lnTo>
                    <a:pt x="1576" y="2443"/>
                  </a:lnTo>
                  <a:lnTo>
                    <a:pt x="1576" y="2443"/>
                  </a:lnTo>
                  <a:lnTo>
                    <a:pt x="1576" y="2441"/>
                  </a:lnTo>
                  <a:lnTo>
                    <a:pt x="1576" y="2441"/>
                  </a:lnTo>
                  <a:lnTo>
                    <a:pt x="1576" y="2438"/>
                  </a:lnTo>
                  <a:lnTo>
                    <a:pt x="1579" y="2436"/>
                  </a:lnTo>
                  <a:lnTo>
                    <a:pt x="1579" y="2436"/>
                  </a:lnTo>
                  <a:lnTo>
                    <a:pt x="1579" y="2436"/>
                  </a:lnTo>
                  <a:lnTo>
                    <a:pt x="1579" y="2436"/>
                  </a:lnTo>
                  <a:lnTo>
                    <a:pt x="1579" y="2436"/>
                  </a:lnTo>
                  <a:lnTo>
                    <a:pt x="1579" y="2431"/>
                  </a:lnTo>
                  <a:lnTo>
                    <a:pt x="1579" y="2429"/>
                  </a:lnTo>
                  <a:lnTo>
                    <a:pt x="1581" y="2429"/>
                  </a:lnTo>
                  <a:lnTo>
                    <a:pt x="1581" y="2429"/>
                  </a:lnTo>
                  <a:lnTo>
                    <a:pt x="1581" y="2429"/>
                  </a:lnTo>
                  <a:lnTo>
                    <a:pt x="1581" y="2429"/>
                  </a:lnTo>
                  <a:lnTo>
                    <a:pt x="1581" y="2427"/>
                  </a:lnTo>
                  <a:lnTo>
                    <a:pt x="1581" y="2427"/>
                  </a:lnTo>
                  <a:lnTo>
                    <a:pt x="1581" y="2427"/>
                  </a:lnTo>
                  <a:lnTo>
                    <a:pt x="1581" y="2424"/>
                  </a:lnTo>
                  <a:lnTo>
                    <a:pt x="1581" y="2424"/>
                  </a:lnTo>
                  <a:lnTo>
                    <a:pt x="1583" y="2424"/>
                  </a:lnTo>
                  <a:lnTo>
                    <a:pt x="1581" y="2424"/>
                  </a:lnTo>
                  <a:lnTo>
                    <a:pt x="1581" y="2424"/>
                  </a:lnTo>
                  <a:lnTo>
                    <a:pt x="1581" y="2422"/>
                  </a:lnTo>
                  <a:lnTo>
                    <a:pt x="1581" y="2422"/>
                  </a:lnTo>
                  <a:lnTo>
                    <a:pt x="1581" y="2422"/>
                  </a:lnTo>
                  <a:lnTo>
                    <a:pt x="1581" y="2420"/>
                  </a:lnTo>
                  <a:lnTo>
                    <a:pt x="1583" y="2420"/>
                  </a:lnTo>
                  <a:lnTo>
                    <a:pt x="1583" y="2420"/>
                  </a:lnTo>
                  <a:lnTo>
                    <a:pt x="1583" y="2420"/>
                  </a:lnTo>
                  <a:lnTo>
                    <a:pt x="1583" y="2417"/>
                  </a:lnTo>
                  <a:lnTo>
                    <a:pt x="1583" y="2417"/>
                  </a:lnTo>
                  <a:lnTo>
                    <a:pt x="1583" y="2417"/>
                  </a:lnTo>
                  <a:lnTo>
                    <a:pt x="1583" y="2417"/>
                  </a:lnTo>
                  <a:lnTo>
                    <a:pt x="1588" y="2417"/>
                  </a:lnTo>
                  <a:lnTo>
                    <a:pt x="1588" y="2417"/>
                  </a:lnTo>
                  <a:lnTo>
                    <a:pt x="1588" y="2420"/>
                  </a:lnTo>
                  <a:lnTo>
                    <a:pt x="1588" y="2420"/>
                  </a:lnTo>
                  <a:lnTo>
                    <a:pt x="1588" y="2420"/>
                  </a:lnTo>
                  <a:lnTo>
                    <a:pt x="1588" y="2422"/>
                  </a:lnTo>
                  <a:lnTo>
                    <a:pt x="1590" y="2422"/>
                  </a:lnTo>
                  <a:lnTo>
                    <a:pt x="1590" y="2422"/>
                  </a:lnTo>
                  <a:lnTo>
                    <a:pt x="1590" y="2422"/>
                  </a:lnTo>
                  <a:lnTo>
                    <a:pt x="1588" y="2424"/>
                  </a:lnTo>
                  <a:lnTo>
                    <a:pt x="1588" y="2424"/>
                  </a:lnTo>
                  <a:lnTo>
                    <a:pt x="1588" y="2424"/>
                  </a:lnTo>
                  <a:lnTo>
                    <a:pt x="1583" y="2431"/>
                  </a:lnTo>
                  <a:lnTo>
                    <a:pt x="1583" y="2434"/>
                  </a:lnTo>
                  <a:lnTo>
                    <a:pt x="1583" y="2434"/>
                  </a:lnTo>
                  <a:lnTo>
                    <a:pt x="1581" y="2436"/>
                  </a:lnTo>
                  <a:lnTo>
                    <a:pt x="1581" y="2436"/>
                  </a:lnTo>
                  <a:lnTo>
                    <a:pt x="1581" y="2436"/>
                  </a:lnTo>
                  <a:lnTo>
                    <a:pt x="1581" y="2436"/>
                  </a:lnTo>
                  <a:lnTo>
                    <a:pt x="1583" y="2436"/>
                  </a:lnTo>
                  <a:lnTo>
                    <a:pt x="1581" y="2438"/>
                  </a:lnTo>
                  <a:lnTo>
                    <a:pt x="1583" y="2438"/>
                  </a:lnTo>
                  <a:lnTo>
                    <a:pt x="1583" y="2438"/>
                  </a:lnTo>
                  <a:lnTo>
                    <a:pt x="1583" y="2441"/>
                  </a:lnTo>
                  <a:lnTo>
                    <a:pt x="1583" y="2438"/>
                  </a:lnTo>
                  <a:lnTo>
                    <a:pt x="1583" y="2438"/>
                  </a:lnTo>
                  <a:lnTo>
                    <a:pt x="1583" y="2438"/>
                  </a:lnTo>
                  <a:lnTo>
                    <a:pt x="1583" y="2438"/>
                  </a:lnTo>
                  <a:lnTo>
                    <a:pt x="1586" y="2438"/>
                  </a:lnTo>
                  <a:lnTo>
                    <a:pt x="1586" y="2438"/>
                  </a:lnTo>
                  <a:lnTo>
                    <a:pt x="1586" y="2438"/>
                  </a:lnTo>
                  <a:lnTo>
                    <a:pt x="1586" y="2436"/>
                  </a:lnTo>
                  <a:lnTo>
                    <a:pt x="1586" y="2436"/>
                  </a:lnTo>
                  <a:lnTo>
                    <a:pt x="1586" y="2436"/>
                  </a:lnTo>
                  <a:lnTo>
                    <a:pt x="1586" y="2436"/>
                  </a:lnTo>
                  <a:lnTo>
                    <a:pt x="1586" y="2436"/>
                  </a:lnTo>
                  <a:lnTo>
                    <a:pt x="1586" y="2436"/>
                  </a:lnTo>
                  <a:lnTo>
                    <a:pt x="1586" y="2436"/>
                  </a:lnTo>
                  <a:lnTo>
                    <a:pt x="1586" y="2434"/>
                  </a:lnTo>
                  <a:lnTo>
                    <a:pt x="1586" y="2434"/>
                  </a:lnTo>
                  <a:lnTo>
                    <a:pt x="1586" y="2431"/>
                  </a:lnTo>
                  <a:lnTo>
                    <a:pt x="1586" y="2431"/>
                  </a:lnTo>
                  <a:lnTo>
                    <a:pt x="1588" y="2434"/>
                  </a:lnTo>
                  <a:lnTo>
                    <a:pt x="1588" y="2434"/>
                  </a:lnTo>
                  <a:lnTo>
                    <a:pt x="1588" y="2434"/>
                  </a:lnTo>
                  <a:lnTo>
                    <a:pt x="1588" y="2431"/>
                  </a:lnTo>
                  <a:lnTo>
                    <a:pt x="1588" y="2431"/>
                  </a:lnTo>
                  <a:lnTo>
                    <a:pt x="1588" y="2431"/>
                  </a:lnTo>
                  <a:lnTo>
                    <a:pt x="1588" y="2431"/>
                  </a:lnTo>
                  <a:lnTo>
                    <a:pt x="1590" y="2431"/>
                  </a:lnTo>
                  <a:lnTo>
                    <a:pt x="1590" y="2431"/>
                  </a:lnTo>
                  <a:lnTo>
                    <a:pt x="1590" y="2431"/>
                  </a:lnTo>
                  <a:lnTo>
                    <a:pt x="1590" y="2431"/>
                  </a:lnTo>
                  <a:lnTo>
                    <a:pt x="1590" y="2429"/>
                  </a:lnTo>
                  <a:lnTo>
                    <a:pt x="1590" y="2429"/>
                  </a:lnTo>
                  <a:lnTo>
                    <a:pt x="1590" y="2427"/>
                  </a:lnTo>
                  <a:lnTo>
                    <a:pt x="1590" y="2427"/>
                  </a:lnTo>
                  <a:lnTo>
                    <a:pt x="1590" y="2429"/>
                  </a:lnTo>
                  <a:lnTo>
                    <a:pt x="1590" y="2429"/>
                  </a:lnTo>
                  <a:lnTo>
                    <a:pt x="1590" y="2429"/>
                  </a:lnTo>
                  <a:lnTo>
                    <a:pt x="1593" y="2429"/>
                  </a:lnTo>
                  <a:lnTo>
                    <a:pt x="1593" y="2429"/>
                  </a:lnTo>
                  <a:lnTo>
                    <a:pt x="1593" y="2427"/>
                  </a:lnTo>
                  <a:lnTo>
                    <a:pt x="1593" y="2429"/>
                  </a:lnTo>
                  <a:lnTo>
                    <a:pt x="1593" y="2429"/>
                  </a:lnTo>
                  <a:lnTo>
                    <a:pt x="1593" y="2431"/>
                  </a:lnTo>
                  <a:lnTo>
                    <a:pt x="1593" y="2429"/>
                  </a:lnTo>
                  <a:lnTo>
                    <a:pt x="1595" y="2429"/>
                  </a:lnTo>
                  <a:lnTo>
                    <a:pt x="1595" y="2427"/>
                  </a:lnTo>
                  <a:lnTo>
                    <a:pt x="1597" y="2424"/>
                  </a:lnTo>
                  <a:lnTo>
                    <a:pt x="1597" y="2424"/>
                  </a:lnTo>
                  <a:lnTo>
                    <a:pt x="1597" y="2422"/>
                  </a:lnTo>
                  <a:lnTo>
                    <a:pt x="1597" y="2422"/>
                  </a:lnTo>
                  <a:lnTo>
                    <a:pt x="1597" y="2422"/>
                  </a:lnTo>
                  <a:lnTo>
                    <a:pt x="1597" y="2422"/>
                  </a:lnTo>
                  <a:lnTo>
                    <a:pt x="1597" y="2420"/>
                  </a:lnTo>
                  <a:lnTo>
                    <a:pt x="1597" y="2420"/>
                  </a:lnTo>
                  <a:lnTo>
                    <a:pt x="1595" y="2420"/>
                  </a:lnTo>
                  <a:lnTo>
                    <a:pt x="1593" y="2417"/>
                  </a:lnTo>
                  <a:lnTo>
                    <a:pt x="1590" y="2415"/>
                  </a:lnTo>
                  <a:lnTo>
                    <a:pt x="1590" y="2415"/>
                  </a:lnTo>
                  <a:lnTo>
                    <a:pt x="1590" y="2415"/>
                  </a:lnTo>
                  <a:lnTo>
                    <a:pt x="1590" y="2412"/>
                  </a:lnTo>
                  <a:lnTo>
                    <a:pt x="1590" y="2412"/>
                  </a:lnTo>
                  <a:lnTo>
                    <a:pt x="1590" y="2412"/>
                  </a:lnTo>
                  <a:lnTo>
                    <a:pt x="1590" y="2410"/>
                  </a:lnTo>
                  <a:lnTo>
                    <a:pt x="1590" y="2410"/>
                  </a:lnTo>
                  <a:lnTo>
                    <a:pt x="1590" y="2408"/>
                  </a:lnTo>
                  <a:lnTo>
                    <a:pt x="1590" y="2410"/>
                  </a:lnTo>
                  <a:lnTo>
                    <a:pt x="1590" y="2410"/>
                  </a:lnTo>
                  <a:lnTo>
                    <a:pt x="1590" y="2410"/>
                  </a:lnTo>
                  <a:lnTo>
                    <a:pt x="1593" y="2410"/>
                  </a:lnTo>
                  <a:lnTo>
                    <a:pt x="1593" y="2410"/>
                  </a:lnTo>
                  <a:lnTo>
                    <a:pt x="1593" y="2410"/>
                  </a:lnTo>
                  <a:lnTo>
                    <a:pt x="1593" y="2410"/>
                  </a:lnTo>
                  <a:lnTo>
                    <a:pt x="1595" y="2410"/>
                  </a:lnTo>
                  <a:lnTo>
                    <a:pt x="1595" y="2408"/>
                  </a:lnTo>
                  <a:lnTo>
                    <a:pt x="1595" y="2408"/>
                  </a:lnTo>
                  <a:lnTo>
                    <a:pt x="1595" y="2408"/>
                  </a:lnTo>
                  <a:lnTo>
                    <a:pt x="1595" y="2408"/>
                  </a:lnTo>
                  <a:lnTo>
                    <a:pt x="1595" y="2408"/>
                  </a:lnTo>
                  <a:lnTo>
                    <a:pt x="1595" y="2408"/>
                  </a:lnTo>
                  <a:lnTo>
                    <a:pt x="1595" y="2408"/>
                  </a:lnTo>
                  <a:lnTo>
                    <a:pt x="1597" y="2408"/>
                  </a:lnTo>
                  <a:lnTo>
                    <a:pt x="1597" y="2408"/>
                  </a:lnTo>
                  <a:lnTo>
                    <a:pt x="1597" y="2405"/>
                  </a:lnTo>
                  <a:lnTo>
                    <a:pt x="1597" y="2408"/>
                  </a:lnTo>
                  <a:lnTo>
                    <a:pt x="1597" y="2408"/>
                  </a:lnTo>
                  <a:lnTo>
                    <a:pt x="1597" y="2408"/>
                  </a:lnTo>
                  <a:lnTo>
                    <a:pt x="1597" y="2408"/>
                  </a:lnTo>
                  <a:lnTo>
                    <a:pt x="1597" y="2408"/>
                  </a:lnTo>
                  <a:lnTo>
                    <a:pt x="1597" y="2408"/>
                  </a:lnTo>
                  <a:lnTo>
                    <a:pt x="1597" y="2408"/>
                  </a:lnTo>
                  <a:lnTo>
                    <a:pt x="1597" y="2408"/>
                  </a:lnTo>
                  <a:lnTo>
                    <a:pt x="1597" y="2408"/>
                  </a:lnTo>
                  <a:lnTo>
                    <a:pt x="1600" y="2408"/>
                  </a:lnTo>
                  <a:lnTo>
                    <a:pt x="1600" y="2408"/>
                  </a:lnTo>
                  <a:lnTo>
                    <a:pt x="1600" y="2410"/>
                  </a:lnTo>
                  <a:lnTo>
                    <a:pt x="1600" y="2410"/>
                  </a:lnTo>
                  <a:lnTo>
                    <a:pt x="1602" y="2410"/>
                  </a:lnTo>
                  <a:lnTo>
                    <a:pt x="1602" y="2410"/>
                  </a:lnTo>
                  <a:lnTo>
                    <a:pt x="1602" y="2410"/>
                  </a:lnTo>
                  <a:lnTo>
                    <a:pt x="1605" y="2410"/>
                  </a:lnTo>
                  <a:lnTo>
                    <a:pt x="1605" y="2410"/>
                  </a:lnTo>
                  <a:lnTo>
                    <a:pt x="1605" y="2410"/>
                  </a:lnTo>
                  <a:lnTo>
                    <a:pt x="1605" y="2410"/>
                  </a:lnTo>
                  <a:lnTo>
                    <a:pt x="1605" y="2410"/>
                  </a:lnTo>
                  <a:lnTo>
                    <a:pt x="1607" y="2410"/>
                  </a:lnTo>
                  <a:lnTo>
                    <a:pt x="1607" y="2410"/>
                  </a:lnTo>
                  <a:lnTo>
                    <a:pt x="1607" y="2412"/>
                  </a:lnTo>
                  <a:lnTo>
                    <a:pt x="1607" y="2412"/>
                  </a:lnTo>
                  <a:lnTo>
                    <a:pt x="1609" y="2412"/>
                  </a:lnTo>
                  <a:lnTo>
                    <a:pt x="1609" y="2412"/>
                  </a:lnTo>
                  <a:lnTo>
                    <a:pt x="1612" y="2412"/>
                  </a:lnTo>
                  <a:lnTo>
                    <a:pt x="1612" y="2412"/>
                  </a:lnTo>
                  <a:lnTo>
                    <a:pt x="1612" y="2412"/>
                  </a:lnTo>
                  <a:lnTo>
                    <a:pt x="1612" y="2412"/>
                  </a:lnTo>
                  <a:lnTo>
                    <a:pt x="1612" y="2412"/>
                  </a:lnTo>
                  <a:lnTo>
                    <a:pt x="1612" y="2412"/>
                  </a:lnTo>
                  <a:lnTo>
                    <a:pt x="1614" y="2412"/>
                  </a:lnTo>
                  <a:lnTo>
                    <a:pt x="1614" y="2412"/>
                  </a:lnTo>
                  <a:lnTo>
                    <a:pt x="1614" y="2412"/>
                  </a:lnTo>
                  <a:lnTo>
                    <a:pt x="1614" y="2412"/>
                  </a:lnTo>
                  <a:lnTo>
                    <a:pt x="1614" y="2412"/>
                  </a:lnTo>
                  <a:lnTo>
                    <a:pt x="1616" y="2412"/>
                  </a:lnTo>
                  <a:lnTo>
                    <a:pt x="1614" y="2415"/>
                  </a:lnTo>
                  <a:lnTo>
                    <a:pt x="1616" y="2415"/>
                  </a:lnTo>
                  <a:lnTo>
                    <a:pt x="1616" y="2415"/>
                  </a:lnTo>
                  <a:lnTo>
                    <a:pt x="1619" y="2415"/>
                  </a:lnTo>
                  <a:lnTo>
                    <a:pt x="1619" y="2415"/>
                  </a:lnTo>
                  <a:lnTo>
                    <a:pt x="1621" y="2415"/>
                  </a:lnTo>
                  <a:lnTo>
                    <a:pt x="1623" y="2415"/>
                  </a:lnTo>
                  <a:lnTo>
                    <a:pt x="1623" y="2415"/>
                  </a:lnTo>
                  <a:lnTo>
                    <a:pt x="1623" y="2415"/>
                  </a:lnTo>
                  <a:lnTo>
                    <a:pt x="1626" y="2417"/>
                  </a:lnTo>
                  <a:lnTo>
                    <a:pt x="1626" y="2417"/>
                  </a:lnTo>
                  <a:lnTo>
                    <a:pt x="1626" y="2417"/>
                  </a:lnTo>
                  <a:lnTo>
                    <a:pt x="1628" y="2417"/>
                  </a:lnTo>
                  <a:lnTo>
                    <a:pt x="1628" y="2417"/>
                  </a:lnTo>
                  <a:lnTo>
                    <a:pt x="1633" y="2415"/>
                  </a:lnTo>
                  <a:lnTo>
                    <a:pt x="1633" y="2415"/>
                  </a:lnTo>
                  <a:lnTo>
                    <a:pt x="1633" y="2415"/>
                  </a:lnTo>
                  <a:lnTo>
                    <a:pt x="1633" y="2415"/>
                  </a:lnTo>
                  <a:lnTo>
                    <a:pt x="1635" y="2415"/>
                  </a:lnTo>
                  <a:lnTo>
                    <a:pt x="1635" y="2415"/>
                  </a:lnTo>
                  <a:lnTo>
                    <a:pt x="1635" y="2415"/>
                  </a:lnTo>
                  <a:lnTo>
                    <a:pt x="1635" y="2415"/>
                  </a:lnTo>
                  <a:lnTo>
                    <a:pt x="1635" y="2415"/>
                  </a:lnTo>
                  <a:lnTo>
                    <a:pt x="1635" y="2415"/>
                  </a:lnTo>
                  <a:lnTo>
                    <a:pt x="1635" y="2415"/>
                  </a:lnTo>
                  <a:lnTo>
                    <a:pt x="1635" y="2415"/>
                  </a:lnTo>
                  <a:lnTo>
                    <a:pt x="1635" y="2415"/>
                  </a:lnTo>
                  <a:lnTo>
                    <a:pt x="1635" y="2415"/>
                  </a:lnTo>
                  <a:lnTo>
                    <a:pt x="1638" y="2415"/>
                  </a:lnTo>
                  <a:lnTo>
                    <a:pt x="1638" y="2415"/>
                  </a:lnTo>
                  <a:lnTo>
                    <a:pt x="1638" y="2415"/>
                  </a:lnTo>
                  <a:lnTo>
                    <a:pt x="1640" y="2417"/>
                  </a:lnTo>
                  <a:lnTo>
                    <a:pt x="1640" y="2417"/>
                  </a:lnTo>
                  <a:lnTo>
                    <a:pt x="1640" y="2415"/>
                  </a:lnTo>
                  <a:lnTo>
                    <a:pt x="1642" y="2415"/>
                  </a:lnTo>
                  <a:lnTo>
                    <a:pt x="1645" y="2415"/>
                  </a:lnTo>
                  <a:lnTo>
                    <a:pt x="1645" y="2415"/>
                  </a:lnTo>
                  <a:lnTo>
                    <a:pt x="1645" y="2412"/>
                  </a:lnTo>
                  <a:lnTo>
                    <a:pt x="1645" y="2412"/>
                  </a:lnTo>
                  <a:lnTo>
                    <a:pt x="1645" y="2412"/>
                  </a:lnTo>
                  <a:lnTo>
                    <a:pt x="1645" y="2412"/>
                  </a:lnTo>
                  <a:lnTo>
                    <a:pt x="1645" y="2412"/>
                  </a:lnTo>
                  <a:lnTo>
                    <a:pt x="1645" y="2412"/>
                  </a:lnTo>
                  <a:lnTo>
                    <a:pt x="1647" y="2412"/>
                  </a:lnTo>
                  <a:lnTo>
                    <a:pt x="1650" y="2412"/>
                  </a:lnTo>
                  <a:lnTo>
                    <a:pt x="1650" y="2415"/>
                  </a:lnTo>
                  <a:lnTo>
                    <a:pt x="1650" y="2415"/>
                  </a:lnTo>
                  <a:lnTo>
                    <a:pt x="1652" y="2415"/>
                  </a:lnTo>
                  <a:lnTo>
                    <a:pt x="1652" y="2415"/>
                  </a:lnTo>
                  <a:lnTo>
                    <a:pt x="1652" y="2415"/>
                  </a:lnTo>
                  <a:lnTo>
                    <a:pt x="1652" y="2415"/>
                  </a:lnTo>
                  <a:lnTo>
                    <a:pt x="1652" y="2415"/>
                  </a:lnTo>
                  <a:lnTo>
                    <a:pt x="1652" y="2415"/>
                  </a:lnTo>
                  <a:lnTo>
                    <a:pt x="1652" y="2415"/>
                  </a:lnTo>
                  <a:lnTo>
                    <a:pt x="1652" y="2415"/>
                  </a:lnTo>
                  <a:lnTo>
                    <a:pt x="1652" y="2415"/>
                  </a:lnTo>
                  <a:lnTo>
                    <a:pt x="1652" y="2415"/>
                  </a:lnTo>
                  <a:lnTo>
                    <a:pt x="1654" y="2412"/>
                  </a:lnTo>
                  <a:lnTo>
                    <a:pt x="1654" y="2412"/>
                  </a:lnTo>
                  <a:lnTo>
                    <a:pt x="1654" y="2415"/>
                  </a:lnTo>
                  <a:lnTo>
                    <a:pt x="1657" y="2415"/>
                  </a:lnTo>
                  <a:lnTo>
                    <a:pt x="1657" y="2415"/>
                  </a:lnTo>
                  <a:lnTo>
                    <a:pt x="1657" y="2415"/>
                  </a:lnTo>
                  <a:lnTo>
                    <a:pt x="1657" y="2415"/>
                  </a:lnTo>
                  <a:lnTo>
                    <a:pt x="1657" y="2415"/>
                  </a:lnTo>
                  <a:lnTo>
                    <a:pt x="1657" y="2415"/>
                  </a:lnTo>
                  <a:lnTo>
                    <a:pt x="1657" y="2417"/>
                  </a:lnTo>
                  <a:lnTo>
                    <a:pt x="1657" y="2417"/>
                  </a:lnTo>
                  <a:lnTo>
                    <a:pt x="1657" y="2417"/>
                  </a:lnTo>
                  <a:lnTo>
                    <a:pt x="1659" y="2417"/>
                  </a:lnTo>
                  <a:lnTo>
                    <a:pt x="1659" y="2417"/>
                  </a:lnTo>
                  <a:lnTo>
                    <a:pt x="1659" y="2420"/>
                  </a:lnTo>
                  <a:lnTo>
                    <a:pt x="1659" y="2420"/>
                  </a:lnTo>
                  <a:lnTo>
                    <a:pt x="1659" y="2420"/>
                  </a:lnTo>
                  <a:lnTo>
                    <a:pt x="1659" y="2420"/>
                  </a:lnTo>
                  <a:lnTo>
                    <a:pt x="1661" y="2420"/>
                  </a:lnTo>
                  <a:lnTo>
                    <a:pt x="1661" y="2420"/>
                  </a:lnTo>
                  <a:lnTo>
                    <a:pt x="1659" y="2420"/>
                  </a:lnTo>
                  <a:lnTo>
                    <a:pt x="1659" y="2420"/>
                  </a:lnTo>
                  <a:lnTo>
                    <a:pt x="1659" y="2420"/>
                  </a:lnTo>
                  <a:lnTo>
                    <a:pt x="1661" y="2422"/>
                  </a:lnTo>
                  <a:lnTo>
                    <a:pt x="1661" y="2422"/>
                  </a:lnTo>
                  <a:lnTo>
                    <a:pt x="1661" y="2424"/>
                  </a:lnTo>
                  <a:lnTo>
                    <a:pt x="1664" y="2424"/>
                  </a:lnTo>
                  <a:lnTo>
                    <a:pt x="1664" y="2427"/>
                  </a:lnTo>
                  <a:lnTo>
                    <a:pt x="1664" y="2427"/>
                  </a:lnTo>
                  <a:lnTo>
                    <a:pt x="1664" y="2429"/>
                  </a:lnTo>
                  <a:lnTo>
                    <a:pt x="1664" y="2429"/>
                  </a:lnTo>
                  <a:lnTo>
                    <a:pt x="1664" y="2429"/>
                  </a:lnTo>
                  <a:lnTo>
                    <a:pt x="1664" y="2431"/>
                  </a:lnTo>
                  <a:lnTo>
                    <a:pt x="1666" y="2431"/>
                  </a:lnTo>
                  <a:lnTo>
                    <a:pt x="1666" y="2434"/>
                  </a:lnTo>
                  <a:lnTo>
                    <a:pt x="1666" y="2434"/>
                  </a:lnTo>
                  <a:lnTo>
                    <a:pt x="1666" y="2434"/>
                  </a:lnTo>
                  <a:lnTo>
                    <a:pt x="1666" y="2434"/>
                  </a:lnTo>
                  <a:lnTo>
                    <a:pt x="1666" y="2434"/>
                  </a:lnTo>
                  <a:lnTo>
                    <a:pt x="1666" y="2436"/>
                  </a:lnTo>
                  <a:lnTo>
                    <a:pt x="1668" y="2436"/>
                  </a:lnTo>
                  <a:lnTo>
                    <a:pt x="1668" y="2438"/>
                  </a:lnTo>
                  <a:lnTo>
                    <a:pt x="1668" y="2441"/>
                  </a:lnTo>
                  <a:lnTo>
                    <a:pt x="1671" y="2441"/>
                  </a:lnTo>
                  <a:lnTo>
                    <a:pt x="1671" y="2441"/>
                  </a:lnTo>
                  <a:lnTo>
                    <a:pt x="1671" y="2441"/>
                  </a:lnTo>
                  <a:lnTo>
                    <a:pt x="1671" y="2441"/>
                  </a:lnTo>
                  <a:lnTo>
                    <a:pt x="1671" y="2443"/>
                  </a:lnTo>
                  <a:lnTo>
                    <a:pt x="1671" y="2443"/>
                  </a:lnTo>
                  <a:lnTo>
                    <a:pt x="1673" y="2446"/>
                  </a:lnTo>
                  <a:lnTo>
                    <a:pt x="1676" y="2446"/>
                  </a:lnTo>
                  <a:lnTo>
                    <a:pt x="1676" y="2448"/>
                  </a:lnTo>
                  <a:lnTo>
                    <a:pt x="1678" y="2448"/>
                  </a:lnTo>
                  <a:lnTo>
                    <a:pt x="1678" y="2450"/>
                  </a:lnTo>
                  <a:lnTo>
                    <a:pt x="1678" y="2450"/>
                  </a:lnTo>
                  <a:lnTo>
                    <a:pt x="1678" y="2450"/>
                  </a:lnTo>
                  <a:lnTo>
                    <a:pt x="1680" y="2450"/>
                  </a:lnTo>
                  <a:lnTo>
                    <a:pt x="1680" y="2453"/>
                  </a:lnTo>
                  <a:lnTo>
                    <a:pt x="1680" y="2453"/>
                  </a:lnTo>
                  <a:lnTo>
                    <a:pt x="1685" y="2453"/>
                  </a:lnTo>
                  <a:lnTo>
                    <a:pt x="1692" y="2455"/>
                  </a:lnTo>
                  <a:lnTo>
                    <a:pt x="1697" y="2453"/>
                  </a:lnTo>
                  <a:lnTo>
                    <a:pt x="1702" y="2450"/>
                  </a:lnTo>
                  <a:lnTo>
                    <a:pt x="1713" y="2448"/>
                  </a:lnTo>
                  <a:lnTo>
                    <a:pt x="1713" y="2448"/>
                  </a:lnTo>
                  <a:lnTo>
                    <a:pt x="1713" y="2450"/>
                  </a:lnTo>
                  <a:lnTo>
                    <a:pt x="1716" y="2450"/>
                  </a:lnTo>
                  <a:lnTo>
                    <a:pt x="1716" y="2450"/>
                  </a:lnTo>
                  <a:lnTo>
                    <a:pt x="1716" y="2450"/>
                  </a:lnTo>
                  <a:lnTo>
                    <a:pt x="1716" y="2450"/>
                  </a:lnTo>
                  <a:lnTo>
                    <a:pt x="1716" y="2448"/>
                  </a:lnTo>
                  <a:lnTo>
                    <a:pt x="1716" y="2448"/>
                  </a:lnTo>
                  <a:lnTo>
                    <a:pt x="1716" y="2450"/>
                  </a:lnTo>
                  <a:lnTo>
                    <a:pt x="1718" y="2450"/>
                  </a:lnTo>
                  <a:lnTo>
                    <a:pt x="1718" y="2450"/>
                  </a:lnTo>
                  <a:lnTo>
                    <a:pt x="1716" y="2453"/>
                  </a:lnTo>
                  <a:lnTo>
                    <a:pt x="1716" y="2453"/>
                  </a:lnTo>
                  <a:lnTo>
                    <a:pt x="1716" y="2453"/>
                  </a:lnTo>
                  <a:lnTo>
                    <a:pt x="1716" y="2453"/>
                  </a:lnTo>
                  <a:lnTo>
                    <a:pt x="1713" y="2455"/>
                  </a:lnTo>
                  <a:lnTo>
                    <a:pt x="1713" y="2455"/>
                  </a:lnTo>
                  <a:lnTo>
                    <a:pt x="1713" y="2455"/>
                  </a:lnTo>
                  <a:lnTo>
                    <a:pt x="1713" y="2457"/>
                  </a:lnTo>
                  <a:lnTo>
                    <a:pt x="1716" y="2457"/>
                  </a:lnTo>
                  <a:lnTo>
                    <a:pt x="1716" y="2457"/>
                  </a:lnTo>
                  <a:lnTo>
                    <a:pt x="1716" y="2457"/>
                  </a:lnTo>
                  <a:lnTo>
                    <a:pt x="1716" y="2457"/>
                  </a:lnTo>
                  <a:lnTo>
                    <a:pt x="1716" y="2460"/>
                  </a:lnTo>
                  <a:lnTo>
                    <a:pt x="1716" y="2462"/>
                  </a:lnTo>
                  <a:lnTo>
                    <a:pt x="1713" y="2462"/>
                  </a:lnTo>
                  <a:lnTo>
                    <a:pt x="1713" y="2462"/>
                  </a:lnTo>
                  <a:lnTo>
                    <a:pt x="1713" y="2462"/>
                  </a:lnTo>
                  <a:lnTo>
                    <a:pt x="1713" y="2462"/>
                  </a:lnTo>
                  <a:lnTo>
                    <a:pt x="1713" y="2462"/>
                  </a:lnTo>
                  <a:lnTo>
                    <a:pt x="1713" y="2465"/>
                  </a:lnTo>
                  <a:lnTo>
                    <a:pt x="1713" y="2465"/>
                  </a:lnTo>
                  <a:lnTo>
                    <a:pt x="1713" y="2465"/>
                  </a:lnTo>
                  <a:lnTo>
                    <a:pt x="1713" y="2467"/>
                  </a:lnTo>
                  <a:lnTo>
                    <a:pt x="1713" y="2467"/>
                  </a:lnTo>
                  <a:lnTo>
                    <a:pt x="1713" y="2467"/>
                  </a:lnTo>
                  <a:lnTo>
                    <a:pt x="1713" y="2467"/>
                  </a:lnTo>
                  <a:lnTo>
                    <a:pt x="1713" y="2469"/>
                  </a:lnTo>
                  <a:lnTo>
                    <a:pt x="1713" y="2469"/>
                  </a:lnTo>
                  <a:lnTo>
                    <a:pt x="1716" y="2469"/>
                  </a:lnTo>
                  <a:lnTo>
                    <a:pt x="1716" y="2469"/>
                  </a:lnTo>
                  <a:lnTo>
                    <a:pt x="1716" y="2469"/>
                  </a:lnTo>
                  <a:lnTo>
                    <a:pt x="1716" y="2472"/>
                  </a:lnTo>
                  <a:lnTo>
                    <a:pt x="1716" y="2472"/>
                  </a:lnTo>
                  <a:lnTo>
                    <a:pt x="1716" y="2472"/>
                  </a:lnTo>
                  <a:lnTo>
                    <a:pt x="1718" y="2472"/>
                  </a:lnTo>
                  <a:lnTo>
                    <a:pt x="1718" y="2474"/>
                  </a:lnTo>
                  <a:lnTo>
                    <a:pt x="1721" y="2474"/>
                  </a:lnTo>
                  <a:lnTo>
                    <a:pt x="1721" y="2474"/>
                  </a:lnTo>
                  <a:lnTo>
                    <a:pt x="1723" y="2474"/>
                  </a:lnTo>
                  <a:lnTo>
                    <a:pt x="1723" y="2474"/>
                  </a:lnTo>
                  <a:lnTo>
                    <a:pt x="1725" y="2476"/>
                  </a:lnTo>
                  <a:lnTo>
                    <a:pt x="1725" y="2476"/>
                  </a:lnTo>
                  <a:lnTo>
                    <a:pt x="1725" y="2479"/>
                  </a:lnTo>
                  <a:lnTo>
                    <a:pt x="1728" y="2479"/>
                  </a:lnTo>
                  <a:lnTo>
                    <a:pt x="1728" y="2479"/>
                  </a:lnTo>
                  <a:lnTo>
                    <a:pt x="1728" y="2479"/>
                  </a:lnTo>
                  <a:lnTo>
                    <a:pt x="1728" y="2479"/>
                  </a:lnTo>
                  <a:lnTo>
                    <a:pt x="1730" y="2479"/>
                  </a:lnTo>
                  <a:lnTo>
                    <a:pt x="1730" y="2481"/>
                  </a:lnTo>
                  <a:lnTo>
                    <a:pt x="1730" y="2481"/>
                  </a:lnTo>
                  <a:lnTo>
                    <a:pt x="1730" y="2481"/>
                  </a:lnTo>
                  <a:lnTo>
                    <a:pt x="1730" y="2481"/>
                  </a:lnTo>
                  <a:lnTo>
                    <a:pt x="1730" y="2483"/>
                  </a:lnTo>
                  <a:lnTo>
                    <a:pt x="1730" y="2483"/>
                  </a:lnTo>
                  <a:lnTo>
                    <a:pt x="1730" y="2483"/>
                  </a:lnTo>
                  <a:lnTo>
                    <a:pt x="1730" y="2483"/>
                  </a:lnTo>
                  <a:lnTo>
                    <a:pt x="1730" y="2483"/>
                  </a:lnTo>
                  <a:lnTo>
                    <a:pt x="1728" y="2488"/>
                  </a:lnTo>
                  <a:lnTo>
                    <a:pt x="1728" y="2488"/>
                  </a:lnTo>
                  <a:lnTo>
                    <a:pt x="1728" y="2488"/>
                  </a:lnTo>
                  <a:lnTo>
                    <a:pt x="1728" y="2488"/>
                  </a:lnTo>
                  <a:lnTo>
                    <a:pt x="1728" y="2488"/>
                  </a:lnTo>
                  <a:lnTo>
                    <a:pt x="1728" y="2488"/>
                  </a:lnTo>
                  <a:lnTo>
                    <a:pt x="1728" y="2488"/>
                  </a:lnTo>
                  <a:lnTo>
                    <a:pt x="1728" y="2491"/>
                  </a:lnTo>
                  <a:lnTo>
                    <a:pt x="1728" y="2491"/>
                  </a:lnTo>
                  <a:lnTo>
                    <a:pt x="1728" y="2491"/>
                  </a:lnTo>
                  <a:lnTo>
                    <a:pt x="1728" y="2491"/>
                  </a:lnTo>
                  <a:lnTo>
                    <a:pt x="1728" y="2491"/>
                  </a:lnTo>
                  <a:lnTo>
                    <a:pt x="1728" y="2491"/>
                  </a:lnTo>
                  <a:lnTo>
                    <a:pt x="1728" y="2491"/>
                  </a:lnTo>
                  <a:lnTo>
                    <a:pt x="1728" y="2493"/>
                  </a:lnTo>
                  <a:lnTo>
                    <a:pt x="1728" y="2493"/>
                  </a:lnTo>
                  <a:lnTo>
                    <a:pt x="1728" y="2493"/>
                  </a:lnTo>
                  <a:lnTo>
                    <a:pt x="1728" y="2493"/>
                  </a:lnTo>
                  <a:lnTo>
                    <a:pt x="1728" y="2495"/>
                  </a:lnTo>
                  <a:lnTo>
                    <a:pt x="1725" y="2495"/>
                  </a:lnTo>
                  <a:lnTo>
                    <a:pt x="1725" y="2495"/>
                  </a:lnTo>
                  <a:lnTo>
                    <a:pt x="1725" y="2498"/>
                  </a:lnTo>
                  <a:lnTo>
                    <a:pt x="1725" y="2498"/>
                  </a:lnTo>
                  <a:lnTo>
                    <a:pt x="1725" y="2498"/>
                  </a:lnTo>
                  <a:lnTo>
                    <a:pt x="1725" y="2500"/>
                  </a:lnTo>
                  <a:lnTo>
                    <a:pt x="1728" y="2500"/>
                  </a:lnTo>
                  <a:lnTo>
                    <a:pt x="1728" y="2500"/>
                  </a:lnTo>
                  <a:lnTo>
                    <a:pt x="1730" y="2500"/>
                  </a:lnTo>
                  <a:lnTo>
                    <a:pt x="1730" y="2500"/>
                  </a:lnTo>
                  <a:lnTo>
                    <a:pt x="1730" y="2500"/>
                  </a:lnTo>
                  <a:lnTo>
                    <a:pt x="1730" y="2500"/>
                  </a:lnTo>
                  <a:lnTo>
                    <a:pt x="1730" y="2502"/>
                  </a:lnTo>
                  <a:lnTo>
                    <a:pt x="1732" y="2502"/>
                  </a:lnTo>
                  <a:lnTo>
                    <a:pt x="1732" y="2502"/>
                  </a:lnTo>
                  <a:lnTo>
                    <a:pt x="1732" y="2502"/>
                  </a:lnTo>
                  <a:lnTo>
                    <a:pt x="1732" y="2502"/>
                  </a:lnTo>
                  <a:lnTo>
                    <a:pt x="1732" y="2502"/>
                  </a:lnTo>
                  <a:lnTo>
                    <a:pt x="1732" y="2502"/>
                  </a:lnTo>
                  <a:lnTo>
                    <a:pt x="1732" y="2502"/>
                  </a:lnTo>
                  <a:lnTo>
                    <a:pt x="1735" y="2500"/>
                  </a:lnTo>
                  <a:lnTo>
                    <a:pt x="1735" y="2500"/>
                  </a:lnTo>
                  <a:lnTo>
                    <a:pt x="1735" y="2500"/>
                  </a:lnTo>
                  <a:lnTo>
                    <a:pt x="1737" y="2500"/>
                  </a:lnTo>
                  <a:lnTo>
                    <a:pt x="1737" y="2500"/>
                  </a:lnTo>
                  <a:lnTo>
                    <a:pt x="1739" y="2500"/>
                  </a:lnTo>
                  <a:lnTo>
                    <a:pt x="1739" y="2502"/>
                  </a:lnTo>
                  <a:lnTo>
                    <a:pt x="1742" y="2502"/>
                  </a:lnTo>
                  <a:lnTo>
                    <a:pt x="1742" y="2502"/>
                  </a:lnTo>
                  <a:lnTo>
                    <a:pt x="1742" y="2502"/>
                  </a:lnTo>
                  <a:lnTo>
                    <a:pt x="1742" y="2505"/>
                  </a:lnTo>
                  <a:lnTo>
                    <a:pt x="1742" y="2505"/>
                  </a:lnTo>
                  <a:lnTo>
                    <a:pt x="1742" y="2505"/>
                  </a:lnTo>
                  <a:lnTo>
                    <a:pt x="1742" y="2505"/>
                  </a:lnTo>
                  <a:lnTo>
                    <a:pt x="1739" y="2505"/>
                  </a:lnTo>
                  <a:lnTo>
                    <a:pt x="1739" y="2505"/>
                  </a:lnTo>
                  <a:lnTo>
                    <a:pt x="1739" y="2505"/>
                  </a:lnTo>
                  <a:lnTo>
                    <a:pt x="1737" y="2505"/>
                  </a:lnTo>
                  <a:lnTo>
                    <a:pt x="1737" y="2505"/>
                  </a:lnTo>
                  <a:lnTo>
                    <a:pt x="1737" y="2505"/>
                  </a:lnTo>
                  <a:lnTo>
                    <a:pt x="1735" y="2507"/>
                  </a:lnTo>
                  <a:lnTo>
                    <a:pt x="1735" y="2507"/>
                  </a:lnTo>
                  <a:lnTo>
                    <a:pt x="1735" y="2507"/>
                  </a:lnTo>
                  <a:lnTo>
                    <a:pt x="1737" y="2509"/>
                  </a:lnTo>
                  <a:lnTo>
                    <a:pt x="1737" y="2509"/>
                  </a:lnTo>
                  <a:lnTo>
                    <a:pt x="1735" y="2512"/>
                  </a:lnTo>
                  <a:lnTo>
                    <a:pt x="1735" y="2512"/>
                  </a:lnTo>
                  <a:lnTo>
                    <a:pt x="1735" y="2512"/>
                  </a:lnTo>
                  <a:lnTo>
                    <a:pt x="1737" y="2514"/>
                  </a:lnTo>
                  <a:lnTo>
                    <a:pt x="1737" y="2514"/>
                  </a:lnTo>
                  <a:lnTo>
                    <a:pt x="1737" y="2512"/>
                  </a:lnTo>
                  <a:lnTo>
                    <a:pt x="1737" y="2512"/>
                  </a:lnTo>
                  <a:lnTo>
                    <a:pt x="1737" y="2509"/>
                  </a:lnTo>
                  <a:lnTo>
                    <a:pt x="1739" y="2509"/>
                  </a:lnTo>
                  <a:lnTo>
                    <a:pt x="1739" y="2509"/>
                  </a:lnTo>
                  <a:lnTo>
                    <a:pt x="1739" y="2512"/>
                  </a:lnTo>
                  <a:lnTo>
                    <a:pt x="1739" y="2512"/>
                  </a:lnTo>
                  <a:lnTo>
                    <a:pt x="1742" y="2512"/>
                  </a:lnTo>
                  <a:lnTo>
                    <a:pt x="1739" y="2514"/>
                  </a:lnTo>
                  <a:lnTo>
                    <a:pt x="1739" y="2514"/>
                  </a:lnTo>
                  <a:lnTo>
                    <a:pt x="1737" y="2519"/>
                  </a:lnTo>
                  <a:lnTo>
                    <a:pt x="1737" y="2519"/>
                  </a:lnTo>
                  <a:lnTo>
                    <a:pt x="1737" y="2521"/>
                  </a:lnTo>
                  <a:lnTo>
                    <a:pt x="1737" y="2521"/>
                  </a:lnTo>
                  <a:lnTo>
                    <a:pt x="1737" y="2524"/>
                  </a:lnTo>
                  <a:lnTo>
                    <a:pt x="1739" y="2524"/>
                  </a:lnTo>
                  <a:lnTo>
                    <a:pt x="1739" y="2524"/>
                  </a:lnTo>
                  <a:lnTo>
                    <a:pt x="1739" y="2524"/>
                  </a:lnTo>
                  <a:lnTo>
                    <a:pt x="1739" y="2524"/>
                  </a:lnTo>
                  <a:lnTo>
                    <a:pt x="1739" y="2526"/>
                  </a:lnTo>
                  <a:lnTo>
                    <a:pt x="1742" y="2526"/>
                  </a:lnTo>
                  <a:lnTo>
                    <a:pt x="1742" y="2524"/>
                  </a:lnTo>
                  <a:lnTo>
                    <a:pt x="1742" y="2524"/>
                  </a:lnTo>
                  <a:lnTo>
                    <a:pt x="1742" y="2524"/>
                  </a:lnTo>
                  <a:lnTo>
                    <a:pt x="1744" y="2521"/>
                  </a:lnTo>
                  <a:lnTo>
                    <a:pt x="1744" y="2521"/>
                  </a:lnTo>
                  <a:lnTo>
                    <a:pt x="1747" y="2524"/>
                  </a:lnTo>
                  <a:lnTo>
                    <a:pt x="1749" y="2521"/>
                  </a:lnTo>
                  <a:lnTo>
                    <a:pt x="1751" y="2519"/>
                  </a:lnTo>
                  <a:lnTo>
                    <a:pt x="1751" y="2519"/>
                  </a:lnTo>
                  <a:lnTo>
                    <a:pt x="1754" y="2521"/>
                  </a:lnTo>
                  <a:lnTo>
                    <a:pt x="1751" y="2526"/>
                  </a:lnTo>
                  <a:lnTo>
                    <a:pt x="1754" y="2526"/>
                  </a:lnTo>
                  <a:lnTo>
                    <a:pt x="1754" y="2528"/>
                  </a:lnTo>
                  <a:lnTo>
                    <a:pt x="1756" y="2531"/>
                  </a:lnTo>
                  <a:lnTo>
                    <a:pt x="1756" y="2531"/>
                  </a:lnTo>
                  <a:lnTo>
                    <a:pt x="1756" y="2531"/>
                  </a:lnTo>
                  <a:lnTo>
                    <a:pt x="1758" y="2531"/>
                  </a:lnTo>
                  <a:lnTo>
                    <a:pt x="1763" y="2528"/>
                  </a:lnTo>
                  <a:lnTo>
                    <a:pt x="1763" y="2528"/>
                  </a:lnTo>
                  <a:lnTo>
                    <a:pt x="1763" y="2528"/>
                  </a:lnTo>
                  <a:lnTo>
                    <a:pt x="1763" y="2528"/>
                  </a:lnTo>
                  <a:lnTo>
                    <a:pt x="1763" y="2531"/>
                  </a:lnTo>
                  <a:lnTo>
                    <a:pt x="1765" y="2531"/>
                  </a:lnTo>
                  <a:lnTo>
                    <a:pt x="1768" y="2531"/>
                  </a:lnTo>
                  <a:lnTo>
                    <a:pt x="1770" y="2531"/>
                  </a:lnTo>
                  <a:lnTo>
                    <a:pt x="1770" y="2531"/>
                  </a:lnTo>
                  <a:lnTo>
                    <a:pt x="1773" y="2531"/>
                  </a:lnTo>
                  <a:lnTo>
                    <a:pt x="1773" y="2531"/>
                  </a:lnTo>
                  <a:lnTo>
                    <a:pt x="1775" y="2531"/>
                  </a:lnTo>
                  <a:lnTo>
                    <a:pt x="1775" y="2531"/>
                  </a:lnTo>
                  <a:lnTo>
                    <a:pt x="1775" y="2531"/>
                  </a:lnTo>
                  <a:lnTo>
                    <a:pt x="1775" y="2531"/>
                  </a:lnTo>
                  <a:lnTo>
                    <a:pt x="1777" y="2531"/>
                  </a:lnTo>
                  <a:lnTo>
                    <a:pt x="1777" y="2531"/>
                  </a:lnTo>
                  <a:lnTo>
                    <a:pt x="1782" y="2531"/>
                  </a:lnTo>
                  <a:lnTo>
                    <a:pt x="1784" y="2531"/>
                  </a:lnTo>
                  <a:lnTo>
                    <a:pt x="1787" y="2533"/>
                  </a:lnTo>
                  <a:lnTo>
                    <a:pt x="1789" y="2533"/>
                  </a:lnTo>
                  <a:lnTo>
                    <a:pt x="1791" y="2533"/>
                  </a:lnTo>
                  <a:lnTo>
                    <a:pt x="1791" y="2533"/>
                  </a:lnTo>
                  <a:lnTo>
                    <a:pt x="1791" y="2531"/>
                  </a:lnTo>
                  <a:lnTo>
                    <a:pt x="1794" y="2533"/>
                  </a:lnTo>
                  <a:lnTo>
                    <a:pt x="1794" y="2533"/>
                  </a:lnTo>
                  <a:lnTo>
                    <a:pt x="1796" y="2533"/>
                  </a:lnTo>
                  <a:lnTo>
                    <a:pt x="1796" y="2533"/>
                  </a:lnTo>
                  <a:lnTo>
                    <a:pt x="1799" y="2531"/>
                  </a:lnTo>
                  <a:lnTo>
                    <a:pt x="1799" y="2531"/>
                  </a:lnTo>
                  <a:lnTo>
                    <a:pt x="1806" y="2531"/>
                  </a:lnTo>
                  <a:lnTo>
                    <a:pt x="1808" y="2528"/>
                  </a:lnTo>
                  <a:lnTo>
                    <a:pt x="1808" y="2528"/>
                  </a:lnTo>
                  <a:lnTo>
                    <a:pt x="1808" y="2531"/>
                  </a:lnTo>
                  <a:lnTo>
                    <a:pt x="1808" y="2531"/>
                  </a:lnTo>
                  <a:lnTo>
                    <a:pt x="1808" y="2531"/>
                  </a:lnTo>
                  <a:lnTo>
                    <a:pt x="1813" y="2531"/>
                  </a:lnTo>
                  <a:lnTo>
                    <a:pt x="1815" y="2528"/>
                  </a:lnTo>
                  <a:lnTo>
                    <a:pt x="1815" y="2528"/>
                  </a:lnTo>
                  <a:lnTo>
                    <a:pt x="1815" y="2528"/>
                  </a:lnTo>
                  <a:lnTo>
                    <a:pt x="1815" y="2528"/>
                  </a:lnTo>
                  <a:lnTo>
                    <a:pt x="1818" y="2528"/>
                  </a:lnTo>
                  <a:lnTo>
                    <a:pt x="1818" y="2528"/>
                  </a:lnTo>
                  <a:lnTo>
                    <a:pt x="1820" y="2528"/>
                  </a:lnTo>
                  <a:lnTo>
                    <a:pt x="1820" y="2528"/>
                  </a:lnTo>
                  <a:lnTo>
                    <a:pt x="1820" y="2528"/>
                  </a:lnTo>
                  <a:lnTo>
                    <a:pt x="1820" y="2528"/>
                  </a:lnTo>
                  <a:lnTo>
                    <a:pt x="1820" y="2528"/>
                  </a:lnTo>
                  <a:lnTo>
                    <a:pt x="1820" y="2528"/>
                  </a:lnTo>
                  <a:lnTo>
                    <a:pt x="1818" y="2528"/>
                  </a:lnTo>
                  <a:lnTo>
                    <a:pt x="1818" y="2528"/>
                  </a:lnTo>
                  <a:lnTo>
                    <a:pt x="1820" y="2528"/>
                  </a:lnTo>
                  <a:lnTo>
                    <a:pt x="1820" y="2531"/>
                  </a:lnTo>
                  <a:lnTo>
                    <a:pt x="1822" y="2531"/>
                  </a:lnTo>
                  <a:lnTo>
                    <a:pt x="1822" y="2528"/>
                  </a:lnTo>
                  <a:lnTo>
                    <a:pt x="1822" y="2528"/>
                  </a:lnTo>
                  <a:lnTo>
                    <a:pt x="1822" y="2528"/>
                  </a:lnTo>
                  <a:lnTo>
                    <a:pt x="1822" y="2528"/>
                  </a:lnTo>
                  <a:lnTo>
                    <a:pt x="1825" y="2528"/>
                  </a:lnTo>
                  <a:lnTo>
                    <a:pt x="1825" y="2531"/>
                  </a:lnTo>
                  <a:lnTo>
                    <a:pt x="1825" y="2531"/>
                  </a:lnTo>
                  <a:lnTo>
                    <a:pt x="1827" y="2531"/>
                  </a:lnTo>
                  <a:lnTo>
                    <a:pt x="1827" y="2531"/>
                  </a:lnTo>
                  <a:lnTo>
                    <a:pt x="1827" y="2531"/>
                  </a:lnTo>
                  <a:lnTo>
                    <a:pt x="1827" y="2531"/>
                  </a:lnTo>
                  <a:lnTo>
                    <a:pt x="1829" y="2531"/>
                  </a:lnTo>
                  <a:lnTo>
                    <a:pt x="1829" y="2528"/>
                  </a:lnTo>
                  <a:lnTo>
                    <a:pt x="1829" y="2528"/>
                  </a:lnTo>
                  <a:lnTo>
                    <a:pt x="1832" y="2531"/>
                  </a:lnTo>
                  <a:lnTo>
                    <a:pt x="1844" y="2528"/>
                  </a:lnTo>
                  <a:lnTo>
                    <a:pt x="1844" y="2528"/>
                  </a:lnTo>
                  <a:lnTo>
                    <a:pt x="1841" y="2531"/>
                  </a:lnTo>
                  <a:lnTo>
                    <a:pt x="1841" y="2531"/>
                  </a:lnTo>
                  <a:lnTo>
                    <a:pt x="1841" y="2533"/>
                  </a:lnTo>
                  <a:lnTo>
                    <a:pt x="1841" y="2533"/>
                  </a:lnTo>
                  <a:lnTo>
                    <a:pt x="1841" y="2533"/>
                  </a:lnTo>
                  <a:lnTo>
                    <a:pt x="1841" y="2533"/>
                  </a:lnTo>
                  <a:lnTo>
                    <a:pt x="1844" y="2531"/>
                  </a:lnTo>
                  <a:lnTo>
                    <a:pt x="1844" y="2531"/>
                  </a:lnTo>
                  <a:lnTo>
                    <a:pt x="1841" y="2531"/>
                  </a:lnTo>
                  <a:lnTo>
                    <a:pt x="1841" y="2531"/>
                  </a:lnTo>
                  <a:lnTo>
                    <a:pt x="1841" y="2531"/>
                  </a:lnTo>
                  <a:lnTo>
                    <a:pt x="1844" y="2531"/>
                  </a:lnTo>
                  <a:lnTo>
                    <a:pt x="1844" y="2531"/>
                  </a:lnTo>
                  <a:lnTo>
                    <a:pt x="1846" y="2531"/>
                  </a:lnTo>
                  <a:lnTo>
                    <a:pt x="1846" y="2528"/>
                  </a:lnTo>
                  <a:lnTo>
                    <a:pt x="1846" y="2528"/>
                  </a:lnTo>
                  <a:lnTo>
                    <a:pt x="1846" y="2528"/>
                  </a:lnTo>
                  <a:lnTo>
                    <a:pt x="1846" y="2526"/>
                  </a:lnTo>
                  <a:lnTo>
                    <a:pt x="1846" y="2526"/>
                  </a:lnTo>
                  <a:lnTo>
                    <a:pt x="1848" y="2528"/>
                  </a:lnTo>
                  <a:lnTo>
                    <a:pt x="1848" y="2528"/>
                  </a:lnTo>
                  <a:lnTo>
                    <a:pt x="1848" y="2528"/>
                  </a:lnTo>
                  <a:lnTo>
                    <a:pt x="1848" y="2528"/>
                  </a:lnTo>
                  <a:lnTo>
                    <a:pt x="1848" y="2528"/>
                  </a:lnTo>
                  <a:lnTo>
                    <a:pt x="1851" y="2531"/>
                  </a:lnTo>
                  <a:lnTo>
                    <a:pt x="1848" y="2531"/>
                  </a:lnTo>
                  <a:lnTo>
                    <a:pt x="1846" y="2533"/>
                  </a:lnTo>
                  <a:lnTo>
                    <a:pt x="1844" y="2533"/>
                  </a:lnTo>
                  <a:lnTo>
                    <a:pt x="1848" y="2531"/>
                  </a:lnTo>
                  <a:lnTo>
                    <a:pt x="1851" y="2531"/>
                  </a:lnTo>
                  <a:lnTo>
                    <a:pt x="1851" y="2531"/>
                  </a:lnTo>
                  <a:lnTo>
                    <a:pt x="1848" y="2533"/>
                  </a:lnTo>
                  <a:lnTo>
                    <a:pt x="1846" y="2533"/>
                  </a:lnTo>
                  <a:lnTo>
                    <a:pt x="1846" y="2533"/>
                  </a:lnTo>
                  <a:lnTo>
                    <a:pt x="1848" y="2533"/>
                  </a:lnTo>
                  <a:lnTo>
                    <a:pt x="1848" y="2533"/>
                  </a:lnTo>
                  <a:lnTo>
                    <a:pt x="1848" y="2533"/>
                  </a:lnTo>
                  <a:lnTo>
                    <a:pt x="1846" y="2535"/>
                  </a:lnTo>
                  <a:lnTo>
                    <a:pt x="1846" y="2535"/>
                  </a:lnTo>
                  <a:lnTo>
                    <a:pt x="1851" y="2533"/>
                  </a:lnTo>
                  <a:lnTo>
                    <a:pt x="1851" y="2533"/>
                  </a:lnTo>
                  <a:lnTo>
                    <a:pt x="1853" y="2531"/>
                  </a:lnTo>
                  <a:lnTo>
                    <a:pt x="1851" y="2533"/>
                  </a:lnTo>
                  <a:lnTo>
                    <a:pt x="1851" y="2533"/>
                  </a:lnTo>
                  <a:lnTo>
                    <a:pt x="1851" y="2533"/>
                  </a:lnTo>
                  <a:lnTo>
                    <a:pt x="1853" y="2533"/>
                  </a:lnTo>
                  <a:lnTo>
                    <a:pt x="1853" y="2533"/>
                  </a:lnTo>
                  <a:lnTo>
                    <a:pt x="1853" y="2533"/>
                  </a:lnTo>
                  <a:lnTo>
                    <a:pt x="1853" y="2533"/>
                  </a:lnTo>
                  <a:lnTo>
                    <a:pt x="1853" y="2533"/>
                  </a:lnTo>
                  <a:lnTo>
                    <a:pt x="1855" y="2533"/>
                  </a:lnTo>
                  <a:lnTo>
                    <a:pt x="1855" y="2533"/>
                  </a:lnTo>
                  <a:lnTo>
                    <a:pt x="1855" y="2533"/>
                  </a:lnTo>
                  <a:lnTo>
                    <a:pt x="1860" y="2533"/>
                  </a:lnTo>
                  <a:lnTo>
                    <a:pt x="1862" y="2533"/>
                  </a:lnTo>
                  <a:lnTo>
                    <a:pt x="1862" y="2533"/>
                  </a:lnTo>
                  <a:lnTo>
                    <a:pt x="1865" y="2531"/>
                  </a:lnTo>
                  <a:lnTo>
                    <a:pt x="1862" y="2531"/>
                  </a:lnTo>
                  <a:lnTo>
                    <a:pt x="1862" y="2531"/>
                  </a:lnTo>
                  <a:lnTo>
                    <a:pt x="1862" y="2531"/>
                  </a:lnTo>
                  <a:lnTo>
                    <a:pt x="1860" y="2533"/>
                  </a:lnTo>
                  <a:lnTo>
                    <a:pt x="1860" y="2531"/>
                  </a:lnTo>
                  <a:lnTo>
                    <a:pt x="1862" y="2531"/>
                  </a:lnTo>
                  <a:lnTo>
                    <a:pt x="1862" y="2531"/>
                  </a:lnTo>
                  <a:lnTo>
                    <a:pt x="1865" y="2531"/>
                  </a:lnTo>
                  <a:lnTo>
                    <a:pt x="1865" y="2533"/>
                  </a:lnTo>
                  <a:lnTo>
                    <a:pt x="1865" y="2533"/>
                  </a:lnTo>
                  <a:lnTo>
                    <a:pt x="1865" y="2533"/>
                  </a:lnTo>
                  <a:lnTo>
                    <a:pt x="1867" y="2533"/>
                  </a:lnTo>
                  <a:lnTo>
                    <a:pt x="1870" y="2533"/>
                  </a:lnTo>
                  <a:lnTo>
                    <a:pt x="1872" y="2533"/>
                  </a:lnTo>
                  <a:lnTo>
                    <a:pt x="1872" y="2533"/>
                  </a:lnTo>
                  <a:lnTo>
                    <a:pt x="1872" y="2533"/>
                  </a:lnTo>
                  <a:lnTo>
                    <a:pt x="1874" y="2531"/>
                  </a:lnTo>
                  <a:lnTo>
                    <a:pt x="1874" y="2531"/>
                  </a:lnTo>
                  <a:lnTo>
                    <a:pt x="1874" y="2531"/>
                  </a:lnTo>
                  <a:lnTo>
                    <a:pt x="1874" y="2533"/>
                  </a:lnTo>
                  <a:lnTo>
                    <a:pt x="1874" y="2533"/>
                  </a:lnTo>
                  <a:lnTo>
                    <a:pt x="1877" y="2533"/>
                  </a:lnTo>
                  <a:lnTo>
                    <a:pt x="1877" y="2533"/>
                  </a:lnTo>
                  <a:lnTo>
                    <a:pt x="1877" y="2531"/>
                  </a:lnTo>
                  <a:lnTo>
                    <a:pt x="1877" y="2531"/>
                  </a:lnTo>
                  <a:lnTo>
                    <a:pt x="1877" y="2531"/>
                  </a:lnTo>
                  <a:lnTo>
                    <a:pt x="1877" y="2533"/>
                  </a:lnTo>
                  <a:lnTo>
                    <a:pt x="1877" y="2533"/>
                  </a:lnTo>
                  <a:lnTo>
                    <a:pt x="1879" y="2533"/>
                  </a:lnTo>
                  <a:lnTo>
                    <a:pt x="1879" y="2533"/>
                  </a:lnTo>
                  <a:lnTo>
                    <a:pt x="1879" y="2533"/>
                  </a:lnTo>
                  <a:lnTo>
                    <a:pt x="1879" y="2533"/>
                  </a:lnTo>
                  <a:lnTo>
                    <a:pt x="1879" y="2533"/>
                  </a:lnTo>
                  <a:lnTo>
                    <a:pt x="1879" y="2533"/>
                  </a:lnTo>
                  <a:lnTo>
                    <a:pt x="1879" y="2533"/>
                  </a:lnTo>
                  <a:lnTo>
                    <a:pt x="1879" y="2533"/>
                  </a:lnTo>
                  <a:lnTo>
                    <a:pt x="1879" y="2533"/>
                  </a:lnTo>
                  <a:lnTo>
                    <a:pt x="1879" y="2533"/>
                  </a:lnTo>
                  <a:lnTo>
                    <a:pt x="1881" y="2535"/>
                  </a:lnTo>
                  <a:lnTo>
                    <a:pt x="1881" y="2535"/>
                  </a:lnTo>
                  <a:lnTo>
                    <a:pt x="1881" y="2535"/>
                  </a:lnTo>
                  <a:lnTo>
                    <a:pt x="1881" y="2535"/>
                  </a:lnTo>
                  <a:lnTo>
                    <a:pt x="1884" y="2535"/>
                  </a:lnTo>
                  <a:lnTo>
                    <a:pt x="1881" y="2535"/>
                  </a:lnTo>
                  <a:lnTo>
                    <a:pt x="1881" y="2535"/>
                  </a:lnTo>
                  <a:lnTo>
                    <a:pt x="1881" y="2535"/>
                  </a:lnTo>
                  <a:lnTo>
                    <a:pt x="1881" y="2535"/>
                  </a:lnTo>
                  <a:lnTo>
                    <a:pt x="1881" y="2535"/>
                  </a:lnTo>
                  <a:lnTo>
                    <a:pt x="1881" y="2538"/>
                  </a:lnTo>
                  <a:lnTo>
                    <a:pt x="1881" y="2538"/>
                  </a:lnTo>
                  <a:lnTo>
                    <a:pt x="1881" y="2538"/>
                  </a:lnTo>
                  <a:lnTo>
                    <a:pt x="1881" y="2538"/>
                  </a:lnTo>
                  <a:lnTo>
                    <a:pt x="1884" y="2538"/>
                  </a:lnTo>
                  <a:lnTo>
                    <a:pt x="1884" y="2538"/>
                  </a:lnTo>
                  <a:lnTo>
                    <a:pt x="1884" y="2538"/>
                  </a:lnTo>
                  <a:lnTo>
                    <a:pt x="1884" y="2538"/>
                  </a:lnTo>
                  <a:lnTo>
                    <a:pt x="1884" y="2538"/>
                  </a:lnTo>
                  <a:lnTo>
                    <a:pt x="1884" y="2538"/>
                  </a:lnTo>
                  <a:lnTo>
                    <a:pt x="1884" y="2538"/>
                  </a:lnTo>
                  <a:lnTo>
                    <a:pt x="1884" y="2538"/>
                  </a:lnTo>
                  <a:lnTo>
                    <a:pt x="1884" y="2538"/>
                  </a:lnTo>
                  <a:lnTo>
                    <a:pt x="1884" y="2538"/>
                  </a:lnTo>
                  <a:lnTo>
                    <a:pt x="1884" y="2540"/>
                  </a:lnTo>
                  <a:lnTo>
                    <a:pt x="1884" y="2540"/>
                  </a:lnTo>
                  <a:lnTo>
                    <a:pt x="1884" y="2540"/>
                  </a:lnTo>
                  <a:lnTo>
                    <a:pt x="1884" y="2540"/>
                  </a:lnTo>
                  <a:lnTo>
                    <a:pt x="1886" y="2540"/>
                  </a:lnTo>
                  <a:lnTo>
                    <a:pt x="1886" y="2543"/>
                  </a:lnTo>
                  <a:lnTo>
                    <a:pt x="1886" y="2543"/>
                  </a:lnTo>
                  <a:lnTo>
                    <a:pt x="1886" y="2543"/>
                  </a:lnTo>
                  <a:lnTo>
                    <a:pt x="1889" y="2543"/>
                  </a:lnTo>
                  <a:lnTo>
                    <a:pt x="1886" y="2543"/>
                  </a:lnTo>
                  <a:lnTo>
                    <a:pt x="1886" y="2543"/>
                  </a:lnTo>
                  <a:lnTo>
                    <a:pt x="1886" y="2543"/>
                  </a:lnTo>
                  <a:lnTo>
                    <a:pt x="1886" y="2543"/>
                  </a:lnTo>
                  <a:lnTo>
                    <a:pt x="1889" y="2543"/>
                  </a:lnTo>
                  <a:lnTo>
                    <a:pt x="1889" y="2545"/>
                  </a:lnTo>
                  <a:lnTo>
                    <a:pt x="1889" y="2545"/>
                  </a:lnTo>
                  <a:lnTo>
                    <a:pt x="1889" y="2545"/>
                  </a:lnTo>
                  <a:lnTo>
                    <a:pt x="1889" y="2545"/>
                  </a:lnTo>
                  <a:lnTo>
                    <a:pt x="1891" y="2545"/>
                  </a:lnTo>
                  <a:lnTo>
                    <a:pt x="1891" y="2545"/>
                  </a:lnTo>
                  <a:lnTo>
                    <a:pt x="1891" y="2547"/>
                  </a:lnTo>
                  <a:lnTo>
                    <a:pt x="1891" y="2547"/>
                  </a:lnTo>
                  <a:lnTo>
                    <a:pt x="1891" y="2547"/>
                  </a:lnTo>
                  <a:lnTo>
                    <a:pt x="1891" y="2547"/>
                  </a:lnTo>
                  <a:lnTo>
                    <a:pt x="1891" y="2547"/>
                  </a:lnTo>
                  <a:lnTo>
                    <a:pt x="1891" y="2550"/>
                  </a:lnTo>
                  <a:lnTo>
                    <a:pt x="1891" y="2550"/>
                  </a:lnTo>
                  <a:lnTo>
                    <a:pt x="1893" y="2547"/>
                  </a:lnTo>
                  <a:lnTo>
                    <a:pt x="1893" y="2547"/>
                  </a:lnTo>
                  <a:lnTo>
                    <a:pt x="1893" y="2547"/>
                  </a:lnTo>
                  <a:lnTo>
                    <a:pt x="1893" y="2547"/>
                  </a:lnTo>
                  <a:lnTo>
                    <a:pt x="1893" y="2547"/>
                  </a:lnTo>
                  <a:lnTo>
                    <a:pt x="1893" y="2547"/>
                  </a:lnTo>
                  <a:lnTo>
                    <a:pt x="1896" y="2547"/>
                  </a:lnTo>
                  <a:lnTo>
                    <a:pt x="1893" y="2547"/>
                  </a:lnTo>
                  <a:lnTo>
                    <a:pt x="1893" y="2547"/>
                  </a:lnTo>
                  <a:lnTo>
                    <a:pt x="1893" y="2545"/>
                  </a:lnTo>
                  <a:lnTo>
                    <a:pt x="1893" y="2545"/>
                  </a:lnTo>
                  <a:lnTo>
                    <a:pt x="1896" y="2545"/>
                  </a:lnTo>
                  <a:lnTo>
                    <a:pt x="1896" y="2547"/>
                  </a:lnTo>
                  <a:lnTo>
                    <a:pt x="1896" y="2547"/>
                  </a:lnTo>
                  <a:lnTo>
                    <a:pt x="1896" y="2547"/>
                  </a:lnTo>
                  <a:lnTo>
                    <a:pt x="1896" y="2547"/>
                  </a:lnTo>
                  <a:lnTo>
                    <a:pt x="1896" y="2550"/>
                  </a:lnTo>
                  <a:lnTo>
                    <a:pt x="1896" y="2550"/>
                  </a:lnTo>
                  <a:lnTo>
                    <a:pt x="1896" y="2550"/>
                  </a:lnTo>
                  <a:lnTo>
                    <a:pt x="1896" y="2550"/>
                  </a:lnTo>
                  <a:lnTo>
                    <a:pt x="1896" y="2552"/>
                  </a:lnTo>
                  <a:lnTo>
                    <a:pt x="1896" y="2552"/>
                  </a:lnTo>
                  <a:lnTo>
                    <a:pt x="1896" y="2554"/>
                  </a:lnTo>
                  <a:lnTo>
                    <a:pt x="1898" y="2554"/>
                  </a:lnTo>
                  <a:lnTo>
                    <a:pt x="1898" y="2554"/>
                  </a:lnTo>
                  <a:lnTo>
                    <a:pt x="1898" y="2557"/>
                  </a:lnTo>
                  <a:lnTo>
                    <a:pt x="1898" y="2557"/>
                  </a:lnTo>
                  <a:lnTo>
                    <a:pt x="1898" y="2557"/>
                  </a:lnTo>
                  <a:lnTo>
                    <a:pt x="1898" y="2557"/>
                  </a:lnTo>
                  <a:lnTo>
                    <a:pt x="1900" y="2557"/>
                  </a:lnTo>
                  <a:lnTo>
                    <a:pt x="1900" y="2557"/>
                  </a:lnTo>
                  <a:lnTo>
                    <a:pt x="1900" y="2557"/>
                  </a:lnTo>
                  <a:lnTo>
                    <a:pt x="1898" y="2554"/>
                  </a:lnTo>
                  <a:lnTo>
                    <a:pt x="1898" y="2554"/>
                  </a:lnTo>
                  <a:lnTo>
                    <a:pt x="1898" y="2554"/>
                  </a:lnTo>
                  <a:lnTo>
                    <a:pt x="1900" y="2554"/>
                  </a:lnTo>
                  <a:lnTo>
                    <a:pt x="1900" y="2554"/>
                  </a:lnTo>
                  <a:lnTo>
                    <a:pt x="1900" y="2554"/>
                  </a:lnTo>
                  <a:lnTo>
                    <a:pt x="1900" y="2554"/>
                  </a:lnTo>
                  <a:lnTo>
                    <a:pt x="1900" y="2557"/>
                  </a:lnTo>
                  <a:lnTo>
                    <a:pt x="1900" y="2557"/>
                  </a:lnTo>
                  <a:lnTo>
                    <a:pt x="1900" y="2559"/>
                  </a:lnTo>
                  <a:lnTo>
                    <a:pt x="1900" y="2559"/>
                  </a:lnTo>
                  <a:lnTo>
                    <a:pt x="1903" y="2557"/>
                  </a:lnTo>
                  <a:lnTo>
                    <a:pt x="1903" y="2557"/>
                  </a:lnTo>
                  <a:lnTo>
                    <a:pt x="1903" y="2559"/>
                  </a:lnTo>
                  <a:lnTo>
                    <a:pt x="1905" y="2559"/>
                  </a:lnTo>
                  <a:lnTo>
                    <a:pt x="1905" y="2559"/>
                  </a:lnTo>
                  <a:lnTo>
                    <a:pt x="1905" y="2557"/>
                  </a:lnTo>
                  <a:lnTo>
                    <a:pt x="1905" y="2557"/>
                  </a:lnTo>
                  <a:lnTo>
                    <a:pt x="1905" y="2557"/>
                  </a:lnTo>
                  <a:lnTo>
                    <a:pt x="1905" y="2557"/>
                  </a:lnTo>
                  <a:lnTo>
                    <a:pt x="1905" y="2557"/>
                  </a:lnTo>
                  <a:lnTo>
                    <a:pt x="1905" y="2557"/>
                  </a:lnTo>
                  <a:lnTo>
                    <a:pt x="1905" y="2554"/>
                  </a:lnTo>
                  <a:lnTo>
                    <a:pt x="1905" y="2554"/>
                  </a:lnTo>
                  <a:lnTo>
                    <a:pt x="1907" y="2554"/>
                  </a:lnTo>
                  <a:lnTo>
                    <a:pt x="1907" y="2554"/>
                  </a:lnTo>
                  <a:lnTo>
                    <a:pt x="1910" y="2554"/>
                  </a:lnTo>
                  <a:lnTo>
                    <a:pt x="1910" y="2557"/>
                  </a:lnTo>
                  <a:lnTo>
                    <a:pt x="1910" y="2557"/>
                  </a:lnTo>
                  <a:lnTo>
                    <a:pt x="1910" y="2557"/>
                  </a:lnTo>
                  <a:lnTo>
                    <a:pt x="1910" y="2557"/>
                  </a:lnTo>
                  <a:lnTo>
                    <a:pt x="1910" y="2559"/>
                  </a:lnTo>
                  <a:lnTo>
                    <a:pt x="1910" y="2562"/>
                  </a:lnTo>
                  <a:lnTo>
                    <a:pt x="1910" y="2562"/>
                  </a:lnTo>
                  <a:lnTo>
                    <a:pt x="1910" y="2562"/>
                  </a:lnTo>
                  <a:lnTo>
                    <a:pt x="1907" y="2564"/>
                  </a:lnTo>
                  <a:lnTo>
                    <a:pt x="1907" y="2564"/>
                  </a:lnTo>
                  <a:lnTo>
                    <a:pt x="1910" y="2564"/>
                  </a:lnTo>
                  <a:lnTo>
                    <a:pt x="1910" y="2564"/>
                  </a:lnTo>
                  <a:lnTo>
                    <a:pt x="1910" y="2566"/>
                  </a:lnTo>
                  <a:lnTo>
                    <a:pt x="1910" y="2566"/>
                  </a:lnTo>
                  <a:lnTo>
                    <a:pt x="1910" y="2566"/>
                  </a:lnTo>
                  <a:lnTo>
                    <a:pt x="1910" y="2566"/>
                  </a:lnTo>
                  <a:lnTo>
                    <a:pt x="1910" y="2564"/>
                  </a:lnTo>
                  <a:lnTo>
                    <a:pt x="1910" y="2564"/>
                  </a:lnTo>
                  <a:lnTo>
                    <a:pt x="1910" y="2564"/>
                  </a:lnTo>
                  <a:lnTo>
                    <a:pt x="1912" y="2564"/>
                  </a:lnTo>
                  <a:lnTo>
                    <a:pt x="1912" y="2564"/>
                  </a:lnTo>
                  <a:lnTo>
                    <a:pt x="1912" y="2566"/>
                  </a:lnTo>
                  <a:lnTo>
                    <a:pt x="1912" y="2564"/>
                  </a:lnTo>
                  <a:lnTo>
                    <a:pt x="1912" y="2564"/>
                  </a:lnTo>
                  <a:lnTo>
                    <a:pt x="1912" y="2566"/>
                  </a:lnTo>
                  <a:lnTo>
                    <a:pt x="1912" y="2566"/>
                  </a:lnTo>
                  <a:lnTo>
                    <a:pt x="1912" y="2566"/>
                  </a:lnTo>
                  <a:lnTo>
                    <a:pt x="1915" y="2566"/>
                  </a:lnTo>
                  <a:lnTo>
                    <a:pt x="1915" y="2566"/>
                  </a:lnTo>
                  <a:lnTo>
                    <a:pt x="1915" y="2569"/>
                  </a:lnTo>
                  <a:lnTo>
                    <a:pt x="1912" y="2569"/>
                  </a:lnTo>
                  <a:lnTo>
                    <a:pt x="1912" y="2569"/>
                  </a:lnTo>
                  <a:lnTo>
                    <a:pt x="1910" y="2569"/>
                  </a:lnTo>
                  <a:lnTo>
                    <a:pt x="1910" y="2569"/>
                  </a:lnTo>
                  <a:lnTo>
                    <a:pt x="1910" y="2569"/>
                  </a:lnTo>
                  <a:lnTo>
                    <a:pt x="1912" y="2569"/>
                  </a:lnTo>
                  <a:lnTo>
                    <a:pt x="1912" y="2569"/>
                  </a:lnTo>
                  <a:lnTo>
                    <a:pt x="1912" y="2571"/>
                  </a:lnTo>
                  <a:lnTo>
                    <a:pt x="1912" y="2571"/>
                  </a:lnTo>
                  <a:lnTo>
                    <a:pt x="1912" y="2571"/>
                  </a:lnTo>
                  <a:lnTo>
                    <a:pt x="1912" y="2571"/>
                  </a:lnTo>
                  <a:lnTo>
                    <a:pt x="1912" y="2571"/>
                  </a:lnTo>
                  <a:lnTo>
                    <a:pt x="1912" y="2571"/>
                  </a:lnTo>
                  <a:lnTo>
                    <a:pt x="1915" y="2571"/>
                  </a:lnTo>
                  <a:lnTo>
                    <a:pt x="1915" y="2571"/>
                  </a:lnTo>
                  <a:lnTo>
                    <a:pt x="1915" y="2571"/>
                  </a:lnTo>
                  <a:lnTo>
                    <a:pt x="1915" y="2573"/>
                  </a:lnTo>
                  <a:lnTo>
                    <a:pt x="1915" y="2573"/>
                  </a:lnTo>
                  <a:lnTo>
                    <a:pt x="1915" y="2573"/>
                  </a:lnTo>
                  <a:lnTo>
                    <a:pt x="1917" y="2573"/>
                  </a:lnTo>
                  <a:lnTo>
                    <a:pt x="1917" y="2573"/>
                  </a:lnTo>
                  <a:lnTo>
                    <a:pt x="1917" y="2573"/>
                  </a:lnTo>
                  <a:lnTo>
                    <a:pt x="1917" y="2573"/>
                  </a:lnTo>
                  <a:lnTo>
                    <a:pt x="1917" y="2576"/>
                  </a:lnTo>
                  <a:lnTo>
                    <a:pt x="1919" y="2576"/>
                  </a:lnTo>
                  <a:lnTo>
                    <a:pt x="1919" y="2576"/>
                  </a:lnTo>
                  <a:lnTo>
                    <a:pt x="1919" y="2576"/>
                  </a:lnTo>
                  <a:lnTo>
                    <a:pt x="1919" y="2576"/>
                  </a:lnTo>
                  <a:lnTo>
                    <a:pt x="1919" y="2576"/>
                  </a:lnTo>
                  <a:lnTo>
                    <a:pt x="1922" y="2576"/>
                  </a:lnTo>
                  <a:lnTo>
                    <a:pt x="1922" y="2576"/>
                  </a:lnTo>
                  <a:lnTo>
                    <a:pt x="1922" y="2576"/>
                  </a:lnTo>
                  <a:lnTo>
                    <a:pt x="1922" y="2576"/>
                  </a:lnTo>
                  <a:lnTo>
                    <a:pt x="1922" y="2578"/>
                  </a:lnTo>
                  <a:lnTo>
                    <a:pt x="1922" y="2578"/>
                  </a:lnTo>
                  <a:lnTo>
                    <a:pt x="1924" y="2578"/>
                  </a:lnTo>
                  <a:lnTo>
                    <a:pt x="1924" y="2578"/>
                  </a:lnTo>
                  <a:lnTo>
                    <a:pt x="1924" y="2578"/>
                  </a:lnTo>
                  <a:lnTo>
                    <a:pt x="1924" y="2578"/>
                  </a:lnTo>
                  <a:lnTo>
                    <a:pt x="1924" y="2578"/>
                  </a:lnTo>
                  <a:lnTo>
                    <a:pt x="1924" y="2580"/>
                  </a:lnTo>
                  <a:lnTo>
                    <a:pt x="1924" y="2580"/>
                  </a:lnTo>
                  <a:lnTo>
                    <a:pt x="1924" y="2580"/>
                  </a:lnTo>
                  <a:lnTo>
                    <a:pt x="1924" y="2580"/>
                  </a:lnTo>
                  <a:lnTo>
                    <a:pt x="1924" y="2580"/>
                  </a:lnTo>
                  <a:lnTo>
                    <a:pt x="1924" y="2580"/>
                  </a:lnTo>
                  <a:lnTo>
                    <a:pt x="1924" y="2580"/>
                  </a:lnTo>
                  <a:lnTo>
                    <a:pt x="1924" y="2580"/>
                  </a:lnTo>
                  <a:lnTo>
                    <a:pt x="1924" y="2583"/>
                  </a:lnTo>
                  <a:lnTo>
                    <a:pt x="1924" y="2583"/>
                  </a:lnTo>
                  <a:lnTo>
                    <a:pt x="1924" y="2583"/>
                  </a:lnTo>
                  <a:lnTo>
                    <a:pt x="1926" y="2583"/>
                  </a:lnTo>
                  <a:lnTo>
                    <a:pt x="1926" y="2583"/>
                  </a:lnTo>
                  <a:lnTo>
                    <a:pt x="1926" y="2583"/>
                  </a:lnTo>
                  <a:lnTo>
                    <a:pt x="1926" y="2580"/>
                  </a:lnTo>
                  <a:lnTo>
                    <a:pt x="1926" y="2580"/>
                  </a:lnTo>
                  <a:lnTo>
                    <a:pt x="1926" y="2578"/>
                  </a:lnTo>
                  <a:lnTo>
                    <a:pt x="1926" y="2578"/>
                  </a:lnTo>
                  <a:lnTo>
                    <a:pt x="1929" y="2578"/>
                  </a:lnTo>
                  <a:lnTo>
                    <a:pt x="1929" y="2580"/>
                  </a:lnTo>
                  <a:lnTo>
                    <a:pt x="1929" y="2580"/>
                  </a:lnTo>
                  <a:lnTo>
                    <a:pt x="1929" y="2580"/>
                  </a:lnTo>
                  <a:lnTo>
                    <a:pt x="1926" y="2583"/>
                  </a:lnTo>
                  <a:lnTo>
                    <a:pt x="1926" y="2583"/>
                  </a:lnTo>
                  <a:lnTo>
                    <a:pt x="1926" y="2583"/>
                  </a:lnTo>
                  <a:lnTo>
                    <a:pt x="1929" y="2585"/>
                  </a:lnTo>
                  <a:lnTo>
                    <a:pt x="1929" y="2585"/>
                  </a:lnTo>
                  <a:lnTo>
                    <a:pt x="1929" y="2585"/>
                  </a:lnTo>
                  <a:lnTo>
                    <a:pt x="1926" y="2585"/>
                  </a:lnTo>
                  <a:lnTo>
                    <a:pt x="1926" y="2585"/>
                  </a:lnTo>
                  <a:lnTo>
                    <a:pt x="1926" y="2585"/>
                  </a:lnTo>
                  <a:lnTo>
                    <a:pt x="1924" y="2585"/>
                  </a:lnTo>
                  <a:lnTo>
                    <a:pt x="1924" y="2585"/>
                  </a:lnTo>
                  <a:lnTo>
                    <a:pt x="1924" y="2585"/>
                  </a:lnTo>
                  <a:lnTo>
                    <a:pt x="1924" y="2585"/>
                  </a:lnTo>
                  <a:lnTo>
                    <a:pt x="1924" y="2585"/>
                  </a:lnTo>
                  <a:lnTo>
                    <a:pt x="1922" y="2585"/>
                  </a:lnTo>
                  <a:lnTo>
                    <a:pt x="1922" y="2585"/>
                  </a:lnTo>
                  <a:lnTo>
                    <a:pt x="1922" y="2585"/>
                  </a:lnTo>
                  <a:lnTo>
                    <a:pt x="1922" y="2585"/>
                  </a:lnTo>
                  <a:lnTo>
                    <a:pt x="1922" y="2583"/>
                  </a:lnTo>
                  <a:lnTo>
                    <a:pt x="1922" y="2583"/>
                  </a:lnTo>
                  <a:lnTo>
                    <a:pt x="1919" y="2583"/>
                  </a:lnTo>
                  <a:lnTo>
                    <a:pt x="1919" y="2583"/>
                  </a:lnTo>
                  <a:lnTo>
                    <a:pt x="1919" y="2583"/>
                  </a:lnTo>
                  <a:lnTo>
                    <a:pt x="1919" y="2583"/>
                  </a:lnTo>
                  <a:lnTo>
                    <a:pt x="1919" y="2583"/>
                  </a:lnTo>
                  <a:lnTo>
                    <a:pt x="1919" y="2583"/>
                  </a:lnTo>
                  <a:lnTo>
                    <a:pt x="1919" y="2583"/>
                  </a:lnTo>
                  <a:lnTo>
                    <a:pt x="1919" y="2583"/>
                  </a:lnTo>
                  <a:lnTo>
                    <a:pt x="1919" y="2580"/>
                  </a:lnTo>
                  <a:lnTo>
                    <a:pt x="1919" y="2580"/>
                  </a:lnTo>
                  <a:lnTo>
                    <a:pt x="1919" y="2580"/>
                  </a:lnTo>
                  <a:lnTo>
                    <a:pt x="1917" y="2580"/>
                  </a:lnTo>
                  <a:lnTo>
                    <a:pt x="1917" y="2583"/>
                  </a:lnTo>
                  <a:lnTo>
                    <a:pt x="1917" y="2583"/>
                  </a:lnTo>
                  <a:lnTo>
                    <a:pt x="1915" y="2583"/>
                  </a:lnTo>
                  <a:lnTo>
                    <a:pt x="1915" y="2583"/>
                  </a:lnTo>
                  <a:lnTo>
                    <a:pt x="1915" y="2583"/>
                  </a:lnTo>
                  <a:lnTo>
                    <a:pt x="1915" y="2585"/>
                  </a:lnTo>
                  <a:lnTo>
                    <a:pt x="1915" y="2585"/>
                  </a:lnTo>
                  <a:lnTo>
                    <a:pt x="1915" y="2585"/>
                  </a:lnTo>
                  <a:lnTo>
                    <a:pt x="1915" y="2585"/>
                  </a:lnTo>
                  <a:lnTo>
                    <a:pt x="1915" y="2585"/>
                  </a:lnTo>
                  <a:lnTo>
                    <a:pt x="1912" y="2585"/>
                  </a:lnTo>
                  <a:lnTo>
                    <a:pt x="1912" y="2585"/>
                  </a:lnTo>
                  <a:lnTo>
                    <a:pt x="1912" y="2585"/>
                  </a:lnTo>
                  <a:lnTo>
                    <a:pt x="1912" y="2585"/>
                  </a:lnTo>
                  <a:lnTo>
                    <a:pt x="1912" y="2588"/>
                  </a:lnTo>
                  <a:lnTo>
                    <a:pt x="1915" y="2588"/>
                  </a:lnTo>
                  <a:lnTo>
                    <a:pt x="1915" y="2588"/>
                  </a:lnTo>
                  <a:lnTo>
                    <a:pt x="1915" y="2588"/>
                  </a:lnTo>
                  <a:lnTo>
                    <a:pt x="1917" y="2590"/>
                  </a:lnTo>
                  <a:lnTo>
                    <a:pt x="1917" y="2590"/>
                  </a:lnTo>
                  <a:lnTo>
                    <a:pt x="1919" y="2590"/>
                  </a:lnTo>
                  <a:lnTo>
                    <a:pt x="1919" y="2590"/>
                  </a:lnTo>
                  <a:lnTo>
                    <a:pt x="1919" y="2595"/>
                  </a:lnTo>
                  <a:lnTo>
                    <a:pt x="1919" y="2597"/>
                  </a:lnTo>
                  <a:lnTo>
                    <a:pt x="1919" y="2599"/>
                  </a:lnTo>
                  <a:lnTo>
                    <a:pt x="1919" y="2599"/>
                  </a:lnTo>
                  <a:lnTo>
                    <a:pt x="1917" y="2602"/>
                  </a:lnTo>
                  <a:lnTo>
                    <a:pt x="1917" y="2602"/>
                  </a:lnTo>
                  <a:lnTo>
                    <a:pt x="1915" y="2602"/>
                  </a:lnTo>
                  <a:lnTo>
                    <a:pt x="1912" y="2602"/>
                  </a:lnTo>
                  <a:lnTo>
                    <a:pt x="1910" y="2602"/>
                  </a:lnTo>
                  <a:lnTo>
                    <a:pt x="1907" y="2602"/>
                  </a:lnTo>
                  <a:lnTo>
                    <a:pt x="1905" y="2599"/>
                  </a:lnTo>
                  <a:lnTo>
                    <a:pt x="1903" y="2599"/>
                  </a:lnTo>
                  <a:lnTo>
                    <a:pt x="1903" y="2599"/>
                  </a:lnTo>
                  <a:lnTo>
                    <a:pt x="1900" y="2599"/>
                  </a:lnTo>
                  <a:lnTo>
                    <a:pt x="1900" y="2599"/>
                  </a:lnTo>
                  <a:lnTo>
                    <a:pt x="1900" y="2599"/>
                  </a:lnTo>
                  <a:lnTo>
                    <a:pt x="1898" y="2599"/>
                  </a:lnTo>
                  <a:lnTo>
                    <a:pt x="1898" y="2599"/>
                  </a:lnTo>
                  <a:lnTo>
                    <a:pt x="1896" y="2597"/>
                  </a:lnTo>
                  <a:lnTo>
                    <a:pt x="1896" y="2597"/>
                  </a:lnTo>
                  <a:lnTo>
                    <a:pt x="1896" y="2595"/>
                  </a:lnTo>
                  <a:lnTo>
                    <a:pt x="1893" y="2595"/>
                  </a:lnTo>
                  <a:lnTo>
                    <a:pt x="1893" y="2592"/>
                  </a:lnTo>
                  <a:lnTo>
                    <a:pt x="1891" y="2595"/>
                  </a:lnTo>
                  <a:lnTo>
                    <a:pt x="1889" y="2597"/>
                  </a:lnTo>
                  <a:lnTo>
                    <a:pt x="1884" y="2602"/>
                  </a:lnTo>
                  <a:lnTo>
                    <a:pt x="1884" y="2599"/>
                  </a:lnTo>
                  <a:lnTo>
                    <a:pt x="1884" y="2592"/>
                  </a:lnTo>
                  <a:lnTo>
                    <a:pt x="1884" y="2592"/>
                  </a:lnTo>
                  <a:lnTo>
                    <a:pt x="1884" y="2590"/>
                  </a:lnTo>
                  <a:lnTo>
                    <a:pt x="1881" y="2590"/>
                  </a:lnTo>
                  <a:lnTo>
                    <a:pt x="1879" y="2592"/>
                  </a:lnTo>
                  <a:lnTo>
                    <a:pt x="1877" y="2592"/>
                  </a:lnTo>
                  <a:lnTo>
                    <a:pt x="1877" y="2595"/>
                  </a:lnTo>
                  <a:lnTo>
                    <a:pt x="1877" y="2595"/>
                  </a:lnTo>
                  <a:lnTo>
                    <a:pt x="1877" y="2595"/>
                  </a:lnTo>
                  <a:lnTo>
                    <a:pt x="1877" y="2595"/>
                  </a:lnTo>
                  <a:lnTo>
                    <a:pt x="1877" y="2592"/>
                  </a:lnTo>
                  <a:lnTo>
                    <a:pt x="1877" y="2592"/>
                  </a:lnTo>
                  <a:lnTo>
                    <a:pt x="1879" y="2590"/>
                  </a:lnTo>
                  <a:lnTo>
                    <a:pt x="1879" y="2590"/>
                  </a:lnTo>
                  <a:lnTo>
                    <a:pt x="1879" y="2588"/>
                  </a:lnTo>
                  <a:lnTo>
                    <a:pt x="1879" y="2588"/>
                  </a:lnTo>
                  <a:lnTo>
                    <a:pt x="1879" y="2588"/>
                  </a:lnTo>
                  <a:lnTo>
                    <a:pt x="1879" y="2588"/>
                  </a:lnTo>
                  <a:lnTo>
                    <a:pt x="1879" y="2585"/>
                  </a:lnTo>
                  <a:lnTo>
                    <a:pt x="1879" y="2585"/>
                  </a:lnTo>
                  <a:lnTo>
                    <a:pt x="1879" y="2585"/>
                  </a:lnTo>
                  <a:lnTo>
                    <a:pt x="1881" y="2583"/>
                  </a:lnTo>
                  <a:lnTo>
                    <a:pt x="1881" y="2583"/>
                  </a:lnTo>
                  <a:lnTo>
                    <a:pt x="1879" y="2583"/>
                  </a:lnTo>
                  <a:lnTo>
                    <a:pt x="1879" y="2583"/>
                  </a:lnTo>
                  <a:lnTo>
                    <a:pt x="1877" y="2583"/>
                  </a:lnTo>
                  <a:lnTo>
                    <a:pt x="1877" y="2585"/>
                  </a:lnTo>
                  <a:lnTo>
                    <a:pt x="1879" y="2585"/>
                  </a:lnTo>
                  <a:lnTo>
                    <a:pt x="1877" y="2585"/>
                  </a:lnTo>
                  <a:lnTo>
                    <a:pt x="1877" y="2588"/>
                  </a:lnTo>
                  <a:lnTo>
                    <a:pt x="1877" y="2588"/>
                  </a:lnTo>
                  <a:lnTo>
                    <a:pt x="1877" y="2585"/>
                  </a:lnTo>
                  <a:lnTo>
                    <a:pt x="1874" y="2585"/>
                  </a:lnTo>
                  <a:lnTo>
                    <a:pt x="1874" y="2588"/>
                  </a:lnTo>
                  <a:lnTo>
                    <a:pt x="1874" y="2585"/>
                  </a:lnTo>
                  <a:lnTo>
                    <a:pt x="1874" y="2585"/>
                  </a:lnTo>
                  <a:lnTo>
                    <a:pt x="1874" y="2585"/>
                  </a:lnTo>
                  <a:lnTo>
                    <a:pt x="1874" y="2583"/>
                  </a:lnTo>
                  <a:lnTo>
                    <a:pt x="1872" y="2583"/>
                  </a:lnTo>
                  <a:lnTo>
                    <a:pt x="1872" y="2583"/>
                  </a:lnTo>
                  <a:lnTo>
                    <a:pt x="1872" y="2583"/>
                  </a:lnTo>
                  <a:lnTo>
                    <a:pt x="1872" y="2583"/>
                  </a:lnTo>
                  <a:lnTo>
                    <a:pt x="1872" y="2583"/>
                  </a:lnTo>
                  <a:lnTo>
                    <a:pt x="1870" y="2583"/>
                  </a:lnTo>
                  <a:lnTo>
                    <a:pt x="1870" y="2583"/>
                  </a:lnTo>
                  <a:lnTo>
                    <a:pt x="1870" y="2583"/>
                  </a:lnTo>
                  <a:lnTo>
                    <a:pt x="1867" y="2578"/>
                  </a:lnTo>
                  <a:lnTo>
                    <a:pt x="1867" y="2578"/>
                  </a:lnTo>
                  <a:lnTo>
                    <a:pt x="1867" y="2576"/>
                  </a:lnTo>
                  <a:lnTo>
                    <a:pt x="1867" y="2576"/>
                  </a:lnTo>
                  <a:lnTo>
                    <a:pt x="1865" y="2576"/>
                  </a:lnTo>
                  <a:lnTo>
                    <a:pt x="1865" y="2576"/>
                  </a:lnTo>
                  <a:lnTo>
                    <a:pt x="1865" y="2573"/>
                  </a:lnTo>
                  <a:lnTo>
                    <a:pt x="1867" y="2571"/>
                  </a:lnTo>
                  <a:lnTo>
                    <a:pt x="1867" y="2571"/>
                  </a:lnTo>
                  <a:lnTo>
                    <a:pt x="1865" y="2571"/>
                  </a:lnTo>
                  <a:lnTo>
                    <a:pt x="1855" y="2573"/>
                  </a:lnTo>
                  <a:lnTo>
                    <a:pt x="1853" y="2571"/>
                  </a:lnTo>
                  <a:lnTo>
                    <a:pt x="1853" y="2571"/>
                  </a:lnTo>
                  <a:lnTo>
                    <a:pt x="1853" y="2571"/>
                  </a:lnTo>
                  <a:lnTo>
                    <a:pt x="1853" y="2571"/>
                  </a:lnTo>
                  <a:lnTo>
                    <a:pt x="1853" y="2571"/>
                  </a:lnTo>
                  <a:lnTo>
                    <a:pt x="1851" y="2571"/>
                  </a:lnTo>
                  <a:lnTo>
                    <a:pt x="1851" y="2573"/>
                  </a:lnTo>
                  <a:lnTo>
                    <a:pt x="1851" y="2573"/>
                  </a:lnTo>
                  <a:lnTo>
                    <a:pt x="1851" y="2573"/>
                  </a:lnTo>
                  <a:lnTo>
                    <a:pt x="1851" y="2573"/>
                  </a:lnTo>
                  <a:lnTo>
                    <a:pt x="1851" y="2576"/>
                  </a:lnTo>
                  <a:lnTo>
                    <a:pt x="1851" y="2576"/>
                  </a:lnTo>
                  <a:lnTo>
                    <a:pt x="1853" y="2576"/>
                  </a:lnTo>
                  <a:lnTo>
                    <a:pt x="1853" y="2576"/>
                  </a:lnTo>
                  <a:lnTo>
                    <a:pt x="1853" y="2576"/>
                  </a:lnTo>
                  <a:lnTo>
                    <a:pt x="1853" y="2576"/>
                  </a:lnTo>
                  <a:lnTo>
                    <a:pt x="1855" y="2576"/>
                  </a:lnTo>
                  <a:lnTo>
                    <a:pt x="1855" y="2576"/>
                  </a:lnTo>
                  <a:lnTo>
                    <a:pt x="1855" y="2576"/>
                  </a:lnTo>
                  <a:lnTo>
                    <a:pt x="1855" y="2576"/>
                  </a:lnTo>
                  <a:lnTo>
                    <a:pt x="1855" y="2576"/>
                  </a:lnTo>
                  <a:lnTo>
                    <a:pt x="1855" y="2576"/>
                  </a:lnTo>
                  <a:lnTo>
                    <a:pt x="1855" y="2578"/>
                  </a:lnTo>
                  <a:lnTo>
                    <a:pt x="1855" y="2578"/>
                  </a:lnTo>
                  <a:lnTo>
                    <a:pt x="1858" y="2578"/>
                  </a:lnTo>
                  <a:lnTo>
                    <a:pt x="1858" y="2578"/>
                  </a:lnTo>
                  <a:lnTo>
                    <a:pt x="1858" y="2578"/>
                  </a:lnTo>
                  <a:lnTo>
                    <a:pt x="1860" y="2580"/>
                  </a:lnTo>
                  <a:lnTo>
                    <a:pt x="1860" y="2580"/>
                  </a:lnTo>
                  <a:lnTo>
                    <a:pt x="1860" y="2580"/>
                  </a:lnTo>
                  <a:lnTo>
                    <a:pt x="1860" y="2580"/>
                  </a:lnTo>
                  <a:lnTo>
                    <a:pt x="1860" y="2580"/>
                  </a:lnTo>
                  <a:lnTo>
                    <a:pt x="1860" y="2580"/>
                  </a:lnTo>
                  <a:lnTo>
                    <a:pt x="1862" y="2583"/>
                  </a:lnTo>
                  <a:lnTo>
                    <a:pt x="1862" y="2583"/>
                  </a:lnTo>
                  <a:lnTo>
                    <a:pt x="1862" y="2583"/>
                  </a:lnTo>
                  <a:lnTo>
                    <a:pt x="1862" y="2585"/>
                  </a:lnTo>
                  <a:lnTo>
                    <a:pt x="1862" y="2585"/>
                  </a:lnTo>
                  <a:lnTo>
                    <a:pt x="1862" y="2585"/>
                  </a:lnTo>
                  <a:lnTo>
                    <a:pt x="1862" y="2585"/>
                  </a:lnTo>
                  <a:lnTo>
                    <a:pt x="1862" y="2583"/>
                  </a:lnTo>
                  <a:lnTo>
                    <a:pt x="1865" y="2585"/>
                  </a:lnTo>
                  <a:lnTo>
                    <a:pt x="1865" y="2585"/>
                  </a:lnTo>
                  <a:lnTo>
                    <a:pt x="1865" y="2583"/>
                  </a:lnTo>
                  <a:lnTo>
                    <a:pt x="1865" y="2583"/>
                  </a:lnTo>
                  <a:lnTo>
                    <a:pt x="1865" y="2583"/>
                  </a:lnTo>
                  <a:lnTo>
                    <a:pt x="1865" y="2585"/>
                  </a:lnTo>
                  <a:lnTo>
                    <a:pt x="1865" y="2585"/>
                  </a:lnTo>
                  <a:lnTo>
                    <a:pt x="1865" y="2585"/>
                  </a:lnTo>
                  <a:lnTo>
                    <a:pt x="1865" y="2585"/>
                  </a:lnTo>
                  <a:lnTo>
                    <a:pt x="1865" y="2585"/>
                  </a:lnTo>
                  <a:lnTo>
                    <a:pt x="1865" y="2585"/>
                  </a:lnTo>
                  <a:lnTo>
                    <a:pt x="1867" y="2585"/>
                  </a:lnTo>
                  <a:lnTo>
                    <a:pt x="1865" y="2585"/>
                  </a:lnTo>
                  <a:lnTo>
                    <a:pt x="1867" y="2588"/>
                  </a:lnTo>
                  <a:lnTo>
                    <a:pt x="1867" y="2590"/>
                  </a:lnTo>
                  <a:lnTo>
                    <a:pt x="1867" y="2590"/>
                  </a:lnTo>
                  <a:lnTo>
                    <a:pt x="1867" y="2590"/>
                  </a:lnTo>
                  <a:lnTo>
                    <a:pt x="1867" y="2590"/>
                  </a:lnTo>
                  <a:lnTo>
                    <a:pt x="1867" y="2592"/>
                  </a:lnTo>
                  <a:lnTo>
                    <a:pt x="1870" y="2592"/>
                  </a:lnTo>
                  <a:lnTo>
                    <a:pt x="1870" y="2592"/>
                  </a:lnTo>
                  <a:lnTo>
                    <a:pt x="1870" y="2592"/>
                  </a:lnTo>
                  <a:lnTo>
                    <a:pt x="1870" y="2592"/>
                  </a:lnTo>
                  <a:lnTo>
                    <a:pt x="1870" y="2595"/>
                  </a:lnTo>
                  <a:lnTo>
                    <a:pt x="1870" y="2595"/>
                  </a:lnTo>
                  <a:lnTo>
                    <a:pt x="1872" y="2597"/>
                  </a:lnTo>
                  <a:lnTo>
                    <a:pt x="1870" y="2599"/>
                  </a:lnTo>
                  <a:lnTo>
                    <a:pt x="1872" y="2599"/>
                  </a:lnTo>
                  <a:lnTo>
                    <a:pt x="1872" y="2599"/>
                  </a:lnTo>
                  <a:lnTo>
                    <a:pt x="1872" y="2602"/>
                  </a:lnTo>
                  <a:lnTo>
                    <a:pt x="1872" y="2602"/>
                  </a:lnTo>
                  <a:lnTo>
                    <a:pt x="1872" y="2604"/>
                  </a:lnTo>
                  <a:lnTo>
                    <a:pt x="1870" y="2609"/>
                  </a:lnTo>
                  <a:lnTo>
                    <a:pt x="1870" y="2609"/>
                  </a:lnTo>
                  <a:lnTo>
                    <a:pt x="1870" y="2611"/>
                  </a:lnTo>
                  <a:lnTo>
                    <a:pt x="1870" y="2614"/>
                  </a:lnTo>
                  <a:lnTo>
                    <a:pt x="1867" y="2614"/>
                  </a:lnTo>
                  <a:lnTo>
                    <a:pt x="1867" y="2614"/>
                  </a:lnTo>
                  <a:lnTo>
                    <a:pt x="1865" y="2614"/>
                  </a:lnTo>
                  <a:lnTo>
                    <a:pt x="1865" y="2618"/>
                  </a:lnTo>
                  <a:lnTo>
                    <a:pt x="1865" y="2618"/>
                  </a:lnTo>
                  <a:lnTo>
                    <a:pt x="1865" y="2618"/>
                  </a:lnTo>
                  <a:lnTo>
                    <a:pt x="1862" y="2618"/>
                  </a:lnTo>
                  <a:lnTo>
                    <a:pt x="1862" y="2618"/>
                  </a:lnTo>
                  <a:lnTo>
                    <a:pt x="1862" y="2618"/>
                  </a:lnTo>
                  <a:lnTo>
                    <a:pt x="1862" y="2621"/>
                  </a:lnTo>
                  <a:lnTo>
                    <a:pt x="1862" y="2621"/>
                  </a:lnTo>
                  <a:lnTo>
                    <a:pt x="1862" y="2621"/>
                  </a:lnTo>
                  <a:lnTo>
                    <a:pt x="1862" y="2621"/>
                  </a:lnTo>
                  <a:lnTo>
                    <a:pt x="1862" y="2623"/>
                  </a:lnTo>
                  <a:lnTo>
                    <a:pt x="1862" y="2625"/>
                  </a:lnTo>
                  <a:lnTo>
                    <a:pt x="1862" y="2628"/>
                  </a:lnTo>
                  <a:lnTo>
                    <a:pt x="1860" y="2630"/>
                  </a:lnTo>
                  <a:lnTo>
                    <a:pt x="1860" y="2632"/>
                  </a:lnTo>
                  <a:lnTo>
                    <a:pt x="1860" y="2632"/>
                  </a:lnTo>
                  <a:lnTo>
                    <a:pt x="1860" y="2637"/>
                  </a:lnTo>
                  <a:lnTo>
                    <a:pt x="1862" y="2640"/>
                  </a:lnTo>
                  <a:lnTo>
                    <a:pt x="1862" y="2642"/>
                  </a:lnTo>
                  <a:lnTo>
                    <a:pt x="1862" y="2644"/>
                  </a:lnTo>
                  <a:lnTo>
                    <a:pt x="1862" y="2654"/>
                  </a:lnTo>
                  <a:lnTo>
                    <a:pt x="1865" y="2661"/>
                  </a:lnTo>
                  <a:lnTo>
                    <a:pt x="1867" y="2663"/>
                  </a:lnTo>
                  <a:lnTo>
                    <a:pt x="1867" y="2666"/>
                  </a:lnTo>
                  <a:lnTo>
                    <a:pt x="1865" y="2668"/>
                  </a:lnTo>
                  <a:lnTo>
                    <a:pt x="1865" y="2670"/>
                  </a:lnTo>
                  <a:lnTo>
                    <a:pt x="1865" y="2673"/>
                  </a:lnTo>
                  <a:lnTo>
                    <a:pt x="1862" y="2677"/>
                  </a:lnTo>
                  <a:lnTo>
                    <a:pt x="1860" y="2677"/>
                  </a:lnTo>
                  <a:lnTo>
                    <a:pt x="1860" y="2677"/>
                  </a:lnTo>
                  <a:lnTo>
                    <a:pt x="1858" y="2677"/>
                  </a:lnTo>
                  <a:lnTo>
                    <a:pt x="1858" y="2677"/>
                  </a:lnTo>
                  <a:lnTo>
                    <a:pt x="1858" y="2680"/>
                  </a:lnTo>
                  <a:lnTo>
                    <a:pt x="1855" y="2685"/>
                  </a:lnTo>
                  <a:lnTo>
                    <a:pt x="1853" y="2685"/>
                  </a:lnTo>
                  <a:lnTo>
                    <a:pt x="1853" y="2687"/>
                  </a:lnTo>
                  <a:lnTo>
                    <a:pt x="1844" y="2692"/>
                  </a:lnTo>
                  <a:lnTo>
                    <a:pt x="1844" y="2692"/>
                  </a:lnTo>
                  <a:lnTo>
                    <a:pt x="1844" y="2692"/>
                  </a:lnTo>
                  <a:lnTo>
                    <a:pt x="1844" y="2694"/>
                  </a:lnTo>
                  <a:lnTo>
                    <a:pt x="1844" y="2696"/>
                  </a:lnTo>
                  <a:lnTo>
                    <a:pt x="1844" y="2696"/>
                  </a:lnTo>
                  <a:lnTo>
                    <a:pt x="1844" y="2699"/>
                  </a:lnTo>
                  <a:lnTo>
                    <a:pt x="1844" y="2699"/>
                  </a:lnTo>
                  <a:lnTo>
                    <a:pt x="1841" y="2701"/>
                  </a:lnTo>
                  <a:lnTo>
                    <a:pt x="1841" y="2703"/>
                  </a:lnTo>
                  <a:lnTo>
                    <a:pt x="1844" y="2703"/>
                  </a:lnTo>
                  <a:lnTo>
                    <a:pt x="1844" y="2703"/>
                  </a:lnTo>
                  <a:lnTo>
                    <a:pt x="1844" y="2703"/>
                  </a:lnTo>
                  <a:lnTo>
                    <a:pt x="1844" y="2706"/>
                  </a:lnTo>
                  <a:lnTo>
                    <a:pt x="1844" y="2708"/>
                  </a:lnTo>
                  <a:lnTo>
                    <a:pt x="1844" y="2711"/>
                  </a:lnTo>
                  <a:lnTo>
                    <a:pt x="1844" y="2713"/>
                  </a:lnTo>
                  <a:lnTo>
                    <a:pt x="1841" y="2715"/>
                  </a:lnTo>
                  <a:lnTo>
                    <a:pt x="1841" y="2715"/>
                  </a:lnTo>
                  <a:lnTo>
                    <a:pt x="1839" y="2715"/>
                  </a:lnTo>
                  <a:lnTo>
                    <a:pt x="1839" y="2718"/>
                  </a:lnTo>
                  <a:lnTo>
                    <a:pt x="1836" y="2720"/>
                  </a:lnTo>
                  <a:lnTo>
                    <a:pt x="1834" y="2725"/>
                  </a:lnTo>
                  <a:lnTo>
                    <a:pt x="1832" y="2725"/>
                  </a:lnTo>
                  <a:lnTo>
                    <a:pt x="1829" y="2729"/>
                  </a:lnTo>
                  <a:lnTo>
                    <a:pt x="1825" y="2729"/>
                  </a:lnTo>
                  <a:lnTo>
                    <a:pt x="1825" y="2732"/>
                  </a:lnTo>
                  <a:lnTo>
                    <a:pt x="1825" y="2732"/>
                  </a:lnTo>
                  <a:lnTo>
                    <a:pt x="1825" y="2732"/>
                  </a:lnTo>
                  <a:lnTo>
                    <a:pt x="1825" y="2734"/>
                  </a:lnTo>
                  <a:lnTo>
                    <a:pt x="1825" y="2734"/>
                  </a:lnTo>
                  <a:lnTo>
                    <a:pt x="1825" y="2734"/>
                  </a:lnTo>
                  <a:lnTo>
                    <a:pt x="1825" y="2741"/>
                  </a:lnTo>
                  <a:lnTo>
                    <a:pt x="1825" y="2744"/>
                  </a:lnTo>
                  <a:lnTo>
                    <a:pt x="1825" y="2744"/>
                  </a:lnTo>
                  <a:lnTo>
                    <a:pt x="1825" y="2746"/>
                  </a:lnTo>
                  <a:lnTo>
                    <a:pt x="1827" y="2746"/>
                  </a:lnTo>
                  <a:lnTo>
                    <a:pt x="1829" y="2746"/>
                  </a:lnTo>
                  <a:lnTo>
                    <a:pt x="1829" y="2746"/>
                  </a:lnTo>
                  <a:lnTo>
                    <a:pt x="1829" y="2746"/>
                  </a:lnTo>
                  <a:lnTo>
                    <a:pt x="1829" y="2746"/>
                  </a:lnTo>
                  <a:lnTo>
                    <a:pt x="1832" y="2746"/>
                  </a:lnTo>
                  <a:lnTo>
                    <a:pt x="1832" y="2746"/>
                  </a:lnTo>
                  <a:lnTo>
                    <a:pt x="1834" y="2746"/>
                  </a:lnTo>
                  <a:lnTo>
                    <a:pt x="1836" y="2746"/>
                  </a:lnTo>
                  <a:lnTo>
                    <a:pt x="1841" y="2744"/>
                  </a:lnTo>
                  <a:lnTo>
                    <a:pt x="1841" y="2744"/>
                  </a:lnTo>
                  <a:lnTo>
                    <a:pt x="1844" y="2744"/>
                  </a:lnTo>
                  <a:lnTo>
                    <a:pt x="1846" y="2744"/>
                  </a:lnTo>
                  <a:lnTo>
                    <a:pt x="1846" y="2746"/>
                  </a:lnTo>
                  <a:lnTo>
                    <a:pt x="1848" y="2746"/>
                  </a:lnTo>
                  <a:lnTo>
                    <a:pt x="1848" y="2748"/>
                  </a:lnTo>
                  <a:lnTo>
                    <a:pt x="1848" y="2748"/>
                  </a:lnTo>
                  <a:lnTo>
                    <a:pt x="1848" y="2748"/>
                  </a:lnTo>
                  <a:lnTo>
                    <a:pt x="1848" y="2748"/>
                  </a:lnTo>
                  <a:lnTo>
                    <a:pt x="1848" y="2746"/>
                  </a:lnTo>
                  <a:lnTo>
                    <a:pt x="1848" y="2741"/>
                  </a:lnTo>
                  <a:lnTo>
                    <a:pt x="1848" y="2741"/>
                  </a:lnTo>
                  <a:lnTo>
                    <a:pt x="1851" y="2741"/>
                  </a:lnTo>
                  <a:lnTo>
                    <a:pt x="1851" y="2737"/>
                  </a:lnTo>
                  <a:lnTo>
                    <a:pt x="1853" y="2737"/>
                  </a:lnTo>
                  <a:lnTo>
                    <a:pt x="1860" y="2729"/>
                  </a:lnTo>
                  <a:lnTo>
                    <a:pt x="1862" y="2729"/>
                  </a:lnTo>
                  <a:lnTo>
                    <a:pt x="1862" y="2727"/>
                  </a:lnTo>
                  <a:lnTo>
                    <a:pt x="1867" y="2727"/>
                  </a:lnTo>
                  <a:lnTo>
                    <a:pt x="1867" y="2727"/>
                  </a:lnTo>
                  <a:lnTo>
                    <a:pt x="1867" y="2727"/>
                  </a:lnTo>
                  <a:lnTo>
                    <a:pt x="1867" y="2727"/>
                  </a:lnTo>
                  <a:lnTo>
                    <a:pt x="1870" y="2725"/>
                  </a:lnTo>
                  <a:lnTo>
                    <a:pt x="1870" y="2725"/>
                  </a:lnTo>
                  <a:lnTo>
                    <a:pt x="1870" y="2725"/>
                  </a:lnTo>
                  <a:lnTo>
                    <a:pt x="1870" y="2727"/>
                  </a:lnTo>
                  <a:lnTo>
                    <a:pt x="1870" y="2727"/>
                  </a:lnTo>
                  <a:lnTo>
                    <a:pt x="1870" y="2727"/>
                  </a:lnTo>
                  <a:lnTo>
                    <a:pt x="1870" y="2727"/>
                  </a:lnTo>
                  <a:lnTo>
                    <a:pt x="1872" y="2727"/>
                  </a:lnTo>
                  <a:lnTo>
                    <a:pt x="1872" y="2725"/>
                  </a:lnTo>
                  <a:lnTo>
                    <a:pt x="1872" y="2722"/>
                  </a:lnTo>
                  <a:lnTo>
                    <a:pt x="1872" y="2720"/>
                  </a:lnTo>
                  <a:lnTo>
                    <a:pt x="1872" y="2720"/>
                  </a:lnTo>
                  <a:lnTo>
                    <a:pt x="1877" y="2715"/>
                  </a:lnTo>
                  <a:lnTo>
                    <a:pt x="1877" y="2713"/>
                  </a:lnTo>
                  <a:lnTo>
                    <a:pt x="1879" y="2711"/>
                  </a:lnTo>
                  <a:lnTo>
                    <a:pt x="1879" y="2711"/>
                  </a:lnTo>
                  <a:lnTo>
                    <a:pt x="1879" y="2708"/>
                  </a:lnTo>
                  <a:lnTo>
                    <a:pt x="1881" y="2708"/>
                  </a:lnTo>
                  <a:lnTo>
                    <a:pt x="1881" y="2708"/>
                  </a:lnTo>
                  <a:lnTo>
                    <a:pt x="1884" y="2706"/>
                  </a:lnTo>
                  <a:lnTo>
                    <a:pt x="1884" y="2706"/>
                  </a:lnTo>
                  <a:lnTo>
                    <a:pt x="1886" y="2703"/>
                  </a:lnTo>
                  <a:lnTo>
                    <a:pt x="1891" y="2701"/>
                  </a:lnTo>
                  <a:lnTo>
                    <a:pt x="1903" y="2701"/>
                  </a:lnTo>
                  <a:lnTo>
                    <a:pt x="1907" y="2701"/>
                  </a:lnTo>
                  <a:lnTo>
                    <a:pt x="1910" y="2701"/>
                  </a:lnTo>
                  <a:lnTo>
                    <a:pt x="1912" y="2701"/>
                  </a:lnTo>
                  <a:lnTo>
                    <a:pt x="1917" y="2701"/>
                  </a:lnTo>
                  <a:lnTo>
                    <a:pt x="1917" y="2701"/>
                  </a:lnTo>
                  <a:lnTo>
                    <a:pt x="1919" y="2703"/>
                  </a:lnTo>
                  <a:lnTo>
                    <a:pt x="1924" y="2701"/>
                  </a:lnTo>
                  <a:lnTo>
                    <a:pt x="1926" y="2701"/>
                  </a:lnTo>
                  <a:lnTo>
                    <a:pt x="1929" y="2701"/>
                  </a:lnTo>
                  <a:lnTo>
                    <a:pt x="1933" y="2701"/>
                  </a:lnTo>
                  <a:lnTo>
                    <a:pt x="1933" y="2701"/>
                  </a:lnTo>
                  <a:lnTo>
                    <a:pt x="1933" y="2701"/>
                  </a:lnTo>
                  <a:lnTo>
                    <a:pt x="1936" y="2701"/>
                  </a:lnTo>
                  <a:lnTo>
                    <a:pt x="1936" y="2701"/>
                  </a:lnTo>
                  <a:lnTo>
                    <a:pt x="1936" y="2701"/>
                  </a:lnTo>
                  <a:lnTo>
                    <a:pt x="1936" y="2699"/>
                  </a:lnTo>
                  <a:lnTo>
                    <a:pt x="1933" y="2699"/>
                  </a:lnTo>
                  <a:lnTo>
                    <a:pt x="1926" y="2701"/>
                  </a:lnTo>
                  <a:lnTo>
                    <a:pt x="1926" y="2701"/>
                  </a:lnTo>
                  <a:lnTo>
                    <a:pt x="1924" y="2699"/>
                  </a:lnTo>
                  <a:lnTo>
                    <a:pt x="1922" y="2701"/>
                  </a:lnTo>
                  <a:lnTo>
                    <a:pt x="1919" y="2699"/>
                  </a:lnTo>
                  <a:lnTo>
                    <a:pt x="1922" y="2699"/>
                  </a:lnTo>
                  <a:lnTo>
                    <a:pt x="1922" y="2696"/>
                  </a:lnTo>
                  <a:lnTo>
                    <a:pt x="1922" y="2696"/>
                  </a:lnTo>
                  <a:lnTo>
                    <a:pt x="1922" y="2696"/>
                  </a:lnTo>
                  <a:lnTo>
                    <a:pt x="1924" y="2696"/>
                  </a:lnTo>
                  <a:lnTo>
                    <a:pt x="1924" y="2696"/>
                  </a:lnTo>
                  <a:lnTo>
                    <a:pt x="1924" y="2696"/>
                  </a:lnTo>
                  <a:lnTo>
                    <a:pt x="1924" y="2696"/>
                  </a:lnTo>
                  <a:lnTo>
                    <a:pt x="1924" y="2694"/>
                  </a:lnTo>
                  <a:lnTo>
                    <a:pt x="1924" y="2694"/>
                  </a:lnTo>
                  <a:lnTo>
                    <a:pt x="1926" y="2692"/>
                  </a:lnTo>
                  <a:lnTo>
                    <a:pt x="1926" y="2689"/>
                  </a:lnTo>
                  <a:lnTo>
                    <a:pt x="1929" y="2689"/>
                  </a:lnTo>
                  <a:lnTo>
                    <a:pt x="1941" y="2685"/>
                  </a:lnTo>
                  <a:lnTo>
                    <a:pt x="1941" y="2685"/>
                  </a:lnTo>
                  <a:lnTo>
                    <a:pt x="1943" y="2685"/>
                  </a:lnTo>
                  <a:lnTo>
                    <a:pt x="1943" y="2682"/>
                  </a:lnTo>
                  <a:lnTo>
                    <a:pt x="1945" y="2682"/>
                  </a:lnTo>
                  <a:lnTo>
                    <a:pt x="1945" y="2682"/>
                  </a:lnTo>
                  <a:lnTo>
                    <a:pt x="1948" y="2682"/>
                  </a:lnTo>
                  <a:lnTo>
                    <a:pt x="1948" y="2682"/>
                  </a:lnTo>
                  <a:lnTo>
                    <a:pt x="1950" y="2682"/>
                  </a:lnTo>
                  <a:lnTo>
                    <a:pt x="1950" y="2682"/>
                  </a:lnTo>
                  <a:lnTo>
                    <a:pt x="1950" y="2682"/>
                  </a:lnTo>
                  <a:lnTo>
                    <a:pt x="1955" y="2680"/>
                  </a:lnTo>
                  <a:lnTo>
                    <a:pt x="1955" y="2680"/>
                  </a:lnTo>
                  <a:lnTo>
                    <a:pt x="1955" y="2680"/>
                  </a:lnTo>
                  <a:lnTo>
                    <a:pt x="1955" y="2680"/>
                  </a:lnTo>
                  <a:lnTo>
                    <a:pt x="1955" y="2680"/>
                  </a:lnTo>
                  <a:lnTo>
                    <a:pt x="1955" y="2680"/>
                  </a:lnTo>
                  <a:lnTo>
                    <a:pt x="1960" y="2680"/>
                  </a:lnTo>
                  <a:lnTo>
                    <a:pt x="1964" y="2677"/>
                  </a:lnTo>
                  <a:lnTo>
                    <a:pt x="1967" y="2677"/>
                  </a:lnTo>
                  <a:lnTo>
                    <a:pt x="1969" y="2677"/>
                  </a:lnTo>
                  <a:lnTo>
                    <a:pt x="1969" y="2677"/>
                  </a:lnTo>
                  <a:lnTo>
                    <a:pt x="1969" y="2677"/>
                  </a:lnTo>
                  <a:lnTo>
                    <a:pt x="1969" y="2677"/>
                  </a:lnTo>
                  <a:lnTo>
                    <a:pt x="1974" y="2675"/>
                  </a:lnTo>
                  <a:lnTo>
                    <a:pt x="1974" y="2675"/>
                  </a:lnTo>
                  <a:lnTo>
                    <a:pt x="1974" y="2675"/>
                  </a:lnTo>
                  <a:lnTo>
                    <a:pt x="1976" y="2673"/>
                  </a:lnTo>
                  <a:lnTo>
                    <a:pt x="1974" y="2673"/>
                  </a:lnTo>
                  <a:lnTo>
                    <a:pt x="1974" y="2673"/>
                  </a:lnTo>
                  <a:lnTo>
                    <a:pt x="1971" y="2670"/>
                  </a:lnTo>
                  <a:lnTo>
                    <a:pt x="1969" y="2670"/>
                  </a:lnTo>
                  <a:lnTo>
                    <a:pt x="1969" y="2668"/>
                  </a:lnTo>
                  <a:lnTo>
                    <a:pt x="1969" y="2668"/>
                  </a:lnTo>
                  <a:lnTo>
                    <a:pt x="1969" y="2666"/>
                  </a:lnTo>
                  <a:lnTo>
                    <a:pt x="1967" y="2666"/>
                  </a:lnTo>
                  <a:lnTo>
                    <a:pt x="1967" y="2666"/>
                  </a:lnTo>
                  <a:lnTo>
                    <a:pt x="1967" y="2666"/>
                  </a:lnTo>
                  <a:lnTo>
                    <a:pt x="1967" y="2666"/>
                  </a:lnTo>
                  <a:lnTo>
                    <a:pt x="1967" y="2666"/>
                  </a:lnTo>
                  <a:lnTo>
                    <a:pt x="1967" y="2663"/>
                  </a:lnTo>
                  <a:lnTo>
                    <a:pt x="1969" y="2663"/>
                  </a:lnTo>
                  <a:lnTo>
                    <a:pt x="1969" y="2663"/>
                  </a:lnTo>
                  <a:lnTo>
                    <a:pt x="1969" y="2663"/>
                  </a:lnTo>
                  <a:lnTo>
                    <a:pt x="1967" y="2661"/>
                  </a:lnTo>
                  <a:lnTo>
                    <a:pt x="1967" y="2656"/>
                  </a:lnTo>
                  <a:lnTo>
                    <a:pt x="1967" y="2656"/>
                  </a:lnTo>
                  <a:lnTo>
                    <a:pt x="1967" y="2656"/>
                  </a:lnTo>
                  <a:lnTo>
                    <a:pt x="1967" y="2656"/>
                  </a:lnTo>
                  <a:lnTo>
                    <a:pt x="1967" y="2656"/>
                  </a:lnTo>
                  <a:lnTo>
                    <a:pt x="1962" y="2658"/>
                  </a:lnTo>
                  <a:lnTo>
                    <a:pt x="1962" y="2658"/>
                  </a:lnTo>
                  <a:lnTo>
                    <a:pt x="1960" y="2661"/>
                  </a:lnTo>
                  <a:lnTo>
                    <a:pt x="1960" y="2661"/>
                  </a:lnTo>
                  <a:lnTo>
                    <a:pt x="1957" y="2663"/>
                  </a:lnTo>
                  <a:lnTo>
                    <a:pt x="1957" y="2663"/>
                  </a:lnTo>
                  <a:lnTo>
                    <a:pt x="1957" y="2663"/>
                  </a:lnTo>
                  <a:lnTo>
                    <a:pt x="1955" y="2663"/>
                  </a:lnTo>
                  <a:lnTo>
                    <a:pt x="1952" y="2663"/>
                  </a:lnTo>
                  <a:lnTo>
                    <a:pt x="1950" y="2663"/>
                  </a:lnTo>
                  <a:lnTo>
                    <a:pt x="1948" y="2663"/>
                  </a:lnTo>
                  <a:lnTo>
                    <a:pt x="1943" y="2663"/>
                  </a:lnTo>
                  <a:lnTo>
                    <a:pt x="1941" y="2661"/>
                  </a:lnTo>
                  <a:lnTo>
                    <a:pt x="1941" y="2661"/>
                  </a:lnTo>
                  <a:lnTo>
                    <a:pt x="1938" y="2658"/>
                  </a:lnTo>
                  <a:lnTo>
                    <a:pt x="1941" y="2656"/>
                  </a:lnTo>
                  <a:lnTo>
                    <a:pt x="1943" y="2654"/>
                  </a:lnTo>
                  <a:lnTo>
                    <a:pt x="1943" y="2649"/>
                  </a:lnTo>
                  <a:lnTo>
                    <a:pt x="1943" y="2649"/>
                  </a:lnTo>
                  <a:lnTo>
                    <a:pt x="1943" y="2647"/>
                  </a:lnTo>
                  <a:lnTo>
                    <a:pt x="1943" y="2647"/>
                  </a:lnTo>
                  <a:lnTo>
                    <a:pt x="1943" y="2644"/>
                  </a:lnTo>
                  <a:lnTo>
                    <a:pt x="1945" y="2644"/>
                  </a:lnTo>
                  <a:lnTo>
                    <a:pt x="1945" y="2644"/>
                  </a:lnTo>
                  <a:lnTo>
                    <a:pt x="1945" y="2644"/>
                  </a:lnTo>
                  <a:lnTo>
                    <a:pt x="1948" y="2642"/>
                  </a:lnTo>
                  <a:lnTo>
                    <a:pt x="1948" y="2642"/>
                  </a:lnTo>
                  <a:lnTo>
                    <a:pt x="1948" y="2642"/>
                  </a:lnTo>
                  <a:lnTo>
                    <a:pt x="1948" y="2640"/>
                  </a:lnTo>
                  <a:lnTo>
                    <a:pt x="1948" y="2640"/>
                  </a:lnTo>
                  <a:lnTo>
                    <a:pt x="1950" y="2640"/>
                  </a:lnTo>
                  <a:lnTo>
                    <a:pt x="1950" y="2640"/>
                  </a:lnTo>
                  <a:lnTo>
                    <a:pt x="1952" y="2640"/>
                  </a:lnTo>
                  <a:lnTo>
                    <a:pt x="1952" y="2637"/>
                  </a:lnTo>
                  <a:lnTo>
                    <a:pt x="1955" y="2637"/>
                  </a:lnTo>
                  <a:lnTo>
                    <a:pt x="1957" y="2632"/>
                  </a:lnTo>
                  <a:lnTo>
                    <a:pt x="1957" y="2632"/>
                  </a:lnTo>
                  <a:lnTo>
                    <a:pt x="1960" y="2630"/>
                  </a:lnTo>
                  <a:lnTo>
                    <a:pt x="1960" y="2630"/>
                  </a:lnTo>
                  <a:lnTo>
                    <a:pt x="1960" y="2630"/>
                  </a:lnTo>
                  <a:lnTo>
                    <a:pt x="1960" y="2630"/>
                  </a:lnTo>
                  <a:lnTo>
                    <a:pt x="1960" y="2628"/>
                  </a:lnTo>
                  <a:lnTo>
                    <a:pt x="1960" y="2628"/>
                  </a:lnTo>
                  <a:lnTo>
                    <a:pt x="1962" y="2628"/>
                  </a:lnTo>
                  <a:lnTo>
                    <a:pt x="1962" y="2628"/>
                  </a:lnTo>
                  <a:lnTo>
                    <a:pt x="1964" y="2625"/>
                  </a:lnTo>
                  <a:lnTo>
                    <a:pt x="1964" y="2625"/>
                  </a:lnTo>
                  <a:lnTo>
                    <a:pt x="1967" y="2625"/>
                  </a:lnTo>
                  <a:lnTo>
                    <a:pt x="1969" y="2625"/>
                  </a:lnTo>
                  <a:lnTo>
                    <a:pt x="1969" y="2623"/>
                  </a:lnTo>
                  <a:lnTo>
                    <a:pt x="1974" y="2623"/>
                  </a:lnTo>
                  <a:lnTo>
                    <a:pt x="1976" y="2621"/>
                  </a:lnTo>
                  <a:lnTo>
                    <a:pt x="1978" y="2621"/>
                  </a:lnTo>
                  <a:lnTo>
                    <a:pt x="1981" y="2621"/>
                  </a:lnTo>
                  <a:lnTo>
                    <a:pt x="1981" y="2621"/>
                  </a:lnTo>
                  <a:lnTo>
                    <a:pt x="1983" y="2618"/>
                  </a:lnTo>
                  <a:lnTo>
                    <a:pt x="1988" y="2616"/>
                  </a:lnTo>
                  <a:lnTo>
                    <a:pt x="1997" y="2614"/>
                  </a:lnTo>
                  <a:lnTo>
                    <a:pt x="1997" y="2614"/>
                  </a:lnTo>
                  <a:lnTo>
                    <a:pt x="2002" y="2611"/>
                  </a:lnTo>
                  <a:lnTo>
                    <a:pt x="2004" y="2609"/>
                  </a:lnTo>
                  <a:lnTo>
                    <a:pt x="2007" y="2609"/>
                  </a:lnTo>
                  <a:lnTo>
                    <a:pt x="2009" y="2609"/>
                  </a:lnTo>
                  <a:lnTo>
                    <a:pt x="2009" y="2609"/>
                  </a:lnTo>
                  <a:lnTo>
                    <a:pt x="2009" y="2609"/>
                  </a:lnTo>
                  <a:lnTo>
                    <a:pt x="2009" y="2609"/>
                  </a:lnTo>
                  <a:lnTo>
                    <a:pt x="2007" y="2609"/>
                  </a:lnTo>
                  <a:lnTo>
                    <a:pt x="2007" y="2609"/>
                  </a:lnTo>
                  <a:lnTo>
                    <a:pt x="2009" y="2606"/>
                  </a:lnTo>
                  <a:lnTo>
                    <a:pt x="2009" y="2606"/>
                  </a:lnTo>
                  <a:lnTo>
                    <a:pt x="2009" y="2609"/>
                  </a:lnTo>
                  <a:lnTo>
                    <a:pt x="2009" y="2606"/>
                  </a:lnTo>
                  <a:lnTo>
                    <a:pt x="2012" y="2606"/>
                  </a:lnTo>
                  <a:lnTo>
                    <a:pt x="2012" y="2606"/>
                  </a:lnTo>
                  <a:lnTo>
                    <a:pt x="2016" y="2606"/>
                  </a:lnTo>
                  <a:lnTo>
                    <a:pt x="2014" y="2609"/>
                  </a:lnTo>
                  <a:lnTo>
                    <a:pt x="2014" y="2609"/>
                  </a:lnTo>
                  <a:lnTo>
                    <a:pt x="2014" y="2609"/>
                  </a:lnTo>
                  <a:lnTo>
                    <a:pt x="2014" y="2609"/>
                  </a:lnTo>
                  <a:lnTo>
                    <a:pt x="2014" y="2609"/>
                  </a:lnTo>
                  <a:lnTo>
                    <a:pt x="2016" y="2611"/>
                  </a:lnTo>
                  <a:lnTo>
                    <a:pt x="2019" y="2611"/>
                  </a:lnTo>
                  <a:lnTo>
                    <a:pt x="2019" y="2611"/>
                  </a:lnTo>
                  <a:lnTo>
                    <a:pt x="2021" y="2609"/>
                  </a:lnTo>
                  <a:lnTo>
                    <a:pt x="2023" y="2609"/>
                  </a:lnTo>
                  <a:lnTo>
                    <a:pt x="2026" y="2609"/>
                  </a:lnTo>
                  <a:lnTo>
                    <a:pt x="2026" y="2609"/>
                  </a:lnTo>
                  <a:lnTo>
                    <a:pt x="2026" y="2609"/>
                  </a:lnTo>
                  <a:lnTo>
                    <a:pt x="2026" y="2609"/>
                  </a:lnTo>
                  <a:lnTo>
                    <a:pt x="2026" y="2609"/>
                  </a:lnTo>
                  <a:lnTo>
                    <a:pt x="2023" y="2609"/>
                  </a:lnTo>
                  <a:lnTo>
                    <a:pt x="2026" y="2611"/>
                  </a:lnTo>
                  <a:lnTo>
                    <a:pt x="2026" y="2611"/>
                  </a:lnTo>
                  <a:lnTo>
                    <a:pt x="2028" y="2609"/>
                  </a:lnTo>
                  <a:lnTo>
                    <a:pt x="2028" y="2609"/>
                  </a:lnTo>
                  <a:lnTo>
                    <a:pt x="2028" y="2609"/>
                  </a:lnTo>
                  <a:lnTo>
                    <a:pt x="2028" y="2611"/>
                  </a:lnTo>
                  <a:lnTo>
                    <a:pt x="2028" y="2611"/>
                  </a:lnTo>
                  <a:lnTo>
                    <a:pt x="2031" y="2611"/>
                  </a:lnTo>
                  <a:lnTo>
                    <a:pt x="2031" y="2611"/>
                  </a:lnTo>
                  <a:lnTo>
                    <a:pt x="2031" y="2611"/>
                  </a:lnTo>
                  <a:lnTo>
                    <a:pt x="2031" y="2614"/>
                  </a:lnTo>
                  <a:lnTo>
                    <a:pt x="2031" y="2614"/>
                  </a:lnTo>
                  <a:lnTo>
                    <a:pt x="2031" y="2614"/>
                  </a:lnTo>
                  <a:lnTo>
                    <a:pt x="2033" y="2611"/>
                  </a:lnTo>
                  <a:lnTo>
                    <a:pt x="2033" y="2611"/>
                  </a:lnTo>
                  <a:lnTo>
                    <a:pt x="2033" y="2611"/>
                  </a:lnTo>
                  <a:lnTo>
                    <a:pt x="2033" y="2611"/>
                  </a:lnTo>
                  <a:lnTo>
                    <a:pt x="2038" y="2609"/>
                  </a:lnTo>
                  <a:lnTo>
                    <a:pt x="2038" y="2606"/>
                  </a:lnTo>
                  <a:lnTo>
                    <a:pt x="2040" y="2606"/>
                  </a:lnTo>
                  <a:lnTo>
                    <a:pt x="2040" y="2606"/>
                  </a:lnTo>
                  <a:lnTo>
                    <a:pt x="2040" y="2606"/>
                  </a:lnTo>
                  <a:lnTo>
                    <a:pt x="2040" y="2604"/>
                  </a:lnTo>
                  <a:lnTo>
                    <a:pt x="2040" y="2604"/>
                  </a:lnTo>
                  <a:lnTo>
                    <a:pt x="2038" y="2606"/>
                  </a:lnTo>
                  <a:lnTo>
                    <a:pt x="2035" y="2606"/>
                  </a:lnTo>
                  <a:lnTo>
                    <a:pt x="2035" y="2606"/>
                  </a:lnTo>
                  <a:lnTo>
                    <a:pt x="2035" y="2609"/>
                  </a:lnTo>
                  <a:lnTo>
                    <a:pt x="2033" y="2606"/>
                  </a:lnTo>
                  <a:lnTo>
                    <a:pt x="2033" y="2606"/>
                  </a:lnTo>
                  <a:lnTo>
                    <a:pt x="2035" y="2604"/>
                  </a:lnTo>
                  <a:lnTo>
                    <a:pt x="2035" y="2604"/>
                  </a:lnTo>
                  <a:lnTo>
                    <a:pt x="2035" y="2604"/>
                  </a:lnTo>
                  <a:lnTo>
                    <a:pt x="2038" y="2602"/>
                  </a:lnTo>
                  <a:lnTo>
                    <a:pt x="2038" y="2602"/>
                  </a:lnTo>
                  <a:lnTo>
                    <a:pt x="2038" y="2599"/>
                  </a:lnTo>
                  <a:lnTo>
                    <a:pt x="2038" y="2599"/>
                  </a:lnTo>
                  <a:lnTo>
                    <a:pt x="2038" y="2599"/>
                  </a:lnTo>
                  <a:lnTo>
                    <a:pt x="2038" y="2599"/>
                  </a:lnTo>
                  <a:lnTo>
                    <a:pt x="2038" y="2599"/>
                  </a:lnTo>
                  <a:lnTo>
                    <a:pt x="2040" y="2597"/>
                  </a:lnTo>
                  <a:lnTo>
                    <a:pt x="2040" y="2597"/>
                  </a:lnTo>
                  <a:lnTo>
                    <a:pt x="2038" y="2597"/>
                  </a:lnTo>
                  <a:lnTo>
                    <a:pt x="2038" y="2597"/>
                  </a:lnTo>
                  <a:lnTo>
                    <a:pt x="2038" y="2599"/>
                  </a:lnTo>
                  <a:lnTo>
                    <a:pt x="2035" y="2602"/>
                  </a:lnTo>
                  <a:lnTo>
                    <a:pt x="2033" y="2602"/>
                  </a:lnTo>
                  <a:lnTo>
                    <a:pt x="2033" y="2602"/>
                  </a:lnTo>
                  <a:lnTo>
                    <a:pt x="2031" y="2602"/>
                  </a:lnTo>
                  <a:lnTo>
                    <a:pt x="2031" y="2604"/>
                  </a:lnTo>
                  <a:lnTo>
                    <a:pt x="2031" y="2604"/>
                  </a:lnTo>
                  <a:lnTo>
                    <a:pt x="2031" y="2602"/>
                  </a:lnTo>
                  <a:lnTo>
                    <a:pt x="2031" y="2599"/>
                  </a:lnTo>
                  <a:lnTo>
                    <a:pt x="2031" y="2595"/>
                  </a:lnTo>
                  <a:lnTo>
                    <a:pt x="2031" y="2595"/>
                  </a:lnTo>
                  <a:lnTo>
                    <a:pt x="2028" y="2597"/>
                  </a:lnTo>
                  <a:lnTo>
                    <a:pt x="2028" y="2597"/>
                  </a:lnTo>
                  <a:lnTo>
                    <a:pt x="2026" y="2599"/>
                  </a:lnTo>
                  <a:lnTo>
                    <a:pt x="2023" y="2599"/>
                  </a:lnTo>
                  <a:lnTo>
                    <a:pt x="2023" y="2599"/>
                  </a:lnTo>
                  <a:lnTo>
                    <a:pt x="2023" y="2599"/>
                  </a:lnTo>
                  <a:lnTo>
                    <a:pt x="2023" y="2599"/>
                  </a:lnTo>
                  <a:lnTo>
                    <a:pt x="2023" y="2602"/>
                  </a:lnTo>
                  <a:lnTo>
                    <a:pt x="2023" y="2602"/>
                  </a:lnTo>
                  <a:lnTo>
                    <a:pt x="2023" y="2602"/>
                  </a:lnTo>
                  <a:lnTo>
                    <a:pt x="2023" y="2602"/>
                  </a:lnTo>
                  <a:lnTo>
                    <a:pt x="2023" y="2602"/>
                  </a:lnTo>
                  <a:lnTo>
                    <a:pt x="2021" y="2602"/>
                  </a:lnTo>
                  <a:lnTo>
                    <a:pt x="2021" y="2602"/>
                  </a:lnTo>
                  <a:lnTo>
                    <a:pt x="2021" y="2602"/>
                  </a:lnTo>
                  <a:lnTo>
                    <a:pt x="2021" y="2602"/>
                  </a:lnTo>
                  <a:lnTo>
                    <a:pt x="2021" y="2599"/>
                  </a:lnTo>
                  <a:lnTo>
                    <a:pt x="2021" y="2599"/>
                  </a:lnTo>
                  <a:lnTo>
                    <a:pt x="2021" y="2599"/>
                  </a:lnTo>
                  <a:lnTo>
                    <a:pt x="2021" y="2599"/>
                  </a:lnTo>
                  <a:lnTo>
                    <a:pt x="2021" y="2599"/>
                  </a:lnTo>
                  <a:lnTo>
                    <a:pt x="2021" y="2599"/>
                  </a:lnTo>
                  <a:lnTo>
                    <a:pt x="2021" y="2599"/>
                  </a:lnTo>
                  <a:lnTo>
                    <a:pt x="2021" y="2599"/>
                  </a:lnTo>
                  <a:lnTo>
                    <a:pt x="2019" y="2599"/>
                  </a:lnTo>
                  <a:lnTo>
                    <a:pt x="2019" y="2599"/>
                  </a:lnTo>
                  <a:lnTo>
                    <a:pt x="2019" y="2599"/>
                  </a:lnTo>
                  <a:lnTo>
                    <a:pt x="2019" y="2599"/>
                  </a:lnTo>
                  <a:lnTo>
                    <a:pt x="2016" y="2602"/>
                  </a:lnTo>
                  <a:lnTo>
                    <a:pt x="2016" y="2602"/>
                  </a:lnTo>
                  <a:lnTo>
                    <a:pt x="2016" y="2602"/>
                  </a:lnTo>
                  <a:lnTo>
                    <a:pt x="2014" y="2604"/>
                  </a:lnTo>
                  <a:lnTo>
                    <a:pt x="2012" y="2604"/>
                  </a:lnTo>
                  <a:lnTo>
                    <a:pt x="2012" y="2604"/>
                  </a:lnTo>
                  <a:lnTo>
                    <a:pt x="2012" y="2602"/>
                  </a:lnTo>
                  <a:lnTo>
                    <a:pt x="2014" y="2602"/>
                  </a:lnTo>
                  <a:lnTo>
                    <a:pt x="2014" y="2602"/>
                  </a:lnTo>
                  <a:lnTo>
                    <a:pt x="2019" y="2599"/>
                  </a:lnTo>
                  <a:lnTo>
                    <a:pt x="2021" y="2597"/>
                  </a:lnTo>
                  <a:lnTo>
                    <a:pt x="2021" y="2597"/>
                  </a:lnTo>
                  <a:lnTo>
                    <a:pt x="2021" y="2597"/>
                  </a:lnTo>
                  <a:lnTo>
                    <a:pt x="2021" y="2597"/>
                  </a:lnTo>
                  <a:lnTo>
                    <a:pt x="2021" y="2597"/>
                  </a:lnTo>
                  <a:lnTo>
                    <a:pt x="2023" y="2597"/>
                  </a:lnTo>
                  <a:lnTo>
                    <a:pt x="2023" y="2597"/>
                  </a:lnTo>
                  <a:lnTo>
                    <a:pt x="2023" y="2597"/>
                  </a:lnTo>
                  <a:lnTo>
                    <a:pt x="2023" y="2597"/>
                  </a:lnTo>
                  <a:lnTo>
                    <a:pt x="2023" y="2597"/>
                  </a:lnTo>
                  <a:lnTo>
                    <a:pt x="2023" y="2597"/>
                  </a:lnTo>
                  <a:lnTo>
                    <a:pt x="2026" y="2597"/>
                  </a:lnTo>
                  <a:lnTo>
                    <a:pt x="2026" y="2597"/>
                  </a:lnTo>
                  <a:lnTo>
                    <a:pt x="2026" y="2597"/>
                  </a:lnTo>
                  <a:lnTo>
                    <a:pt x="2026" y="2597"/>
                  </a:lnTo>
                  <a:lnTo>
                    <a:pt x="2031" y="2595"/>
                  </a:lnTo>
                  <a:lnTo>
                    <a:pt x="2033" y="2592"/>
                  </a:lnTo>
                  <a:lnTo>
                    <a:pt x="2033" y="2592"/>
                  </a:lnTo>
                  <a:lnTo>
                    <a:pt x="2033" y="2595"/>
                  </a:lnTo>
                  <a:lnTo>
                    <a:pt x="2033" y="2595"/>
                  </a:lnTo>
                  <a:lnTo>
                    <a:pt x="2033" y="2595"/>
                  </a:lnTo>
                  <a:lnTo>
                    <a:pt x="2031" y="2595"/>
                  </a:lnTo>
                  <a:lnTo>
                    <a:pt x="2031" y="2597"/>
                  </a:lnTo>
                  <a:lnTo>
                    <a:pt x="2031" y="2597"/>
                  </a:lnTo>
                  <a:lnTo>
                    <a:pt x="2033" y="2597"/>
                  </a:lnTo>
                  <a:lnTo>
                    <a:pt x="2033" y="2597"/>
                  </a:lnTo>
                  <a:lnTo>
                    <a:pt x="2035" y="2592"/>
                  </a:lnTo>
                  <a:lnTo>
                    <a:pt x="2035" y="2595"/>
                  </a:lnTo>
                  <a:lnTo>
                    <a:pt x="2035" y="2595"/>
                  </a:lnTo>
                  <a:lnTo>
                    <a:pt x="2038" y="2595"/>
                  </a:lnTo>
                  <a:lnTo>
                    <a:pt x="2038" y="2595"/>
                  </a:lnTo>
                  <a:lnTo>
                    <a:pt x="2038" y="2595"/>
                  </a:lnTo>
                  <a:lnTo>
                    <a:pt x="2038" y="2595"/>
                  </a:lnTo>
                  <a:lnTo>
                    <a:pt x="2035" y="2595"/>
                  </a:lnTo>
                  <a:lnTo>
                    <a:pt x="2035" y="2595"/>
                  </a:lnTo>
                  <a:lnTo>
                    <a:pt x="2035" y="2597"/>
                  </a:lnTo>
                  <a:lnTo>
                    <a:pt x="2033" y="2597"/>
                  </a:lnTo>
                  <a:lnTo>
                    <a:pt x="2033" y="2597"/>
                  </a:lnTo>
                  <a:lnTo>
                    <a:pt x="2031" y="2599"/>
                  </a:lnTo>
                  <a:lnTo>
                    <a:pt x="2033" y="2599"/>
                  </a:lnTo>
                  <a:lnTo>
                    <a:pt x="2033" y="2599"/>
                  </a:lnTo>
                  <a:lnTo>
                    <a:pt x="2033" y="2599"/>
                  </a:lnTo>
                  <a:lnTo>
                    <a:pt x="2033" y="2599"/>
                  </a:lnTo>
                  <a:lnTo>
                    <a:pt x="2033" y="2599"/>
                  </a:lnTo>
                  <a:lnTo>
                    <a:pt x="2033" y="2602"/>
                  </a:lnTo>
                  <a:lnTo>
                    <a:pt x="2033" y="2602"/>
                  </a:lnTo>
                  <a:lnTo>
                    <a:pt x="2033" y="2602"/>
                  </a:lnTo>
                  <a:lnTo>
                    <a:pt x="2033" y="2602"/>
                  </a:lnTo>
                  <a:lnTo>
                    <a:pt x="2035" y="2599"/>
                  </a:lnTo>
                  <a:lnTo>
                    <a:pt x="2035" y="2599"/>
                  </a:lnTo>
                  <a:lnTo>
                    <a:pt x="2035" y="2599"/>
                  </a:lnTo>
                  <a:lnTo>
                    <a:pt x="2035" y="2597"/>
                  </a:lnTo>
                  <a:lnTo>
                    <a:pt x="2038" y="2597"/>
                  </a:lnTo>
                  <a:lnTo>
                    <a:pt x="2040" y="2595"/>
                  </a:lnTo>
                  <a:lnTo>
                    <a:pt x="2040" y="2595"/>
                  </a:lnTo>
                  <a:lnTo>
                    <a:pt x="2042" y="2592"/>
                  </a:lnTo>
                  <a:lnTo>
                    <a:pt x="2045" y="2590"/>
                  </a:lnTo>
                  <a:lnTo>
                    <a:pt x="2045" y="2590"/>
                  </a:lnTo>
                  <a:lnTo>
                    <a:pt x="2045" y="2590"/>
                  </a:lnTo>
                  <a:lnTo>
                    <a:pt x="2045" y="2590"/>
                  </a:lnTo>
                  <a:lnTo>
                    <a:pt x="2047" y="2590"/>
                  </a:lnTo>
                  <a:lnTo>
                    <a:pt x="2047" y="2590"/>
                  </a:lnTo>
                  <a:lnTo>
                    <a:pt x="2047" y="2590"/>
                  </a:lnTo>
                  <a:lnTo>
                    <a:pt x="2049" y="2590"/>
                  </a:lnTo>
                  <a:lnTo>
                    <a:pt x="2049" y="2590"/>
                  </a:lnTo>
                  <a:lnTo>
                    <a:pt x="2049" y="2588"/>
                  </a:lnTo>
                  <a:lnTo>
                    <a:pt x="2052" y="2588"/>
                  </a:lnTo>
                  <a:lnTo>
                    <a:pt x="2052" y="2588"/>
                  </a:lnTo>
                  <a:lnTo>
                    <a:pt x="2052" y="2588"/>
                  </a:lnTo>
                  <a:lnTo>
                    <a:pt x="2052" y="2588"/>
                  </a:lnTo>
                  <a:lnTo>
                    <a:pt x="2052" y="2588"/>
                  </a:lnTo>
                  <a:lnTo>
                    <a:pt x="2052" y="2588"/>
                  </a:lnTo>
                  <a:lnTo>
                    <a:pt x="2054" y="2585"/>
                  </a:lnTo>
                  <a:lnTo>
                    <a:pt x="2057" y="2585"/>
                  </a:lnTo>
                  <a:lnTo>
                    <a:pt x="2057" y="2583"/>
                  </a:lnTo>
                  <a:lnTo>
                    <a:pt x="2057" y="2583"/>
                  </a:lnTo>
                  <a:lnTo>
                    <a:pt x="2057" y="2583"/>
                  </a:lnTo>
                  <a:lnTo>
                    <a:pt x="2059" y="2583"/>
                  </a:lnTo>
                  <a:lnTo>
                    <a:pt x="2059" y="2580"/>
                  </a:lnTo>
                  <a:lnTo>
                    <a:pt x="2061" y="2580"/>
                  </a:lnTo>
                  <a:lnTo>
                    <a:pt x="2061" y="2580"/>
                  </a:lnTo>
                  <a:lnTo>
                    <a:pt x="2064" y="2578"/>
                  </a:lnTo>
                  <a:lnTo>
                    <a:pt x="2064" y="2578"/>
                  </a:lnTo>
                  <a:lnTo>
                    <a:pt x="2066" y="2578"/>
                  </a:lnTo>
                  <a:lnTo>
                    <a:pt x="2068" y="2576"/>
                  </a:lnTo>
                  <a:lnTo>
                    <a:pt x="2068" y="2576"/>
                  </a:lnTo>
                  <a:lnTo>
                    <a:pt x="2071" y="2571"/>
                  </a:lnTo>
                  <a:lnTo>
                    <a:pt x="2073" y="2569"/>
                  </a:lnTo>
                  <a:lnTo>
                    <a:pt x="2073" y="2569"/>
                  </a:lnTo>
                  <a:lnTo>
                    <a:pt x="2073" y="2569"/>
                  </a:lnTo>
                  <a:lnTo>
                    <a:pt x="2073" y="2569"/>
                  </a:lnTo>
                  <a:lnTo>
                    <a:pt x="2075" y="2569"/>
                  </a:lnTo>
                  <a:lnTo>
                    <a:pt x="2075" y="2564"/>
                  </a:lnTo>
                  <a:lnTo>
                    <a:pt x="2080" y="2559"/>
                  </a:lnTo>
                  <a:lnTo>
                    <a:pt x="2083" y="2554"/>
                  </a:lnTo>
                  <a:lnTo>
                    <a:pt x="2087" y="2550"/>
                  </a:lnTo>
                  <a:lnTo>
                    <a:pt x="2087" y="2547"/>
                  </a:lnTo>
                  <a:lnTo>
                    <a:pt x="2092" y="2543"/>
                  </a:lnTo>
                  <a:lnTo>
                    <a:pt x="2094" y="2540"/>
                  </a:lnTo>
                  <a:lnTo>
                    <a:pt x="2094" y="2540"/>
                  </a:lnTo>
                  <a:lnTo>
                    <a:pt x="2097" y="2540"/>
                  </a:lnTo>
                  <a:lnTo>
                    <a:pt x="2097" y="2538"/>
                  </a:lnTo>
                  <a:lnTo>
                    <a:pt x="2099" y="2538"/>
                  </a:lnTo>
                  <a:lnTo>
                    <a:pt x="2099" y="2535"/>
                  </a:lnTo>
                  <a:lnTo>
                    <a:pt x="2101" y="2535"/>
                  </a:lnTo>
                  <a:lnTo>
                    <a:pt x="2101" y="2535"/>
                  </a:lnTo>
                  <a:lnTo>
                    <a:pt x="2106" y="2535"/>
                  </a:lnTo>
                  <a:lnTo>
                    <a:pt x="2106" y="2535"/>
                  </a:lnTo>
                  <a:lnTo>
                    <a:pt x="2109" y="2533"/>
                  </a:lnTo>
                  <a:lnTo>
                    <a:pt x="2111" y="2528"/>
                  </a:lnTo>
                  <a:close/>
                  <a:moveTo>
                    <a:pt x="1737" y="2502"/>
                  </a:moveTo>
                  <a:lnTo>
                    <a:pt x="1737" y="2502"/>
                  </a:lnTo>
                  <a:lnTo>
                    <a:pt x="1739" y="2502"/>
                  </a:lnTo>
                  <a:lnTo>
                    <a:pt x="1739" y="2502"/>
                  </a:lnTo>
                  <a:lnTo>
                    <a:pt x="1739" y="2502"/>
                  </a:lnTo>
                  <a:lnTo>
                    <a:pt x="1739" y="2502"/>
                  </a:lnTo>
                  <a:lnTo>
                    <a:pt x="1737" y="2502"/>
                  </a:lnTo>
                  <a:lnTo>
                    <a:pt x="1737" y="2502"/>
                  </a:lnTo>
                  <a:lnTo>
                    <a:pt x="1737" y="2502"/>
                  </a:lnTo>
                  <a:lnTo>
                    <a:pt x="1737" y="2502"/>
                  </a:lnTo>
                  <a:lnTo>
                    <a:pt x="1735" y="2502"/>
                  </a:lnTo>
                  <a:lnTo>
                    <a:pt x="1735" y="2502"/>
                  </a:lnTo>
                  <a:lnTo>
                    <a:pt x="1735" y="2505"/>
                  </a:lnTo>
                  <a:lnTo>
                    <a:pt x="1735" y="2505"/>
                  </a:lnTo>
                  <a:lnTo>
                    <a:pt x="1737" y="2502"/>
                  </a:lnTo>
                  <a:close/>
                  <a:moveTo>
                    <a:pt x="215" y="1982"/>
                  </a:moveTo>
                  <a:lnTo>
                    <a:pt x="215" y="1982"/>
                  </a:lnTo>
                  <a:lnTo>
                    <a:pt x="215" y="1982"/>
                  </a:lnTo>
                  <a:lnTo>
                    <a:pt x="215" y="1982"/>
                  </a:lnTo>
                  <a:lnTo>
                    <a:pt x="213" y="1984"/>
                  </a:lnTo>
                  <a:lnTo>
                    <a:pt x="211" y="1984"/>
                  </a:lnTo>
                  <a:lnTo>
                    <a:pt x="211" y="1984"/>
                  </a:lnTo>
                  <a:lnTo>
                    <a:pt x="208" y="1987"/>
                  </a:lnTo>
                  <a:lnTo>
                    <a:pt x="208" y="1987"/>
                  </a:lnTo>
                  <a:lnTo>
                    <a:pt x="208" y="1987"/>
                  </a:lnTo>
                  <a:lnTo>
                    <a:pt x="211" y="1987"/>
                  </a:lnTo>
                  <a:lnTo>
                    <a:pt x="211" y="1987"/>
                  </a:lnTo>
                  <a:lnTo>
                    <a:pt x="211" y="1987"/>
                  </a:lnTo>
                  <a:lnTo>
                    <a:pt x="213" y="1987"/>
                  </a:lnTo>
                  <a:lnTo>
                    <a:pt x="213" y="1984"/>
                  </a:lnTo>
                  <a:lnTo>
                    <a:pt x="215" y="1984"/>
                  </a:lnTo>
                  <a:lnTo>
                    <a:pt x="215" y="1984"/>
                  </a:lnTo>
                  <a:lnTo>
                    <a:pt x="215" y="1984"/>
                  </a:lnTo>
                  <a:lnTo>
                    <a:pt x="215" y="1982"/>
                  </a:lnTo>
                  <a:lnTo>
                    <a:pt x="215" y="1982"/>
                  </a:lnTo>
                  <a:lnTo>
                    <a:pt x="215" y="1982"/>
                  </a:lnTo>
                  <a:lnTo>
                    <a:pt x="215" y="1982"/>
                  </a:lnTo>
                  <a:lnTo>
                    <a:pt x="215" y="1982"/>
                  </a:lnTo>
                  <a:lnTo>
                    <a:pt x="215" y="1982"/>
                  </a:lnTo>
                  <a:close/>
                  <a:moveTo>
                    <a:pt x="204" y="1982"/>
                  </a:moveTo>
                  <a:lnTo>
                    <a:pt x="204" y="1982"/>
                  </a:lnTo>
                  <a:lnTo>
                    <a:pt x="204" y="1984"/>
                  </a:lnTo>
                  <a:lnTo>
                    <a:pt x="204" y="1984"/>
                  </a:lnTo>
                  <a:lnTo>
                    <a:pt x="204" y="1984"/>
                  </a:lnTo>
                  <a:lnTo>
                    <a:pt x="204" y="1984"/>
                  </a:lnTo>
                  <a:lnTo>
                    <a:pt x="206" y="1984"/>
                  </a:lnTo>
                  <a:lnTo>
                    <a:pt x="206" y="1984"/>
                  </a:lnTo>
                  <a:lnTo>
                    <a:pt x="206" y="1984"/>
                  </a:lnTo>
                  <a:lnTo>
                    <a:pt x="206" y="1984"/>
                  </a:lnTo>
                  <a:lnTo>
                    <a:pt x="206" y="1984"/>
                  </a:lnTo>
                  <a:lnTo>
                    <a:pt x="206" y="1984"/>
                  </a:lnTo>
                  <a:lnTo>
                    <a:pt x="208" y="1982"/>
                  </a:lnTo>
                  <a:lnTo>
                    <a:pt x="208" y="1982"/>
                  </a:lnTo>
                  <a:lnTo>
                    <a:pt x="208" y="1980"/>
                  </a:lnTo>
                  <a:lnTo>
                    <a:pt x="208" y="1980"/>
                  </a:lnTo>
                  <a:lnTo>
                    <a:pt x="208" y="1980"/>
                  </a:lnTo>
                  <a:lnTo>
                    <a:pt x="206" y="1980"/>
                  </a:lnTo>
                  <a:lnTo>
                    <a:pt x="204" y="1980"/>
                  </a:lnTo>
                  <a:lnTo>
                    <a:pt x="204" y="1980"/>
                  </a:lnTo>
                  <a:lnTo>
                    <a:pt x="204" y="1980"/>
                  </a:lnTo>
                  <a:lnTo>
                    <a:pt x="204" y="1980"/>
                  </a:lnTo>
                  <a:lnTo>
                    <a:pt x="204" y="1982"/>
                  </a:lnTo>
                  <a:lnTo>
                    <a:pt x="204" y="1982"/>
                  </a:lnTo>
                  <a:lnTo>
                    <a:pt x="204" y="1982"/>
                  </a:lnTo>
                  <a:close/>
                  <a:moveTo>
                    <a:pt x="1370" y="1573"/>
                  </a:moveTo>
                  <a:lnTo>
                    <a:pt x="1370" y="1573"/>
                  </a:lnTo>
                  <a:lnTo>
                    <a:pt x="1368" y="1573"/>
                  </a:lnTo>
                  <a:lnTo>
                    <a:pt x="1368" y="1575"/>
                  </a:lnTo>
                  <a:lnTo>
                    <a:pt x="1368" y="1575"/>
                  </a:lnTo>
                  <a:lnTo>
                    <a:pt x="1370" y="1575"/>
                  </a:lnTo>
                  <a:lnTo>
                    <a:pt x="1370" y="1575"/>
                  </a:lnTo>
                  <a:lnTo>
                    <a:pt x="1370" y="1575"/>
                  </a:lnTo>
                  <a:lnTo>
                    <a:pt x="1370" y="1573"/>
                  </a:lnTo>
                  <a:close/>
                  <a:moveTo>
                    <a:pt x="1418" y="1589"/>
                  </a:moveTo>
                  <a:lnTo>
                    <a:pt x="1415" y="1589"/>
                  </a:lnTo>
                  <a:lnTo>
                    <a:pt x="1413" y="1589"/>
                  </a:lnTo>
                  <a:lnTo>
                    <a:pt x="1413" y="1589"/>
                  </a:lnTo>
                  <a:lnTo>
                    <a:pt x="1413" y="1589"/>
                  </a:lnTo>
                  <a:lnTo>
                    <a:pt x="1411" y="1589"/>
                  </a:lnTo>
                  <a:lnTo>
                    <a:pt x="1411" y="1589"/>
                  </a:lnTo>
                  <a:lnTo>
                    <a:pt x="1413" y="1589"/>
                  </a:lnTo>
                  <a:lnTo>
                    <a:pt x="1413" y="1589"/>
                  </a:lnTo>
                  <a:lnTo>
                    <a:pt x="1413" y="1589"/>
                  </a:lnTo>
                  <a:lnTo>
                    <a:pt x="1413" y="1589"/>
                  </a:lnTo>
                  <a:lnTo>
                    <a:pt x="1413" y="1592"/>
                  </a:lnTo>
                  <a:lnTo>
                    <a:pt x="1413" y="1592"/>
                  </a:lnTo>
                  <a:lnTo>
                    <a:pt x="1413" y="1592"/>
                  </a:lnTo>
                  <a:lnTo>
                    <a:pt x="1415" y="1592"/>
                  </a:lnTo>
                  <a:lnTo>
                    <a:pt x="1415" y="1592"/>
                  </a:lnTo>
                  <a:lnTo>
                    <a:pt x="1415" y="1592"/>
                  </a:lnTo>
                  <a:lnTo>
                    <a:pt x="1415" y="1592"/>
                  </a:lnTo>
                  <a:lnTo>
                    <a:pt x="1415" y="1592"/>
                  </a:lnTo>
                  <a:lnTo>
                    <a:pt x="1418" y="1592"/>
                  </a:lnTo>
                  <a:lnTo>
                    <a:pt x="1418" y="1589"/>
                  </a:lnTo>
                  <a:close/>
                  <a:moveTo>
                    <a:pt x="1434" y="1596"/>
                  </a:moveTo>
                  <a:lnTo>
                    <a:pt x="1434" y="1599"/>
                  </a:lnTo>
                  <a:lnTo>
                    <a:pt x="1437" y="1599"/>
                  </a:lnTo>
                  <a:lnTo>
                    <a:pt x="1437" y="1596"/>
                  </a:lnTo>
                  <a:lnTo>
                    <a:pt x="1439" y="1596"/>
                  </a:lnTo>
                  <a:lnTo>
                    <a:pt x="1439" y="1596"/>
                  </a:lnTo>
                  <a:lnTo>
                    <a:pt x="1437" y="1596"/>
                  </a:lnTo>
                  <a:lnTo>
                    <a:pt x="1437" y="1596"/>
                  </a:lnTo>
                  <a:lnTo>
                    <a:pt x="1437" y="1596"/>
                  </a:lnTo>
                  <a:lnTo>
                    <a:pt x="1437" y="1594"/>
                  </a:lnTo>
                  <a:lnTo>
                    <a:pt x="1434" y="1594"/>
                  </a:lnTo>
                  <a:lnTo>
                    <a:pt x="1434" y="1594"/>
                  </a:lnTo>
                  <a:lnTo>
                    <a:pt x="1434" y="1596"/>
                  </a:lnTo>
                  <a:lnTo>
                    <a:pt x="1434" y="1596"/>
                  </a:lnTo>
                  <a:close/>
                  <a:moveTo>
                    <a:pt x="1415" y="1648"/>
                  </a:moveTo>
                  <a:lnTo>
                    <a:pt x="1415" y="1648"/>
                  </a:lnTo>
                  <a:lnTo>
                    <a:pt x="1413" y="1648"/>
                  </a:lnTo>
                  <a:lnTo>
                    <a:pt x="1413" y="1648"/>
                  </a:lnTo>
                  <a:lnTo>
                    <a:pt x="1413" y="1646"/>
                  </a:lnTo>
                  <a:lnTo>
                    <a:pt x="1413" y="1646"/>
                  </a:lnTo>
                  <a:lnTo>
                    <a:pt x="1411" y="1648"/>
                  </a:lnTo>
                  <a:lnTo>
                    <a:pt x="1413" y="1648"/>
                  </a:lnTo>
                  <a:lnTo>
                    <a:pt x="1415" y="1651"/>
                  </a:lnTo>
                  <a:lnTo>
                    <a:pt x="1415" y="1651"/>
                  </a:lnTo>
                  <a:lnTo>
                    <a:pt x="1415" y="1648"/>
                  </a:lnTo>
                  <a:lnTo>
                    <a:pt x="1415" y="1648"/>
                  </a:lnTo>
                  <a:lnTo>
                    <a:pt x="1415" y="1648"/>
                  </a:lnTo>
                  <a:close/>
                  <a:moveTo>
                    <a:pt x="1427" y="1592"/>
                  </a:moveTo>
                  <a:lnTo>
                    <a:pt x="1429" y="1592"/>
                  </a:lnTo>
                  <a:lnTo>
                    <a:pt x="1432" y="1594"/>
                  </a:lnTo>
                  <a:lnTo>
                    <a:pt x="1432" y="1594"/>
                  </a:lnTo>
                  <a:lnTo>
                    <a:pt x="1432" y="1594"/>
                  </a:lnTo>
                  <a:lnTo>
                    <a:pt x="1434" y="1594"/>
                  </a:lnTo>
                  <a:lnTo>
                    <a:pt x="1434" y="1594"/>
                  </a:lnTo>
                  <a:lnTo>
                    <a:pt x="1434" y="1594"/>
                  </a:lnTo>
                  <a:lnTo>
                    <a:pt x="1437" y="1594"/>
                  </a:lnTo>
                  <a:lnTo>
                    <a:pt x="1437" y="1594"/>
                  </a:lnTo>
                  <a:lnTo>
                    <a:pt x="1434" y="1592"/>
                  </a:lnTo>
                  <a:lnTo>
                    <a:pt x="1434" y="1592"/>
                  </a:lnTo>
                  <a:lnTo>
                    <a:pt x="1434" y="1592"/>
                  </a:lnTo>
                  <a:lnTo>
                    <a:pt x="1432" y="1592"/>
                  </a:lnTo>
                  <a:lnTo>
                    <a:pt x="1432" y="1592"/>
                  </a:lnTo>
                  <a:lnTo>
                    <a:pt x="1432" y="1592"/>
                  </a:lnTo>
                  <a:lnTo>
                    <a:pt x="1432" y="1592"/>
                  </a:lnTo>
                  <a:lnTo>
                    <a:pt x="1434" y="1592"/>
                  </a:lnTo>
                  <a:lnTo>
                    <a:pt x="1427" y="1592"/>
                  </a:lnTo>
                  <a:lnTo>
                    <a:pt x="1427" y="1592"/>
                  </a:lnTo>
                  <a:close/>
                  <a:moveTo>
                    <a:pt x="1425" y="1644"/>
                  </a:moveTo>
                  <a:lnTo>
                    <a:pt x="1422" y="1646"/>
                  </a:lnTo>
                  <a:lnTo>
                    <a:pt x="1422" y="1646"/>
                  </a:lnTo>
                  <a:lnTo>
                    <a:pt x="1425" y="1646"/>
                  </a:lnTo>
                  <a:lnTo>
                    <a:pt x="1425" y="1646"/>
                  </a:lnTo>
                  <a:lnTo>
                    <a:pt x="1425" y="1646"/>
                  </a:lnTo>
                  <a:lnTo>
                    <a:pt x="1427" y="1646"/>
                  </a:lnTo>
                  <a:lnTo>
                    <a:pt x="1432" y="1646"/>
                  </a:lnTo>
                  <a:lnTo>
                    <a:pt x="1432" y="1646"/>
                  </a:lnTo>
                  <a:lnTo>
                    <a:pt x="1432" y="1646"/>
                  </a:lnTo>
                  <a:lnTo>
                    <a:pt x="1432" y="1646"/>
                  </a:lnTo>
                  <a:lnTo>
                    <a:pt x="1429" y="1646"/>
                  </a:lnTo>
                  <a:lnTo>
                    <a:pt x="1427" y="1646"/>
                  </a:lnTo>
                  <a:lnTo>
                    <a:pt x="1425" y="1644"/>
                  </a:lnTo>
                  <a:close/>
                  <a:moveTo>
                    <a:pt x="1541" y="1395"/>
                  </a:moveTo>
                  <a:lnTo>
                    <a:pt x="1541" y="1395"/>
                  </a:lnTo>
                  <a:lnTo>
                    <a:pt x="1541" y="1395"/>
                  </a:lnTo>
                  <a:lnTo>
                    <a:pt x="1541" y="1395"/>
                  </a:lnTo>
                  <a:lnTo>
                    <a:pt x="1543" y="1395"/>
                  </a:lnTo>
                  <a:lnTo>
                    <a:pt x="1543" y="1395"/>
                  </a:lnTo>
                  <a:lnTo>
                    <a:pt x="1543" y="1395"/>
                  </a:lnTo>
                  <a:lnTo>
                    <a:pt x="1543" y="1395"/>
                  </a:lnTo>
                  <a:lnTo>
                    <a:pt x="1541" y="1395"/>
                  </a:lnTo>
                  <a:close/>
                  <a:moveTo>
                    <a:pt x="1614" y="1256"/>
                  </a:moveTo>
                  <a:lnTo>
                    <a:pt x="1614" y="1258"/>
                  </a:lnTo>
                  <a:lnTo>
                    <a:pt x="1616" y="1258"/>
                  </a:lnTo>
                  <a:lnTo>
                    <a:pt x="1619" y="1258"/>
                  </a:lnTo>
                  <a:lnTo>
                    <a:pt x="1621" y="1260"/>
                  </a:lnTo>
                  <a:lnTo>
                    <a:pt x="1621" y="1260"/>
                  </a:lnTo>
                  <a:lnTo>
                    <a:pt x="1621" y="1258"/>
                  </a:lnTo>
                  <a:lnTo>
                    <a:pt x="1623" y="1258"/>
                  </a:lnTo>
                  <a:lnTo>
                    <a:pt x="1623" y="1256"/>
                  </a:lnTo>
                  <a:lnTo>
                    <a:pt x="1623" y="1256"/>
                  </a:lnTo>
                  <a:lnTo>
                    <a:pt x="1623" y="1256"/>
                  </a:lnTo>
                  <a:lnTo>
                    <a:pt x="1621" y="1256"/>
                  </a:lnTo>
                  <a:lnTo>
                    <a:pt x="1621" y="1256"/>
                  </a:lnTo>
                  <a:lnTo>
                    <a:pt x="1621" y="1256"/>
                  </a:lnTo>
                  <a:lnTo>
                    <a:pt x="1621" y="1256"/>
                  </a:lnTo>
                  <a:lnTo>
                    <a:pt x="1619" y="1256"/>
                  </a:lnTo>
                  <a:lnTo>
                    <a:pt x="1619" y="1256"/>
                  </a:lnTo>
                  <a:lnTo>
                    <a:pt x="1616" y="1256"/>
                  </a:lnTo>
                  <a:lnTo>
                    <a:pt x="1616" y="1256"/>
                  </a:lnTo>
                  <a:lnTo>
                    <a:pt x="1616" y="1256"/>
                  </a:lnTo>
                  <a:lnTo>
                    <a:pt x="1616" y="1256"/>
                  </a:lnTo>
                  <a:lnTo>
                    <a:pt x="1616" y="1256"/>
                  </a:lnTo>
                  <a:lnTo>
                    <a:pt x="1616" y="1256"/>
                  </a:lnTo>
                  <a:lnTo>
                    <a:pt x="1614" y="1256"/>
                  </a:lnTo>
                  <a:close/>
                  <a:moveTo>
                    <a:pt x="1470" y="1471"/>
                  </a:moveTo>
                  <a:lnTo>
                    <a:pt x="1470" y="1471"/>
                  </a:lnTo>
                  <a:lnTo>
                    <a:pt x="1470" y="1471"/>
                  </a:lnTo>
                  <a:lnTo>
                    <a:pt x="1467" y="1471"/>
                  </a:lnTo>
                  <a:lnTo>
                    <a:pt x="1467" y="1471"/>
                  </a:lnTo>
                  <a:lnTo>
                    <a:pt x="1467" y="1471"/>
                  </a:lnTo>
                  <a:lnTo>
                    <a:pt x="1467" y="1471"/>
                  </a:lnTo>
                  <a:lnTo>
                    <a:pt x="1467" y="1471"/>
                  </a:lnTo>
                  <a:lnTo>
                    <a:pt x="1467" y="1471"/>
                  </a:lnTo>
                  <a:lnTo>
                    <a:pt x="1467" y="1471"/>
                  </a:lnTo>
                  <a:lnTo>
                    <a:pt x="1467" y="1471"/>
                  </a:lnTo>
                  <a:lnTo>
                    <a:pt x="1470" y="1471"/>
                  </a:lnTo>
                  <a:lnTo>
                    <a:pt x="1470" y="1471"/>
                  </a:lnTo>
                  <a:lnTo>
                    <a:pt x="1470" y="1473"/>
                  </a:lnTo>
                  <a:lnTo>
                    <a:pt x="1470" y="1473"/>
                  </a:lnTo>
                  <a:lnTo>
                    <a:pt x="1472" y="1471"/>
                  </a:lnTo>
                  <a:lnTo>
                    <a:pt x="1470" y="1471"/>
                  </a:lnTo>
                  <a:lnTo>
                    <a:pt x="1470" y="1471"/>
                  </a:lnTo>
                  <a:lnTo>
                    <a:pt x="1470" y="1471"/>
                  </a:lnTo>
                  <a:close/>
                  <a:moveTo>
                    <a:pt x="985" y="1369"/>
                  </a:moveTo>
                  <a:lnTo>
                    <a:pt x="987" y="1372"/>
                  </a:lnTo>
                  <a:lnTo>
                    <a:pt x="989" y="1372"/>
                  </a:lnTo>
                  <a:lnTo>
                    <a:pt x="992" y="1369"/>
                  </a:lnTo>
                  <a:lnTo>
                    <a:pt x="992" y="1369"/>
                  </a:lnTo>
                  <a:lnTo>
                    <a:pt x="992" y="1369"/>
                  </a:lnTo>
                  <a:lnTo>
                    <a:pt x="989" y="1369"/>
                  </a:lnTo>
                  <a:lnTo>
                    <a:pt x="985" y="1365"/>
                  </a:lnTo>
                  <a:lnTo>
                    <a:pt x="985" y="1362"/>
                  </a:lnTo>
                  <a:lnTo>
                    <a:pt x="985" y="1362"/>
                  </a:lnTo>
                  <a:lnTo>
                    <a:pt x="985" y="1362"/>
                  </a:lnTo>
                  <a:lnTo>
                    <a:pt x="985" y="1362"/>
                  </a:lnTo>
                  <a:lnTo>
                    <a:pt x="985" y="1365"/>
                  </a:lnTo>
                  <a:lnTo>
                    <a:pt x="985" y="1369"/>
                  </a:lnTo>
                  <a:lnTo>
                    <a:pt x="985" y="1369"/>
                  </a:lnTo>
                  <a:close/>
                  <a:moveTo>
                    <a:pt x="1240" y="1339"/>
                  </a:moveTo>
                  <a:lnTo>
                    <a:pt x="1240" y="1339"/>
                  </a:lnTo>
                  <a:lnTo>
                    <a:pt x="1240" y="1341"/>
                  </a:lnTo>
                  <a:lnTo>
                    <a:pt x="1240" y="1341"/>
                  </a:lnTo>
                  <a:lnTo>
                    <a:pt x="1242" y="1339"/>
                  </a:lnTo>
                  <a:lnTo>
                    <a:pt x="1245" y="1339"/>
                  </a:lnTo>
                  <a:lnTo>
                    <a:pt x="1245" y="1336"/>
                  </a:lnTo>
                  <a:lnTo>
                    <a:pt x="1245" y="1336"/>
                  </a:lnTo>
                  <a:lnTo>
                    <a:pt x="1245" y="1336"/>
                  </a:lnTo>
                  <a:lnTo>
                    <a:pt x="1245" y="1334"/>
                  </a:lnTo>
                  <a:lnTo>
                    <a:pt x="1245" y="1334"/>
                  </a:lnTo>
                  <a:lnTo>
                    <a:pt x="1245" y="1334"/>
                  </a:lnTo>
                  <a:lnTo>
                    <a:pt x="1242" y="1334"/>
                  </a:lnTo>
                  <a:lnTo>
                    <a:pt x="1242" y="1336"/>
                  </a:lnTo>
                  <a:lnTo>
                    <a:pt x="1242" y="1336"/>
                  </a:lnTo>
                  <a:lnTo>
                    <a:pt x="1240" y="1336"/>
                  </a:lnTo>
                  <a:lnTo>
                    <a:pt x="1240" y="1336"/>
                  </a:lnTo>
                  <a:lnTo>
                    <a:pt x="1240" y="1336"/>
                  </a:lnTo>
                  <a:lnTo>
                    <a:pt x="1240" y="1336"/>
                  </a:lnTo>
                  <a:lnTo>
                    <a:pt x="1240" y="1339"/>
                  </a:lnTo>
                  <a:lnTo>
                    <a:pt x="1240" y="1339"/>
                  </a:lnTo>
                  <a:close/>
                  <a:moveTo>
                    <a:pt x="1484" y="1464"/>
                  </a:moveTo>
                  <a:lnTo>
                    <a:pt x="1484" y="1464"/>
                  </a:lnTo>
                  <a:lnTo>
                    <a:pt x="1484" y="1466"/>
                  </a:lnTo>
                  <a:lnTo>
                    <a:pt x="1484" y="1466"/>
                  </a:lnTo>
                  <a:lnTo>
                    <a:pt x="1484" y="1466"/>
                  </a:lnTo>
                  <a:lnTo>
                    <a:pt x="1484" y="1466"/>
                  </a:lnTo>
                  <a:lnTo>
                    <a:pt x="1486" y="1466"/>
                  </a:lnTo>
                  <a:lnTo>
                    <a:pt x="1486" y="1466"/>
                  </a:lnTo>
                  <a:lnTo>
                    <a:pt x="1486" y="1464"/>
                  </a:lnTo>
                  <a:lnTo>
                    <a:pt x="1484" y="1464"/>
                  </a:lnTo>
                  <a:lnTo>
                    <a:pt x="1484" y="1464"/>
                  </a:lnTo>
                  <a:close/>
                  <a:moveTo>
                    <a:pt x="977" y="1310"/>
                  </a:moveTo>
                  <a:lnTo>
                    <a:pt x="975" y="1310"/>
                  </a:lnTo>
                  <a:lnTo>
                    <a:pt x="973" y="1313"/>
                  </a:lnTo>
                  <a:lnTo>
                    <a:pt x="973" y="1313"/>
                  </a:lnTo>
                  <a:lnTo>
                    <a:pt x="973" y="1313"/>
                  </a:lnTo>
                  <a:lnTo>
                    <a:pt x="973" y="1313"/>
                  </a:lnTo>
                  <a:lnTo>
                    <a:pt x="973" y="1315"/>
                  </a:lnTo>
                  <a:lnTo>
                    <a:pt x="973" y="1315"/>
                  </a:lnTo>
                  <a:lnTo>
                    <a:pt x="973" y="1315"/>
                  </a:lnTo>
                  <a:lnTo>
                    <a:pt x="970" y="1315"/>
                  </a:lnTo>
                  <a:lnTo>
                    <a:pt x="970" y="1317"/>
                  </a:lnTo>
                  <a:lnTo>
                    <a:pt x="973" y="1317"/>
                  </a:lnTo>
                  <a:lnTo>
                    <a:pt x="973" y="1317"/>
                  </a:lnTo>
                  <a:lnTo>
                    <a:pt x="975" y="1317"/>
                  </a:lnTo>
                  <a:lnTo>
                    <a:pt x="975" y="1317"/>
                  </a:lnTo>
                  <a:lnTo>
                    <a:pt x="975" y="1315"/>
                  </a:lnTo>
                  <a:lnTo>
                    <a:pt x="977" y="1315"/>
                  </a:lnTo>
                  <a:lnTo>
                    <a:pt x="977" y="1313"/>
                  </a:lnTo>
                  <a:lnTo>
                    <a:pt x="977" y="1310"/>
                  </a:lnTo>
                  <a:close/>
                  <a:moveTo>
                    <a:pt x="1396" y="1665"/>
                  </a:moveTo>
                  <a:lnTo>
                    <a:pt x="1394" y="1667"/>
                  </a:lnTo>
                  <a:lnTo>
                    <a:pt x="1396" y="1667"/>
                  </a:lnTo>
                  <a:lnTo>
                    <a:pt x="1396" y="1667"/>
                  </a:lnTo>
                  <a:lnTo>
                    <a:pt x="1399" y="1667"/>
                  </a:lnTo>
                  <a:lnTo>
                    <a:pt x="1399" y="1667"/>
                  </a:lnTo>
                  <a:lnTo>
                    <a:pt x="1399" y="1665"/>
                  </a:lnTo>
                  <a:lnTo>
                    <a:pt x="1401" y="1665"/>
                  </a:lnTo>
                  <a:lnTo>
                    <a:pt x="1401" y="1665"/>
                  </a:lnTo>
                  <a:lnTo>
                    <a:pt x="1396" y="1665"/>
                  </a:lnTo>
                  <a:lnTo>
                    <a:pt x="1396" y="1665"/>
                  </a:lnTo>
                  <a:lnTo>
                    <a:pt x="1396" y="1665"/>
                  </a:lnTo>
                  <a:lnTo>
                    <a:pt x="1396" y="1665"/>
                  </a:lnTo>
                  <a:lnTo>
                    <a:pt x="1394" y="1665"/>
                  </a:lnTo>
                  <a:lnTo>
                    <a:pt x="1394" y="1665"/>
                  </a:lnTo>
                  <a:lnTo>
                    <a:pt x="1394" y="1665"/>
                  </a:lnTo>
                  <a:lnTo>
                    <a:pt x="1394" y="1665"/>
                  </a:lnTo>
                  <a:lnTo>
                    <a:pt x="1394" y="1665"/>
                  </a:lnTo>
                  <a:lnTo>
                    <a:pt x="1394" y="1665"/>
                  </a:lnTo>
                  <a:lnTo>
                    <a:pt x="1394" y="1665"/>
                  </a:lnTo>
                  <a:lnTo>
                    <a:pt x="1394" y="1665"/>
                  </a:lnTo>
                  <a:lnTo>
                    <a:pt x="1394" y="1665"/>
                  </a:lnTo>
                  <a:lnTo>
                    <a:pt x="1396" y="1665"/>
                  </a:lnTo>
                  <a:lnTo>
                    <a:pt x="1396" y="1665"/>
                  </a:lnTo>
                  <a:lnTo>
                    <a:pt x="1396" y="1665"/>
                  </a:lnTo>
                  <a:lnTo>
                    <a:pt x="1396" y="1665"/>
                  </a:lnTo>
                  <a:close/>
                  <a:moveTo>
                    <a:pt x="1690" y="2462"/>
                  </a:moveTo>
                  <a:lnTo>
                    <a:pt x="1687" y="2462"/>
                  </a:lnTo>
                  <a:lnTo>
                    <a:pt x="1687" y="2462"/>
                  </a:lnTo>
                  <a:lnTo>
                    <a:pt x="1687" y="2462"/>
                  </a:lnTo>
                  <a:lnTo>
                    <a:pt x="1683" y="2462"/>
                  </a:lnTo>
                  <a:lnTo>
                    <a:pt x="1680" y="2462"/>
                  </a:lnTo>
                  <a:lnTo>
                    <a:pt x="1680" y="2465"/>
                  </a:lnTo>
                  <a:lnTo>
                    <a:pt x="1678" y="2465"/>
                  </a:lnTo>
                  <a:lnTo>
                    <a:pt x="1678" y="2465"/>
                  </a:lnTo>
                  <a:lnTo>
                    <a:pt x="1678" y="2465"/>
                  </a:lnTo>
                  <a:lnTo>
                    <a:pt x="1678" y="2467"/>
                  </a:lnTo>
                  <a:lnTo>
                    <a:pt x="1678" y="2467"/>
                  </a:lnTo>
                  <a:lnTo>
                    <a:pt x="1680" y="2467"/>
                  </a:lnTo>
                  <a:lnTo>
                    <a:pt x="1680" y="2467"/>
                  </a:lnTo>
                  <a:lnTo>
                    <a:pt x="1680" y="2467"/>
                  </a:lnTo>
                  <a:lnTo>
                    <a:pt x="1680" y="2467"/>
                  </a:lnTo>
                  <a:lnTo>
                    <a:pt x="1680" y="2467"/>
                  </a:lnTo>
                  <a:lnTo>
                    <a:pt x="1680" y="2467"/>
                  </a:lnTo>
                  <a:lnTo>
                    <a:pt x="1683" y="2467"/>
                  </a:lnTo>
                  <a:lnTo>
                    <a:pt x="1685" y="2467"/>
                  </a:lnTo>
                  <a:lnTo>
                    <a:pt x="1685" y="2465"/>
                  </a:lnTo>
                  <a:lnTo>
                    <a:pt x="1685" y="2467"/>
                  </a:lnTo>
                  <a:lnTo>
                    <a:pt x="1687" y="2467"/>
                  </a:lnTo>
                  <a:lnTo>
                    <a:pt x="1687" y="2467"/>
                  </a:lnTo>
                  <a:lnTo>
                    <a:pt x="1690" y="2465"/>
                  </a:lnTo>
                  <a:lnTo>
                    <a:pt x="1690" y="2465"/>
                  </a:lnTo>
                  <a:lnTo>
                    <a:pt x="1690" y="2465"/>
                  </a:lnTo>
                  <a:lnTo>
                    <a:pt x="1690" y="2465"/>
                  </a:lnTo>
                  <a:lnTo>
                    <a:pt x="1690" y="2465"/>
                  </a:lnTo>
                  <a:lnTo>
                    <a:pt x="1692" y="2465"/>
                  </a:lnTo>
                  <a:lnTo>
                    <a:pt x="1692" y="2465"/>
                  </a:lnTo>
                  <a:lnTo>
                    <a:pt x="1692" y="2462"/>
                  </a:lnTo>
                  <a:lnTo>
                    <a:pt x="1690" y="2462"/>
                  </a:lnTo>
                  <a:close/>
                  <a:moveTo>
                    <a:pt x="1638" y="2422"/>
                  </a:moveTo>
                  <a:lnTo>
                    <a:pt x="1638" y="2422"/>
                  </a:lnTo>
                  <a:lnTo>
                    <a:pt x="1638" y="2422"/>
                  </a:lnTo>
                  <a:lnTo>
                    <a:pt x="1635" y="2422"/>
                  </a:lnTo>
                  <a:lnTo>
                    <a:pt x="1635" y="2422"/>
                  </a:lnTo>
                  <a:lnTo>
                    <a:pt x="1635" y="2422"/>
                  </a:lnTo>
                  <a:lnTo>
                    <a:pt x="1635" y="2422"/>
                  </a:lnTo>
                  <a:lnTo>
                    <a:pt x="1635" y="2424"/>
                  </a:lnTo>
                  <a:lnTo>
                    <a:pt x="1638" y="2422"/>
                  </a:lnTo>
                  <a:lnTo>
                    <a:pt x="1638" y="2424"/>
                  </a:lnTo>
                  <a:lnTo>
                    <a:pt x="1638" y="2422"/>
                  </a:lnTo>
                  <a:lnTo>
                    <a:pt x="1638" y="2422"/>
                  </a:lnTo>
                  <a:lnTo>
                    <a:pt x="1638" y="2422"/>
                  </a:lnTo>
                  <a:lnTo>
                    <a:pt x="1638" y="2422"/>
                  </a:lnTo>
                  <a:close/>
                  <a:moveTo>
                    <a:pt x="1612" y="2415"/>
                  </a:moveTo>
                  <a:lnTo>
                    <a:pt x="1612" y="2415"/>
                  </a:lnTo>
                  <a:lnTo>
                    <a:pt x="1609" y="2415"/>
                  </a:lnTo>
                  <a:lnTo>
                    <a:pt x="1609" y="2415"/>
                  </a:lnTo>
                  <a:lnTo>
                    <a:pt x="1609" y="2415"/>
                  </a:lnTo>
                  <a:lnTo>
                    <a:pt x="1609" y="2415"/>
                  </a:lnTo>
                  <a:lnTo>
                    <a:pt x="1609" y="2417"/>
                  </a:lnTo>
                  <a:lnTo>
                    <a:pt x="1609" y="2417"/>
                  </a:lnTo>
                  <a:lnTo>
                    <a:pt x="1609" y="2417"/>
                  </a:lnTo>
                  <a:lnTo>
                    <a:pt x="1609" y="2417"/>
                  </a:lnTo>
                  <a:lnTo>
                    <a:pt x="1609" y="2417"/>
                  </a:lnTo>
                  <a:lnTo>
                    <a:pt x="1609" y="2417"/>
                  </a:lnTo>
                  <a:lnTo>
                    <a:pt x="1609" y="2420"/>
                  </a:lnTo>
                  <a:lnTo>
                    <a:pt x="1609" y="2420"/>
                  </a:lnTo>
                  <a:lnTo>
                    <a:pt x="1609" y="2420"/>
                  </a:lnTo>
                  <a:lnTo>
                    <a:pt x="1609" y="2420"/>
                  </a:lnTo>
                  <a:lnTo>
                    <a:pt x="1609" y="2420"/>
                  </a:lnTo>
                  <a:lnTo>
                    <a:pt x="1612" y="2420"/>
                  </a:lnTo>
                  <a:lnTo>
                    <a:pt x="1612" y="2420"/>
                  </a:lnTo>
                  <a:lnTo>
                    <a:pt x="1614" y="2420"/>
                  </a:lnTo>
                  <a:lnTo>
                    <a:pt x="1612" y="2417"/>
                  </a:lnTo>
                  <a:lnTo>
                    <a:pt x="1612" y="2415"/>
                  </a:lnTo>
                  <a:close/>
                  <a:moveTo>
                    <a:pt x="1616" y="2417"/>
                  </a:moveTo>
                  <a:lnTo>
                    <a:pt x="1616" y="2417"/>
                  </a:lnTo>
                  <a:lnTo>
                    <a:pt x="1619" y="2420"/>
                  </a:lnTo>
                  <a:lnTo>
                    <a:pt x="1619" y="2417"/>
                  </a:lnTo>
                  <a:lnTo>
                    <a:pt x="1619" y="2417"/>
                  </a:lnTo>
                  <a:lnTo>
                    <a:pt x="1619" y="2417"/>
                  </a:lnTo>
                  <a:lnTo>
                    <a:pt x="1616" y="2417"/>
                  </a:lnTo>
                  <a:close/>
                  <a:moveTo>
                    <a:pt x="1768" y="2533"/>
                  </a:moveTo>
                  <a:lnTo>
                    <a:pt x="1765" y="2533"/>
                  </a:lnTo>
                  <a:lnTo>
                    <a:pt x="1765" y="2533"/>
                  </a:lnTo>
                  <a:lnTo>
                    <a:pt x="1765" y="2533"/>
                  </a:lnTo>
                  <a:lnTo>
                    <a:pt x="1765" y="2533"/>
                  </a:lnTo>
                  <a:lnTo>
                    <a:pt x="1765" y="2533"/>
                  </a:lnTo>
                  <a:lnTo>
                    <a:pt x="1765" y="2533"/>
                  </a:lnTo>
                  <a:lnTo>
                    <a:pt x="1765" y="2533"/>
                  </a:lnTo>
                  <a:lnTo>
                    <a:pt x="1763" y="2533"/>
                  </a:lnTo>
                  <a:lnTo>
                    <a:pt x="1763" y="2533"/>
                  </a:lnTo>
                  <a:lnTo>
                    <a:pt x="1761" y="2531"/>
                  </a:lnTo>
                  <a:lnTo>
                    <a:pt x="1761" y="2531"/>
                  </a:lnTo>
                  <a:lnTo>
                    <a:pt x="1761" y="2531"/>
                  </a:lnTo>
                  <a:lnTo>
                    <a:pt x="1758" y="2531"/>
                  </a:lnTo>
                  <a:lnTo>
                    <a:pt x="1758" y="2531"/>
                  </a:lnTo>
                  <a:lnTo>
                    <a:pt x="1758" y="2531"/>
                  </a:lnTo>
                  <a:lnTo>
                    <a:pt x="1756" y="2531"/>
                  </a:lnTo>
                  <a:lnTo>
                    <a:pt x="1756" y="2531"/>
                  </a:lnTo>
                  <a:lnTo>
                    <a:pt x="1756" y="2531"/>
                  </a:lnTo>
                  <a:lnTo>
                    <a:pt x="1756" y="2533"/>
                  </a:lnTo>
                  <a:lnTo>
                    <a:pt x="1756" y="2533"/>
                  </a:lnTo>
                  <a:lnTo>
                    <a:pt x="1756" y="2533"/>
                  </a:lnTo>
                  <a:lnTo>
                    <a:pt x="1756" y="2533"/>
                  </a:lnTo>
                  <a:lnTo>
                    <a:pt x="1756" y="2533"/>
                  </a:lnTo>
                  <a:lnTo>
                    <a:pt x="1756" y="2535"/>
                  </a:lnTo>
                  <a:lnTo>
                    <a:pt x="1758" y="2535"/>
                  </a:lnTo>
                  <a:lnTo>
                    <a:pt x="1761" y="2538"/>
                  </a:lnTo>
                  <a:lnTo>
                    <a:pt x="1761" y="2540"/>
                  </a:lnTo>
                  <a:lnTo>
                    <a:pt x="1761" y="2540"/>
                  </a:lnTo>
                  <a:lnTo>
                    <a:pt x="1761" y="2540"/>
                  </a:lnTo>
                  <a:lnTo>
                    <a:pt x="1761" y="2540"/>
                  </a:lnTo>
                  <a:lnTo>
                    <a:pt x="1761" y="2540"/>
                  </a:lnTo>
                  <a:lnTo>
                    <a:pt x="1761" y="2543"/>
                  </a:lnTo>
                  <a:lnTo>
                    <a:pt x="1763" y="2543"/>
                  </a:lnTo>
                  <a:lnTo>
                    <a:pt x="1763" y="2543"/>
                  </a:lnTo>
                  <a:lnTo>
                    <a:pt x="1763" y="2543"/>
                  </a:lnTo>
                  <a:lnTo>
                    <a:pt x="1763" y="2543"/>
                  </a:lnTo>
                  <a:lnTo>
                    <a:pt x="1763" y="2543"/>
                  </a:lnTo>
                  <a:lnTo>
                    <a:pt x="1763" y="2543"/>
                  </a:lnTo>
                  <a:lnTo>
                    <a:pt x="1763" y="2543"/>
                  </a:lnTo>
                  <a:lnTo>
                    <a:pt x="1763" y="2543"/>
                  </a:lnTo>
                  <a:lnTo>
                    <a:pt x="1765" y="2540"/>
                  </a:lnTo>
                  <a:lnTo>
                    <a:pt x="1765" y="2538"/>
                  </a:lnTo>
                  <a:lnTo>
                    <a:pt x="1765" y="2538"/>
                  </a:lnTo>
                  <a:lnTo>
                    <a:pt x="1765" y="2538"/>
                  </a:lnTo>
                  <a:lnTo>
                    <a:pt x="1765" y="2538"/>
                  </a:lnTo>
                  <a:lnTo>
                    <a:pt x="1768" y="2538"/>
                  </a:lnTo>
                  <a:lnTo>
                    <a:pt x="1768" y="2535"/>
                  </a:lnTo>
                  <a:lnTo>
                    <a:pt x="1768" y="2535"/>
                  </a:lnTo>
                  <a:lnTo>
                    <a:pt x="1768" y="2535"/>
                  </a:lnTo>
                  <a:lnTo>
                    <a:pt x="1768" y="2533"/>
                  </a:lnTo>
                  <a:lnTo>
                    <a:pt x="1768" y="2533"/>
                  </a:lnTo>
                  <a:close/>
                  <a:moveTo>
                    <a:pt x="1789" y="2545"/>
                  </a:moveTo>
                  <a:lnTo>
                    <a:pt x="1787" y="2545"/>
                  </a:lnTo>
                  <a:lnTo>
                    <a:pt x="1787" y="2545"/>
                  </a:lnTo>
                  <a:lnTo>
                    <a:pt x="1787" y="2545"/>
                  </a:lnTo>
                  <a:lnTo>
                    <a:pt x="1784" y="2545"/>
                  </a:lnTo>
                  <a:lnTo>
                    <a:pt x="1784" y="2543"/>
                  </a:lnTo>
                  <a:lnTo>
                    <a:pt x="1784" y="2543"/>
                  </a:lnTo>
                  <a:lnTo>
                    <a:pt x="1784" y="2545"/>
                  </a:lnTo>
                  <a:lnTo>
                    <a:pt x="1782" y="2545"/>
                  </a:lnTo>
                  <a:lnTo>
                    <a:pt x="1782" y="2545"/>
                  </a:lnTo>
                  <a:lnTo>
                    <a:pt x="1782" y="2545"/>
                  </a:lnTo>
                  <a:lnTo>
                    <a:pt x="1782" y="2545"/>
                  </a:lnTo>
                  <a:lnTo>
                    <a:pt x="1782" y="2547"/>
                  </a:lnTo>
                  <a:lnTo>
                    <a:pt x="1782" y="2547"/>
                  </a:lnTo>
                  <a:lnTo>
                    <a:pt x="1780" y="2547"/>
                  </a:lnTo>
                  <a:lnTo>
                    <a:pt x="1780" y="2550"/>
                  </a:lnTo>
                  <a:lnTo>
                    <a:pt x="1780" y="2550"/>
                  </a:lnTo>
                  <a:lnTo>
                    <a:pt x="1782" y="2550"/>
                  </a:lnTo>
                  <a:lnTo>
                    <a:pt x="1782" y="2550"/>
                  </a:lnTo>
                  <a:lnTo>
                    <a:pt x="1784" y="2550"/>
                  </a:lnTo>
                  <a:lnTo>
                    <a:pt x="1784" y="2550"/>
                  </a:lnTo>
                  <a:lnTo>
                    <a:pt x="1787" y="2550"/>
                  </a:lnTo>
                  <a:lnTo>
                    <a:pt x="1787" y="2550"/>
                  </a:lnTo>
                  <a:lnTo>
                    <a:pt x="1787" y="2550"/>
                  </a:lnTo>
                  <a:lnTo>
                    <a:pt x="1789" y="2547"/>
                  </a:lnTo>
                  <a:lnTo>
                    <a:pt x="1789" y="2547"/>
                  </a:lnTo>
                  <a:lnTo>
                    <a:pt x="1789" y="2547"/>
                  </a:lnTo>
                  <a:lnTo>
                    <a:pt x="1789" y="2545"/>
                  </a:lnTo>
                  <a:lnTo>
                    <a:pt x="1789" y="2545"/>
                  </a:lnTo>
                  <a:close/>
                  <a:moveTo>
                    <a:pt x="1597" y="2412"/>
                  </a:moveTo>
                  <a:lnTo>
                    <a:pt x="1597" y="2412"/>
                  </a:lnTo>
                  <a:lnTo>
                    <a:pt x="1600" y="2412"/>
                  </a:lnTo>
                  <a:lnTo>
                    <a:pt x="1600" y="2412"/>
                  </a:lnTo>
                  <a:lnTo>
                    <a:pt x="1600" y="2410"/>
                  </a:lnTo>
                  <a:lnTo>
                    <a:pt x="1597" y="2410"/>
                  </a:lnTo>
                  <a:lnTo>
                    <a:pt x="1597" y="2410"/>
                  </a:lnTo>
                  <a:lnTo>
                    <a:pt x="1597" y="2410"/>
                  </a:lnTo>
                  <a:lnTo>
                    <a:pt x="1597" y="2410"/>
                  </a:lnTo>
                  <a:lnTo>
                    <a:pt x="1597" y="2412"/>
                  </a:lnTo>
                  <a:lnTo>
                    <a:pt x="1597" y="2412"/>
                  </a:lnTo>
                  <a:lnTo>
                    <a:pt x="1597" y="2412"/>
                  </a:lnTo>
                  <a:lnTo>
                    <a:pt x="1597" y="2412"/>
                  </a:lnTo>
                  <a:close/>
                  <a:moveTo>
                    <a:pt x="365" y="2325"/>
                  </a:moveTo>
                  <a:lnTo>
                    <a:pt x="365" y="2325"/>
                  </a:lnTo>
                  <a:lnTo>
                    <a:pt x="365" y="2327"/>
                  </a:lnTo>
                  <a:lnTo>
                    <a:pt x="367" y="2327"/>
                  </a:lnTo>
                  <a:lnTo>
                    <a:pt x="367" y="2327"/>
                  </a:lnTo>
                  <a:lnTo>
                    <a:pt x="367" y="2327"/>
                  </a:lnTo>
                  <a:lnTo>
                    <a:pt x="369" y="2325"/>
                  </a:lnTo>
                  <a:lnTo>
                    <a:pt x="369" y="2325"/>
                  </a:lnTo>
                  <a:lnTo>
                    <a:pt x="369" y="2325"/>
                  </a:lnTo>
                  <a:lnTo>
                    <a:pt x="369" y="2325"/>
                  </a:lnTo>
                  <a:lnTo>
                    <a:pt x="369" y="2325"/>
                  </a:lnTo>
                  <a:lnTo>
                    <a:pt x="369" y="2325"/>
                  </a:lnTo>
                  <a:lnTo>
                    <a:pt x="369" y="2325"/>
                  </a:lnTo>
                  <a:lnTo>
                    <a:pt x="369" y="2323"/>
                  </a:lnTo>
                  <a:lnTo>
                    <a:pt x="369" y="2323"/>
                  </a:lnTo>
                  <a:lnTo>
                    <a:pt x="369" y="2323"/>
                  </a:lnTo>
                  <a:lnTo>
                    <a:pt x="369" y="2323"/>
                  </a:lnTo>
                  <a:lnTo>
                    <a:pt x="367" y="2323"/>
                  </a:lnTo>
                  <a:lnTo>
                    <a:pt x="367" y="2323"/>
                  </a:lnTo>
                  <a:lnTo>
                    <a:pt x="367" y="2325"/>
                  </a:lnTo>
                  <a:lnTo>
                    <a:pt x="365" y="2325"/>
                  </a:lnTo>
                  <a:lnTo>
                    <a:pt x="365" y="2325"/>
                  </a:lnTo>
                  <a:lnTo>
                    <a:pt x="365" y="2325"/>
                  </a:lnTo>
                  <a:close/>
                  <a:moveTo>
                    <a:pt x="367" y="2320"/>
                  </a:moveTo>
                  <a:lnTo>
                    <a:pt x="367" y="2320"/>
                  </a:lnTo>
                  <a:lnTo>
                    <a:pt x="367" y="2320"/>
                  </a:lnTo>
                  <a:lnTo>
                    <a:pt x="367" y="2320"/>
                  </a:lnTo>
                  <a:lnTo>
                    <a:pt x="367" y="2320"/>
                  </a:lnTo>
                  <a:lnTo>
                    <a:pt x="369" y="2320"/>
                  </a:lnTo>
                  <a:lnTo>
                    <a:pt x="369" y="2320"/>
                  </a:lnTo>
                  <a:lnTo>
                    <a:pt x="367" y="2320"/>
                  </a:lnTo>
                  <a:lnTo>
                    <a:pt x="369" y="2320"/>
                  </a:lnTo>
                  <a:lnTo>
                    <a:pt x="369" y="2320"/>
                  </a:lnTo>
                  <a:lnTo>
                    <a:pt x="369" y="2320"/>
                  </a:lnTo>
                  <a:lnTo>
                    <a:pt x="369" y="2318"/>
                  </a:lnTo>
                  <a:lnTo>
                    <a:pt x="369" y="2315"/>
                  </a:lnTo>
                  <a:lnTo>
                    <a:pt x="369" y="2315"/>
                  </a:lnTo>
                  <a:lnTo>
                    <a:pt x="369" y="2315"/>
                  </a:lnTo>
                  <a:lnTo>
                    <a:pt x="369" y="2315"/>
                  </a:lnTo>
                  <a:lnTo>
                    <a:pt x="369" y="2315"/>
                  </a:lnTo>
                  <a:lnTo>
                    <a:pt x="367" y="2315"/>
                  </a:lnTo>
                  <a:lnTo>
                    <a:pt x="367" y="2315"/>
                  </a:lnTo>
                  <a:lnTo>
                    <a:pt x="367" y="2318"/>
                  </a:lnTo>
                  <a:lnTo>
                    <a:pt x="367" y="2318"/>
                  </a:lnTo>
                  <a:lnTo>
                    <a:pt x="367" y="2318"/>
                  </a:lnTo>
                  <a:lnTo>
                    <a:pt x="365" y="2318"/>
                  </a:lnTo>
                  <a:lnTo>
                    <a:pt x="365" y="2318"/>
                  </a:lnTo>
                  <a:lnTo>
                    <a:pt x="367" y="2320"/>
                  </a:lnTo>
                  <a:lnTo>
                    <a:pt x="365" y="2320"/>
                  </a:lnTo>
                  <a:lnTo>
                    <a:pt x="367" y="2320"/>
                  </a:lnTo>
                  <a:close/>
                  <a:moveTo>
                    <a:pt x="372" y="2358"/>
                  </a:moveTo>
                  <a:lnTo>
                    <a:pt x="372" y="2356"/>
                  </a:lnTo>
                  <a:lnTo>
                    <a:pt x="369" y="2356"/>
                  </a:lnTo>
                  <a:lnTo>
                    <a:pt x="367" y="2356"/>
                  </a:lnTo>
                  <a:lnTo>
                    <a:pt x="367" y="2353"/>
                  </a:lnTo>
                  <a:lnTo>
                    <a:pt x="367" y="2353"/>
                  </a:lnTo>
                  <a:lnTo>
                    <a:pt x="367" y="2353"/>
                  </a:lnTo>
                  <a:lnTo>
                    <a:pt x="367" y="2356"/>
                  </a:lnTo>
                  <a:lnTo>
                    <a:pt x="367" y="2356"/>
                  </a:lnTo>
                  <a:lnTo>
                    <a:pt x="367" y="2356"/>
                  </a:lnTo>
                  <a:lnTo>
                    <a:pt x="367" y="2356"/>
                  </a:lnTo>
                  <a:lnTo>
                    <a:pt x="367" y="2356"/>
                  </a:lnTo>
                  <a:lnTo>
                    <a:pt x="367" y="2358"/>
                  </a:lnTo>
                  <a:lnTo>
                    <a:pt x="367" y="2358"/>
                  </a:lnTo>
                  <a:lnTo>
                    <a:pt x="367" y="2358"/>
                  </a:lnTo>
                  <a:lnTo>
                    <a:pt x="369" y="2358"/>
                  </a:lnTo>
                  <a:lnTo>
                    <a:pt x="369" y="2358"/>
                  </a:lnTo>
                  <a:lnTo>
                    <a:pt x="369" y="2358"/>
                  </a:lnTo>
                  <a:lnTo>
                    <a:pt x="369" y="2358"/>
                  </a:lnTo>
                  <a:lnTo>
                    <a:pt x="372" y="2358"/>
                  </a:lnTo>
                  <a:lnTo>
                    <a:pt x="372" y="2358"/>
                  </a:lnTo>
                  <a:lnTo>
                    <a:pt x="372" y="2358"/>
                  </a:lnTo>
                  <a:lnTo>
                    <a:pt x="372" y="2358"/>
                  </a:lnTo>
                  <a:lnTo>
                    <a:pt x="372" y="2358"/>
                  </a:lnTo>
                  <a:lnTo>
                    <a:pt x="372" y="2358"/>
                  </a:lnTo>
                  <a:close/>
                  <a:moveTo>
                    <a:pt x="1825" y="2554"/>
                  </a:moveTo>
                  <a:lnTo>
                    <a:pt x="1825" y="2554"/>
                  </a:lnTo>
                  <a:lnTo>
                    <a:pt x="1825" y="2554"/>
                  </a:lnTo>
                  <a:lnTo>
                    <a:pt x="1825" y="2554"/>
                  </a:lnTo>
                  <a:lnTo>
                    <a:pt x="1825" y="2554"/>
                  </a:lnTo>
                  <a:lnTo>
                    <a:pt x="1827" y="2554"/>
                  </a:lnTo>
                  <a:lnTo>
                    <a:pt x="1827" y="2554"/>
                  </a:lnTo>
                  <a:lnTo>
                    <a:pt x="1827" y="2554"/>
                  </a:lnTo>
                  <a:lnTo>
                    <a:pt x="1827" y="2554"/>
                  </a:lnTo>
                  <a:lnTo>
                    <a:pt x="1827" y="2557"/>
                  </a:lnTo>
                  <a:lnTo>
                    <a:pt x="1829" y="2557"/>
                  </a:lnTo>
                  <a:lnTo>
                    <a:pt x="1829" y="2557"/>
                  </a:lnTo>
                  <a:lnTo>
                    <a:pt x="1829" y="2557"/>
                  </a:lnTo>
                  <a:lnTo>
                    <a:pt x="1832" y="2557"/>
                  </a:lnTo>
                  <a:lnTo>
                    <a:pt x="1832" y="2557"/>
                  </a:lnTo>
                  <a:lnTo>
                    <a:pt x="1834" y="2557"/>
                  </a:lnTo>
                  <a:lnTo>
                    <a:pt x="1834" y="2559"/>
                  </a:lnTo>
                  <a:lnTo>
                    <a:pt x="1834" y="2559"/>
                  </a:lnTo>
                  <a:lnTo>
                    <a:pt x="1834" y="2559"/>
                  </a:lnTo>
                  <a:lnTo>
                    <a:pt x="1834" y="2559"/>
                  </a:lnTo>
                  <a:lnTo>
                    <a:pt x="1834" y="2559"/>
                  </a:lnTo>
                  <a:lnTo>
                    <a:pt x="1834" y="2559"/>
                  </a:lnTo>
                  <a:lnTo>
                    <a:pt x="1836" y="2559"/>
                  </a:lnTo>
                  <a:lnTo>
                    <a:pt x="1836" y="2559"/>
                  </a:lnTo>
                  <a:lnTo>
                    <a:pt x="1836" y="2559"/>
                  </a:lnTo>
                  <a:lnTo>
                    <a:pt x="1836" y="2559"/>
                  </a:lnTo>
                  <a:lnTo>
                    <a:pt x="1836" y="2557"/>
                  </a:lnTo>
                  <a:lnTo>
                    <a:pt x="1836" y="2557"/>
                  </a:lnTo>
                  <a:lnTo>
                    <a:pt x="1836" y="2557"/>
                  </a:lnTo>
                  <a:lnTo>
                    <a:pt x="1836" y="2557"/>
                  </a:lnTo>
                  <a:lnTo>
                    <a:pt x="1839" y="2554"/>
                  </a:lnTo>
                  <a:lnTo>
                    <a:pt x="1841" y="2554"/>
                  </a:lnTo>
                  <a:lnTo>
                    <a:pt x="1841" y="2552"/>
                  </a:lnTo>
                  <a:lnTo>
                    <a:pt x="1841" y="2552"/>
                  </a:lnTo>
                  <a:lnTo>
                    <a:pt x="1844" y="2550"/>
                  </a:lnTo>
                  <a:lnTo>
                    <a:pt x="1844" y="2550"/>
                  </a:lnTo>
                  <a:lnTo>
                    <a:pt x="1844" y="2550"/>
                  </a:lnTo>
                  <a:lnTo>
                    <a:pt x="1844" y="2550"/>
                  </a:lnTo>
                  <a:lnTo>
                    <a:pt x="1846" y="2550"/>
                  </a:lnTo>
                  <a:lnTo>
                    <a:pt x="1846" y="2550"/>
                  </a:lnTo>
                  <a:lnTo>
                    <a:pt x="1846" y="2550"/>
                  </a:lnTo>
                  <a:lnTo>
                    <a:pt x="1846" y="2552"/>
                  </a:lnTo>
                  <a:lnTo>
                    <a:pt x="1844" y="2552"/>
                  </a:lnTo>
                  <a:lnTo>
                    <a:pt x="1844" y="2554"/>
                  </a:lnTo>
                  <a:lnTo>
                    <a:pt x="1841" y="2554"/>
                  </a:lnTo>
                  <a:lnTo>
                    <a:pt x="1841" y="2554"/>
                  </a:lnTo>
                  <a:lnTo>
                    <a:pt x="1841" y="2557"/>
                  </a:lnTo>
                  <a:lnTo>
                    <a:pt x="1841" y="2557"/>
                  </a:lnTo>
                  <a:lnTo>
                    <a:pt x="1841" y="2557"/>
                  </a:lnTo>
                  <a:lnTo>
                    <a:pt x="1841" y="2557"/>
                  </a:lnTo>
                  <a:lnTo>
                    <a:pt x="1841" y="2557"/>
                  </a:lnTo>
                  <a:lnTo>
                    <a:pt x="1839" y="2557"/>
                  </a:lnTo>
                  <a:lnTo>
                    <a:pt x="1839" y="2557"/>
                  </a:lnTo>
                  <a:lnTo>
                    <a:pt x="1839" y="2557"/>
                  </a:lnTo>
                  <a:lnTo>
                    <a:pt x="1839" y="2559"/>
                  </a:lnTo>
                  <a:lnTo>
                    <a:pt x="1839" y="2559"/>
                  </a:lnTo>
                  <a:lnTo>
                    <a:pt x="1839" y="2559"/>
                  </a:lnTo>
                  <a:lnTo>
                    <a:pt x="1839" y="2557"/>
                  </a:lnTo>
                  <a:lnTo>
                    <a:pt x="1841" y="2559"/>
                  </a:lnTo>
                  <a:lnTo>
                    <a:pt x="1841" y="2559"/>
                  </a:lnTo>
                  <a:lnTo>
                    <a:pt x="1844" y="2559"/>
                  </a:lnTo>
                  <a:lnTo>
                    <a:pt x="1844" y="2559"/>
                  </a:lnTo>
                  <a:lnTo>
                    <a:pt x="1844" y="2559"/>
                  </a:lnTo>
                  <a:lnTo>
                    <a:pt x="1844" y="2559"/>
                  </a:lnTo>
                  <a:lnTo>
                    <a:pt x="1846" y="2554"/>
                  </a:lnTo>
                  <a:lnTo>
                    <a:pt x="1846" y="2554"/>
                  </a:lnTo>
                  <a:lnTo>
                    <a:pt x="1846" y="2554"/>
                  </a:lnTo>
                  <a:lnTo>
                    <a:pt x="1846" y="2554"/>
                  </a:lnTo>
                  <a:lnTo>
                    <a:pt x="1848" y="2554"/>
                  </a:lnTo>
                  <a:lnTo>
                    <a:pt x="1846" y="2554"/>
                  </a:lnTo>
                  <a:lnTo>
                    <a:pt x="1848" y="2552"/>
                  </a:lnTo>
                  <a:lnTo>
                    <a:pt x="1848" y="2550"/>
                  </a:lnTo>
                  <a:lnTo>
                    <a:pt x="1848" y="2550"/>
                  </a:lnTo>
                  <a:lnTo>
                    <a:pt x="1851" y="2547"/>
                  </a:lnTo>
                  <a:lnTo>
                    <a:pt x="1851" y="2547"/>
                  </a:lnTo>
                  <a:lnTo>
                    <a:pt x="1851" y="2547"/>
                  </a:lnTo>
                  <a:lnTo>
                    <a:pt x="1851" y="2545"/>
                  </a:lnTo>
                  <a:lnTo>
                    <a:pt x="1851" y="2545"/>
                  </a:lnTo>
                  <a:lnTo>
                    <a:pt x="1851" y="2545"/>
                  </a:lnTo>
                  <a:lnTo>
                    <a:pt x="1851" y="2543"/>
                  </a:lnTo>
                  <a:lnTo>
                    <a:pt x="1846" y="2545"/>
                  </a:lnTo>
                  <a:lnTo>
                    <a:pt x="1846" y="2543"/>
                  </a:lnTo>
                  <a:lnTo>
                    <a:pt x="1846" y="2543"/>
                  </a:lnTo>
                  <a:lnTo>
                    <a:pt x="1848" y="2540"/>
                  </a:lnTo>
                  <a:lnTo>
                    <a:pt x="1846" y="2540"/>
                  </a:lnTo>
                  <a:lnTo>
                    <a:pt x="1846" y="2538"/>
                  </a:lnTo>
                  <a:lnTo>
                    <a:pt x="1846" y="2538"/>
                  </a:lnTo>
                  <a:lnTo>
                    <a:pt x="1846" y="2540"/>
                  </a:lnTo>
                  <a:lnTo>
                    <a:pt x="1844" y="2543"/>
                  </a:lnTo>
                  <a:lnTo>
                    <a:pt x="1844" y="2543"/>
                  </a:lnTo>
                  <a:lnTo>
                    <a:pt x="1844" y="2545"/>
                  </a:lnTo>
                  <a:lnTo>
                    <a:pt x="1844" y="2545"/>
                  </a:lnTo>
                  <a:lnTo>
                    <a:pt x="1844" y="2547"/>
                  </a:lnTo>
                  <a:lnTo>
                    <a:pt x="1844" y="2547"/>
                  </a:lnTo>
                  <a:lnTo>
                    <a:pt x="1844" y="2547"/>
                  </a:lnTo>
                  <a:lnTo>
                    <a:pt x="1844" y="2547"/>
                  </a:lnTo>
                  <a:lnTo>
                    <a:pt x="1841" y="2547"/>
                  </a:lnTo>
                  <a:lnTo>
                    <a:pt x="1841" y="2547"/>
                  </a:lnTo>
                  <a:lnTo>
                    <a:pt x="1841" y="2547"/>
                  </a:lnTo>
                  <a:lnTo>
                    <a:pt x="1841" y="2545"/>
                  </a:lnTo>
                  <a:lnTo>
                    <a:pt x="1841" y="2545"/>
                  </a:lnTo>
                  <a:lnTo>
                    <a:pt x="1841" y="2545"/>
                  </a:lnTo>
                  <a:lnTo>
                    <a:pt x="1841" y="2543"/>
                  </a:lnTo>
                  <a:lnTo>
                    <a:pt x="1841" y="2543"/>
                  </a:lnTo>
                  <a:lnTo>
                    <a:pt x="1841" y="2540"/>
                  </a:lnTo>
                  <a:lnTo>
                    <a:pt x="1841" y="2540"/>
                  </a:lnTo>
                  <a:lnTo>
                    <a:pt x="1839" y="2540"/>
                  </a:lnTo>
                  <a:lnTo>
                    <a:pt x="1839" y="2540"/>
                  </a:lnTo>
                  <a:lnTo>
                    <a:pt x="1839" y="2540"/>
                  </a:lnTo>
                  <a:lnTo>
                    <a:pt x="1839" y="2538"/>
                  </a:lnTo>
                  <a:lnTo>
                    <a:pt x="1839" y="2538"/>
                  </a:lnTo>
                  <a:lnTo>
                    <a:pt x="1836" y="2538"/>
                  </a:lnTo>
                  <a:lnTo>
                    <a:pt x="1836" y="2535"/>
                  </a:lnTo>
                  <a:lnTo>
                    <a:pt x="1834" y="2538"/>
                  </a:lnTo>
                  <a:lnTo>
                    <a:pt x="1832" y="2538"/>
                  </a:lnTo>
                  <a:lnTo>
                    <a:pt x="1832" y="2540"/>
                  </a:lnTo>
                  <a:lnTo>
                    <a:pt x="1832" y="2540"/>
                  </a:lnTo>
                  <a:lnTo>
                    <a:pt x="1829" y="2540"/>
                  </a:lnTo>
                  <a:lnTo>
                    <a:pt x="1829" y="2543"/>
                  </a:lnTo>
                  <a:lnTo>
                    <a:pt x="1829" y="2543"/>
                  </a:lnTo>
                  <a:lnTo>
                    <a:pt x="1829" y="2545"/>
                  </a:lnTo>
                  <a:lnTo>
                    <a:pt x="1829" y="2545"/>
                  </a:lnTo>
                  <a:lnTo>
                    <a:pt x="1829" y="2545"/>
                  </a:lnTo>
                  <a:lnTo>
                    <a:pt x="1829" y="2543"/>
                  </a:lnTo>
                  <a:lnTo>
                    <a:pt x="1827" y="2543"/>
                  </a:lnTo>
                  <a:lnTo>
                    <a:pt x="1827" y="2543"/>
                  </a:lnTo>
                  <a:lnTo>
                    <a:pt x="1827" y="2540"/>
                  </a:lnTo>
                  <a:lnTo>
                    <a:pt x="1827" y="2540"/>
                  </a:lnTo>
                  <a:lnTo>
                    <a:pt x="1825" y="2540"/>
                  </a:lnTo>
                  <a:lnTo>
                    <a:pt x="1825" y="2540"/>
                  </a:lnTo>
                  <a:lnTo>
                    <a:pt x="1825" y="2540"/>
                  </a:lnTo>
                  <a:lnTo>
                    <a:pt x="1825" y="2540"/>
                  </a:lnTo>
                  <a:lnTo>
                    <a:pt x="1822" y="2538"/>
                  </a:lnTo>
                  <a:lnTo>
                    <a:pt x="1822" y="2538"/>
                  </a:lnTo>
                  <a:lnTo>
                    <a:pt x="1822" y="2538"/>
                  </a:lnTo>
                  <a:lnTo>
                    <a:pt x="1820" y="2540"/>
                  </a:lnTo>
                  <a:lnTo>
                    <a:pt x="1820" y="2540"/>
                  </a:lnTo>
                  <a:lnTo>
                    <a:pt x="1818" y="2540"/>
                  </a:lnTo>
                  <a:lnTo>
                    <a:pt x="1818" y="2540"/>
                  </a:lnTo>
                  <a:lnTo>
                    <a:pt x="1818" y="2543"/>
                  </a:lnTo>
                  <a:lnTo>
                    <a:pt x="1818" y="2543"/>
                  </a:lnTo>
                  <a:lnTo>
                    <a:pt x="1818" y="2543"/>
                  </a:lnTo>
                  <a:lnTo>
                    <a:pt x="1818" y="2543"/>
                  </a:lnTo>
                  <a:lnTo>
                    <a:pt x="1818" y="2540"/>
                  </a:lnTo>
                  <a:lnTo>
                    <a:pt x="1815" y="2543"/>
                  </a:lnTo>
                  <a:lnTo>
                    <a:pt x="1815" y="2543"/>
                  </a:lnTo>
                  <a:lnTo>
                    <a:pt x="1815" y="2543"/>
                  </a:lnTo>
                  <a:lnTo>
                    <a:pt x="1815" y="2543"/>
                  </a:lnTo>
                  <a:lnTo>
                    <a:pt x="1815" y="2543"/>
                  </a:lnTo>
                  <a:lnTo>
                    <a:pt x="1813" y="2545"/>
                  </a:lnTo>
                  <a:lnTo>
                    <a:pt x="1813" y="2545"/>
                  </a:lnTo>
                  <a:lnTo>
                    <a:pt x="1813" y="2545"/>
                  </a:lnTo>
                  <a:lnTo>
                    <a:pt x="1813" y="2545"/>
                  </a:lnTo>
                  <a:lnTo>
                    <a:pt x="1815" y="2545"/>
                  </a:lnTo>
                  <a:lnTo>
                    <a:pt x="1815" y="2545"/>
                  </a:lnTo>
                  <a:lnTo>
                    <a:pt x="1815" y="2545"/>
                  </a:lnTo>
                  <a:lnTo>
                    <a:pt x="1815" y="2547"/>
                  </a:lnTo>
                  <a:lnTo>
                    <a:pt x="1815" y="2547"/>
                  </a:lnTo>
                  <a:lnTo>
                    <a:pt x="1815" y="2547"/>
                  </a:lnTo>
                  <a:lnTo>
                    <a:pt x="1815" y="2547"/>
                  </a:lnTo>
                  <a:lnTo>
                    <a:pt x="1818" y="2547"/>
                  </a:lnTo>
                  <a:lnTo>
                    <a:pt x="1818" y="2547"/>
                  </a:lnTo>
                  <a:lnTo>
                    <a:pt x="1818" y="2550"/>
                  </a:lnTo>
                  <a:lnTo>
                    <a:pt x="1815" y="2550"/>
                  </a:lnTo>
                  <a:lnTo>
                    <a:pt x="1815" y="2550"/>
                  </a:lnTo>
                  <a:lnTo>
                    <a:pt x="1815" y="2550"/>
                  </a:lnTo>
                  <a:lnTo>
                    <a:pt x="1815" y="2550"/>
                  </a:lnTo>
                  <a:lnTo>
                    <a:pt x="1815" y="2547"/>
                  </a:lnTo>
                  <a:lnTo>
                    <a:pt x="1815" y="2547"/>
                  </a:lnTo>
                  <a:lnTo>
                    <a:pt x="1813" y="2547"/>
                  </a:lnTo>
                  <a:lnTo>
                    <a:pt x="1813" y="2547"/>
                  </a:lnTo>
                  <a:lnTo>
                    <a:pt x="1813" y="2547"/>
                  </a:lnTo>
                  <a:lnTo>
                    <a:pt x="1813" y="2547"/>
                  </a:lnTo>
                  <a:lnTo>
                    <a:pt x="1813" y="2547"/>
                  </a:lnTo>
                  <a:lnTo>
                    <a:pt x="1813" y="2547"/>
                  </a:lnTo>
                  <a:lnTo>
                    <a:pt x="1813" y="2547"/>
                  </a:lnTo>
                  <a:lnTo>
                    <a:pt x="1810" y="2547"/>
                  </a:lnTo>
                  <a:lnTo>
                    <a:pt x="1810" y="2547"/>
                  </a:lnTo>
                  <a:lnTo>
                    <a:pt x="1810" y="2547"/>
                  </a:lnTo>
                  <a:lnTo>
                    <a:pt x="1810" y="2547"/>
                  </a:lnTo>
                  <a:lnTo>
                    <a:pt x="1810" y="2547"/>
                  </a:lnTo>
                  <a:lnTo>
                    <a:pt x="1808" y="2547"/>
                  </a:lnTo>
                  <a:lnTo>
                    <a:pt x="1808" y="2547"/>
                  </a:lnTo>
                  <a:lnTo>
                    <a:pt x="1808" y="2547"/>
                  </a:lnTo>
                  <a:lnTo>
                    <a:pt x="1806" y="2547"/>
                  </a:lnTo>
                  <a:lnTo>
                    <a:pt x="1806" y="2547"/>
                  </a:lnTo>
                  <a:lnTo>
                    <a:pt x="1806" y="2545"/>
                  </a:lnTo>
                  <a:lnTo>
                    <a:pt x="1806" y="2545"/>
                  </a:lnTo>
                  <a:lnTo>
                    <a:pt x="1803" y="2545"/>
                  </a:lnTo>
                  <a:lnTo>
                    <a:pt x="1803" y="2545"/>
                  </a:lnTo>
                  <a:lnTo>
                    <a:pt x="1803" y="2543"/>
                  </a:lnTo>
                  <a:lnTo>
                    <a:pt x="1803" y="2543"/>
                  </a:lnTo>
                  <a:lnTo>
                    <a:pt x="1803" y="2543"/>
                  </a:lnTo>
                  <a:lnTo>
                    <a:pt x="1803" y="2540"/>
                  </a:lnTo>
                  <a:lnTo>
                    <a:pt x="1803" y="2540"/>
                  </a:lnTo>
                  <a:lnTo>
                    <a:pt x="1803" y="2540"/>
                  </a:lnTo>
                  <a:lnTo>
                    <a:pt x="1803" y="2540"/>
                  </a:lnTo>
                  <a:lnTo>
                    <a:pt x="1803" y="2543"/>
                  </a:lnTo>
                  <a:lnTo>
                    <a:pt x="1803" y="2543"/>
                  </a:lnTo>
                  <a:lnTo>
                    <a:pt x="1801" y="2543"/>
                  </a:lnTo>
                  <a:lnTo>
                    <a:pt x="1801" y="2543"/>
                  </a:lnTo>
                  <a:lnTo>
                    <a:pt x="1799" y="2543"/>
                  </a:lnTo>
                  <a:lnTo>
                    <a:pt x="1799" y="2543"/>
                  </a:lnTo>
                  <a:lnTo>
                    <a:pt x="1799" y="2545"/>
                  </a:lnTo>
                  <a:lnTo>
                    <a:pt x="1799" y="2545"/>
                  </a:lnTo>
                  <a:lnTo>
                    <a:pt x="1799" y="2545"/>
                  </a:lnTo>
                  <a:lnTo>
                    <a:pt x="1799" y="2545"/>
                  </a:lnTo>
                  <a:lnTo>
                    <a:pt x="1799" y="2545"/>
                  </a:lnTo>
                  <a:lnTo>
                    <a:pt x="1799" y="2545"/>
                  </a:lnTo>
                  <a:lnTo>
                    <a:pt x="1799" y="2545"/>
                  </a:lnTo>
                  <a:lnTo>
                    <a:pt x="1796" y="2545"/>
                  </a:lnTo>
                  <a:lnTo>
                    <a:pt x="1796" y="2543"/>
                  </a:lnTo>
                  <a:lnTo>
                    <a:pt x="1796" y="2545"/>
                  </a:lnTo>
                  <a:lnTo>
                    <a:pt x="1796" y="2545"/>
                  </a:lnTo>
                  <a:lnTo>
                    <a:pt x="1796" y="2545"/>
                  </a:lnTo>
                  <a:lnTo>
                    <a:pt x="1796" y="2545"/>
                  </a:lnTo>
                  <a:lnTo>
                    <a:pt x="1796" y="2545"/>
                  </a:lnTo>
                  <a:lnTo>
                    <a:pt x="1794" y="2545"/>
                  </a:lnTo>
                  <a:lnTo>
                    <a:pt x="1794" y="2545"/>
                  </a:lnTo>
                  <a:lnTo>
                    <a:pt x="1794" y="2547"/>
                  </a:lnTo>
                  <a:lnTo>
                    <a:pt x="1794" y="2545"/>
                  </a:lnTo>
                  <a:lnTo>
                    <a:pt x="1794" y="2545"/>
                  </a:lnTo>
                  <a:lnTo>
                    <a:pt x="1794" y="2545"/>
                  </a:lnTo>
                  <a:lnTo>
                    <a:pt x="1794" y="2545"/>
                  </a:lnTo>
                  <a:lnTo>
                    <a:pt x="1794" y="2545"/>
                  </a:lnTo>
                  <a:lnTo>
                    <a:pt x="1791" y="2545"/>
                  </a:lnTo>
                  <a:lnTo>
                    <a:pt x="1791" y="2545"/>
                  </a:lnTo>
                  <a:lnTo>
                    <a:pt x="1789" y="2545"/>
                  </a:lnTo>
                  <a:lnTo>
                    <a:pt x="1789" y="2547"/>
                  </a:lnTo>
                  <a:lnTo>
                    <a:pt x="1791" y="2550"/>
                  </a:lnTo>
                  <a:lnTo>
                    <a:pt x="1791" y="2550"/>
                  </a:lnTo>
                  <a:lnTo>
                    <a:pt x="1794" y="2550"/>
                  </a:lnTo>
                  <a:lnTo>
                    <a:pt x="1796" y="2550"/>
                  </a:lnTo>
                  <a:lnTo>
                    <a:pt x="1796" y="2550"/>
                  </a:lnTo>
                  <a:lnTo>
                    <a:pt x="1796" y="2550"/>
                  </a:lnTo>
                  <a:lnTo>
                    <a:pt x="1796" y="2550"/>
                  </a:lnTo>
                  <a:lnTo>
                    <a:pt x="1799" y="2550"/>
                  </a:lnTo>
                  <a:lnTo>
                    <a:pt x="1799" y="2550"/>
                  </a:lnTo>
                  <a:lnTo>
                    <a:pt x="1799" y="2550"/>
                  </a:lnTo>
                  <a:lnTo>
                    <a:pt x="1801" y="2550"/>
                  </a:lnTo>
                  <a:lnTo>
                    <a:pt x="1801" y="2550"/>
                  </a:lnTo>
                  <a:lnTo>
                    <a:pt x="1801" y="2552"/>
                  </a:lnTo>
                  <a:lnTo>
                    <a:pt x="1801" y="2552"/>
                  </a:lnTo>
                  <a:lnTo>
                    <a:pt x="1803" y="2552"/>
                  </a:lnTo>
                  <a:lnTo>
                    <a:pt x="1803" y="2552"/>
                  </a:lnTo>
                  <a:lnTo>
                    <a:pt x="1806" y="2550"/>
                  </a:lnTo>
                  <a:lnTo>
                    <a:pt x="1806" y="2550"/>
                  </a:lnTo>
                  <a:lnTo>
                    <a:pt x="1806" y="2552"/>
                  </a:lnTo>
                  <a:lnTo>
                    <a:pt x="1806" y="2550"/>
                  </a:lnTo>
                  <a:lnTo>
                    <a:pt x="1806" y="2552"/>
                  </a:lnTo>
                  <a:lnTo>
                    <a:pt x="1806" y="2552"/>
                  </a:lnTo>
                  <a:lnTo>
                    <a:pt x="1808" y="2552"/>
                  </a:lnTo>
                  <a:lnTo>
                    <a:pt x="1808" y="2552"/>
                  </a:lnTo>
                  <a:lnTo>
                    <a:pt x="1808" y="2550"/>
                  </a:lnTo>
                  <a:lnTo>
                    <a:pt x="1808" y="2550"/>
                  </a:lnTo>
                  <a:lnTo>
                    <a:pt x="1808" y="2552"/>
                  </a:lnTo>
                  <a:lnTo>
                    <a:pt x="1810" y="2552"/>
                  </a:lnTo>
                  <a:lnTo>
                    <a:pt x="1810" y="2552"/>
                  </a:lnTo>
                  <a:lnTo>
                    <a:pt x="1810" y="2550"/>
                  </a:lnTo>
                  <a:lnTo>
                    <a:pt x="1810" y="2550"/>
                  </a:lnTo>
                  <a:lnTo>
                    <a:pt x="1810" y="2550"/>
                  </a:lnTo>
                  <a:lnTo>
                    <a:pt x="1810" y="2550"/>
                  </a:lnTo>
                  <a:lnTo>
                    <a:pt x="1813" y="2552"/>
                  </a:lnTo>
                  <a:lnTo>
                    <a:pt x="1813" y="2552"/>
                  </a:lnTo>
                  <a:lnTo>
                    <a:pt x="1818" y="2552"/>
                  </a:lnTo>
                  <a:lnTo>
                    <a:pt x="1818" y="2552"/>
                  </a:lnTo>
                  <a:lnTo>
                    <a:pt x="1820" y="2554"/>
                  </a:lnTo>
                  <a:lnTo>
                    <a:pt x="1820" y="2554"/>
                  </a:lnTo>
                  <a:lnTo>
                    <a:pt x="1825" y="2554"/>
                  </a:lnTo>
                  <a:lnTo>
                    <a:pt x="1825" y="2554"/>
                  </a:lnTo>
                  <a:close/>
                  <a:moveTo>
                    <a:pt x="1609" y="2415"/>
                  </a:moveTo>
                  <a:lnTo>
                    <a:pt x="1609" y="2415"/>
                  </a:lnTo>
                  <a:lnTo>
                    <a:pt x="1607" y="2415"/>
                  </a:lnTo>
                  <a:lnTo>
                    <a:pt x="1602" y="2415"/>
                  </a:lnTo>
                  <a:lnTo>
                    <a:pt x="1600" y="2415"/>
                  </a:lnTo>
                  <a:lnTo>
                    <a:pt x="1597" y="2417"/>
                  </a:lnTo>
                  <a:lnTo>
                    <a:pt x="1597" y="2417"/>
                  </a:lnTo>
                  <a:lnTo>
                    <a:pt x="1597" y="2420"/>
                  </a:lnTo>
                  <a:lnTo>
                    <a:pt x="1597" y="2422"/>
                  </a:lnTo>
                  <a:lnTo>
                    <a:pt x="1597" y="2424"/>
                  </a:lnTo>
                  <a:lnTo>
                    <a:pt x="1597" y="2424"/>
                  </a:lnTo>
                  <a:lnTo>
                    <a:pt x="1600" y="2424"/>
                  </a:lnTo>
                  <a:lnTo>
                    <a:pt x="1600" y="2424"/>
                  </a:lnTo>
                  <a:lnTo>
                    <a:pt x="1600" y="2424"/>
                  </a:lnTo>
                  <a:lnTo>
                    <a:pt x="1600" y="2422"/>
                  </a:lnTo>
                  <a:lnTo>
                    <a:pt x="1600" y="2422"/>
                  </a:lnTo>
                  <a:lnTo>
                    <a:pt x="1600" y="2422"/>
                  </a:lnTo>
                  <a:lnTo>
                    <a:pt x="1600" y="2422"/>
                  </a:lnTo>
                  <a:lnTo>
                    <a:pt x="1602" y="2420"/>
                  </a:lnTo>
                  <a:lnTo>
                    <a:pt x="1602" y="2420"/>
                  </a:lnTo>
                  <a:lnTo>
                    <a:pt x="1605" y="2420"/>
                  </a:lnTo>
                  <a:lnTo>
                    <a:pt x="1605" y="2420"/>
                  </a:lnTo>
                  <a:lnTo>
                    <a:pt x="1605" y="2420"/>
                  </a:lnTo>
                  <a:lnTo>
                    <a:pt x="1607" y="2420"/>
                  </a:lnTo>
                  <a:lnTo>
                    <a:pt x="1607" y="2420"/>
                  </a:lnTo>
                  <a:lnTo>
                    <a:pt x="1607" y="2417"/>
                  </a:lnTo>
                  <a:lnTo>
                    <a:pt x="1607" y="2417"/>
                  </a:lnTo>
                  <a:lnTo>
                    <a:pt x="1609" y="2417"/>
                  </a:lnTo>
                  <a:lnTo>
                    <a:pt x="1609" y="2417"/>
                  </a:lnTo>
                  <a:lnTo>
                    <a:pt x="1607" y="2415"/>
                  </a:lnTo>
                  <a:lnTo>
                    <a:pt x="1609" y="2415"/>
                  </a:lnTo>
                  <a:lnTo>
                    <a:pt x="1609" y="2415"/>
                  </a:lnTo>
                  <a:close/>
                  <a:moveTo>
                    <a:pt x="1567" y="2450"/>
                  </a:moveTo>
                  <a:lnTo>
                    <a:pt x="1567" y="2450"/>
                  </a:lnTo>
                  <a:lnTo>
                    <a:pt x="1564" y="2450"/>
                  </a:lnTo>
                  <a:lnTo>
                    <a:pt x="1564" y="2450"/>
                  </a:lnTo>
                  <a:lnTo>
                    <a:pt x="1564" y="2450"/>
                  </a:lnTo>
                  <a:lnTo>
                    <a:pt x="1564" y="2450"/>
                  </a:lnTo>
                  <a:lnTo>
                    <a:pt x="1562" y="2453"/>
                  </a:lnTo>
                  <a:lnTo>
                    <a:pt x="1562" y="2453"/>
                  </a:lnTo>
                  <a:lnTo>
                    <a:pt x="1562" y="2453"/>
                  </a:lnTo>
                  <a:lnTo>
                    <a:pt x="1562" y="2453"/>
                  </a:lnTo>
                  <a:lnTo>
                    <a:pt x="1562" y="2453"/>
                  </a:lnTo>
                  <a:lnTo>
                    <a:pt x="1562" y="2453"/>
                  </a:lnTo>
                  <a:lnTo>
                    <a:pt x="1564" y="2453"/>
                  </a:lnTo>
                  <a:lnTo>
                    <a:pt x="1564" y="2453"/>
                  </a:lnTo>
                  <a:lnTo>
                    <a:pt x="1564" y="2453"/>
                  </a:lnTo>
                  <a:lnTo>
                    <a:pt x="1564" y="2453"/>
                  </a:lnTo>
                  <a:lnTo>
                    <a:pt x="1564" y="2453"/>
                  </a:lnTo>
                  <a:lnTo>
                    <a:pt x="1567" y="2453"/>
                  </a:lnTo>
                  <a:lnTo>
                    <a:pt x="1567" y="2450"/>
                  </a:lnTo>
                  <a:lnTo>
                    <a:pt x="1567" y="2450"/>
                  </a:lnTo>
                  <a:lnTo>
                    <a:pt x="1567" y="2450"/>
                  </a:lnTo>
                  <a:close/>
                  <a:moveTo>
                    <a:pt x="2456" y="2519"/>
                  </a:moveTo>
                  <a:lnTo>
                    <a:pt x="2456" y="2519"/>
                  </a:lnTo>
                  <a:lnTo>
                    <a:pt x="2456" y="2519"/>
                  </a:lnTo>
                  <a:lnTo>
                    <a:pt x="2456" y="2519"/>
                  </a:lnTo>
                  <a:lnTo>
                    <a:pt x="2454" y="2521"/>
                  </a:lnTo>
                  <a:lnTo>
                    <a:pt x="2454" y="2521"/>
                  </a:lnTo>
                  <a:lnTo>
                    <a:pt x="2454" y="2521"/>
                  </a:lnTo>
                  <a:lnTo>
                    <a:pt x="2454" y="2521"/>
                  </a:lnTo>
                  <a:lnTo>
                    <a:pt x="2456" y="2521"/>
                  </a:lnTo>
                  <a:lnTo>
                    <a:pt x="2456" y="2521"/>
                  </a:lnTo>
                  <a:lnTo>
                    <a:pt x="2456" y="2524"/>
                  </a:lnTo>
                  <a:lnTo>
                    <a:pt x="2456" y="2524"/>
                  </a:lnTo>
                  <a:lnTo>
                    <a:pt x="2456" y="2524"/>
                  </a:lnTo>
                  <a:lnTo>
                    <a:pt x="2456" y="2521"/>
                  </a:lnTo>
                  <a:lnTo>
                    <a:pt x="2456" y="2521"/>
                  </a:lnTo>
                  <a:lnTo>
                    <a:pt x="2456" y="2519"/>
                  </a:lnTo>
                  <a:lnTo>
                    <a:pt x="2456" y="2519"/>
                  </a:lnTo>
                  <a:lnTo>
                    <a:pt x="2456" y="2519"/>
                  </a:lnTo>
                  <a:close/>
                  <a:moveTo>
                    <a:pt x="2061" y="2585"/>
                  </a:moveTo>
                  <a:lnTo>
                    <a:pt x="2059" y="2585"/>
                  </a:lnTo>
                  <a:lnTo>
                    <a:pt x="2059" y="2588"/>
                  </a:lnTo>
                  <a:lnTo>
                    <a:pt x="2057" y="2588"/>
                  </a:lnTo>
                  <a:lnTo>
                    <a:pt x="2054" y="2588"/>
                  </a:lnTo>
                  <a:lnTo>
                    <a:pt x="2054" y="2588"/>
                  </a:lnTo>
                  <a:lnTo>
                    <a:pt x="2054" y="2588"/>
                  </a:lnTo>
                  <a:lnTo>
                    <a:pt x="2054" y="2588"/>
                  </a:lnTo>
                  <a:lnTo>
                    <a:pt x="2059" y="2588"/>
                  </a:lnTo>
                  <a:lnTo>
                    <a:pt x="2061" y="2588"/>
                  </a:lnTo>
                  <a:lnTo>
                    <a:pt x="2061" y="2585"/>
                  </a:lnTo>
                  <a:lnTo>
                    <a:pt x="2061" y="2585"/>
                  </a:lnTo>
                  <a:lnTo>
                    <a:pt x="2061" y="2585"/>
                  </a:lnTo>
                  <a:lnTo>
                    <a:pt x="2061" y="2585"/>
                  </a:lnTo>
                  <a:close/>
                  <a:moveTo>
                    <a:pt x="2059" y="2585"/>
                  </a:moveTo>
                  <a:lnTo>
                    <a:pt x="2061" y="2583"/>
                  </a:lnTo>
                  <a:lnTo>
                    <a:pt x="2061" y="2583"/>
                  </a:lnTo>
                  <a:lnTo>
                    <a:pt x="2059" y="2583"/>
                  </a:lnTo>
                  <a:lnTo>
                    <a:pt x="2059" y="2583"/>
                  </a:lnTo>
                  <a:lnTo>
                    <a:pt x="2057" y="2585"/>
                  </a:lnTo>
                  <a:lnTo>
                    <a:pt x="2057" y="2585"/>
                  </a:lnTo>
                  <a:lnTo>
                    <a:pt x="2059" y="2585"/>
                  </a:lnTo>
                  <a:lnTo>
                    <a:pt x="2059" y="2585"/>
                  </a:lnTo>
                  <a:close/>
                  <a:moveTo>
                    <a:pt x="2045" y="2592"/>
                  </a:moveTo>
                  <a:lnTo>
                    <a:pt x="2042" y="2592"/>
                  </a:lnTo>
                  <a:lnTo>
                    <a:pt x="2040" y="2595"/>
                  </a:lnTo>
                  <a:lnTo>
                    <a:pt x="2040" y="2595"/>
                  </a:lnTo>
                  <a:lnTo>
                    <a:pt x="2040" y="2597"/>
                  </a:lnTo>
                  <a:lnTo>
                    <a:pt x="2042" y="2597"/>
                  </a:lnTo>
                  <a:lnTo>
                    <a:pt x="2042" y="2597"/>
                  </a:lnTo>
                  <a:lnTo>
                    <a:pt x="2045" y="2595"/>
                  </a:lnTo>
                  <a:lnTo>
                    <a:pt x="2045" y="2595"/>
                  </a:lnTo>
                  <a:lnTo>
                    <a:pt x="2045" y="2592"/>
                  </a:lnTo>
                  <a:lnTo>
                    <a:pt x="2047" y="2592"/>
                  </a:lnTo>
                  <a:lnTo>
                    <a:pt x="2047" y="2592"/>
                  </a:lnTo>
                  <a:lnTo>
                    <a:pt x="2045" y="2592"/>
                  </a:lnTo>
                  <a:close/>
                  <a:moveTo>
                    <a:pt x="2057" y="2590"/>
                  </a:moveTo>
                  <a:lnTo>
                    <a:pt x="2057" y="2590"/>
                  </a:lnTo>
                  <a:lnTo>
                    <a:pt x="2057" y="2590"/>
                  </a:lnTo>
                  <a:lnTo>
                    <a:pt x="2057" y="2590"/>
                  </a:lnTo>
                  <a:lnTo>
                    <a:pt x="2057" y="2590"/>
                  </a:lnTo>
                  <a:lnTo>
                    <a:pt x="2054" y="2590"/>
                  </a:lnTo>
                  <a:lnTo>
                    <a:pt x="2054" y="2590"/>
                  </a:lnTo>
                  <a:lnTo>
                    <a:pt x="2052" y="2590"/>
                  </a:lnTo>
                  <a:lnTo>
                    <a:pt x="2052" y="2592"/>
                  </a:lnTo>
                  <a:lnTo>
                    <a:pt x="2052" y="2592"/>
                  </a:lnTo>
                  <a:lnTo>
                    <a:pt x="2052" y="2592"/>
                  </a:lnTo>
                  <a:lnTo>
                    <a:pt x="2052" y="2592"/>
                  </a:lnTo>
                  <a:lnTo>
                    <a:pt x="2052" y="2592"/>
                  </a:lnTo>
                  <a:lnTo>
                    <a:pt x="2052" y="2595"/>
                  </a:lnTo>
                  <a:lnTo>
                    <a:pt x="2052" y="2595"/>
                  </a:lnTo>
                  <a:lnTo>
                    <a:pt x="2052" y="2595"/>
                  </a:lnTo>
                  <a:lnTo>
                    <a:pt x="2052" y="2595"/>
                  </a:lnTo>
                  <a:lnTo>
                    <a:pt x="2054" y="2595"/>
                  </a:lnTo>
                  <a:lnTo>
                    <a:pt x="2054" y="2595"/>
                  </a:lnTo>
                  <a:lnTo>
                    <a:pt x="2054" y="2595"/>
                  </a:lnTo>
                  <a:lnTo>
                    <a:pt x="2054" y="2595"/>
                  </a:lnTo>
                  <a:lnTo>
                    <a:pt x="2054" y="2595"/>
                  </a:lnTo>
                  <a:lnTo>
                    <a:pt x="2054" y="2595"/>
                  </a:lnTo>
                  <a:lnTo>
                    <a:pt x="2054" y="2592"/>
                  </a:lnTo>
                  <a:lnTo>
                    <a:pt x="2057" y="2592"/>
                  </a:lnTo>
                  <a:lnTo>
                    <a:pt x="2057" y="2592"/>
                  </a:lnTo>
                  <a:lnTo>
                    <a:pt x="2057" y="2590"/>
                  </a:lnTo>
                  <a:lnTo>
                    <a:pt x="2057" y="2590"/>
                  </a:lnTo>
                  <a:close/>
                  <a:moveTo>
                    <a:pt x="2421" y="2481"/>
                  </a:moveTo>
                  <a:lnTo>
                    <a:pt x="2419" y="2483"/>
                  </a:lnTo>
                  <a:lnTo>
                    <a:pt x="2419" y="2483"/>
                  </a:lnTo>
                  <a:lnTo>
                    <a:pt x="2419" y="2483"/>
                  </a:lnTo>
                  <a:lnTo>
                    <a:pt x="2419" y="2486"/>
                  </a:lnTo>
                  <a:lnTo>
                    <a:pt x="2419" y="2491"/>
                  </a:lnTo>
                  <a:lnTo>
                    <a:pt x="2419" y="2491"/>
                  </a:lnTo>
                  <a:lnTo>
                    <a:pt x="2419" y="2488"/>
                  </a:lnTo>
                  <a:lnTo>
                    <a:pt x="2421" y="2486"/>
                  </a:lnTo>
                  <a:lnTo>
                    <a:pt x="2421" y="2483"/>
                  </a:lnTo>
                  <a:lnTo>
                    <a:pt x="2421" y="2483"/>
                  </a:lnTo>
                  <a:lnTo>
                    <a:pt x="2421" y="2481"/>
                  </a:lnTo>
                  <a:lnTo>
                    <a:pt x="2421" y="2481"/>
                  </a:lnTo>
                  <a:close/>
                  <a:moveTo>
                    <a:pt x="1808" y="2543"/>
                  </a:moveTo>
                  <a:lnTo>
                    <a:pt x="1808" y="2543"/>
                  </a:lnTo>
                  <a:lnTo>
                    <a:pt x="1808" y="2543"/>
                  </a:lnTo>
                  <a:lnTo>
                    <a:pt x="1808" y="2545"/>
                  </a:lnTo>
                  <a:lnTo>
                    <a:pt x="1810" y="2545"/>
                  </a:lnTo>
                  <a:lnTo>
                    <a:pt x="1813" y="2545"/>
                  </a:lnTo>
                  <a:lnTo>
                    <a:pt x="1813" y="2543"/>
                  </a:lnTo>
                  <a:lnTo>
                    <a:pt x="1813" y="2540"/>
                  </a:lnTo>
                  <a:lnTo>
                    <a:pt x="1813" y="2540"/>
                  </a:lnTo>
                  <a:lnTo>
                    <a:pt x="1813" y="2540"/>
                  </a:lnTo>
                  <a:lnTo>
                    <a:pt x="1810" y="2540"/>
                  </a:lnTo>
                  <a:lnTo>
                    <a:pt x="1810" y="2540"/>
                  </a:lnTo>
                  <a:lnTo>
                    <a:pt x="1808" y="2543"/>
                  </a:lnTo>
                  <a:lnTo>
                    <a:pt x="1808" y="2543"/>
                  </a:lnTo>
                  <a:lnTo>
                    <a:pt x="1808" y="2543"/>
                  </a:lnTo>
                  <a:lnTo>
                    <a:pt x="1808" y="2545"/>
                  </a:lnTo>
                  <a:lnTo>
                    <a:pt x="1808" y="2543"/>
                  </a:lnTo>
                  <a:close/>
                  <a:moveTo>
                    <a:pt x="2400" y="2474"/>
                  </a:moveTo>
                  <a:lnTo>
                    <a:pt x="2397" y="2474"/>
                  </a:lnTo>
                  <a:lnTo>
                    <a:pt x="2397" y="2474"/>
                  </a:lnTo>
                  <a:lnTo>
                    <a:pt x="2397" y="2474"/>
                  </a:lnTo>
                  <a:lnTo>
                    <a:pt x="2397" y="2472"/>
                  </a:lnTo>
                  <a:lnTo>
                    <a:pt x="2395" y="2472"/>
                  </a:lnTo>
                  <a:lnTo>
                    <a:pt x="2395" y="2469"/>
                  </a:lnTo>
                  <a:lnTo>
                    <a:pt x="2395" y="2469"/>
                  </a:lnTo>
                  <a:lnTo>
                    <a:pt x="2395" y="2469"/>
                  </a:lnTo>
                  <a:lnTo>
                    <a:pt x="2395" y="2469"/>
                  </a:lnTo>
                  <a:lnTo>
                    <a:pt x="2395" y="2469"/>
                  </a:lnTo>
                  <a:lnTo>
                    <a:pt x="2395" y="2469"/>
                  </a:lnTo>
                  <a:lnTo>
                    <a:pt x="2395" y="2469"/>
                  </a:lnTo>
                  <a:lnTo>
                    <a:pt x="2393" y="2469"/>
                  </a:lnTo>
                  <a:lnTo>
                    <a:pt x="2393" y="2469"/>
                  </a:lnTo>
                  <a:lnTo>
                    <a:pt x="2393" y="2472"/>
                  </a:lnTo>
                  <a:lnTo>
                    <a:pt x="2393" y="2472"/>
                  </a:lnTo>
                  <a:lnTo>
                    <a:pt x="2393" y="2474"/>
                  </a:lnTo>
                  <a:lnTo>
                    <a:pt x="2393" y="2474"/>
                  </a:lnTo>
                  <a:lnTo>
                    <a:pt x="2393" y="2476"/>
                  </a:lnTo>
                  <a:lnTo>
                    <a:pt x="2393" y="2479"/>
                  </a:lnTo>
                  <a:lnTo>
                    <a:pt x="2393" y="2479"/>
                  </a:lnTo>
                  <a:lnTo>
                    <a:pt x="2393" y="2479"/>
                  </a:lnTo>
                  <a:lnTo>
                    <a:pt x="2393" y="2479"/>
                  </a:lnTo>
                  <a:lnTo>
                    <a:pt x="2393" y="2476"/>
                  </a:lnTo>
                  <a:lnTo>
                    <a:pt x="2393" y="2476"/>
                  </a:lnTo>
                  <a:lnTo>
                    <a:pt x="2395" y="2476"/>
                  </a:lnTo>
                  <a:lnTo>
                    <a:pt x="2395" y="2476"/>
                  </a:lnTo>
                  <a:lnTo>
                    <a:pt x="2395" y="2476"/>
                  </a:lnTo>
                  <a:lnTo>
                    <a:pt x="2395" y="2474"/>
                  </a:lnTo>
                  <a:lnTo>
                    <a:pt x="2397" y="2474"/>
                  </a:lnTo>
                  <a:lnTo>
                    <a:pt x="2397" y="2474"/>
                  </a:lnTo>
                  <a:lnTo>
                    <a:pt x="2397" y="2474"/>
                  </a:lnTo>
                  <a:lnTo>
                    <a:pt x="2397" y="2476"/>
                  </a:lnTo>
                  <a:lnTo>
                    <a:pt x="2397" y="2476"/>
                  </a:lnTo>
                  <a:lnTo>
                    <a:pt x="2400" y="2476"/>
                  </a:lnTo>
                  <a:lnTo>
                    <a:pt x="2400" y="2476"/>
                  </a:lnTo>
                  <a:lnTo>
                    <a:pt x="2400" y="2476"/>
                  </a:lnTo>
                  <a:lnTo>
                    <a:pt x="2400" y="2474"/>
                  </a:lnTo>
                  <a:close/>
                  <a:moveTo>
                    <a:pt x="1841" y="2533"/>
                  </a:moveTo>
                  <a:lnTo>
                    <a:pt x="1841" y="2531"/>
                  </a:lnTo>
                  <a:lnTo>
                    <a:pt x="1839" y="2531"/>
                  </a:lnTo>
                  <a:lnTo>
                    <a:pt x="1839" y="2531"/>
                  </a:lnTo>
                  <a:lnTo>
                    <a:pt x="1839" y="2533"/>
                  </a:lnTo>
                  <a:lnTo>
                    <a:pt x="1839" y="2533"/>
                  </a:lnTo>
                  <a:lnTo>
                    <a:pt x="1839" y="2533"/>
                  </a:lnTo>
                  <a:lnTo>
                    <a:pt x="1836" y="2533"/>
                  </a:lnTo>
                  <a:lnTo>
                    <a:pt x="1836" y="2533"/>
                  </a:lnTo>
                  <a:lnTo>
                    <a:pt x="1834" y="2533"/>
                  </a:lnTo>
                  <a:lnTo>
                    <a:pt x="1834" y="2533"/>
                  </a:lnTo>
                  <a:lnTo>
                    <a:pt x="1836" y="2535"/>
                  </a:lnTo>
                  <a:lnTo>
                    <a:pt x="1836" y="2535"/>
                  </a:lnTo>
                  <a:lnTo>
                    <a:pt x="1836" y="2535"/>
                  </a:lnTo>
                  <a:lnTo>
                    <a:pt x="1836" y="2535"/>
                  </a:lnTo>
                  <a:lnTo>
                    <a:pt x="1836" y="2535"/>
                  </a:lnTo>
                  <a:lnTo>
                    <a:pt x="1836" y="2535"/>
                  </a:lnTo>
                  <a:lnTo>
                    <a:pt x="1836" y="2535"/>
                  </a:lnTo>
                  <a:lnTo>
                    <a:pt x="1839" y="2535"/>
                  </a:lnTo>
                  <a:lnTo>
                    <a:pt x="1839" y="2535"/>
                  </a:lnTo>
                  <a:lnTo>
                    <a:pt x="1839" y="2535"/>
                  </a:lnTo>
                  <a:lnTo>
                    <a:pt x="1839" y="2535"/>
                  </a:lnTo>
                  <a:lnTo>
                    <a:pt x="1841" y="2535"/>
                  </a:lnTo>
                  <a:lnTo>
                    <a:pt x="1841" y="2535"/>
                  </a:lnTo>
                  <a:lnTo>
                    <a:pt x="1841" y="2535"/>
                  </a:lnTo>
                  <a:lnTo>
                    <a:pt x="1841" y="2535"/>
                  </a:lnTo>
                  <a:lnTo>
                    <a:pt x="1841" y="2533"/>
                  </a:lnTo>
                  <a:lnTo>
                    <a:pt x="1841" y="2533"/>
                  </a:lnTo>
                  <a:lnTo>
                    <a:pt x="1841" y="2533"/>
                  </a:lnTo>
                  <a:lnTo>
                    <a:pt x="1841" y="2533"/>
                  </a:lnTo>
                  <a:lnTo>
                    <a:pt x="1841" y="2533"/>
                  </a:lnTo>
                  <a:close/>
                  <a:moveTo>
                    <a:pt x="1825" y="2538"/>
                  </a:moveTo>
                  <a:lnTo>
                    <a:pt x="1827" y="2538"/>
                  </a:lnTo>
                  <a:lnTo>
                    <a:pt x="1827" y="2538"/>
                  </a:lnTo>
                  <a:lnTo>
                    <a:pt x="1827" y="2535"/>
                  </a:lnTo>
                  <a:lnTo>
                    <a:pt x="1825" y="2535"/>
                  </a:lnTo>
                  <a:lnTo>
                    <a:pt x="1825" y="2533"/>
                  </a:lnTo>
                  <a:lnTo>
                    <a:pt x="1825" y="2535"/>
                  </a:lnTo>
                  <a:lnTo>
                    <a:pt x="1825" y="2535"/>
                  </a:lnTo>
                  <a:lnTo>
                    <a:pt x="1825" y="2535"/>
                  </a:lnTo>
                  <a:lnTo>
                    <a:pt x="1825" y="2535"/>
                  </a:lnTo>
                  <a:lnTo>
                    <a:pt x="1825" y="2535"/>
                  </a:lnTo>
                  <a:lnTo>
                    <a:pt x="1825" y="2538"/>
                  </a:lnTo>
                  <a:close/>
                  <a:moveTo>
                    <a:pt x="1844" y="2753"/>
                  </a:moveTo>
                  <a:lnTo>
                    <a:pt x="1844" y="2753"/>
                  </a:lnTo>
                  <a:lnTo>
                    <a:pt x="1844" y="2755"/>
                  </a:lnTo>
                  <a:lnTo>
                    <a:pt x="1844" y="2755"/>
                  </a:lnTo>
                  <a:lnTo>
                    <a:pt x="1844" y="2758"/>
                  </a:lnTo>
                  <a:lnTo>
                    <a:pt x="1844" y="2758"/>
                  </a:lnTo>
                  <a:lnTo>
                    <a:pt x="1844" y="2758"/>
                  </a:lnTo>
                  <a:lnTo>
                    <a:pt x="1844" y="2758"/>
                  </a:lnTo>
                  <a:lnTo>
                    <a:pt x="1846" y="2758"/>
                  </a:lnTo>
                  <a:lnTo>
                    <a:pt x="1846" y="2758"/>
                  </a:lnTo>
                  <a:lnTo>
                    <a:pt x="1846" y="2758"/>
                  </a:lnTo>
                  <a:lnTo>
                    <a:pt x="1844" y="2753"/>
                  </a:lnTo>
                  <a:close/>
                  <a:moveTo>
                    <a:pt x="1851" y="2571"/>
                  </a:moveTo>
                  <a:lnTo>
                    <a:pt x="1851" y="2569"/>
                  </a:lnTo>
                  <a:lnTo>
                    <a:pt x="1851" y="2569"/>
                  </a:lnTo>
                  <a:lnTo>
                    <a:pt x="1851" y="2569"/>
                  </a:lnTo>
                  <a:lnTo>
                    <a:pt x="1851" y="2569"/>
                  </a:lnTo>
                  <a:lnTo>
                    <a:pt x="1848" y="2569"/>
                  </a:lnTo>
                  <a:lnTo>
                    <a:pt x="1848" y="2569"/>
                  </a:lnTo>
                  <a:lnTo>
                    <a:pt x="1848" y="2569"/>
                  </a:lnTo>
                  <a:lnTo>
                    <a:pt x="1848" y="2569"/>
                  </a:lnTo>
                  <a:lnTo>
                    <a:pt x="1848" y="2569"/>
                  </a:lnTo>
                  <a:lnTo>
                    <a:pt x="1848" y="2569"/>
                  </a:lnTo>
                  <a:lnTo>
                    <a:pt x="1848" y="2569"/>
                  </a:lnTo>
                  <a:lnTo>
                    <a:pt x="1848" y="2569"/>
                  </a:lnTo>
                  <a:lnTo>
                    <a:pt x="1848" y="2571"/>
                  </a:lnTo>
                  <a:lnTo>
                    <a:pt x="1851" y="2571"/>
                  </a:lnTo>
                  <a:close/>
                  <a:moveTo>
                    <a:pt x="367" y="2358"/>
                  </a:moveTo>
                  <a:lnTo>
                    <a:pt x="367" y="2358"/>
                  </a:lnTo>
                  <a:lnTo>
                    <a:pt x="365" y="2358"/>
                  </a:lnTo>
                  <a:lnTo>
                    <a:pt x="365" y="2358"/>
                  </a:lnTo>
                  <a:lnTo>
                    <a:pt x="365" y="2356"/>
                  </a:lnTo>
                  <a:lnTo>
                    <a:pt x="365" y="2356"/>
                  </a:lnTo>
                  <a:lnTo>
                    <a:pt x="365" y="2356"/>
                  </a:lnTo>
                  <a:lnTo>
                    <a:pt x="365" y="2356"/>
                  </a:lnTo>
                  <a:lnTo>
                    <a:pt x="365" y="2353"/>
                  </a:lnTo>
                  <a:lnTo>
                    <a:pt x="362" y="2353"/>
                  </a:lnTo>
                  <a:lnTo>
                    <a:pt x="362" y="2353"/>
                  </a:lnTo>
                  <a:lnTo>
                    <a:pt x="362" y="2356"/>
                  </a:lnTo>
                  <a:lnTo>
                    <a:pt x="362" y="2356"/>
                  </a:lnTo>
                  <a:lnTo>
                    <a:pt x="362" y="2356"/>
                  </a:lnTo>
                  <a:lnTo>
                    <a:pt x="362" y="2356"/>
                  </a:lnTo>
                  <a:lnTo>
                    <a:pt x="362" y="2358"/>
                  </a:lnTo>
                  <a:lnTo>
                    <a:pt x="362" y="2358"/>
                  </a:lnTo>
                  <a:lnTo>
                    <a:pt x="365" y="2358"/>
                  </a:lnTo>
                  <a:lnTo>
                    <a:pt x="365" y="2358"/>
                  </a:lnTo>
                  <a:lnTo>
                    <a:pt x="365" y="2358"/>
                  </a:lnTo>
                  <a:lnTo>
                    <a:pt x="365" y="2358"/>
                  </a:lnTo>
                  <a:lnTo>
                    <a:pt x="367" y="2360"/>
                  </a:lnTo>
                  <a:lnTo>
                    <a:pt x="367" y="2360"/>
                  </a:lnTo>
                  <a:lnTo>
                    <a:pt x="367" y="2358"/>
                  </a:lnTo>
                  <a:lnTo>
                    <a:pt x="367" y="2358"/>
                  </a:lnTo>
                  <a:lnTo>
                    <a:pt x="367" y="2358"/>
                  </a:lnTo>
                  <a:close/>
                  <a:moveTo>
                    <a:pt x="1848" y="2559"/>
                  </a:moveTo>
                  <a:lnTo>
                    <a:pt x="1848" y="2559"/>
                  </a:lnTo>
                  <a:lnTo>
                    <a:pt x="1848" y="2559"/>
                  </a:lnTo>
                  <a:lnTo>
                    <a:pt x="1846" y="2559"/>
                  </a:lnTo>
                  <a:lnTo>
                    <a:pt x="1846" y="2559"/>
                  </a:lnTo>
                  <a:lnTo>
                    <a:pt x="1846" y="2559"/>
                  </a:lnTo>
                  <a:lnTo>
                    <a:pt x="1846" y="2559"/>
                  </a:lnTo>
                  <a:lnTo>
                    <a:pt x="1844" y="2562"/>
                  </a:lnTo>
                  <a:lnTo>
                    <a:pt x="1844" y="2562"/>
                  </a:lnTo>
                  <a:lnTo>
                    <a:pt x="1844" y="2562"/>
                  </a:lnTo>
                  <a:lnTo>
                    <a:pt x="1844" y="2562"/>
                  </a:lnTo>
                  <a:lnTo>
                    <a:pt x="1846" y="2564"/>
                  </a:lnTo>
                  <a:lnTo>
                    <a:pt x="1846" y="2562"/>
                  </a:lnTo>
                  <a:lnTo>
                    <a:pt x="1848" y="2562"/>
                  </a:lnTo>
                  <a:lnTo>
                    <a:pt x="1848" y="2559"/>
                  </a:lnTo>
                  <a:lnTo>
                    <a:pt x="1848" y="2559"/>
                  </a:lnTo>
                  <a:lnTo>
                    <a:pt x="1848" y="2559"/>
                  </a:lnTo>
                  <a:close/>
                  <a:moveTo>
                    <a:pt x="2130" y="2512"/>
                  </a:moveTo>
                  <a:lnTo>
                    <a:pt x="2130" y="2512"/>
                  </a:lnTo>
                  <a:lnTo>
                    <a:pt x="2128" y="2512"/>
                  </a:lnTo>
                  <a:lnTo>
                    <a:pt x="2128" y="2514"/>
                  </a:lnTo>
                  <a:lnTo>
                    <a:pt x="2128" y="2514"/>
                  </a:lnTo>
                  <a:lnTo>
                    <a:pt x="2125" y="2514"/>
                  </a:lnTo>
                  <a:lnTo>
                    <a:pt x="2125" y="2514"/>
                  </a:lnTo>
                  <a:lnTo>
                    <a:pt x="2123" y="2514"/>
                  </a:lnTo>
                  <a:lnTo>
                    <a:pt x="2123" y="2514"/>
                  </a:lnTo>
                  <a:lnTo>
                    <a:pt x="2123" y="2517"/>
                  </a:lnTo>
                  <a:lnTo>
                    <a:pt x="2123" y="2517"/>
                  </a:lnTo>
                  <a:lnTo>
                    <a:pt x="2123" y="2517"/>
                  </a:lnTo>
                  <a:lnTo>
                    <a:pt x="2123" y="2517"/>
                  </a:lnTo>
                  <a:lnTo>
                    <a:pt x="2125" y="2517"/>
                  </a:lnTo>
                  <a:lnTo>
                    <a:pt x="2125" y="2517"/>
                  </a:lnTo>
                  <a:lnTo>
                    <a:pt x="2125" y="2517"/>
                  </a:lnTo>
                  <a:lnTo>
                    <a:pt x="2128" y="2517"/>
                  </a:lnTo>
                  <a:lnTo>
                    <a:pt x="2128" y="2517"/>
                  </a:lnTo>
                  <a:lnTo>
                    <a:pt x="2128" y="2517"/>
                  </a:lnTo>
                  <a:lnTo>
                    <a:pt x="2130" y="2514"/>
                  </a:lnTo>
                  <a:lnTo>
                    <a:pt x="2130" y="2514"/>
                  </a:lnTo>
                  <a:lnTo>
                    <a:pt x="2130" y="2514"/>
                  </a:lnTo>
                  <a:lnTo>
                    <a:pt x="2130" y="2514"/>
                  </a:lnTo>
                  <a:lnTo>
                    <a:pt x="2130" y="2514"/>
                  </a:lnTo>
                  <a:lnTo>
                    <a:pt x="2130" y="2512"/>
                  </a:lnTo>
                  <a:lnTo>
                    <a:pt x="2132" y="2512"/>
                  </a:lnTo>
                  <a:lnTo>
                    <a:pt x="2132" y="2512"/>
                  </a:lnTo>
                  <a:lnTo>
                    <a:pt x="2132" y="2512"/>
                  </a:lnTo>
                  <a:lnTo>
                    <a:pt x="2132" y="2512"/>
                  </a:lnTo>
                  <a:lnTo>
                    <a:pt x="2132" y="2512"/>
                  </a:lnTo>
                  <a:lnTo>
                    <a:pt x="2130" y="2512"/>
                  </a:lnTo>
                  <a:lnTo>
                    <a:pt x="2130" y="2512"/>
                  </a:lnTo>
                  <a:close/>
                  <a:moveTo>
                    <a:pt x="2132" y="2509"/>
                  </a:moveTo>
                  <a:lnTo>
                    <a:pt x="2132" y="2509"/>
                  </a:lnTo>
                  <a:lnTo>
                    <a:pt x="2132" y="2509"/>
                  </a:lnTo>
                  <a:lnTo>
                    <a:pt x="2132" y="2507"/>
                  </a:lnTo>
                  <a:lnTo>
                    <a:pt x="2132" y="2507"/>
                  </a:lnTo>
                  <a:lnTo>
                    <a:pt x="2132" y="2507"/>
                  </a:lnTo>
                  <a:lnTo>
                    <a:pt x="2132" y="2507"/>
                  </a:lnTo>
                  <a:lnTo>
                    <a:pt x="2132" y="2507"/>
                  </a:lnTo>
                  <a:lnTo>
                    <a:pt x="2132" y="2507"/>
                  </a:lnTo>
                  <a:lnTo>
                    <a:pt x="2132" y="2507"/>
                  </a:lnTo>
                  <a:lnTo>
                    <a:pt x="2132" y="2507"/>
                  </a:lnTo>
                  <a:lnTo>
                    <a:pt x="2130" y="2507"/>
                  </a:lnTo>
                  <a:lnTo>
                    <a:pt x="2130" y="2507"/>
                  </a:lnTo>
                  <a:lnTo>
                    <a:pt x="2128" y="2507"/>
                  </a:lnTo>
                  <a:lnTo>
                    <a:pt x="2128" y="2507"/>
                  </a:lnTo>
                  <a:lnTo>
                    <a:pt x="2128" y="2507"/>
                  </a:lnTo>
                  <a:lnTo>
                    <a:pt x="2128" y="2507"/>
                  </a:lnTo>
                  <a:lnTo>
                    <a:pt x="2128" y="2507"/>
                  </a:lnTo>
                  <a:lnTo>
                    <a:pt x="2128" y="2509"/>
                  </a:lnTo>
                  <a:lnTo>
                    <a:pt x="2130" y="2509"/>
                  </a:lnTo>
                  <a:lnTo>
                    <a:pt x="2130" y="2509"/>
                  </a:lnTo>
                  <a:lnTo>
                    <a:pt x="2130" y="2509"/>
                  </a:lnTo>
                  <a:lnTo>
                    <a:pt x="2130" y="2509"/>
                  </a:lnTo>
                  <a:lnTo>
                    <a:pt x="2130" y="2509"/>
                  </a:lnTo>
                  <a:lnTo>
                    <a:pt x="2130" y="2509"/>
                  </a:lnTo>
                  <a:lnTo>
                    <a:pt x="2132" y="2509"/>
                  </a:lnTo>
                  <a:lnTo>
                    <a:pt x="2132" y="2509"/>
                  </a:lnTo>
                  <a:lnTo>
                    <a:pt x="2132" y="2509"/>
                  </a:lnTo>
                  <a:close/>
                  <a:moveTo>
                    <a:pt x="2217" y="2396"/>
                  </a:moveTo>
                  <a:lnTo>
                    <a:pt x="2217" y="2396"/>
                  </a:lnTo>
                  <a:lnTo>
                    <a:pt x="2217" y="2398"/>
                  </a:lnTo>
                  <a:lnTo>
                    <a:pt x="2215" y="2398"/>
                  </a:lnTo>
                  <a:lnTo>
                    <a:pt x="2215" y="2403"/>
                  </a:lnTo>
                  <a:lnTo>
                    <a:pt x="2210" y="2405"/>
                  </a:lnTo>
                  <a:lnTo>
                    <a:pt x="2210" y="2408"/>
                  </a:lnTo>
                  <a:lnTo>
                    <a:pt x="2210" y="2408"/>
                  </a:lnTo>
                  <a:lnTo>
                    <a:pt x="2213" y="2408"/>
                  </a:lnTo>
                  <a:lnTo>
                    <a:pt x="2213" y="2408"/>
                  </a:lnTo>
                  <a:lnTo>
                    <a:pt x="2215" y="2405"/>
                  </a:lnTo>
                  <a:lnTo>
                    <a:pt x="2217" y="2403"/>
                  </a:lnTo>
                  <a:lnTo>
                    <a:pt x="2217" y="2403"/>
                  </a:lnTo>
                  <a:lnTo>
                    <a:pt x="2217" y="2401"/>
                  </a:lnTo>
                  <a:lnTo>
                    <a:pt x="2220" y="2398"/>
                  </a:lnTo>
                  <a:lnTo>
                    <a:pt x="2220" y="2398"/>
                  </a:lnTo>
                  <a:lnTo>
                    <a:pt x="2220" y="2398"/>
                  </a:lnTo>
                  <a:lnTo>
                    <a:pt x="2220" y="2398"/>
                  </a:lnTo>
                  <a:lnTo>
                    <a:pt x="2217" y="2396"/>
                  </a:lnTo>
                  <a:close/>
                  <a:moveTo>
                    <a:pt x="2229" y="2372"/>
                  </a:moveTo>
                  <a:lnTo>
                    <a:pt x="2229" y="2372"/>
                  </a:lnTo>
                  <a:lnTo>
                    <a:pt x="2227" y="2375"/>
                  </a:lnTo>
                  <a:lnTo>
                    <a:pt x="2227" y="2375"/>
                  </a:lnTo>
                  <a:lnTo>
                    <a:pt x="2227" y="2375"/>
                  </a:lnTo>
                  <a:lnTo>
                    <a:pt x="2227" y="2375"/>
                  </a:lnTo>
                  <a:lnTo>
                    <a:pt x="2227" y="2375"/>
                  </a:lnTo>
                  <a:lnTo>
                    <a:pt x="2227" y="2375"/>
                  </a:lnTo>
                  <a:lnTo>
                    <a:pt x="2229" y="2375"/>
                  </a:lnTo>
                  <a:lnTo>
                    <a:pt x="2229" y="2375"/>
                  </a:lnTo>
                  <a:lnTo>
                    <a:pt x="2229" y="2375"/>
                  </a:lnTo>
                  <a:lnTo>
                    <a:pt x="2232" y="2372"/>
                  </a:lnTo>
                  <a:lnTo>
                    <a:pt x="2232" y="2372"/>
                  </a:lnTo>
                  <a:lnTo>
                    <a:pt x="2229" y="2372"/>
                  </a:lnTo>
                  <a:lnTo>
                    <a:pt x="2229" y="2372"/>
                  </a:lnTo>
                  <a:close/>
                  <a:moveTo>
                    <a:pt x="2130" y="2502"/>
                  </a:moveTo>
                  <a:lnTo>
                    <a:pt x="2130" y="2502"/>
                  </a:lnTo>
                  <a:lnTo>
                    <a:pt x="2130" y="2502"/>
                  </a:lnTo>
                  <a:lnTo>
                    <a:pt x="2130" y="2502"/>
                  </a:lnTo>
                  <a:lnTo>
                    <a:pt x="2130" y="2502"/>
                  </a:lnTo>
                  <a:lnTo>
                    <a:pt x="2130" y="2502"/>
                  </a:lnTo>
                  <a:lnTo>
                    <a:pt x="2130" y="2502"/>
                  </a:lnTo>
                  <a:lnTo>
                    <a:pt x="2130" y="2502"/>
                  </a:lnTo>
                  <a:lnTo>
                    <a:pt x="2130" y="2502"/>
                  </a:lnTo>
                  <a:lnTo>
                    <a:pt x="2130" y="2502"/>
                  </a:lnTo>
                  <a:lnTo>
                    <a:pt x="2128" y="2502"/>
                  </a:lnTo>
                  <a:lnTo>
                    <a:pt x="2128" y="2502"/>
                  </a:lnTo>
                  <a:lnTo>
                    <a:pt x="2128" y="2502"/>
                  </a:lnTo>
                  <a:lnTo>
                    <a:pt x="2128" y="2502"/>
                  </a:lnTo>
                  <a:lnTo>
                    <a:pt x="2128" y="2502"/>
                  </a:lnTo>
                  <a:lnTo>
                    <a:pt x="2130" y="2502"/>
                  </a:lnTo>
                  <a:close/>
                  <a:moveTo>
                    <a:pt x="2135" y="2502"/>
                  </a:moveTo>
                  <a:lnTo>
                    <a:pt x="2135" y="2502"/>
                  </a:lnTo>
                  <a:lnTo>
                    <a:pt x="2137" y="2502"/>
                  </a:lnTo>
                  <a:lnTo>
                    <a:pt x="2142" y="2502"/>
                  </a:lnTo>
                  <a:lnTo>
                    <a:pt x="2142" y="2502"/>
                  </a:lnTo>
                  <a:lnTo>
                    <a:pt x="2142" y="2502"/>
                  </a:lnTo>
                  <a:lnTo>
                    <a:pt x="2142" y="2502"/>
                  </a:lnTo>
                  <a:lnTo>
                    <a:pt x="2142" y="2502"/>
                  </a:lnTo>
                  <a:lnTo>
                    <a:pt x="2142" y="2502"/>
                  </a:lnTo>
                  <a:lnTo>
                    <a:pt x="2142" y="2502"/>
                  </a:lnTo>
                  <a:lnTo>
                    <a:pt x="2142" y="2502"/>
                  </a:lnTo>
                  <a:lnTo>
                    <a:pt x="2144" y="2500"/>
                  </a:lnTo>
                  <a:lnTo>
                    <a:pt x="2144" y="2500"/>
                  </a:lnTo>
                  <a:lnTo>
                    <a:pt x="2144" y="2500"/>
                  </a:lnTo>
                  <a:lnTo>
                    <a:pt x="2144" y="2500"/>
                  </a:lnTo>
                  <a:lnTo>
                    <a:pt x="2144" y="2500"/>
                  </a:lnTo>
                  <a:lnTo>
                    <a:pt x="2142" y="2498"/>
                  </a:lnTo>
                  <a:lnTo>
                    <a:pt x="2142" y="2498"/>
                  </a:lnTo>
                  <a:lnTo>
                    <a:pt x="2142" y="2498"/>
                  </a:lnTo>
                  <a:lnTo>
                    <a:pt x="2142" y="2498"/>
                  </a:lnTo>
                  <a:lnTo>
                    <a:pt x="2142" y="2495"/>
                  </a:lnTo>
                  <a:lnTo>
                    <a:pt x="2142" y="2495"/>
                  </a:lnTo>
                  <a:lnTo>
                    <a:pt x="2144" y="2495"/>
                  </a:lnTo>
                  <a:lnTo>
                    <a:pt x="2144" y="2493"/>
                  </a:lnTo>
                  <a:lnTo>
                    <a:pt x="2144" y="2493"/>
                  </a:lnTo>
                  <a:lnTo>
                    <a:pt x="2142" y="2493"/>
                  </a:lnTo>
                  <a:lnTo>
                    <a:pt x="2144" y="2491"/>
                  </a:lnTo>
                  <a:lnTo>
                    <a:pt x="2142" y="2488"/>
                  </a:lnTo>
                  <a:lnTo>
                    <a:pt x="2144" y="2488"/>
                  </a:lnTo>
                  <a:lnTo>
                    <a:pt x="2142" y="2488"/>
                  </a:lnTo>
                  <a:lnTo>
                    <a:pt x="2142" y="2488"/>
                  </a:lnTo>
                  <a:lnTo>
                    <a:pt x="2142" y="2488"/>
                  </a:lnTo>
                  <a:lnTo>
                    <a:pt x="2142" y="2488"/>
                  </a:lnTo>
                  <a:lnTo>
                    <a:pt x="2142" y="2488"/>
                  </a:lnTo>
                  <a:lnTo>
                    <a:pt x="2142" y="2488"/>
                  </a:lnTo>
                  <a:lnTo>
                    <a:pt x="2142" y="2491"/>
                  </a:lnTo>
                  <a:lnTo>
                    <a:pt x="2139" y="2493"/>
                  </a:lnTo>
                  <a:lnTo>
                    <a:pt x="2139" y="2493"/>
                  </a:lnTo>
                  <a:lnTo>
                    <a:pt x="2139" y="2493"/>
                  </a:lnTo>
                  <a:lnTo>
                    <a:pt x="2137" y="2495"/>
                  </a:lnTo>
                  <a:lnTo>
                    <a:pt x="2137" y="2495"/>
                  </a:lnTo>
                  <a:lnTo>
                    <a:pt x="2137" y="2498"/>
                  </a:lnTo>
                  <a:lnTo>
                    <a:pt x="2137" y="2498"/>
                  </a:lnTo>
                  <a:lnTo>
                    <a:pt x="2137" y="2498"/>
                  </a:lnTo>
                  <a:lnTo>
                    <a:pt x="2135" y="2500"/>
                  </a:lnTo>
                  <a:lnTo>
                    <a:pt x="2135" y="2500"/>
                  </a:lnTo>
                  <a:lnTo>
                    <a:pt x="2135" y="2500"/>
                  </a:lnTo>
                  <a:lnTo>
                    <a:pt x="2135" y="2500"/>
                  </a:lnTo>
                  <a:lnTo>
                    <a:pt x="2132" y="2500"/>
                  </a:lnTo>
                  <a:lnTo>
                    <a:pt x="2132" y="2500"/>
                  </a:lnTo>
                  <a:lnTo>
                    <a:pt x="2132" y="2500"/>
                  </a:lnTo>
                  <a:lnTo>
                    <a:pt x="2132" y="2500"/>
                  </a:lnTo>
                  <a:lnTo>
                    <a:pt x="2132" y="2502"/>
                  </a:lnTo>
                  <a:lnTo>
                    <a:pt x="2132" y="2502"/>
                  </a:lnTo>
                  <a:lnTo>
                    <a:pt x="2130" y="2502"/>
                  </a:lnTo>
                  <a:lnTo>
                    <a:pt x="2130" y="2502"/>
                  </a:lnTo>
                  <a:lnTo>
                    <a:pt x="2128" y="2505"/>
                  </a:lnTo>
                  <a:lnTo>
                    <a:pt x="2128" y="2507"/>
                  </a:lnTo>
                  <a:lnTo>
                    <a:pt x="2128" y="2507"/>
                  </a:lnTo>
                  <a:lnTo>
                    <a:pt x="2128" y="2507"/>
                  </a:lnTo>
                  <a:lnTo>
                    <a:pt x="2128" y="2507"/>
                  </a:lnTo>
                  <a:lnTo>
                    <a:pt x="2128" y="2507"/>
                  </a:lnTo>
                  <a:lnTo>
                    <a:pt x="2130" y="2507"/>
                  </a:lnTo>
                  <a:lnTo>
                    <a:pt x="2130" y="2507"/>
                  </a:lnTo>
                  <a:lnTo>
                    <a:pt x="2130" y="2507"/>
                  </a:lnTo>
                  <a:lnTo>
                    <a:pt x="2130" y="2507"/>
                  </a:lnTo>
                  <a:lnTo>
                    <a:pt x="2132" y="2505"/>
                  </a:lnTo>
                  <a:lnTo>
                    <a:pt x="2135" y="2505"/>
                  </a:lnTo>
                  <a:lnTo>
                    <a:pt x="2135" y="2502"/>
                  </a:lnTo>
                  <a:close/>
                  <a:moveTo>
                    <a:pt x="2267" y="2306"/>
                  </a:moveTo>
                  <a:lnTo>
                    <a:pt x="2267" y="2308"/>
                  </a:lnTo>
                  <a:lnTo>
                    <a:pt x="2267" y="2308"/>
                  </a:lnTo>
                  <a:lnTo>
                    <a:pt x="2267" y="2308"/>
                  </a:lnTo>
                  <a:lnTo>
                    <a:pt x="2265" y="2308"/>
                  </a:lnTo>
                  <a:lnTo>
                    <a:pt x="2265" y="2308"/>
                  </a:lnTo>
                  <a:lnTo>
                    <a:pt x="2265" y="2308"/>
                  </a:lnTo>
                  <a:lnTo>
                    <a:pt x="2267" y="2308"/>
                  </a:lnTo>
                  <a:lnTo>
                    <a:pt x="2267" y="2308"/>
                  </a:lnTo>
                  <a:lnTo>
                    <a:pt x="2267" y="2308"/>
                  </a:lnTo>
                  <a:lnTo>
                    <a:pt x="2267" y="2308"/>
                  </a:lnTo>
                  <a:lnTo>
                    <a:pt x="2267" y="2308"/>
                  </a:lnTo>
                  <a:lnTo>
                    <a:pt x="2267" y="2308"/>
                  </a:lnTo>
                  <a:lnTo>
                    <a:pt x="2267" y="2306"/>
                  </a:lnTo>
                  <a:close/>
                  <a:moveTo>
                    <a:pt x="2419" y="2287"/>
                  </a:moveTo>
                  <a:lnTo>
                    <a:pt x="2419" y="2289"/>
                  </a:lnTo>
                  <a:lnTo>
                    <a:pt x="2421" y="2287"/>
                  </a:lnTo>
                  <a:lnTo>
                    <a:pt x="2421" y="2287"/>
                  </a:lnTo>
                  <a:lnTo>
                    <a:pt x="2423" y="2285"/>
                  </a:lnTo>
                  <a:lnTo>
                    <a:pt x="2423" y="2285"/>
                  </a:lnTo>
                  <a:lnTo>
                    <a:pt x="2423" y="2282"/>
                  </a:lnTo>
                  <a:lnTo>
                    <a:pt x="2421" y="2282"/>
                  </a:lnTo>
                  <a:lnTo>
                    <a:pt x="2421" y="2282"/>
                  </a:lnTo>
                  <a:lnTo>
                    <a:pt x="2421" y="2280"/>
                  </a:lnTo>
                  <a:lnTo>
                    <a:pt x="2419" y="2282"/>
                  </a:lnTo>
                  <a:lnTo>
                    <a:pt x="2421" y="2285"/>
                  </a:lnTo>
                  <a:lnTo>
                    <a:pt x="2419" y="2287"/>
                  </a:lnTo>
                  <a:lnTo>
                    <a:pt x="2419" y="2287"/>
                  </a:lnTo>
                  <a:close/>
                  <a:moveTo>
                    <a:pt x="2419" y="2297"/>
                  </a:moveTo>
                  <a:lnTo>
                    <a:pt x="2419" y="2297"/>
                  </a:lnTo>
                  <a:lnTo>
                    <a:pt x="2419" y="2297"/>
                  </a:lnTo>
                  <a:lnTo>
                    <a:pt x="2421" y="2297"/>
                  </a:lnTo>
                  <a:lnTo>
                    <a:pt x="2421" y="2297"/>
                  </a:lnTo>
                  <a:lnTo>
                    <a:pt x="2421" y="2294"/>
                  </a:lnTo>
                  <a:lnTo>
                    <a:pt x="2423" y="2292"/>
                  </a:lnTo>
                  <a:lnTo>
                    <a:pt x="2423" y="2292"/>
                  </a:lnTo>
                  <a:lnTo>
                    <a:pt x="2423" y="2289"/>
                  </a:lnTo>
                  <a:lnTo>
                    <a:pt x="2423" y="2289"/>
                  </a:lnTo>
                  <a:lnTo>
                    <a:pt x="2423" y="2289"/>
                  </a:lnTo>
                  <a:lnTo>
                    <a:pt x="2423" y="2287"/>
                  </a:lnTo>
                  <a:lnTo>
                    <a:pt x="2423" y="2287"/>
                  </a:lnTo>
                  <a:lnTo>
                    <a:pt x="2423" y="2285"/>
                  </a:lnTo>
                  <a:lnTo>
                    <a:pt x="2423" y="2285"/>
                  </a:lnTo>
                  <a:lnTo>
                    <a:pt x="2423" y="2285"/>
                  </a:lnTo>
                  <a:lnTo>
                    <a:pt x="2423" y="2287"/>
                  </a:lnTo>
                  <a:lnTo>
                    <a:pt x="2423" y="2287"/>
                  </a:lnTo>
                  <a:lnTo>
                    <a:pt x="2423" y="2287"/>
                  </a:lnTo>
                  <a:lnTo>
                    <a:pt x="2423" y="2289"/>
                  </a:lnTo>
                  <a:lnTo>
                    <a:pt x="2421" y="2289"/>
                  </a:lnTo>
                  <a:lnTo>
                    <a:pt x="2421" y="2289"/>
                  </a:lnTo>
                  <a:lnTo>
                    <a:pt x="2421" y="2289"/>
                  </a:lnTo>
                  <a:lnTo>
                    <a:pt x="2421" y="2289"/>
                  </a:lnTo>
                  <a:lnTo>
                    <a:pt x="2419" y="2289"/>
                  </a:lnTo>
                  <a:lnTo>
                    <a:pt x="2419" y="2289"/>
                  </a:lnTo>
                  <a:lnTo>
                    <a:pt x="2416" y="2292"/>
                  </a:lnTo>
                  <a:lnTo>
                    <a:pt x="2416" y="2292"/>
                  </a:lnTo>
                  <a:lnTo>
                    <a:pt x="2416" y="2292"/>
                  </a:lnTo>
                  <a:lnTo>
                    <a:pt x="2416" y="2292"/>
                  </a:lnTo>
                  <a:lnTo>
                    <a:pt x="2416" y="2294"/>
                  </a:lnTo>
                  <a:lnTo>
                    <a:pt x="2416" y="2294"/>
                  </a:lnTo>
                  <a:lnTo>
                    <a:pt x="2419" y="2294"/>
                  </a:lnTo>
                  <a:lnTo>
                    <a:pt x="2419" y="2294"/>
                  </a:lnTo>
                  <a:lnTo>
                    <a:pt x="2419" y="2294"/>
                  </a:lnTo>
                  <a:lnTo>
                    <a:pt x="2419" y="2294"/>
                  </a:lnTo>
                  <a:lnTo>
                    <a:pt x="2419" y="2294"/>
                  </a:lnTo>
                  <a:lnTo>
                    <a:pt x="2419" y="2294"/>
                  </a:lnTo>
                  <a:lnTo>
                    <a:pt x="2419" y="2294"/>
                  </a:lnTo>
                  <a:lnTo>
                    <a:pt x="2419" y="2294"/>
                  </a:lnTo>
                  <a:lnTo>
                    <a:pt x="2419" y="2294"/>
                  </a:lnTo>
                  <a:lnTo>
                    <a:pt x="2419" y="2294"/>
                  </a:lnTo>
                  <a:lnTo>
                    <a:pt x="2419" y="2294"/>
                  </a:lnTo>
                  <a:lnTo>
                    <a:pt x="2419" y="2297"/>
                  </a:lnTo>
                  <a:close/>
                  <a:moveTo>
                    <a:pt x="2433" y="2202"/>
                  </a:moveTo>
                  <a:lnTo>
                    <a:pt x="2435" y="2202"/>
                  </a:lnTo>
                  <a:lnTo>
                    <a:pt x="2435" y="2202"/>
                  </a:lnTo>
                  <a:lnTo>
                    <a:pt x="2435" y="2202"/>
                  </a:lnTo>
                  <a:lnTo>
                    <a:pt x="2438" y="2202"/>
                  </a:lnTo>
                  <a:lnTo>
                    <a:pt x="2440" y="2202"/>
                  </a:lnTo>
                  <a:lnTo>
                    <a:pt x="2442" y="2204"/>
                  </a:lnTo>
                  <a:lnTo>
                    <a:pt x="2445" y="2204"/>
                  </a:lnTo>
                  <a:lnTo>
                    <a:pt x="2447" y="2204"/>
                  </a:lnTo>
                  <a:lnTo>
                    <a:pt x="2454" y="2204"/>
                  </a:lnTo>
                  <a:lnTo>
                    <a:pt x="2461" y="2204"/>
                  </a:lnTo>
                  <a:lnTo>
                    <a:pt x="2468" y="2202"/>
                  </a:lnTo>
                  <a:lnTo>
                    <a:pt x="2471" y="2202"/>
                  </a:lnTo>
                  <a:lnTo>
                    <a:pt x="2473" y="2202"/>
                  </a:lnTo>
                  <a:lnTo>
                    <a:pt x="2475" y="2202"/>
                  </a:lnTo>
                  <a:lnTo>
                    <a:pt x="2475" y="2202"/>
                  </a:lnTo>
                  <a:lnTo>
                    <a:pt x="2478" y="2202"/>
                  </a:lnTo>
                  <a:lnTo>
                    <a:pt x="2478" y="2202"/>
                  </a:lnTo>
                  <a:lnTo>
                    <a:pt x="2482" y="2200"/>
                  </a:lnTo>
                  <a:lnTo>
                    <a:pt x="2485" y="2200"/>
                  </a:lnTo>
                  <a:lnTo>
                    <a:pt x="2490" y="2197"/>
                  </a:lnTo>
                  <a:lnTo>
                    <a:pt x="2490" y="2197"/>
                  </a:lnTo>
                  <a:lnTo>
                    <a:pt x="2492" y="2197"/>
                  </a:lnTo>
                  <a:lnTo>
                    <a:pt x="2492" y="2197"/>
                  </a:lnTo>
                  <a:lnTo>
                    <a:pt x="2494" y="2195"/>
                  </a:lnTo>
                  <a:lnTo>
                    <a:pt x="2494" y="2195"/>
                  </a:lnTo>
                  <a:lnTo>
                    <a:pt x="2494" y="2195"/>
                  </a:lnTo>
                  <a:lnTo>
                    <a:pt x="2494" y="2195"/>
                  </a:lnTo>
                  <a:lnTo>
                    <a:pt x="2494" y="2195"/>
                  </a:lnTo>
                  <a:lnTo>
                    <a:pt x="2494" y="2195"/>
                  </a:lnTo>
                  <a:lnTo>
                    <a:pt x="2494" y="2192"/>
                  </a:lnTo>
                  <a:lnTo>
                    <a:pt x="2494" y="2192"/>
                  </a:lnTo>
                  <a:lnTo>
                    <a:pt x="2494" y="2192"/>
                  </a:lnTo>
                  <a:lnTo>
                    <a:pt x="2497" y="2192"/>
                  </a:lnTo>
                  <a:lnTo>
                    <a:pt x="2494" y="2190"/>
                  </a:lnTo>
                  <a:lnTo>
                    <a:pt x="2494" y="2190"/>
                  </a:lnTo>
                  <a:lnTo>
                    <a:pt x="2492" y="2190"/>
                  </a:lnTo>
                  <a:lnTo>
                    <a:pt x="2492" y="2188"/>
                  </a:lnTo>
                  <a:lnTo>
                    <a:pt x="2490" y="2188"/>
                  </a:lnTo>
                  <a:lnTo>
                    <a:pt x="2490" y="2188"/>
                  </a:lnTo>
                  <a:lnTo>
                    <a:pt x="2490" y="2188"/>
                  </a:lnTo>
                  <a:lnTo>
                    <a:pt x="2490" y="2188"/>
                  </a:lnTo>
                  <a:lnTo>
                    <a:pt x="2490" y="2188"/>
                  </a:lnTo>
                  <a:lnTo>
                    <a:pt x="2487" y="2188"/>
                  </a:lnTo>
                  <a:lnTo>
                    <a:pt x="2487" y="2185"/>
                  </a:lnTo>
                  <a:lnTo>
                    <a:pt x="2487" y="2185"/>
                  </a:lnTo>
                  <a:lnTo>
                    <a:pt x="2485" y="2185"/>
                  </a:lnTo>
                  <a:lnTo>
                    <a:pt x="2485" y="2183"/>
                  </a:lnTo>
                  <a:lnTo>
                    <a:pt x="2485" y="2185"/>
                  </a:lnTo>
                  <a:lnTo>
                    <a:pt x="2482" y="2185"/>
                  </a:lnTo>
                  <a:lnTo>
                    <a:pt x="2482" y="2185"/>
                  </a:lnTo>
                  <a:lnTo>
                    <a:pt x="2482" y="2185"/>
                  </a:lnTo>
                  <a:lnTo>
                    <a:pt x="2480" y="2183"/>
                  </a:lnTo>
                  <a:lnTo>
                    <a:pt x="2480" y="2183"/>
                  </a:lnTo>
                  <a:lnTo>
                    <a:pt x="2475" y="2185"/>
                  </a:lnTo>
                  <a:lnTo>
                    <a:pt x="2473" y="2185"/>
                  </a:lnTo>
                  <a:lnTo>
                    <a:pt x="2473" y="2185"/>
                  </a:lnTo>
                  <a:lnTo>
                    <a:pt x="2473" y="2185"/>
                  </a:lnTo>
                  <a:lnTo>
                    <a:pt x="2473" y="2185"/>
                  </a:lnTo>
                  <a:lnTo>
                    <a:pt x="2473" y="2185"/>
                  </a:lnTo>
                  <a:lnTo>
                    <a:pt x="2473" y="2185"/>
                  </a:lnTo>
                  <a:lnTo>
                    <a:pt x="2471" y="2183"/>
                  </a:lnTo>
                  <a:lnTo>
                    <a:pt x="2471" y="2183"/>
                  </a:lnTo>
                  <a:lnTo>
                    <a:pt x="2471" y="2183"/>
                  </a:lnTo>
                  <a:lnTo>
                    <a:pt x="2468" y="2183"/>
                  </a:lnTo>
                  <a:lnTo>
                    <a:pt x="2468" y="2183"/>
                  </a:lnTo>
                  <a:lnTo>
                    <a:pt x="2468" y="2183"/>
                  </a:lnTo>
                  <a:lnTo>
                    <a:pt x="2466" y="2183"/>
                  </a:lnTo>
                  <a:lnTo>
                    <a:pt x="2466" y="2183"/>
                  </a:lnTo>
                  <a:lnTo>
                    <a:pt x="2466" y="2183"/>
                  </a:lnTo>
                  <a:lnTo>
                    <a:pt x="2466" y="2183"/>
                  </a:lnTo>
                  <a:lnTo>
                    <a:pt x="2464" y="2181"/>
                  </a:lnTo>
                  <a:lnTo>
                    <a:pt x="2464" y="2181"/>
                  </a:lnTo>
                  <a:lnTo>
                    <a:pt x="2464" y="2181"/>
                  </a:lnTo>
                  <a:lnTo>
                    <a:pt x="2464" y="2181"/>
                  </a:lnTo>
                  <a:lnTo>
                    <a:pt x="2461" y="2181"/>
                  </a:lnTo>
                  <a:lnTo>
                    <a:pt x="2461" y="2181"/>
                  </a:lnTo>
                  <a:lnTo>
                    <a:pt x="2461" y="2181"/>
                  </a:lnTo>
                  <a:lnTo>
                    <a:pt x="2459" y="2178"/>
                  </a:lnTo>
                  <a:lnTo>
                    <a:pt x="2459" y="2178"/>
                  </a:lnTo>
                  <a:lnTo>
                    <a:pt x="2456" y="2178"/>
                  </a:lnTo>
                  <a:lnTo>
                    <a:pt x="2456" y="2178"/>
                  </a:lnTo>
                  <a:lnTo>
                    <a:pt x="2452" y="2178"/>
                  </a:lnTo>
                  <a:lnTo>
                    <a:pt x="2452" y="2178"/>
                  </a:lnTo>
                  <a:lnTo>
                    <a:pt x="2452" y="2178"/>
                  </a:lnTo>
                  <a:lnTo>
                    <a:pt x="2449" y="2178"/>
                  </a:lnTo>
                  <a:lnTo>
                    <a:pt x="2449" y="2178"/>
                  </a:lnTo>
                  <a:lnTo>
                    <a:pt x="2447" y="2178"/>
                  </a:lnTo>
                  <a:lnTo>
                    <a:pt x="2445" y="2178"/>
                  </a:lnTo>
                  <a:lnTo>
                    <a:pt x="2445" y="2178"/>
                  </a:lnTo>
                  <a:lnTo>
                    <a:pt x="2442" y="2178"/>
                  </a:lnTo>
                  <a:lnTo>
                    <a:pt x="2442" y="2176"/>
                  </a:lnTo>
                  <a:lnTo>
                    <a:pt x="2440" y="2178"/>
                  </a:lnTo>
                  <a:lnTo>
                    <a:pt x="2435" y="2176"/>
                  </a:lnTo>
                  <a:lnTo>
                    <a:pt x="2433" y="2178"/>
                  </a:lnTo>
                  <a:lnTo>
                    <a:pt x="2428" y="2178"/>
                  </a:lnTo>
                  <a:lnTo>
                    <a:pt x="2423" y="2178"/>
                  </a:lnTo>
                  <a:lnTo>
                    <a:pt x="2419" y="2178"/>
                  </a:lnTo>
                  <a:lnTo>
                    <a:pt x="2416" y="2178"/>
                  </a:lnTo>
                  <a:lnTo>
                    <a:pt x="2407" y="2181"/>
                  </a:lnTo>
                  <a:lnTo>
                    <a:pt x="2404" y="2181"/>
                  </a:lnTo>
                  <a:lnTo>
                    <a:pt x="2404" y="2181"/>
                  </a:lnTo>
                  <a:lnTo>
                    <a:pt x="2404" y="2181"/>
                  </a:lnTo>
                  <a:lnTo>
                    <a:pt x="2400" y="2181"/>
                  </a:lnTo>
                  <a:lnTo>
                    <a:pt x="2397" y="2181"/>
                  </a:lnTo>
                  <a:lnTo>
                    <a:pt x="2397" y="2181"/>
                  </a:lnTo>
                  <a:lnTo>
                    <a:pt x="2397" y="2181"/>
                  </a:lnTo>
                  <a:lnTo>
                    <a:pt x="2397" y="2181"/>
                  </a:lnTo>
                  <a:lnTo>
                    <a:pt x="2397" y="2183"/>
                  </a:lnTo>
                  <a:lnTo>
                    <a:pt x="2395" y="2183"/>
                  </a:lnTo>
                  <a:lnTo>
                    <a:pt x="2395" y="2183"/>
                  </a:lnTo>
                  <a:lnTo>
                    <a:pt x="2393" y="2183"/>
                  </a:lnTo>
                  <a:lnTo>
                    <a:pt x="2390" y="2185"/>
                  </a:lnTo>
                  <a:lnTo>
                    <a:pt x="2390" y="2188"/>
                  </a:lnTo>
                  <a:lnTo>
                    <a:pt x="2390" y="2188"/>
                  </a:lnTo>
                  <a:lnTo>
                    <a:pt x="2390" y="2188"/>
                  </a:lnTo>
                  <a:lnTo>
                    <a:pt x="2390" y="2188"/>
                  </a:lnTo>
                  <a:lnTo>
                    <a:pt x="2390" y="2188"/>
                  </a:lnTo>
                  <a:lnTo>
                    <a:pt x="2393" y="2190"/>
                  </a:lnTo>
                  <a:lnTo>
                    <a:pt x="2393" y="2190"/>
                  </a:lnTo>
                  <a:lnTo>
                    <a:pt x="2395" y="2190"/>
                  </a:lnTo>
                  <a:lnTo>
                    <a:pt x="2395" y="2190"/>
                  </a:lnTo>
                  <a:lnTo>
                    <a:pt x="2395" y="2190"/>
                  </a:lnTo>
                  <a:lnTo>
                    <a:pt x="2395" y="2188"/>
                  </a:lnTo>
                  <a:lnTo>
                    <a:pt x="2395" y="2188"/>
                  </a:lnTo>
                  <a:lnTo>
                    <a:pt x="2397" y="2190"/>
                  </a:lnTo>
                  <a:lnTo>
                    <a:pt x="2397" y="2190"/>
                  </a:lnTo>
                  <a:lnTo>
                    <a:pt x="2402" y="2190"/>
                  </a:lnTo>
                  <a:lnTo>
                    <a:pt x="2407" y="2190"/>
                  </a:lnTo>
                  <a:lnTo>
                    <a:pt x="2411" y="2192"/>
                  </a:lnTo>
                  <a:lnTo>
                    <a:pt x="2419" y="2192"/>
                  </a:lnTo>
                  <a:lnTo>
                    <a:pt x="2423" y="2195"/>
                  </a:lnTo>
                  <a:lnTo>
                    <a:pt x="2423" y="2197"/>
                  </a:lnTo>
                  <a:lnTo>
                    <a:pt x="2426" y="2197"/>
                  </a:lnTo>
                  <a:lnTo>
                    <a:pt x="2426" y="2197"/>
                  </a:lnTo>
                  <a:lnTo>
                    <a:pt x="2426" y="2197"/>
                  </a:lnTo>
                  <a:lnTo>
                    <a:pt x="2426" y="2200"/>
                  </a:lnTo>
                  <a:lnTo>
                    <a:pt x="2426" y="2200"/>
                  </a:lnTo>
                  <a:lnTo>
                    <a:pt x="2428" y="2200"/>
                  </a:lnTo>
                  <a:lnTo>
                    <a:pt x="2428" y="2202"/>
                  </a:lnTo>
                  <a:lnTo>
                    <a:pt x="2428" y="2202"/>
                  </a:lnTo>
                  <a:lnTo>
                    <a:pt x="2433" y="2202"/>
                  </a:lnTo>
                  <a:close/>
                  <a:moveTo>
                    <a:pt x="2532" y="2266"/>
                  </a:moveTo>
                  <a:lnTo>
                    <a:pt x="2532" y="2263"/>
                  </a:lnTo>
                  <a:lnTo>
                    <a:pt x="2532" y="2263"/>
                  </a:lnTo>
                  <a:lnTo>
                    <a:pt x="2532" y="2263"/>
                  </a:lnTo>
                  <a:lnTo>
                    <a:pt x="2527" y="2266"/>
                  </a:lnTo>
                  <a:lnTo>
                    <a:pt x="2527" y="2266"/>
                  </a:lnTo>
                  <a:lnTo>
                    <a:pt x="2527" y="2266"/>
                  </a:lnTo>
                  <a:lnTo>
                    <a:pt x="2523" y="2273"/>
                  </a:lnTo>
                  <a:lnTo>
                    <a:pt x="2523" y="2273"/>
                  </a:lnTo>
                  <a:lnTo>
                    <a:pt x="2520" y="2280"/>
                  </a:lnTo>
                  <a:lnTo>
                    <a:pt x="2520" y="2280"/>
                  </a:lnTo>
                  <a:lnTo>
                    <a:pt x="2520" y="2280"/>
                  </a:lnTo>
                  <a:lnTo>
                    <a:pt x="2518" y="2280"/>
                  </a:lnTo>
                  <a:lnTo>
                    <a:pt x="2518" y="2282"/>
                  </a:lnTo>
                  <a:lnTo>
                    <a:pt x="2518" y="2282"/>
                  </a:lnTo>
                  <a:lnTo>
                    <a:pt x="2518" y="2282"/>
                  </a:lnTo>
                  <a:lnTo>
                    <a:pt x="2518" y="2285"/>
                  </a:lnTo>
                  <a:lnTo>
                    <a:pt x="2518" y="2287"/>
                  </a:lnTo>
                  <a:lnTo>
                    <a:pt x="2518" y="2287"/>
                  </a:lnTo>
                  <a:lnTo>
                    <a:pt x="2518" y="2289"/>
                  </a:lnTo>
                  <a:lnTo>
                    <a:pt x="2518" y="2292"/>
                  </a:lnTo>
                  <a:lnTo>
                    <a:pt x="2518" y="2292"/>
                  </a:lnTo>
                  <a:lnTo>
                    <a:pt x="2520" y="2292"/>
                  </a:lnTo>
                  <a:lnTo>
                    <a:pt x="2520" y="2292"/>
                  </a:lnTo>
                  <a:lnTo>
                    <a:pt x="2523" y="2289"/>
                  </a:lnTo>
                  <a:lnTo>
                    <a:pt x="2523" y="2289"/>
                  </a:lnTo>
                  <a:lnTo>
                    <a:pt x="2523" y="2289"/>
                  </a:lnTo>
                  <a:lnTo>
                    <a:pt x="2525" y="2289"/>
                  </a:lnTo>
                  <a:lnTo>
                    <a:pt x="2525" y="2289"/>
                  </a:lnTo>
                  <a:lnTo>
                    <a:pt x="2525" y="2289"/>
                  </a:lnTo>
                  <a:lnTo>
                    <a:pt x="2525" y="2287"/>
                  </a:lnTo>
                  <a:lnTo>
                    <a:pt x="2525" y="2287"/>
                  </a:lnTo>
                  <a:lnTo>
                    <a:pt x="2525" y="2289"/>
                  </a:lnTo>
                  <a:lnTo>
                    <a:pt x="2525" y="2289"/>
                  </a:lnTo>
                  <a:lnTo>
                    <a:pt x="2523" y="2289"/>
                  </a:lnTo>
                  <a:lnTo>
                    <a:pt x="2523" y="2289"/>
                  </a:lnTo>
                  <a:lnTo>
                    <a:pt x="2523" y="2289"/>
                  </a:lnTo>
                  <a:lnTo>
                    <a:pt x="2520" y="2287"/>
                  </a:lnTo>
                  <a:lnTo>
                    <a:pt x="2520" y="2289"/>
                  </a:lnTo>
                  <a:lnTo>
                    <a:pt x="2520" y="2289"/>
                  </a:lnTo>
                  <a:lnTo>
                    <a:pt x="2520" y="2289"/>
                  </a:lnTo>
                  <a:lnTo>
                    <a:pt x="2518" y="2289"/>
                  </a:lnTo>
                  <a:lnTo>
                    <a:pt x="2520" y="2287"/>
                  </a:lnTo>
                  <a:lnTo>
                    <a:pt x="2518" y="2287"/>
                  </a:lnTo>
                  <a:lnTo>
                    <a:pt x="2520" y="2285"/>
                  </a:lnTo>
                  <a:lnTo>
                    <a:pt x="2520" y="2285"/>
                  </a:lnTo>
                  <a:lnTo>
                    <a:pt x="2520" y="2285"/>
                  </a:lnTo>
                  <a:lnTo>
                    <a:pt x="2520" y="2285"/>
                  </a:lnTo>
                  <a:lnTo>
                    <a:pt x="2520" y="2282"/>
                  </a:lnTo>
                  <a:lnTo>
                    <a:pt x="2520" y="2282"/>
                  </a:lnTo>
                  <a:lnTo>
                    <a:pt x="2520" y="2280"/>
                  </a:lnTo>
                  <a:lnTo>
                    <a:pt x="2523" y="2280"/>
                  </a:lnTo>
                  <a:lnTo>
                    <a:pt x="2523" y="2280"/>
                  </a:lnTo>
                  <a:lnTo>
                    <a:pt x="2523" y="2280"/>
                  </a:lnTo>
                  <a:lnTo>
                    <a:pt x="2525" y="2275"/>
                  </a:lnTo>
                  <a:lnTo>
                    <a:pt x="2525" y="2273"/>
                  </a:lnTo>
                  <a:lnTo>
                    <a:pt x="2525" y="2271"/>
                  </a:lnTo>
                  <a:lnTo>
                    <a:pt x="2527" y="2271"/>
                  </a:lnTo>
                  <a:lnTo>
                    <a:pt x="2525" y="2271"/>
                  </a:lnTo>
                  <a:lnTo>
                    <a:pt x="2525" y="2273"/>
                  </a:lnTo>
                  <a:lnTo>
                    <a:pt x="2523" y="2280"/>
                  </a:lnTo>
                  <a:lnTo>
                    <a:pt x="2523" y="2280"/>
                  </a:lnTo>
                  <a:lnTo>
                    <a:pt x="2520" y="2280"/>
                  </a:lnTo>
                  <a:lnTo>
                    <a:pt x="2520" y="2280"/>
                  </a:lnTo>
                  <a:lnTo>
                    <a:pt x="2523" y="2278"/>
                  </a:lnTo>
                  <a:lnTo>
                    <a:pt x="2523" y="2278"/>
                  </a:lnTo>
                  <a:lnTo>
                    <a:pt x="2523" y="2275"/>
                  </a:lnTo>
                  <a:lnTo>
                    <a:pt x="2523" y="2273"/>
                  </a:lnTo>
                  <a:lnTo>
                    <a:pt x="2523" y="2273"/>
                  </a:lnTo>
                  <a:lnTo>
                    <a:pt x="2525" y="2273"/>
                  </a:lnTo>
                  <a:lnTo>
                    <a:pt x="2525" y="2271"/>
                  </a:lnTo>
                  <a:lnTo>
                    <a:pt x="2525" y="2271"/>
                  </a:lnTo>
                  <a:lnTo>
                    <a:pt x="2527" y="2268"/>
                  </a:lnTo>
                  <a:lnTo>
                    <a:pt x="2527" y="2268"/>
                  </a:lnTo>
                  <a:lnTo>
                    <a:pt x="2527" y="2266"/>
                  </a:lnTo>
                  <a:lnTo>
                    <a:pt x="2530" y="2266"/>
                  </a:lnTo>
                  <a:lnTo>
                    <a:pt x="2530" y="2266"/>
                  </a:lnTo>
                  <a:lnTo>
                    <a:pt x="2530" y="2266"/>
                  </a:lnTo>
                  <a:lnTo>
                    <a:pt x="2530" y="2268"/>
                  </a:lnTo>
                  <a:lnTo>
                    <a:pt x="2530" y="2268"/>
                  </a:lnTo>
                  <a:lnTo>
                    <a:pt x="2527" y="2271"/>
                  </a:lnTo>
                  <a:lnTo>
                    <a:pt x="2530" y="2271"/>
                  </a:lnTo>
                  <a:lnTo>
                    <a:pt x="2530" y="2268"/>
                  </a:lnTo>
                  <a:lnTo>
                    <a:pt x="2530" y="2268"/>
                  </a:lnTo>
                  <a:lnTo>
                    <a:pt x="2530" y="2268"/>
                  </a:lnTo>
                  <a:lnTo>
                    <a:pt x="2530" y="2266"/>
                  </a:lnTo>
                  <a:lnTo>
                    <a:pt x="2532" y="2266"/>
                  </a:lnTo>
                  <a:lnTo>
                    <a:pt x="2532" y="2266"/>
                  </a:lnTo>
                  <a:close/>
                  <a:moveTo>
                    <a:pt x="2404" y="2164"/>
                  </a:moveTo>
                  <a:lnTo>
                    <a:pt x="2404" y="2164"/>
                  </a:lnTo>
                  <a:lnTo>
                    <a:pt x="2404" y="2164"/>
                  </a:lnTo>
                  <a:lnTo>
                    <a:pt x="2402" y="2162"/>
                  </a:lnTo>
                  <a:lnTo>
                    <a:pt x="2402" y="2162"/>
                  </a:lnTo>
                  <a:lnTo>
                    <a:pt x="2402" y="2162"/>
                  </a:lnTo>
                  <a:lnTo>
                    <a:pt x="2402" y="2162"/>
                  </a:lnTo>
                  <a:lnTo>
                    <a:pt x="2402" y="2162"/>
                  </a:lnTo>
                  <a:lnTo>
                    <a:pt x="2402" y="2164"/>
                  </a:lnTo>
                  <a:lnTo>
                    <a:pt x="2402" y="2164"/>
                  </a:lnTo>
                  <a:lnTo>
                    <a:pt x="2404" y="2164"/>
                  </a:lnTo>
                  <a:close/>
                  <a:moveTo>
                    <a:pt x="2132" y="2500"/>
                  </a:moveTo>
                  <a:lnTo>
                    <a:pt x="2135" y="2500"/>
                  </a:lnTo>
                  <a:lnTo>
                    <a:pt x="2135" y="2498"/>
                  </a:lnTo>
                  <a:lnTo>
                    <a:pt x="2135" y="2498"/>
                  </a:lnTo>
                  <a:lnTo>
                    <a:pt x="2137" y="2498"/>
                  </a:lnTo>
                  <a:lnTo>
                    <a:pt x="2137" y="2498"/>
                  </a:lnTo>
                  <a:lnTo>
                    <a:pt x="2137" y="2495"/>
                  </a:lnTo>
                  <a:lnTo>
                    <a:pt x="2137" y="2493"/>
                  </a:lnTo>
                  <a:lnTo>
                    <a:pt x="2137" y="2493"/>
                  </a:lnTo>
                  <a:lnTo>
                    <a:pt x="2137" y="2493"/>
                  </a:lnTo>
                  <a:lnTo>
                    <a:pt x="2137" y="2493"/>
                  </a:lnTo>
                  <a:lnTo>
                    <a:pt x="2139" y="2491"/>
                  </a:lnTo>
                  <a:lnTo>
                    <a:pt x="2139" y="2491"/>
                  </a:lnTo>
                  <a:lnTo>
                    <a:pt x="2139" y="2491"/>
                  </a:lnTo>
                  <a:lnTo>
                    <a:pt x="2139" y="2491"/>
                  </a:lnTo>
                  <a:lnTo>
                    <a:pt x="2139" y="2491"/>
                  </a:lnTo>
                  <a:lnTo>
                    <a:pt x="2139" y="2491"/>
                  </a:lnTo>
                  <a:lnTo>
                    <a:pt x="2139" y="2491"/>
                  </a:lnTo>
                  <a:lnTo>
                    <a:pt x="2137" y="2491"/>
                  </a:lnTo>
                  <a:lnTo>
                    <a:pt x="2137" y="2491"/>
                  </a:lnTo>
                  <a:lnTo>
                    <a:pt x="2137" y="2491"/>
                  </a:lnTo>
                  <a:lnTo>
                    <a:pt x="2137" y="2491"/>
                  </a:lnTo>
                  <a:lnTo>
                    <a:pt x="2135" y="2491"/>
                  </a:lnTo>
                  <a:lnTo>
                    <a:pt x="2135" y="2493"/>
                  </a:lnTo>
                  <a:lnTo>
                    <a:pt x="2135" y="2493"/>
                  </a:lnTo>
                  <a:lnTo>
                    <a:pt x="2132" y="2493"/>
                  </a:lnTo>
                  <a:lnTo>
                    <a:pt x="2132" y="2495"/>
                  </a:lnTo>
                  <a:lnTo>
                    <a:pt x="2132" y="2498"/>
                  </a:lnTo>
                  <a:lnTo>
                    <a:pt x="2130" y="2498"/>
                  </a:lnTo>
                  <a:lnTo>
                    <a:pt x="2130" y="2500"/>
                  </a:lnTo>
                  <a:lnTo>
                    <a:pt x="2130" y="2500"/>
                  </a:lnTo>
                  <a:lnTo>
                    <a:pt x="2130" y="2500"/>
                  </a:lnTo>
                  <a:lnTo>
                    <a:pt x="2130" y="2500"/>
                  </a:lnTo>
                  <a:lnTo>
                    <a:pt x="2132" y="2500"/>
                  </a:lnTo>
                  <a:close/>
                  <a:moveTo>
                    <a:pt x="2587" y="2360"/>
                  </a:moveTo>
                  <a:lnTo>
                    <a:pt x="2587" y="2360"/>
                  </a:lnTo>
                  <a:lnTo>
                    <a:pt x="2587" y="2360"/>
                  </a:lnTo>
                  <a:lnTo>
                    <a:pt x="2587" y="2360"/>
                  </a:lnTo>
                  <a:lnTo>
                    <a:pt x="2587" y="2360"/>
                  </a:lnTo>
                  <a:lnTo>
                    <a:pt x="2587" y="2360"/>
                  </a:lnTo>
                  <a:lnTo>
                    <a:pt x="2587" y="2360"/>
                  </a:lnTo>
                  <a:lnTo>
                    <a:pt x="2587" y="2360"/>
                  </a:lnTo>
                  <a:lnTo>
                    <a:pt x="2587" y="2360"/>
                  </a:lnTo>
                  <a:lnTo>
                    <a:pt x="2584" y="2360"/>
                  </a:lnTo>
                  <a:lnTo>
                    <a:pt x="2584" y="2360"/>
                  </a:lnTo>
                  <a:lnTo>
                    <a:pt x="2582" y="2360"/>
                  </a:lnTo>
                  <a:lnTo>
                    <a:pt x="2582" y="2360"/>
                  </a:lnTo>
                  <a:lnTo>
                    <a:pt x="2582" y="2363"/>
                  </a:lnTo>
                  <a:lnTo>
                    <a:pt x="2580" y="2363"/>
                  </a:lnTo>
                  <a:lnTo>
                    <a:pt x="2580" y="2363"/>
                  </a:lnTo>
                  <a:lnTo>
                    <a:pt x="2580" y="2363"/>
                  </a:lnTo>
                  <a:lnTo>
                    <a:pt x="2580" y="2363"/>
                  </a:lnTo>
                  <a:lnTo>
                    <a:pt x="2580" y="2365"/>
                  </a:lnTo>
                  <a:lnTo>
                    <a:pt x="2580" y="2365"/>
                  </a:lnTo>
                  <a:lnTo>
                    <a:pt x="2580" y="2365"/>
                  </a:lnTo>
                  <a:lnTo>
                    <a:pt x="2580" y="2365"/>
                  </a:lnTo>
                  <a:lnTo>
                    <a:pt x="2582" y="2365"/>
                  </a:lnTo>
                  <a:lnTo>
                    <a:pt x="2582" y="2365"/>
                  </a:lnTo>
                  <a:lnTo>
                    <a:pt x="2582" y="2365"/>
                  </a:lnTo>
                  <a:lnTo>
                    <a:pt x="2582" y="2365"/>
                  </a:lnTo>
                  <a:lnTo>
                    <a:pt x="2584" y="2365"/>
                  </a:lnTo>
                  <a:lnTo>
                    <a:pt x="2584" y="2365"/>
                  </a:lnTo>
                  <a:lnTo>
                    <a:pt x="2584" y="2365"/>
                  </a:lnTo>
                  <a:lnTo>
                    <a:pt x="2584" y="2365"/>
                  </a:lnTo>
                  <a:lnTo>
                    <a:pt x="2584" y="2368"/>
                  </a:lnTo>
                  <a:lnTo>
                    <a:pt x="2584" y="2368"/>
                  </a:lnTo>
                  <a:lnTo>
                    <a:pt x="2584" y="2365"/>
                  </a:lnTo>
                  <a:lnTo>
                    <a:pt x="2587" y="2365"/>
                  </a:lnTo>
                  <a:lnTo>
                    <a:pt x="2587" y="2365"/>
                  </a:lnTo>
                  <a:lnTo>
                    <a:pt x="2584" y="2363"/>
                  </a:lnTo>
                  <a:lnTo>
                    <a:pt x="2584" y="2363"/>
                  </a:lnTo>
                  <a:lnTo>
                    <a:pt x="2587" y="2360"/>
                  </a:lnTo>
                  <a:close/>
                  <a:moveTo>
                    <a:pt x="2778" y="2174"/>
                  </a:moveTo>
                  <a:lnTo>
                    <a:pt x="2778" y="2171"/>
                  </a:lnTo>
                  <a:lnTo>
                    <a:pt x="2776" y="2171"/>
                  </a:lnTo>
                  <a:lnTo>
                    <a:pt x="2778" y="2171"/>
                  </a:lnTo>
                  <a:lnTo>
                    <a:pt x="2778" y="2171"/>
                  </a:lnTo>
                  <a:lnTo>
                    <a:pt x="2776" y="2171"/>
                  </a:lnTo>
                  <a:lnTo>
                    <a:pt x="2776" y="2169"/>
                  </a:lnTo>
                  <a:lnTo>
                    <a:pt x="2776" y="2169"/>
                  </a:lnTo>
                  <a:lnTo>
                    <a:pt x="2776" y="2169"/>
                  </a:lnTo>
                  <a:lnTo>
                    <a:pt x="2776" y="2169"/>
                  </a:lnTo>
                  <a:lnTo>
                    <a:pt x="2776" y="2169"/>
                  </a:lnTo>
                  <a:lnTo>
                    <a:pt x="2776" y="2166"/>
                  </a:lnTo>
                  <a:lnTo>
                    <a:pt x="2776" y="2166"/>
                  </a:lnTo>
                  <a:lnTo>
                    <a:pt x="2776" y="2166"/>
                  </a:lnTo>
                  <a:lnTo>
                    <a:pt x="2776" y="2164"/>
                  </a:lnTo>
                  <a:lnTo>
                    <a:pt x="2774" y="2164"/>
                  </a:lnTo>
                  <a:lnTo>
                    <a:pt x="2774" y="2164"/>
                  </a:lnTo>
                  <a:lnTo>
                    <a:pt x="2774" y="2164"/>
                  </a:lnTo>
                  <a:lnTo>
                    <a:pt x="2774" y="2164"/>
                  </a:lnTo>
                  <a:lnTo>
                    <a:pt x="2774" y="2166"/>
                  </a:lnTo>
                  <a:lnTo>
                    <a:pt x="2774" y="2166"/>
                  </a:lnTo>
                  <a:lnTo>
                    <a:pt x="2774" y="2166"/>
                  </a:lnTo>
                  <a:lnTo>
                    <a:pt x="2774" y="2166"/>
                  </a:lnTo>
                  <a:lnTo>
                    <a:pt x="2774" y="2166"/>
                  </a:lnTo>
                  <a:lnTo>
                    <a:pt x="2776" y="2171"/>
                  </a:lnTo>
                  <a:lnTo>
                    <a:pt x="2776" y="2171"/>
                  </a:lnTo>
                  <a:lnTo>
                    <a:pt x="2776" y="2171"/>
                  </a:lnTo>
                  <a:lnTo>
                    <a:pt x="2776" y="2171"/>
                  </a:lnTo>
                  <a:lnTo>
                    <a:pt x="2776" y="2171"/>
                  </a:lnTo>
                  <a:lnTo>
                    <a:pt x="2776" y="2174"/>
                  </a:lnTo>
                  <a:lnTo>
                    <a:pt x="2778" y="2174"/>
                  </a:lnTo>
                  <a:lnTo>
                    <a:pt x="2778" y="2174"/>
                  </a:lnTo>
                  <a:lnTo>
                    <a:pt x="2778" y="2174"/>
                  </a:lnTo>
                  <a:lnTo>
                    <a:pt x="2778" y="2174"/>
                  </a:lnTo>
                  <a:close/>
                  <a:moveTo>
                    <a:pt x="2759" y="2195"/>
                  </a:moveTo>
                  <a:lnTo>
                    <a:pt x="2757" y="2195"/>
                  </a:lnTo>
                  <a:lnTo>
                    <a:pt x="2759" y="2197"/>
                  </a:lnTo>
                  <a:lnTo>
                    <a:pt x="2759" y="2197"/>
                  </a:lnTo>
                  <a:lnTo>
                    <a:pt x="2759" y="2195"/>
                  </a:lnTo>
                  <a:lnTo>
                    <a:pt x="2759" y="2195"/>
                  </a:lnTo>
                  <a:lnTo>
                    <a:pt x="2759" y="2195"/>
                  </a:lnTo>
                  <a:lnTo>
                    <a:pt x="2759" y="2195"/>
                  </a:lnTo>
                  <a:close/>
                  <a:moveTo>
                    <a:pt x="2774" y="2171"/>
                  </a:moveTo>
                  <a:lnTo>
                    <a:pt x="2774" y="2169"/>
                  </a:lnTo>
                  <a:lnTo>
                    <a:pt x="2774" y="2166"/>
                  </a:lnTo>
                  <a:lnTo>
                    <a:pt x="2774" y="2166"/>
                  </a:lnTo>
                  <a:lnTo>
                    <a:pt x="2774" y="2166"/>
                  </a:lnTo>
                  <a:lnTo>
                    <a:pt x="2774" y="2166"/>
                  </a:lnTo>
                  <a:lnTo>
                    <a:pt x="2774" y="2169"/>
                  </a:lnTo>
                  <a:lnTo>
                    <a:pt x="2774" y="2169"/>
                  </a:lnTo>
                  <a:lnTo>
                    <a:pt x="2771" y="2169"/>
                  </a:lnTo>
                  <a:lnTo>
                    <a:pt x="2771" y="2169"/>
                  </a:lnTo>
                  <a:lnTo>
                    <a:pt x="2771" y="2169"/>
                  </a:lnTo>
                  <a:lnTo>
                    <a:pt x="2771" y="2169"/>
                  </a:lnTo>
                  <a:lnTo>
                    <a:pt x="2771" y="2171"/>
                  </a:lnTo>
                  <a:lnTo>
                    <a:pt x="2771" y="2174"/>
                  </a:lnTo>
                  <a:lnTo>
                    <a:pt x="2771" y="2171"/>
                  </a:lnTo>
                  <a:lnTo>
                    <a:pt x="2771" y="2174"/>
                  </a:lnTo>
                  <a:lnTo>
                    <a:pt x="2771" y="2176"/>
                  </a:lnTo>
                  <a:lnTo>
                    <a:pt x="2771" y="2181"/>
                  </a:lnTo>
                  <a:lnTo>
                    <a:pt x="2771" y="2181"/>
                  </a:lnTo>
                  <a:lnTo>
                    <a:pt x="2771" y="2181"/>
                  </a:lnTo>
                  <a:lnTo>
                    <a:pt x="2774" y="2181"/>
                  </a:lnTo>
                  <a:lnTo>
                    <a:pt x="2774" y="2181"/>
                  </a:lnTo>
                  <a:lnTo>
                    <a:pt x="2774" y="2181"/>
                  </a:lnTo>
                  <a:lnTo>
                    <a:pt x="2774" y="2174"/>
                  </a:lnTo>
                  <a:lnTo>
                    <a:pt x="2774" y="2174"/>
                  </a:lnTo>
                  <a:lnTo>
                    <a:pt x="2774" y="2171"/>
                  </a:lnTo>
                  <a:close/>
                  <a:moveTo>
                    <a:pt x="2776" y="2178"/>
                  </a:moveTo>
                  <a:lnTo>
                    <a:pt x="2776" y="2178"/>
                  </a:lnTo>
                  <a:lnTo>
                    <a:pt x="2776" y="2181"/>
                  </a:lnTo>
                  <a:lnTo>
                    <a:pt x="2776" y="2181"/>
                  </a:lnTo>
                  <a:lnTo>
                    <a:pt x="2776" y="2181"/>
                  </a:lnTo>
                  <a:lnTo>
                    <a:pt x="2776" y="2181"/>
                  </a:lnTo>
                  <a:lnTo>
                    <a:pt x="2776" y="2181"/>
                  </a:lnTo>
                  <a:lnTo>
                    <a:pt x="2778" y="2181"/>
                  </a:lnTo>
                  <a:lnTo>
                    <a:pt x="2778" y="2181"/>
                  </a:lnTo>
                  <a:lnTo>
                    <a:pt x="2778" y="2178"/>
                  </a:lnTo>
                  <a:lnTo>
                    <a:pt x="2776" y="2178"/>
                  </a:lnTo>
                  <a:close/>
                  <a:moveTo>
                    <a:pt x="2781" y="2131"/>
                  </a:moveTo>
                  <a:lnTo>
                    <a:pt x="2781" y="2131"/>
                  </a:lnTo>
                  <a:lnTo>
                    <a:pt x="2781" y="2131"/>
                  </a:lnTo>
                  <a:lnTo>
                    <a:pt x="2778" y="2136"/>
                  </a:lnTo>
                  <a:lnTo>
                    <a:pt x="2776" y="2136"/>
                  </a:lnTo>
                  <a:lnTo>
                    <a:pt x="2776" y="2136"/>
                  </a:lnTo>
                  <a:lnTo>
                    <a:pt x="2774" y="2136"/>
                  </a:lnTo>
                  <a:lnTo>
                    <a:pt x="2774" y="2136"/>
                  </a:lnTo>
                  <a:lnTo>
                    <a:pt x="2771" y="2138"/>
                  </a:lnTo>
                  <a:lnTo>
                    <a:pt x="2771" y="2138"/>
                  </a:lnTo>
                  <a:lnTo>
                    <a:pt x="2769" y="2136"/>
                  </a:lnTo>
                  <a:lnTo>
                    <a:pt x="2766" y="2136"/>
                  </a:lnTo>
                  <a:lnTo>
                    <a:pt x="2766" y="2136"/>
                  </a:lnTo>
                  <a:lnTo>
                    <a:pt x="2769" y="2138"/>
                  </a:lnTo>
                  <a:lnTo>
                    <a:pt x="2769" y="2138"/>
                  </a:lnTo>
                  <a:lnTo>
                    <a:pt x="2769" y="2138"/>
                  </a:lnTo>
                  <a:lnTo>
                    <a:pt x="2771" y="2138"/>
                  </a:lnTo>
                  <a:lnTo>
                    <a:pt x="2771" y="2140"/>
                  </a:lnTo>
                  <a:lnTo>
                    <a:pt x="2771" y="2140"/>
                  </a:lnTo>
                  <a:lnTo>
                    <a:pt x="2771" y="2140"/>
                  </a:lnTo>
                  <a:lnTo>
                    <a:pt x="2774" y="2140"/>
                  </a:lnTo>
                  <a:lnTo>
                    <a:pt x="2774" y="2140"/>
                  </a:lnTo>
                  <a:lnTo>
                    <a:pt x="2776" y="2138"/>
                  </a:lnTo>
                  <a:lnTo>
                    <a:pt x="2781" y="2138"/>
                  </a:lnTo>
                  <a:lnTo>
                    <a:pt x="2783" y="2138"/>
                  </a:lnTo>
                  <a:lnTo>
                    <a:pt x="2783" y="2136"/>
                  </a:lnTo>
                  <a:lnTo>
                    <a:pt x="2783" y="2136"/>
                  </a:lnTo>
                  <a:lnTo>
                    <a:pt x="2781" y="2136"/>
                  </a:lnTo>
                  <a:lnTo>
                    <a:pt x="2781" y="2136"/>
                  </a:lnTo>
                  <a:lnTo>
                    <a:pt x="2783" y="2133"/>
                  </a:lnTo>
                  <a:lnTo>
                    <a:pt x="2781" y="2133"/>
                  </a:lnTo>
                  <a:lnTo>
                    <a:pt x="2781" y="2133"/>
                  </a:lnTo>
                  <a:lnTo>
                    <a:pt x="2781" y="2131"/>
                  </a:lnTo>
                  <a:lnTo>
                    <a:pt x="2781" y="2131"/>
                  </a:lnTo>
                  <a:close/>
                  <a:moveTo>
                    <a:pt x="2830" y="2190"/>
                  </a:moveTo>
                  <a:lnTo>
                    <a:pt x="2830" y="2190"/>
                  </a:lnTo>
                  <a:lnTo>
                    <a:pt x="2830" y="2190"/>
                  </a:lnTo>
                  <a:lnTo>
                    <a:pt x="2830" y="2188"/>
                  </a:lnTo>
                  <a:lnTo>
                    <a:pt x="2830" y="2188"/>
                  </a:lnTo>
                  <a:lnTo>
                    <a:pt x="2830" y="2185"/>
                  </a:lnTo>
                  <a:lnTo>
                    <a:pt x="2828" y="2185"/>
                  </a:lnTo>
                  <a:lnTo>
                    <a:pt x="2828" y="2183"/>
                  </a:lnTo>
                  <a:lnTo>
                    <a:pt x="2828" y="2181"/>
                  </a:lnTo>
                  <a:lnTo>
                    <a:pt x="2828" y="2181"/>
                  </a:lnTo>
                  <a:lnTo>
                    <a:pt x="2828" y="2181"/>
                  </a:lnTo>
                  <a:lnTo>
                    <a:pt x="2828" y="2181"/>
                  </a:lnTo>
                  <a:lnTo>
                    <a:pt x="2828" y="2181"/>
                  </a:lnTo>
                  <a:lnTo>
                    <a:pt x="2828" y="2181"/>
                  </a:lnTo>
                  <a:lnTo>
                    <a:pt x="2828" y="2181"/>
                  </a:lnTo>
                  <a:lnTo>
                    <a:pt x="2828" y="2178"/>
                  </a:lnTo>
                  <a:lnTo>
                    <a:pt x="2828" y="2178"/>
                  </a:lnTo>
                  <a:lnTo>
                    <a:pt x="2828" y="2178"/>
                  </a:lnTo>
                  <a:lnTo>
                    <a:pt x="2828" y="2178"/>
                  </a:lnTo>
                  <a:lnTo>
                    <a:pt x="2828" y="2176"/>
                  </a:lnTo>
                  <a:lnTo>
                    <a:pt x="2828" y="2176"/>
                  </a:lnTo>
                  <a:lnTo>
                    <a:pt x="2826" y="2176"/>
                  </a:lnTo>
                  <a:lnTo>
                    <a:pt x="2828" y="2176"/>
                  </a:lnTo>
                  <a:lnTo>
                    <a:pt x="2828" y="2176"/>
                  </a:lnTo>
                  <a:lnTo>
                    <a:pt x="2828" y="2176"/>
                  </a:lnTo>
                  <a:lnTo>
                    <a:pt x="2826" y="2176"/>
                  </a:lnTo>
                  <a:lnTo>
                    <a:pt x="2826" y="2176"/>
                  </a:lnTo>
                  <a:lnTo>
                    <a:pt x="2823" y="2176"/>
                  </a:lnTo>
                  <a:lnTo>
                    <a:pt x="2826" y="2176"/>
                  </a:lnTo>
                  <a:lnTo>
                    <a:pt x="2826" y="2176"/>
                  </a:lnTo>
                  <a:lnTo>
                    <a:pt x="2826" y="2174"/>
                  </a:lnTo>
                  <a:lnTo>
                    <a:pt x="2826" y="2174"/>
                  </a:lnTo>
                  <a:lnTo>
                    <a:pt x="2826" y="2174"/>
                  </a:lnTo>
                  <a:lnTo>
                    <a:pt x="2826" y="2171"/>
                  </a:lnTo>
                  <a:lnTo>
                    <a:pt x="2826" y="2171"/>
                  </a:lnTo>
                  <a:lnTo>
                    <a:pt x="2826" y="2171"/>
                  </a:lnTo>
                  <a:lnTo>
                    <a:pt x="2826" y="2169"/>
                  </a:lnTo>
                  <a:lnTo>
                    <a:pt x="2826" y="2169"/>
                  </a:lnTo>
                  <a:lnTo>
                    <a:pt x="2826" y="2169"/>
                  </a:lnTo>
                  <a:lnTo>
                    <a:pt x="2826" y="2166"/>
                  </a:lnTo>
                  <a:lnTo>
                    <a:pt x="2826" y="2166"/>
                  </a:lnTo>
                  <a:lnTo>
                    <a:pt x="2826" y="2166"/>
                  </a:lnTo>
                  <a:lnTo>
                    <a:pt x="2823" y="2164"/>
                  </a:lnTo>
                  <a:lnTo>
                    <a:pt x="2826" y="2164"/>
                  </a:lnTo>
                  <a:lnTo>
                    <a:pt x="2826" y="2164"/>
                  </a:lnTo>
                  <a:lnTo>
                    <a:pt x="2826" y="2164"/>
                  </a:lnTo>
                  <a:lnTo>
                    <a:pt x="2826" y="2164"/>
                  </a:lnTo>
                  <a:lnTo>
                    <a:pt x="2826" y="2164"/>
                  </a:lnTo>
                  <a:lnTo>
                    <a:pt x="2823" y="2164"/>
                  </a:lnTo>
                  <a:lnTo>
                    <a:pt x="2823" y="2164"/>
                  </a:lnTo>
                  <a:lnTo>
                    <a:pt x="2823" y="2164"/>
                  </a:lnTo>
                  <a:lnTo>
                    <a:pt x="2826" y="2162"/>
                  </a:lnTo>
                  <a:lnTo>
                    <a:pt x="2826" y="2162"/>
                  </a:lnTo>
                  <a:lnTo>
                    <a:pt x="2826" y="2162"/>
                  </a:lnTo>
                  <a:lnTo>
                    <a:pt x="2826" y="2159"/>
                  </a:lnTo>
                  <a:lnTo>
                    <a:pt x="2826" y="2159"/>
                  </a:lnTo>
                  <a:lnTo>
                    <a:pt x="2826" y="2157"/>
                  </a:lnTo>
                  <a:lnTo>
                    <a:pt x="2826" y="2157"/>
                  </a:lnTo>
                  <a:lnTo>
                    <a:pt x="2826" y="2155"/>
                  </a:lnTo>
                  <a:lnTo>
                    <a:pt x="2826" y="2155"/>
                  </a:lnTo>
                  <a:lnTo>
                    <a:pt x="2826" y="2155"/>
                  </a:lnTo>
                  <a:lnTo>
                    <a:pt x="2823" y="2155"/>
                  </a:lnTo>
                  <a:lnTo>
                    <a:pt x="2826" y="2152"/>
                  </a:lnTo>
                  <a:lnTo>
                    <a:pt x="2826" y="2152"/>
                  </a:lnTo>
                  <a:lnTo>
                    <a:pt x="2826" y="2152"/>
                  </a:lnTo>
                  <a:lnTo>
                    <a:pt x="2826" y="2150"/>
                  </a:lnTo>
                  <a:lnTo>
                    <a:pt x="2826" y="2150"/>
                  </a:lnTo>
                  <a:lnTo>
                    <a:pt x="2826" y="2150"/>
                  </a:lnTo>
                  <a:lnTo>
                    <a:pt x="2823" y="2150"/>
                  </a:lnTo>
                  <a:lnTo>
                    <a:pt x="2823" y="2150"/>
                  </a:lnTo>
                  <a:lnTo>
                    <a:pt x="2823" y="2150"/>
                  </a:lnTo>
                  <a:lnTo>
                    <a:pt x="2823" y="2150"/>
                  </a:lnTo>
                  <a:lnTo>
                    <a:pt x="2821" y="2150"/>
                  </a:lnTo>
                  <a:lnTo>
                    <a:pt x="2823" y="2148"/>
                  </a:lnTo>
                  <a:lnTo>
                    <a:pt x="2821" y="2148"/>
                  </a:lnTo>
                  <a:lnTo>
                    <a:pt x="2821" y="2145"/>
                  </a:lnTo>
                  <a:lnTo>
                    <a:pt x="2821" y="2145"/>
                  </a:lnTo>
                  <a:lnTo>
                    <a:pt x="2821" y="2145"/>
                  </a:lnTo>
                  <a:lnTo>
                    <a:pt x="2819" y="2145"/>
                  </a:lnTo>
                  <a:lnTo>
                    <a:pt x="2819" y="2145"/>
                  </a:lnTo>
                  <a:lnTo>
                    <a:pt x="2819" y="2145"/>
                  </a:lnTo>
                  <a:lnTo>
                    <a:pt x="2819" y="2143"/>
                  </a:lnTo>
                  <a:lnTo>
                    <a:pt x="2819" y="2143"/>
                  </a:lnTo>
                  <a:lnTo>
                    <a:pt x="2816" y="2140"/>
                  </a:lnTo>
                  <a:lnTo>
                    <a:pt x="2816" y="2140"/>
                  </a:lnTo>
                  <a:lnTo>
                    <a:pt x="2816" y="2140"/>
                  </a:lnTo>
                  <a:lnTo>
                    <a:pt x="2814" y="2140"/>
                  </a:lnTo>
                  <a:lnTo>
                    <a:pt x="2814" y="2140"/>
                  </a:lnTo>
                  <a:lnTo>
                    <a:pt x="2814" y="2138"/>
                  </a:lnTo>
                  <a:lnTo>
                    <a:pt x="2814" y="2140"/>
                  </a:lnTo>
                  <a:lnTo>
                    <a:pt x="2814" y="2143"/>
                  </a:lnTo>
                  <a:lnTo>
                    <a:pt x="2814" y="2148"/>
                  </a:lnTo>
                  <a:lnTo>
                    <a:pt x="2816" y="2148"/>
                  </a:lnTo>
                  <a:lnTo>
                    <a:pt x="2816" y="2150"/>
                  </a:lnTo>
                  <a:lnTo>
                    <a:pt x="2816" y="2150"/>
                  </a:lnTo>
                  <a:lnTo>
                    <a:pt x="2816" y="2152"/>
                  </a:lnTo>
                  <a:lnTo>
                    <a:pt x="2814" y="2152"/>
                  </a:lnTo>
                  <a:lnTo>
                    <a:pt x="2814" y="2155"/>
                  </a:lnTo>
                  <a:lnTo>
                    <a:pt x="2811" y="2159"/>
                  </a:lnTo>
                  <a:lnTo>
                    <a:pt x="2811" y="2159"/>
                  </a:lnTo>
                  <a:lnTo>
                    <a:pt x="2811" y="2162"/>
                  </a:lnTo>
                  <a:lnTo>
                    <a:pt x="2811" y="2164"/>
                  </a:lnTo>
                  <a:lnTo>
                    <a:pt x="2811" y="2162"/>
                  </a:lnTo>
                  <a:lnTo>
                    <a:pt x="2811" y="2162"/>
                  </a:lnTo>
                  <a:lnTo>
                    <a:pt x="2809" y="2162"/>
                  </a:lnTo>
                  <a:lnTo>
                    <a:pt x="2809" y="2162"/>
                  </a:lnTo>
                  <a:lnTo>
                    <a:pt x="2809" y="2162"/>
                  </a:lnTo>
                  <a:lnTo>
                    <a:pt x="2809" y="2164"/>
                  </a:lnTo>
                  <a:lnTo>
                    <a:pt x="2809" y="2164"/>
                  </a:lnTo>
                  <a:lnTo>
                    <a:pt x="2809" y="2162"/>
                  </a:lnTo>
                  <a:lnTo>
                    <a:pt x="2809" y="2159"/>
                  </a:lnTo>
                  <a:lnTo>
                    <a:pt x="2809" y="2159"/>
                  </a:lnTo>
                  <a:lnTo>
                    <a:pt x="2809" y="2159"/>
                  </a:lnTo>
                  <a:lnTo>
                    <a:pt x="2809" y="2159"/>
                  </a:lnTo>
                  <a:lnTo>
                    <a:pt x="2807" y="2159"/>
                  </a:lnTo>
                  <a:lnTo>
                    <a:pt x="2807" y="2159"/>
                  </a:lnTo>
                  <a:lnTo>
                    <a:pt x="2807" y="2162"/>
                  </a:lnTo>
                  <a:lnTo>
                    <a:pt x="2807" y="2162"/>
                  </a:lnTo>
                  <a:lnTo>
                    <a:pt x="2807" y="2162"/>
                  </a:lnTo>
                  <a:lnTo>
                    <a:pt x="2807" y="2159"/>
                  </a:lnTo>
                  <a:lnTo>
                    <a:pt x="2807" y="2159"/>
                  </a:lnTo>
                  <a:lnTo>
                    <a:pt x="2807" y="2159"/>
                  </a:lnTo>
                  <a:lnTo>
                    <a:pt x="2807" y="2159"/>
                  </a:lnTo>
                  <a:lnTo>
                    <a:pt x="2807" y="2157"/>
                  </a:lnTo>
                  <a:lnTo>
                    <a:pt x="2804" y="2157"/>
                  </a:lnTo>
                  <a:lnTo>
                    <a:pt x="2804" y="2159"/>
                  </a:lnTo>
                  <a:lnTo>
                    <a:pt x="2804" y="2159"/>
                  </a:lnTo>
                  <a:lnTo>
                    <a:pt x="2804" y="2159"/>
                  </a:lnTo>
                  <a:lnTo>
                    <a:pt x="2804" y="2157"/>
                  </a:lnTo>
                  <a:lnTo>
                    <a:pt x="2804" y="2157"/>
                  </a:lnTo>
                  <a:lnTo>
                    <a:pt x="2804" y="2157"/>
                  </a:lnTo>
                  <a:lnTo>
                    <a:pt x="2804" y="2157"/>
                  </a:lnTo>
                  <a:lnTo>
                    <a:pt x="2804" y="2155"/>
                  </a:lnTo>
                  <a:lnTo>
                    <a:pt x="2804" y="2155"/>
                  </a:lnTo>
                  <a:lnTo>
                    <a:pt x="2804" y="2157"/>
                  </a:lnTo>
                  <a:lnTo>
                    <a:pt x="2804" y="2157"/>
                  </a:lnTo>
                  <a:lnTo>
                    <a:pt x="2802" y="2157"/>
                  </a:lnTo>
                  <a:lnTo>
                    <a:pt x="2802" y="2157"/>
                  </a:lnTo>
                  <a:lnTo>
                    <a:pt x="2804" y="2155"/>
                  </a:lnTo>
                  <a:lnTo>
                    <a:pt x="2804" y="2155"/>
                  </a:lnTo>
                  <a:lnTo>
                    <a:pt x="2804" y="2155"/>
                  </a:lnTo>
                  <a:lnTo>
                    <a:pt x="2802" y="2155"/>
                  </a:lnTo>
                  <a:lnTo>
                    <a:pt x="2802" y="2155"/>
                  </a:lnTo>
                  <a:lnTo>
                    <a:pt x="2802" y="2157"/>
                  </a:lnTo>
                  <a:lnTo>
                    <a:pt x="2802" y="2155"/>
                  </a:lnTo>
                  <a:lnTo>
                    <a:pt x="2802" y="2155"/>
                  </a:lnTo>
                  <a:lnTo>
                    <a:pt x="2802" y="2155"/>
                  </a:lnTo>
                  <a:lnTo>
                    <a:pt x="2802" y="2155"/>
                  </a:lnTo>
                  <a:lnTo>
                    <a:pt x="2804" y="2152"/>
                  </a:lnTo>
                  <a:lnTo>
                    <a:pt x="2804" y="2152"/>
                  </a:lnTo>
                  <a:lnTo>
                    <a:pt x="2804" y="2150"/>
                  </a:lnTo>
                  <a:lnTo>
                    <a:pt x="2804" y="2150"/>
                  </a:lnTo>
                  <a:lnTo>
                    <a:pt x="2804" y="2150"/>
                  </a:lnTo>
                  <a:lnTo>
                    <a:pt x="2802" y="2150"/>
                  </a:lnTo>
                  <a:lnTo>
                    <a:pt x="2802" y="2150"/>
                  </a:lnTo>
                  <a:lnTo>
                    <a:pt x="2802" y="2150"/>
                  </a:lnTo>
                  <a:lnTo>
                    <a:pt x="2802" y="2150"/>
                  </a:lnTo>
                  <a:lnTo>
                    <a:pt x="2802" y="2150"/>
                  </a:lnTo>
                  <a:lnTo>
                    <a:pt x="2802" y="2150"/>
                  </a:lnTo>
                  <a:lnTo>
                    <a:pt x="2802" y="2150"/>
                  </a:lnTo>
                  <a:lnTo>
                    <a:pt x="2802" y="2150"/>
                  </a:lnTo>
                  <a:lnTo>
                    <a:pt x="2802" y="2148"/>
                  </a:lnTo>
                  <a:lnTo>
                    <a:pt x="2802" y="2148"/>
                  </a:lnTo>
                  <a:lnTo>
                    <a:pt x="2802" y="2148"/>
                  </a:lnTo>
                  <a:lnTo>
                    <a:pt x="2802" y="2148"/>
                  </a:lnTo>
                  <a:lnTo>
                    <a:pt x="2802" y="2148"/>
                  </a:lnTo>
                  <a:lnTo>
                    <a:pt x="2802" y="2148"/>
                  </a:lnTo>
                  <a:lnTo>
                    <a:pt x="2802" y="2148"/>
                  </a:lnTo>
                  <a:lnTo>
                    <a:pt x="2802" y="2145"/>
                  </a:lnTo>
                  <a:lnTo>
                    <a:pt x="2802" y="2145"/>
                  </a:lnTo>
                  <a:lnTo>
                    <a:pt x="2802" y="2145"/>
                  </a:lnTo>
                  <a:lnTo>
                    <a:pt x="2802" y="2143"/>
                  </a:lnTo>
                  <a:lnTo>
                    <a:pt x="2802" y="2140"/>
                  </a:lnTo>
                  <a:lnTo>
                    <a:pt x="2802" y="2140"/>
                  </a:lnTo>
                  <a:lnTo>
                    <a:pt x="2802" y="2140"/>
                  </a:lnTo>
                  <a:lnTo>
                    <a:pt x="2802" y="2138"/>
                  </a:lnTo>
                  <a:lnTo>
                    <a:pt x="2802" y="2138"/>
                  </a:lnTo>
                  <a:lnTo>
                    <a:pt x="2802" y="2136"/>
                  </a:lnTo>
                  <a:lnTo>
                    <a:pt x="2802" y="2133"/>
                  </a:lnTo>
                  <a:lnTo>
                    <a:pt x="2802" y="2133"/>
                  </a:lnTo>
                  <a:lnTo>
                    <a:pt x="2804" y="2133"/>
                  </a:lnTo>
                  <a:lnTo>
                    <a:pt x="2802" y="2131"/>
                  </a:lnTo>
                  <a:lnTo>
                    <a:pt x="2802" y="2131"/>
                  </a:lnTo>
                  <a:lnTo>
                    <a:pt x="2802" y="2131"/>
                  </a:lnTo>
                  <a:lnTo>
                    <a:pt x="2802" y="2129"/>
                  </a:lnTo>
                  <a:lnTo>
                    <a:pt x="2802" y="2129"/>
                  </a:lnTo>
                  <a:lnTo>
                    <a:pt x="2802" y="2129"/>
                  </a:lnTo>
                  <a:lnTo>
                    <a:pt x="2802" y="2129"/>
                  </a:lnTo>
                  <a:lnTo>
                    <a:pt x="2802" y="2126"/>
                  </a:lnTo>
                  <a:lnTo>
                    <a:pt x="2804" y="2126"/>
                  </a:lnTo>
                  <a:lnTo>
                    <a:pt x="2804" y="2126"/>
                  </a:lnTo>
                  <a:lnTo>
                    <a:pt x="2804" y="2126"/>
                  </a:lnTo>
                  <a:lnTo>
                    <a:pt x="2804" y="2126"/>
                  </a:lnTo>
                  <a:lnTo>
                    <a:pt x="2804" y="2126"/>
                  </a:lnTo>
                  <a:lnTo>
                    <a:pt x="2804" y="2124"/>
                  </a:lnTo>
                  <a:lnTo>
                    <a:pt x="2802" y="2124"/>
                  </a:lnTo>
                  <a:lnTo>
                    <a:pt x="2802" y="2124"/>
                  </a:lnTo>
                  <a:lnTo>
                    <a:pt x="2800" y="2124"/>
                  </a:lnTo>
                  <a:lnTo>
                    <a:pt x="2800" y="2124"/>
                  </a:lnTo>
                  <a:lnTo>
                    <a:pt x="2800" y="2129"/>
                  </a:lnTo>
                  <a:lnTo>
                    <a:pt x="2800" y="2131"/>
                  </a:lnTo>
                  <a:lnTo>
                    <a:pt x="2800" y="2131"/>
                  </a:lnTo>
                  <a:lnTo>
                    <a:pt x="2800" y="2131"/>
                  </a:lnTo>
                  <a:lnTo>
                    <a:pt x="2800" y="2131"/>
                  </a:lnTo>
                  <a:lnTo>
                    <a:pt x="2797" y="2133"/>
                  </a:lnTo>
                  <a:lnTo>
                    <a:pt x="2797" y="2133"/>
                  </a:lnTo>
                  <a:lnTo>
                    <a:pt x="2797" y="2133"/>
                  </a:lnTo>
                  <a:lnTo>
                    <a:pt x="2795" y="2131"/>
                  </a:lnTo>
                  <a:lnTo>
                    <a:pt x="2795" y="2133"/>
                  </a:lnTo>
                  <a:lnTo>
                    <a:pt x="2795" y="2133"/>
                  </a:lnTo>
                  <a:lnTo>
                    <a:pt x="2795" y="2133"/>
                  </a:lnTo>
                  <a:lnTo>
                    <a:pt x="2795" y="2133"/>
                  </a:lnTo>
                  <a:lnTo>
                    <a:pt x="2795" y="2133"/>
                  </a:lnTo>
                  <a:lnTo>
                    <a:pt x="2795" y="2136"/>
                  </a:lnTo>
                  <a:lnTo>
                    <a:pt x="2795" y="2136"/>
                  </a:lnTo>
                  <a:lnTo>
                    <a:pt x="2795" y="2136"/>
                  </a:lnTo>
                  <a:lnTo>
                    <a:pt x="2792" y="2136"/>
                  </a:lnTo>
                  <a:lnTo>
                    <a:pt x="2792" y="2136"/>
                  </a:lnTo>
                  <a:lnTo>
                    <a:pt x="2792" y="2136"/>
                  </a:lnTo>
                  <a:lnTo>
                    <a:pt x="2792" y="2138"/>
                  </a:lnTo>
                  <a:lnTo>
                    <a:pt x="2792" y="2138"/>
                  </a:lnTo>
                  <a:lnTo>
                    <a:pt x="2792" y="2140"/>
                  </a:lnTo>
                  <a:lnTo>
                    <a:pt x="2792" y="2140"/>
                  </a:lnTo>
                  <a:lnTo>
                    <a:pt x="2792" y="2143"/>
                  </a:lnTo>
                  <a:lnTo>
                    <a:pt x="2792" y="2143"/>
                  </a:lnTo>
                  <a:lnTo>
                    <a:pt x="2792" y="2143"/>
                  </a:lnTo>
                  <a:lnTo>
                    <a:pt x="2792" y="2145"/>
                  </a:lnTo>
                  <a:lnTo>
                    <a:pt x="2792" y="2145"/>
                  </a:lnTo>
                  <a:lnTo>
                    <a:pt x="2792" y="2145"/>
                  </a:lnTo>
                  <a:lnTo>
                    <a:pt x="2792" y="2145"/>
                  </a:lnTo>
                  <a:lnTo>
                    <a:pt x="2792" y="2145"/>
                  </a:lnTo>
                  <a:lnTo>
                    <a:pt x="2792" y="2145"/>
                  </a:lnTo>
                  <a:lnTo>
                    <a:pt x="2792" y="2148"/>
                  </a:lnTo>
                  <a:lnTo>
                    <a:pt x="2792" y="2148"/>
                  </a:lnTo>
                  <a:lnTo>
                    <a:pt x="2792" y="2148"/>
                  </a:lnTo>
                  <a:lnTo>
                    <a:pt x="2792" y="2150"/>
                  </a:lnTo>
                  <a:lnTo>
                    <a:pt x="2792" y="2150"/>
                  </a:lnTo>
                  <a:lnTo>
                    <a:pt x="2792" y="2150"/>
                  </a:lnTo>
                  <a:lnTo>
                    <a:pt x="2792" y="2152"/>
                  </a:lnTo>
                  <a:lnTo>
                    <a:pt x="2792" y="2152"/>
                  </a:lnTo>
                  <a:lnTo>
                    <a:pt x="2792" y="2152"/>
                  </a:lnTo>
                  <a:lnTo>
                    <a:pt x="2792" y="2152"/>
                  </a:lnTo>
                  <a:lnTo>
                    <a:pt x="2792" y="2155"/>
                  </a:lnTo>
                  <a:lnTo>
                    <a:pt x="2792" y="2155"/>
                  </a:lnTo>
                  <a:lnTo>
                    <a:pt x="2792" y="2155"/>
                  </a:lnTo>
                  <a:lnTo>
                    <a:pt x="2792" y="2155"/>
                  </a:lnTo>
                  <a:lnTo>
                    <a:pt x="2792" y="2155"/>
                  </a:lnTo>
                  <a:lnTo>
                    <a:pt x="2792" y="2157"/>
                  </a:lnTo>
                  <a:lnTo>
                    <a:pt x="2792" y="2157"/>
                  </a:lnTo>
                  <a:lnTo>
                    <a:pt x="2792" y="2157"/>
                  </a:lnTo>
                  <a:lnTo>
                    <a:pt x="2792" y="2157"/>
                  </a:lnTo>
                  <a:lnTo>
                    <a:pt x="2792" y="2159"/>
                  </a:lnTo>
                  <a:lnTo>
                    <a:pt x="2795" y="2159"/>
                  </a:lnTo>
                  <a:lnTo>
                    <a:pt x="2792" y="2159"/>
                  </a:lnTo>
                  <a:lnTo>
                    <a:pt x="2792" y="2159"/>
                  </a:lnTo>
                  <a:lnTo>
                    <a:pt x="2792" y="2159"/>
                  </a:lnTo>
                  <a:lnTo>
                    <a:pt x="2792" y="2159"/>
                  </a:lnTo>
                  <a:lnTo>
                    <a:pt x="2792" y="2159"/>
                  </a:lnTo>
                  <a:lnTo>
                    <a:pt x="2792" y="2159"/>
                  </a:lnTo>
                  <a:lnTo>
                    <a:pt x="2792" y="2162"/>
                  </a:lnTo>
                  <a:lnTo>
                    <a:pt x="2792" y="2162"/>
                  </a:lnTo>
                  <a:lnTo>
                    <a:pt x="2792" y="2162"/>
                  </a:lnTo>
                  <a:lnTo>
                    <a:pt x="2795" y="2162"/>
                  </a:lnTo>
                  <a:lnTo>
                    <a:pt x="2795" y="2164"/>
                  </a:lnTo>
                  <a:lnTo>
                    <a:pt x="2795" y="2164"/>
                  </a:lnTo>
                  <a:lnTo>
                    <a:pt x="2792" y="2164"/>
                  </a:lnTo>
                  <a:lnTo>
                    <a:pt x="2792" y="2164"/>
                  </a:lnTo>
                  <a:lnTo>
                    <a:pt x="2792" y="2164"/>
                  </a:lnTo>
                  <a:lnTo>
                    <a:pt x="2792" y="2164"/>
                  </a:lnTo>
                  <a:lnTo>
                    <a:pt x="2792" y="2164"/>
                  </a:lnTo>
                  <a:lnTo>
                    <a:pt x="2792" y="2164"/>
                  </a:lnTo>
                  <a:lnTo>
                    <a:pt x="2792" y="2164"/>
                  </a:lnTo>
                  <a:lnTo>
                    <a:pt x="2792" y="2164"/>
                  </a:lnTo>
                  <a:lnTo>
                    <a:pt x="2792" y="2164"/>
                  </a:lnTo>
                  <a:lnTo>
                    <a:pt x="2790" y="2164"/>
                  </a:lnTo>
                  <a:lnTo>
                    <a:pt x="2790" y="2164"/>
                  </a:lnTo>
                  <a:lnTo>
                    <a:pt x="2790" y="2166"/>
                  </a:lnTo>
                  <a:lnTo>
                    <a:pt x="2790" y="2164"/>
                  </a:lnTo>
                  <a:lnTo>
                    <a:pt x="2790" y="2164"/>
                  </a:lnTo>
                  <a:lnTo>
                    <a:pt x="2790" y="2164"/>
                  </a:lnTo>
                  <a:lnTo>
                    <a:pt x="2790" y="2164"/>
                  </a:lnTo>
                  <a:lnTo>
                    <a:pt x="2790" y="2164"/>
                  </a:lnTo>
                  <a:lnTo>
                    <a:pt x="2790" y="2164"/>
                  </a:lnTo>
                  <a:lnTo>
                    <a:pt x="2790" y="2164"/>
                  </a:lnTo>
                  <a:lnTo>
                    <a:pt x="2790" y="2164"/>
                  </a:lnTo>
                  <a:lnTo>
                    <a:pt x="2790" y="2162"/>
                  </a:lnTo>
                  <a:lnTo>
                    <a:pt x="2790" y="2162"/>
                  </a:lnTo>
                  <a:lnTo>
                    <a:pt x="2788" y="2162"/>
                  </a:lnTo>
                  <a:lnTo>
                    <a:pt x="2788" y="2162"/>
                  </a:lnTo>
                  <a:lnTo>
                    <a:pt x="2788" y="2162"/>
                  </a:lnTo>
                  <a:lnTo>
                    <a:pt x="2788" y="2164"/>
                  </a:lnTo>
                  <a:lnTo>
                    <a:pt x="2788" y="2162"/>
                  </a:lnTo>
                  <a:lnTo>
                    <a:pt x="2788" y="2162"/>
                  </a:lnTo>
                  <a:lnTo>
                    <a:pt x="2788" y="2162"/>
                  </a:lnTo>
                  <a:lnTo>
                    <a:pt x="2788" y="2162"/>
                  </a:lnTo>
                  <a:lnTo>
                    <a:pt x="2788" y="2159"/>
                  </a:lnTo>
                  <a:lnTo>
                    <a:pt x="2788" y="2159"/>
                  </a:lnTo>
                  <a:lnTo>
                    <a:pt x="2788" y="2159"/>
                  </a:lnTo>
                  <a:lnTo>
                    <a:pt x="2788" y="2157"/>
                  </a:lnTo>
                  <a:lnTo>
                    <a:pt x="2785" y="2157"/>
                  </a:lnTo>
                  <a:lnTo>
                    <a:pt x="2785" y="2159"/>
                  </a:lnTo>
                  <a:lnTo>
                    <a:pt x="2785" y="2162"/>
                  </a:lnTo>
                  <a:lnTo>
                    <a:pt x="2785" y="2162"/>
                  </a:lnTo>
                  <a:lnTo>
                    <a:pt x="2785" y="2162"/>
                  </a:lnTo>
                  <a:lnTo>
                    <a:pt x="2783" y="2162"/>
                  </a:lnTo>
                  <a:lnTo>
                    <a:pt x="2783" y="2159"/>
                  </a:lnTo>
                  <a:lnTo>
                    <a:pt x="2781" y="2159"/>
                  </a:lnTo>
                  <a:lnTo>
                    <a:pt x="2781" y="2159"/>
                  </a:lnTo>
                  <a:lnTo>
                    <a:pt x="2781" y="2159"/>
                  </a:lnTo>
                  <a:lnTo>
                    <a:pt x="2781" y="2157"/>
                  </a:lnTo>
                  <a:lnTo>
                    <a:pt x="2781" y="2157"/>
                  </a:lnTo>
                  <a:lnTo>
                    <a:pt x="2781" y="2157"/>
                  </a:lnTo>
                  <a:lnTo>
                    <a:pt x="2778" y="2157"/>
                  </a:lnTo>
                  <a:lnTo>
                    <a:pt x="2778" y="2157"/>
                  </a:lnTo>
                  <a:lnTo>
                    <a:pt x="2778" y="2155"/>
                  </a:lnTo>
                  <a:lnTo>
                    <a:pt x="2778" y="2155"/>
                  </a:lnTo>
                  <a:lnTo>
                    <a:pt x="2778" y="2155"/>
                  </a:lnTo>
                  <a:lnTo>
                    <a:pt x="2776" y="2155"/>
                  </a:lnTo>
                  <a:lnTo>
                    <a:pt x="2776" y="2152"/>
                  </a:lnTo>
                  <a:lnTo>
                    <a:pt x="2776" y="2152"/>
                  </a:lnTo>
                  <a:lnTo>
                    <a:pt x="2778" y="2152"/>
                  </a:lnTo>
                  <a:lnTo>
                    <a:pt x="2778" y="2155"/>
                  </a:lnTo>
                  <a:lnTo>
                    <a:pt x="2778" y="2155"/>
                  </a:lnTo>
                  <a:lnTo>
                    <a:pt x="2778" y="2155"/>
                  </a:lnTo>
                  <a:lnTo>
                    <a:pt x="2781" y="2155"/>
                  </a:lnTo>
                  <a:lnTo>
                    <a:pt x="2781" y="2155"/>
                  </a:lnTo>
                  <a:lnTo>
                    <a:pt x="2781" y="2155"/>
                  </a:lnTo>
                  <a:lnTo>
                    <a:pt x="2781" y="2155"/>
                  </a:lnTo>
                  <a:lnTo>
                    <a:pt x="2781" y="2155"/>
                  </a:lnTo>
                  <a:lnTo>
                    <a:pt x="2781" y="2155"/>
                  </a:lnTo>
                  <a:lnTo>
                    <a:pt x="2783" y="2152"/>
                  </a:lnTo>
                  <a:lnTo>
                    <a:pt x="2781" y="2152"/>
                  </a:lnTo>
                  <a:lnTo>
                    <a:pt x="2781" y="2150"/>
                  </a:lnTo>
                  <a:lnTo>
                    <a:pt x="2781" y="2150"/>
                  </a:lnTo>
                  <a:lnTo>
                    <a:pt x="2781" y="2150"/>
                  </a:lnTo>
                  <a:lnTo>
                    <a:pt x="2778" y="2150"/>
                  </a:lnTo>
                  <a:lnTo>
                    <a:pt x="2778" y="2150"/>
                  </a:lnTo>
                  <a:lnTo>
                    <a:pt x="2781" y="2148"/>
                  </a:lnTo>
                  <a:lnTo>
                    <a:pt x="2781" y="2148"/>
                  </a:lnTo>
                  <a:lnTo>
                    <a:pt x="2783" y="2145"/>
                  </a:lnTo>
                  <a:lnTo>
                    <a:pt x="2781" y="2143"/>
                  </a:lnTo>
                  <a:lnTo>
                    <a:pt x="2781" y="2140"/>
                  </a:lnTo>
                  <a:lnTo>
                    <a:pt x="2781" y="2140"/>
                  </a:lnTo>
                  <a:lnTo>
                    <a:pt x="2781" y="2140"/>
                  </a:lnTo>
                  <a:lnTo>
                    <a:pt x="2781" y="2140"/>
                  </a:lnTo>
                  <a:lnTo>
                    <a:pt x="2781" y="2140"/>
                  </a:lnTo>
                  <a:lnTo>
                    <a:pt x="2778" y="2143"/>
                  </a:lnTo>
                  <a:lnTo>
                    <a:pt x="2778" y="2143"/>
                  </a:lnTo>
                  <a:lnTo>
                    <a:pt x="2776" y="2145"/>
                  </a:lnTo>
                  <a:lnTo>
                    <a:pt x="2776" y="2145"/>
                  </a:lnTo>
                  <a:lnTo>
                    <a:pt x="2776" y="2145"/>
                  </a:lnTo>
                  <a:lnTo>
                    <a:pt x="2774" y="2145"/>
                  </a:lnTo>
                  <a:lnTo>
                    <a:pt x="2774" y="2145"/>
                  </a:lnTo>
                  <a:lnTo>
                    <a:pt x="2771" y="2145"/>
                  </a:lnTo>
                  <a:lnTo>
                    <a:pt x="2771" y="2145"/>
                  </a:lnTo>
                  <a:lnTo>
                    <a:pt x="2771" y="2145"/>
                  </a:lnTo>
                  <a:lnTo>
                    <a:pt x="2774" y="2145"/>
                  </a:lnTo>
                  <a:lnTo>
                    <a:pt x="2776" y="2143"/>
                  </a:lnTo>
                  <a:lnTo>
                    <a:pt x="2778" y="2143"/>
                  </a:lnTo>
                  <a:lnTo>
                    <a:pt x="2778" y="2140"/>
                  </a:lnTo>
                  <a:lnTo>
                    <a:pt x="2778" y="2138"/>
                  </a:lnTo>
                  <a:lnTo>
                    <a:pt x="2776" y="2140"/>
                  </a:lnTo>
                  <a:lnTo>
                    <a:pt x="2774" y="2140"/>
                  </a:lnTo>
                  <a:lnTo>
                    <a:pt x="2771" y="2143"/>
                  </a:lnTo>
                  <a:lnTo>
                    <a:pt x="2771" y="2143"/>
                  </a:lnTo>
                  <a:lnTo>
                    <a:pt x="2769" y="2140"/>
                  </a:lnTo>
                  <a:lnTo>
                    <a:pt x="2769" y="2140"/>
                  </a:lnTo>
                  <a:lnTo>
                    <a:pt x="2769" y="2138"/>
                  </a:lnTo>
                  <a:lnTo>
                    <a:pt x="2769" y="2138"/>
                  </a:lnTo>
                  <a:lnTo>
                    <a:pt x="2766" y="2138"/>
                  </a:lnTo>
                  <a:lnTo>
                    <a:pt x="2766" y="2136"/>
                  </a:lnTo>
                  <a:lnTo>
                    <a:pt x="2766" y="2136"/>
                  </a:lnTo>
                  <a:lnTo>
                    <a:pt x="2769" y="2136"/>
                  </a:lnTo>
                  <a:lnTo>
                    <a:pt x="2769" y="2136"/>
                  </a:lnTo>
                  <a:lnTo>
                    <a:pt x="2769" y="2136"/>
                  </a:lnTo>
                  <a:lnTo>
                    <a:pt x="2769" y="2136"/>
                  </a:lnTo>
                  <a:lnTo>
                    <a:pt x="2771" y="2136"/>
                  </a:lnTo>
                  <a:lnTo>
                    <a:pt x="2771" y="2136"/>
                  </a:lnTo>
                  <a:lnTo>
                    <a:pt x="2771" y="2136"/>
                  </a:lnTo>
                  <a:lnTo>
                    <a:pt x="2774" y="2136"/>
                  </a:lnTo>
                  <a:lnTo>
                    <a:pt x="2774" y="2136"/>
                  </a:lnTo>
                  <a:lnTo>
                    <a:pt x="2776" y="2136"/>
                  </a:lnTo>
                  <a:lnTo>
                    <a:pt x="2776" y="2136"/>
                  </a:lnTo>
                  <a:lnTo>
                    <a:pt x="2778" y="2133"/>
                  </a:lnTo>
                  <a:lnTo>
                    <a:pt x="2778" y="2133"/>
                  </a:lnTo>
                  <a:lnTo>
                    <a:pt x="2778" y="2133"/>
                  </a:lnTo>
                  <a:lnTo>
                    <a:pt x="2778" y="2131"/>
                  </a:lnTo>
                  <a:lnTo>
                    <a:pt x="2778" y="2129"/>
                  </a:lnTo>
                  <a:lnTo>
                    <a:pt x="2778" y="2129"/>
                  </a:lnTo>
                  <a:lnTo>
                    <a:pt x="2781" y="2129"/>
                  </a:lnTo>
                  <a:lnTo>
                    <a:pt x="2781" y="2126"/>
                  </a:lnTo>
                  <a:lnTo>
                    <a:pt x="2781" y="2126"/>
                  </a:lnTo>
                  <a:lnTo>
                    <a:pt x="2781" y="2126"/>
                  </a:lnTo>
                  <a:lnTo>
                    <a:pt x="2783" y="2124"/>
                  </a:lnTo>
                  <a:lnTo>
                    <a:pt x="2783" y="2124"/>
                  </a:lnTo>
                  <a:lnTo>
                    <a:pt x="2783" y="2124"/>
                  </a:lnTo>
                  <a:lnTo>
                    <a:pt x="2783" y="2122"/>
                  </a:lnTo>
                  <a:lnTo>
                    <a:pt x="2783" y="2119"/>
                  </a:lnTo>
                  <a:lnTo>
                    <a:pt x="2783" y="2119"/>
                  </a:lnTo>
                  <a:lnTo>
                    <a:pt x="2783" y="2119"/>
                  </a:lnTo>
                  <a:lnTo>
                    <a:pt x="2783" y="2119"/>
                  </a:lnTo>
                  <a:lnTo>
                    <a:pt x="2783" y="2119"/>
                  </a:lnTo>
                  <a:lnTo>
                    <a:pt x="2783" y="2119"/>
                  </a:lnTo>
                  <a:lnTo>
                    <a:pt x="2783" y="2119"/>
                  </a:lnTo>
                  <a:lnTo>
                    <a:pt x="2783" y="2119"/>
                  </a:lnTo>
                  <a:lnTo>
                    <a:pt x="2785" y="2119"/>
                  </a:lnTo>
                  <a:lnTo>
                    <a:pt x="2785" y="2119"/>
                  </a:lnTo>
                  <a:lnTo>
                    <a:pt x="2785" y="2119"/>
                  </a:lnTo>
                  <a:lnTo>
                    <a:pt x="2788" y="2119"/>
                  </a:lnTo>
                  <a:lnTo>
                    <a:pt x="2788" y="2119"/>
                  </a:lnTo>
                  <a:lnTo>
                    <a:pt x="2788" y="2119"/>
                  </a:lnTo>
                  <a:lnTo>
                    <a:pt x="2788" y="2117"/>
                  </a:lnTo>
                  <a:lnTo>
                    <a:pt x="2788" y="2117"/>
                  </a:lnTo>
                  <a:lnTo>
                    <a:pt x="2790" y="2114"/>
                  </a:lnTo>
                  <a:lnTo>
                    <a:pt x="2790" y="2112"/>
                  </a:lnTo>
                  <a:lnTo>
                    <a:pt x="2790" y="2112"/>
                  </a:lnTo>
                  <a:lnTo>
                    <a:pt x="2790" y="2110"/>
                  </a:lnTo>
                  <a:lnTo>
                    <a:pt x="2790" y="2110"/>
                  </a:lnTo>
                  <a:lnTo>
                    <a:pt x="2790" y="2110"/>
                  </a:lnTo>
                  <a:lnTo>
                    <a:pt x="2790" y="2107"/>
                  </a:lnTo>
                  <a:lnTo>
                    <a:pt x="2790" y="2107"/>
                  </a:lnTo>
                  <a:lnTo>
                    <a:pt x="2790" y="2107"/>
                  </a:lnTo>
                  <a:lnTo>
                    <a:pt x="2790" y="2107"/>
                  </a:lnTo>
                  <a:lnTo>
                    <a:pt x="2790" y="2107"/>
                  </a:lnTo>
                  <a:lnTo>
                    <a:pt x="2790" y="2105"/>
                  </a:lnTo>
                  <a:lnTo>
                    <a:pt x="2790" y="2105"/>
                  </a:lnTo>
                  <a:lnTo>
                    <a:pt x="2790" y="2105"/>
                  </a:lnTo>
                  <a:lnTo>
                    <a:pt x="2790" y="2105"/>
                  </a:lnTo>
                  <a:lnTo>
                    <a:pt x="2790" y="2105"/>
                  </a:lnTo>
                  <a:lnTo>
                    <a:pt x="2790" y="2103"/>
                  </a:lnTo>
                  <a:lnTo>
                    <a:pt x="2788" y="2103"/>
                  </a:lnTo>
                  <a:lnTo>
                    <a:pt x="2788" y="2103"/>
                  </a:lnTo>
                  <a:lnTo>
                    <a:pt x="2788" y="2103"/>
                  </a:lnTo>
                  <a:lnTo>
                    <a:pt x="2785" y="2100"/>
                  </a:lnTo>
                  <a:lnTo>
                    <a:pt x="2785" y="2100"/>
                  </a:lnTo>
                  <a:lnTo>
                    <a:pt x="2785" y="2100"/>
                  </a:lnTo>
                  <a:lnTo>
                    <a:pt x="2785" y="2100"/>
                  </a:lnTo>
                  <a:lnTo>
                    <a:pt x="2785" y="2100"/>
                  </a:lnTo>
                  <a:lnTo>
                    <a:pt x="2785" y="2100"/>
                  </a:lnTo>
                  <a:lnTo>
                    <a:pt x="2783" y="2100"/>
                  </a:lnTo>
                  <a:lnTo>
                    <a:pt x="2783" y="2100"/>
                  </a:lnTo>
                  <a:lnTo>
                    <a:pt x="2785" y="2103"/>
                  </a:lnTo>
                  <a:lnTo>
                    <a:pt x="2785" y="2103"/>
                  </a:lnTo>
                  <a:lnTo>
                    <a:pt x="2785" y="2103"/>
                  </a:lnTo>
                  <a:lnTo>
                    <a:pt x="2783" y="2105"/>
                  </a:lnTo>
                  <a:lnTo>
                    <a:pt x="2783" y="2105"/>
                  </a:lnTo>
                  <a:lnTo>
                    <a:pt x="2783" y="2105"/>
                  </a:lnTo>
                  <a:lnTo>
                    <a:pt x="2783" y="2105"/>
                  </a:lnTo>
                  <a:lnTo>
                    <a:pt x="2783" y="2105"/>
                  </a:lnTo>
                  <a:lnTo>
                    <a:pt x="2783" y="2107"/>
                  </a:lnTo>
                  <a:lnTo>
                    <a:pt x="2783" y="2107"/>
                  </a:lnTo>
                  <a:lnTo>
                    <a:pt x="2783" y="2110"/>
                  </a:lnTo>
                  <a:lnTo>
                    <a:pt x="2783" y="2110"/>
                  </a:lnTo>
                  <a:lnTo>
                    <a:pt x="2783" y="2110"/>
                  </a:lnTo>
                  <a:lnTo>
                    <a:pt x="2783" y="2110"/>
                  </a:lnTo>
                  <a:lnTo>
                    <a:pt x="2783" y="2112"/>
                  </a:lnTo>
                  <a:lnTo>
                    <a:pt x="2783" y="2112"/>
                  </a:lnTo>
                  <a:lnTo>
                    <a:pt x="2781" y="2112"/>
                  </a:lnTo>
                  <a:lnTo>
                    <a:pt x="2781" y="2112"/>
                  </a:lnTo>
                  <a:lnTo>
                    <a:pt x="2781" y="2110"/>
                  </a:lnTo>
                  <a:lnTo>
                    <a:pt x="2781" y="2110"/>
                  </a:lnTo>
                  <a:lnTo>
                    <a:pt x="2781" y="2110"/>
                  </a:lnTo>
                  <a:lnTo>
                    <a:pt x="2781" y="2112"/>
                  </a:lnTo>
                  <a:lnTo>
                    <a:pt x="2781" y="2112"/>
                  </a:lnTo>
                  <a:lnTo>
                    <a:pt x="2781" y="2110"/>
                  </a:lnTo>
                  <a:lnTo>
                    <a:pt x="2778" y="2110"/>
                  </a:lnTo>
                  <a:lnTo>
                    <a:pt x="2778" y="2107"/>
                  </a:lnTo>
                  <a:lnTo>
                    <a:pt x="2778" y="2107"/>
                  </a:lnTo>
                  <a:lnTo>
                    <a:pt x="2776" y="2110"/>
                  </a:lnTo>
                  <a:lnTo>
                    <a:pt x="2776" y="2110"/>
                  </a:lnTo>
                  <a:lnTo>
                    <a:pt x="2776" y="2110"/>
                  </a:lnTo>
                  <a:lnTo>
                    <a:pt x="2774" y="2110"/>
                  </a:lnTo>
                  <a:lnTo>
                    <a:pt x="2774" y="2110"/>
                  </a:lnTo>
                  <a:lnTo>
                    <a:pt x="2774" y="2110"/>
                  </a:lnTo>
                  <a:lnTo>
                    <a:pt x="2774" y="2110"/>
                  </a:lnTo>
                  <a:lnTo>
                    <a:pt x="2774" y="2112"/>
                  </a:lnTo>
                  <a:lnTo>
                    <a:pt x="2774" y="2112"/>
                  </a:lnTo>
                  <a:lnTo>
                    <a:pt x="2774" y="2112"/>
                  </a:lnTo>
                  <a:lnTo>
                    <a:pt x="2776" y="2112"/>
                  </a:lnTo>
                  <a:lnTo>
                    <a:pt x="2776" y="2112"/>
                  </a:lnTo>
                  <a:lnTo>
                    <a:pt x="2776" y="2114"/>
                  </a:lnTo>
                  <a:lnTo>
                    <a:pt x="2776" y="2114"/>
                  </a:lnTo>
                  <a:lnTo>
                    <a:pt x="2776" y="2114"/>
                  </a:lnTo>
                  <a:lnTo>
                    <a:pt x="2776" y="2114"/>
                  </a:lnTo>
                  <a:lnTo>
                    <a:pt x="2776" y="2114"/>
                  </a:lnTo>
                  <a:lnTo>
                    <a:pt x="2776" y="2114"/>
                  </a:lnTo>
                  <a:lnTo>
                    <a:pt x="2776" y="2114"/>
                  </a:lnTo>
                  <a:lnTo>
                    <a:pt x="2776" y="2114"/>
                  </a:lnTo>
                  <a:lnTo>
                    <a:pt x="2776" y="2117"/>
                  </a:lnTo>
                  <a:lnTo>
                    <a:pt x="2776" y="2117"/>
                  </a:lnTo>
                  <a:lnTo>
                    <a:pt x="2776" y="2117"/>
                  </a:lnTo>
                  <a:lnTo>
                    <a:pt x="2776" y="2119"/>
                  </a:lnTo>
                  <a:lnTo>
                    <a:pt x="2776" y="2119"/>
                  </a:lnTo>
                  <a:lnTo>
                    <a:pt x="2774" y="2119"/>
                  </a:lnTo>
                  <a:lnTo>
                    <a:pt x="2774" y="2119"/>
                  </a:lnTo>
                  <a:lnTo>
                    <a:pt x="2774" y="2122"/>
                  </a:lnTo>
                  <a:lnTo>
                    <a:pt x="2774" y="2122"/>
                  </a:lnTo>
                  <a:lnTo>
                    <a:pt x="2774" y="2117"/>
                  </a:lnTo>
                  <a:lnTo>
                    <a:pt x="2774" y="2117"/>
                  </a:lnTo>
                  <a:lnTo>
                    <a:pt x="2774" y="2117"/>
                  </a:lnTo>
                  <a:lnTo>
                    <a:pt x="2774" y="2119"/>
                  </a:lnTo>
                  <a:lnTo>
                    <a:pt x="2774" y="2117"/>
                  </a:lnTo>
                  <a:lnTo>
                    <a:pt x="2771" y="2117"/>
                  </a:lnTo>
                  <a:lnTo>
                    <a:pt x="2771" y="2117"/>
                  </a:lnTo>
                  <a:lnTo>
                    <a:pt x="2771" y="2117"/>
                  </a:lnTo>
                  <a:lnTo>
                    <a:pt x="2771" y="2119"/>
                  </a:lnTo>
                  <a:lnTo>
                    <a:pt x="2771" y="2122"/>
                  </a:lnTo>
                  <a:lnTo>
                    <a:pt x="2771" y="2122"/>
                  </a:lnTo>
                  <a:lnTo>
                    <a:pt x="2771" y="2122"/>
                  </a:lnTo>
                  <a:lnTo>
                    <a:pt x="2771" y="2122"/>
                  </a:lnTo>
                  <a:lnTo>
                    <a:pt x="2769" y="2124"/>
                  </a:lnTo>
                  <a:lnTo>
                    <a:pt x="2769" y="2122"/>
                  </a:lnTo>
                  <a:lnTo>
                    <a:pt x="2769" y="2122"/>
                  </a:lnTo>
                  <a:lnTo>
                    <a:pt x="2769" y="2122"/>
                  </a:lnTo>
                  <a:lnTo>
                    <a:pt x="2771" y="2117"/>
                  </a:lnTo>
                  <a:lnTo>
                    <a:pt x="2771" y="2117"/>
                  </a:lnTo>
                  <a:lnTo>
                    <a:pt x="2771" y="2117"/>
                  </a:lnTo>
                  <a:lnTo>
                    <a:pt x="2769" y="2117"/>
                  </a:lnTo>
                  <a:lnTo>
                    <a:pt x="2769" y="2117"/>
                  </a:lnTo>
                  <a:lnTo>
                    <a:pt x="2769" y="2117"/>
                  </a:lnTo>
                  <a:lnTo>
                    <a:pt x="2769" y="2117"/>
                  </a:lnTo>
                  <a:lnTo>
                    <a:pt x="2771" y="2117"/>
                  </a:lnTo>
                  <a:lnTo>
                    <a:pt x="2769" y="2117"/>
                  </a:lnTo>
                  <a:lnTo>
                    <a:pt x="2769" y="2117"/>
                  </a:lnTo>
                  <a:lnTo>
                    <a:pt x="2766" y="2119"/>
                  </a:lnTo>
                  <a:lnTo>
                    <a:pt x="2766" y="2122"/>
                  </a:lnTo>
                  <a:lnTo>
                    <a:pt x="2766" y="2122"/>
                  </a:lnTo>
                  <a:lnTo>
                    <a:pt x="2766" y="2122"/>
                  </a:lnTo>
                  <a:lnTo>
                    <a:pt x="2766" y="2122"/>
                  </a:lnTo>
                  <a:lnTo>
                    <a:pt x="2766" y="2124"/>
                  </a:lnTo>
                  <a:lnTo>
                    <a:pt x="2766" y="2124"/>
                  </a:lnTo>
                  <a:lnTo>
                    <a:pt x="2766" y="2124"/>
                  </a:lnTo>
                  <a:lnTo>
                    <a:pt x="2766" y="2124"/>
                  </a:lnTo>
                  <a:lnTo>
                    <a:pt x="2766" y="2124"/>
                  </a:lnTo>
                  <a:lnTo>
                    <a:pt x="2766" y="2126"/>
                  </a:lnTo>
                  <a:lnTo>
                    <a:pt x="2766" y="2126"/>
                  </a:lnTo>
                  <a:lnTo>
                    <a:pt x="2766" y="2126"/>
                  </a:lnTo>
                  <a:lnTo>
                    <a:pt x="2766" y="2129"/>
                  </a:lnTo>
                  <a:lnTo>
                    <a:pt x="2766" y="2129"/>
                  </a:lnTo>
                  <a:lnTo>
                    <a:pt x="2764" y="2126"/>
                  </a:lnTo>
                  <a:lnTo>
                    <a:pt x="2764" y="2126"/>
                  </a:lnTo>
                  <a:lnTo>
                    <a:pt x="2766" y="2124"/>
                  </a:lnTo>
                  <a:lnTo>
                    <a:pt x="2766" y="2122"/>
                  </a:lnTo>
                  <a:lnTo>
                    <a:pt x="2764" y="2122"/>
                  </a:lnTo>
                  <a:lnTo>
                    <a:pt x="2764" y="2124"/>
                  </a:lnTo>
                  <a:lnTo>
                    <a:pt x="2762" y="2126"/>
                  </a:lnTo>
                  <a:lnTo>
                    <a:pt x="2762" y="2129"/>
                  </a:lnTo>
                  <a:lnTo>
                    <a:pt x="2759" y="2129"/>
                  </a:lnTo>
                  <a:lnTo>
                    <a:pt x="2759" y="2129"/>
                  </a:lnTo>
                  <a:lnTo>
                    <a:pt x="2757" y="2129"/>
                  </a:lnTo>
                  <a:lnTo>
                    <a:pt x="2757" y="2133"/>
                  </a:lnTo>
                  <a:lnTo>
                    <a:pt x="2757" y="2131"/>
                  </a:lnTo>
                  <a:lnTo>
                    <a:pt x="2757" y="2131"/>
                  </a:lnTo>
                  <a:lnTo>
                    <a:pt x="2757" y="2131"/>
                  </a:lnTo>
                  <a:lnTo>
                    <a:pt x="2757" y="2131"/>
                  </a:lnTo>
                  <a:lnTo>
                    <a:pt x="2757" y="2131"/>
                  </a:lnTo>
                  <a:lnTo>
                    <a:pt x="2757" y="2129"/>
                  </a:lnTo>
                  <a:lnTo>
                    <a:pt x="2757" y="2129"/>
                  </a:lnTo>
                  <a:lnTo>
                    <a:pt x="2757" y="2129"/>
                  </a:lnTo>
                  <a:lnTo>
                    <a:pt x="2759" y="2129"/>
                  </a:lnTo>
                  <a:lnTo>
                    <a:pt x="2759" y="2126"/>
                  </a:lnTo>
                  <a:lnTo>
                    <a:pt x="2762" y="2126"/>
                  </a:lnTo>
                  <a:lnTo>
                    <a:pt x="2762" y="2124"/>
                  </a:lnTo>
                  <a:lnTo>
                    <a:pt x="2762" y="2122"/>
                  </a:lnTo>
                  <a:lnTo>
                    <a:pt x="2764" y="2122"/>
                  </a:lnTo>
                  <a:lnTo>
                    <a:pt x="2764" y="2122"/>
                  </a:lnTo>
                  <a:lnTo>
                    <a:pt x="2764" y="2122"/>
                  </a:lnTo>
                  <a:lnTo>
                    <a:pt x="2766" y="2119"/>
                  </a:lnTo>
                  <a:lnTo>
                    <a:pt x="2766" y="2119"/>
                  </a:lnTo>
                  <a:lnTo>
                    <a:pt x="2766" y="2119"/>
                  </a:lnTo>
                  <a:lnTo>
                    <a:pt x="2766" y="2119"/>
                  </a:lnTo>
                  <a:lnTo>
                    <a:pt x="2766" y="2119"/>
                  </a:lnTo>
                  <a:lnTo>
                    <a:pt x="2766" y="2119"/>
                  </a:lnTo>
                  <a:lnTo>
                    <a:pt x="2766" y="2119"/>
                  </a:lnTo>
                  <a:lnTo>
                    <a:pt x="2764" y="2119"/>
                  </a:lnTo>
                  <a:lnTo>
                    <a:pt x="2764" y="2119"/>
                  </a:lnTo>
                  <a:lnTo>
                    <a:pt x="2764" y="2119"/>
                  </a:lnTo>
                  <a:lnTo>
                    <a:pt x="2764" y="2117"/>
                  </a:lnTo>
                  <a:lnTo>
                    <a:pt x="2766" y="2117"/>
                  </a:lnTo>
                  <a:lnTo>
                    <a:pt x="2766" y="2117"/>
                  </a:lnTo>
                  <a:lnTo>
                    <a:pt x="2759" y="2119"/>
                  </a:lnTo>
                  <a:lnTo>
                    <a:pt x="2759" y="2119"/>
                  </a:lnTo>
                  <a:lnTo>
                    <a:pt x="2759" y="2119"/>
                  </a:lnTo>
                  <a:lnTo>
                    <a:pt x="2759" y="2122"/>
                  </a:lnTo>
                  <a:lnTo>
                    <a:pt x="2759" y="2122"/>
                  </a:lnTo>
                  <a:lnTo>
                    <a:pt x="2759" y="2119"/>
                  </a:lnTo>
                  <a:lnTo>
                    <a:pt x="2759" y="2119"/>
                  </a:lnTo>
                  <a:lnTo>
                    <a:pt x="2759" y="2119"/>
                  </a:lnTo>
                  <a:lnTo>
                    <a:pt x="2759" y="2117"/>
                  </a:lnTo>
                  <a:lnTo>
                    <a:pt x="2762" y="2117"/>
                  </a:lnTo>
                  <a:lnTo>
                    <a:pt x="2762" y="2117"/>
                  </a:lnTo>
                  <a:lnTo>
                    <a:pt x="2762" y="2117"/>
                  </a:lnTo>
                  <a:lnTo>
                    <a:pt x="2764" y="2114"/>
                  </a:lnTo>
                  <a:lnTo>
                    <a:pt x="2764" y="2112"/>
                  </a:lnTo>
                  <a:lnTo>
                    <a:pt x="2766" y="2112"/>
                  </a:lnTo>
                  <a:lnTo>
                    <a:pt x="2766" y="2112"/>
                  </a:lnTo>
                  <a:lnTo>
                    <a:pt x="2766" y="2110"/>
                  </a:lnTo>
                  <a:lnTo>
                    <a:pt x="2766" y="2110"/>
                  </a:lnTo>
                  <a:lnTo>
                    <a:pt x="2766" y="2110"/>
                  </a:lnTo>
                  <a:lnTo>
                    <a:pt x="2769" y="2110"/>
                  </a:lnTo>
                  <a:lnTo>
                    <a:pt x="2769" y="2110"/>
                  </a:lnTo>
                  <a:lnTo>
                    <a:pt x="2769" y="2107"/>
                  </a:lnTo>
                  <a:lnTo>
                    <a:pt x="2766" y="2107"/>
                  </a:lnTo>
                  <a:lnTo>
                    <a:pt x="2766" y="2107"/>
                  </a:lnTo>
                  <a:lnTo>
                    <a:pt x="2766" y="2107"/>
                  </a:lnTo>
                  <a:lnTo>
                    <a:pt x="2766" y="2110"/>
                  </a:lnTo>
                  <a:lnTo>
                    <a:pt x="2766" y="2110"/>
                  </a:lnTo>
                  <a:lnTo>
                    <a:pt x="2764" y="2112"/>
                  </a:lnTo>
                  <a:lnTo>
                    <a:pt x="2764" y="2112"/>
                  </a:lnTo>
                  <a:lnTo>
                    <a:pt x="2764" y="2112"/>
                  </a:lnTo>
                  <a:lnTo>
                    <a:pt x="2764" y="2112"/>
                  </a:lnTo>
                  <a:lnTo>
                    <a:pt x="2764" y="2112"/>
                  </a:lnTo>
                  <a:lnTo>
                    <a:pt x="2764" y="2110"/>
                  </a:lnTo>
                  <a:lnTo>
                    <a:pt x="2764" y="2110"/>
                  </a:lnTo>
                  <a:lnTo>
                    <a:pt x="2764" y="2110"/>
                  </a:lnTo>
                  <a:lnTo>
                    <a:pt x="2764" y="2110"/>
                  </a:lnTo>
                  <a:lnTo>
                    <a:pt x="2764" y="2110"/>
                  </a:lnTo>
                  <a:lnTo>
                    <a:pt x="2764" y="2110"/>
                  </a:lnTo>
                  <a:lnTo>
                    <a:pt x="2762" y="2110"/>
                  </a:lnTo>
                  <a:lnTo>
                    <a:pt x="2762" y="2110"/>
                  </a:lnTo>
                  <a:lnTo>
                    <a:pt x="2759" y="2112"/>
                  </a:lnTo>
                  <a:lnTo>
                    <a:pt x="2759" y="2110"/>
                  </a:lnTo>
                  <a:lnTo>
                    <a:pt x="2759" y="2110"/>
                  </a:lnTo>
                  <a:lnTo>
                    <a:pt x="2759" y="2110"/>
                  </a:lnTo>
                  <a:lnTo>
                    <a:pt x="2757" y="2112"/>
                  </a:lnTo>
                  <a:lnTo>
                    <a:pt x="2757" y="2112"/>
                  </a:lnTo>
                  <a:lnTo>
                    <a:pt x="2757" y="2114"/>
                  </a:lnTo>
                  <a:lnTo>
                    <a:pt x="2759" y="2112"/>
                  </a:lnTo>
                  <a:lnTo>
                    <a:pt x="2762" y="2112"/>
                  </a:lnTo>
                  <a:lnTo>
                    <a:pt x="2762" y="2112"/>
                  </a:lnTo>
                  <a:lnTo>
                    <a:pt x="2759" y="2114"/>
                  </a:lnTo>
                  <a:lnTo>
                    <a:pt x="2759" y="2117"/>
                  </a:lnTo>
                  <a:lnTo>
                    <a:pt x="2759" y="2114"/>
                  </a:lnTo>
                  <a:lnTo>
                    <a:pt x="2759" y="2114"/>
                  </a:lnTo>
                  <a:lnTo>
                    <a:pt x="2759" y="2114"/>
                  </a:lnTo>
                  <a:lnTo>
                    <a:pt x="2759" y="2114"/>
                  </a:lnTo>
                  <a:lnTo>
                    <a:pt x="2757" y="2114"/>
                  </a:lnTo>
                  <a:lnTo>
                    <a:pt x="2757" y="2114"/>
                  </a:lnTo>
                  <a:lnTo>
                    <a:pt x="2757" y="2114"/>
                  </a:lnTo>
                  <a:lnTo>
                    <a:pt x="2757" y="2114"/>
                  </a:lnTo>
                  <a:lnTo>
                    <a:pt x="2757" y="2112"/>
                  </a:lnTo>
                  <a:lnTo>
                    <a:pt x="2757" y="2112"/>
                  </a:lnTo>
                  <a:lnTo>
                    <a:pt x="2757" y="2112"/>
                  </a:lnTo>
                  <a:lnTo>
                    <a:pt x="2755" y="2112"/>
                  </a:lnTo>
                  <a:lnTo>
                    <a:pt x="2755" y="2112"/>
                  </a:lnTo>
                  <a:lnTo>
                    <a:pt x="2752" y="2112"/>
                  </a:lnTo>
                  <a:lnTo>
                    <a:pt x="2752" y="2112"/>
                  </a:lnTo>
                  <a:lnTo>
                    <a:pt x="2755" y="2110"/>
                  </a:lnTo>
                  <a:lnTo>
                    <a:pt x="2755" y="2110"/>
                  </a:lnTo>
                  <a:lnTo>
                    <a:pt x="2757" y="2110"/>
                  </a:lnTo>
                  <a:lnTo>
                    <a:pt x="2757" y="2110"/>
                  </a:lnTo>
                  <a:lnTo>
                    <a:pt x="2757" y="2110"/>
                  </a:lnTo>
                  <a:lnTo>
                    <a:pt x="2757" y="2107"/>
                  </a:lnTo>
                  <a:lnTo>
                    <a:pt x="2757" y="2107"/>
                  </a:lnTo>
                  <a:lnTo>
                    <a:pt x="2757" y="2107"/>
                  </a:lnTo>
                  <a:lnTo>
                    <a:pt x="2757" y="2110"/>
                  </a:lnTo>
                  <a:lnTo>
                    <a:pt x="2757" y="2110"/>
                  </a:lnTo>
                  <a:lnTo>
                    <a:pt x="2757" y="2110"/>
                  </a:lnTo>
                  <a:lnTo>
                    <a:pt x="2757" y="2107"/>
                  </a:lnTo>
                  <a:lnTo>
                    <a:pt x="2755" y="2107"/>
                  </a:lnTo>
                  <a:lnTo>
                    <a:pt x="2755" y="2107"/>
                  </a:lnTo>
                  <a:lnTo>
                    <a:pt x="2757" y="2107"/>
                  </a:lnTo>
                  <a:lnTo>
                    <a:pt x="2757" y="2105"/>
                  </a:lnTo>
                  <a:lnTo>
                    <a:pt x="2759" y="2105"/>
                  </a:lnTo>
                  <a:lnTo>
                    <a:pt x="2757" y="2105"/>
                  </a:lnTo>
                  <a:lnTo>
                    <a:pt x="2755" y="2105"/>
                  </a:lnTo>
                  <a:lnTo>
                    <a:pt x="2755" y="2107"/>
                  </a:lnTo>
                  <a:lnTo>
                    <a:pt x="2752" y="2110"/>
                  </a:lnTo>
                  <a:lnTo>
                    <a:pt x="2755" y="2110"/>
                  </a:lnTo>
                  <a:lnTo>
                    <a:pt x="2755" y="2110"/>
                  </a:lnTo>
                  <a:lnTo>
                    <a:pt x="2752" y="2110"/>
                  </a:lnTo>
                  <a:lnTo>
                    <a:pt x="2752" y="2110"/>
                  </a:lnTo>
                  <a:lnTo>
                    <a:pt x="2752" y="2110"/>
                  </a:lnTo>
                  <a:lnTo>
                    <a:pt x="2752" y="2110"/>
                  </a:lnTo>
                  <a:lnTo>
                    <a:pt x="2752" y="2107"/>
                  </a:lnTo>
                  <a:lnTo>
                    <a:pt x="2752" y="2107"/>
                  </a:lnTo>
                  <a:lnTo>
                    <a:pt x="2752" y="2107"/>
                  </a:lnTo>
                  <a:lnTo>
                    <a:pt x="2748" y="2112"/>
                  </a:lnTo>
                  <a:lnTo>
                    <a:pt x="2748" y="2112"/>
                  </a:lnTo>
                  <a:lnTo>
                    <a:pt x="2748" y="2112"/>
                  </a:lnTo>
                  <a:lnTo>
                    <a:pt x="2748" y="2112"/>
                  </a:lnTo>
                  <a:lnTo>
                    <a:pt x="2748" y="2112"/>
                  </a:lnTo>
                  <a:lnTo>
                    <a:pt x="2748" y="2112"/>
                  </a:lnTo>
                  <a:lnTo>
                    <a:pt x="2748" y="2112"/>
                  </a:lnTo>
                  <a:lnTo>
                    <a:pt x="2748" y="2110"/>
                  </a:lnTo>
                  <a:lnTo>
                    <a:pt x="2748" y="2110"/>
                  </a:lnTo>
                  <a:lnTo>
                    <a:pt x="2748" y="2110"/>
                  </a:lnTo>
                  <a:lnTo>
                    <a:pt x="2750" y="2110"/>
                  </a:lnTo>
                  <a:lnTo>
                    <a:pt x="2750" y="2107"/>
                  </a:lnTo>
                  <a:lnTo>
                    <a:pt x="2750" y="2107"/>
                  </a:lnTo>
                  <a:lnTo>
                    <a:pt x="2752" y="2107"/>
                  </a:lnTo>
                  <a:lnTo>
                    <a:pt x="2752" y="2107"/>
                  </a:lnTo>
                  <a:lnTo>
                    <a:pt x="2752" y="2105"/>
                  </a:lnTo>
                  <a:lnTo>
                    <a:pt x="2752" y="2105"/>
                  </a:lnTo>
                  <a:lnTo>
                    <a:pt x="2752" y="2105"/>
                  </a:lnTo>
                  <a:lnTo>
                    <a:pt x="2755" y="2103"/>
                  </a:lnTo>
                  <a:lnTo>
                    <a:pt x="2755" y="2103"/>
                  </a:lnTo>
                  <a:lnTo>
                    <a:pt x="2752" y="2103"/>
                  </a:lnTo>
                  <a:lnTo>
                    <a:pt x="2752" y="2105"/>
                  </a:lnTo>
                  <a:lnTo>
                    <a:pt x="2750" y="2103"/>
                  </a:lnTo>
                  <a:lnTo>
                    <a:pt x="2752" y="2103"/>
                  </a:lnTo>
                  <a:lnTo>
                    <a:pt x="2752" y="2103"/>
                  </a:lnTo>
                  <a:lnTo>
                    <a:pt x="2752" y="2103"/>
                  </a:lnTo>
                  <a:lnTo>
                    <a:pt x="2752" y="2103"/>
                  </a:lnTo>
                  <a:lnTo>
                    <a:pt x="2755" y="2100"/>
                  </a:lnTo>
                  <a:lnTo>
                    <a:pt x="2755" y="2100"/>
                  </a:lnTo>
                  <a:lnTo>
                    <a:pt x="2755" y="2100"/>
                  </a:lnTo>
                  <a:lnTo>
                    <a:pt x="2755" y="2100"/>
                  </a:lnTo>
                  <a:lnTo>
                    <a:pt x="2755" y="2100"/>
                  </a:lnTo>
                  <a:lnTo>
                    <a:pt x="2755" y="2098"/>
                  </a:lnTo>
                  <a:lnTo>
                    <a:pt x="2752" y="2098"/>
                  </a:lnTo>
                  <a:lnTo>
                    <a:pt x="2752" y="2098"/>
                  </a:lnTo>
                  <a:lnTo>
                    <a:pt x="2752" y="2098"/>
                  </a:lnTo>
                  <a:lnTo>
                    <a:pt x="2752" y="2098"/>
                  </a:lnTo>
                  <a:lnTo>
                    <a:pt x="2752" y="2098"/>
                  </a:lnTo>
                  <a:lnTo>
                    <a:pt x="2755" y="2098"/>
                  </a:lnTo>
                  <a:lnTo>
                    <a:pt x="2755" y="2098"/>
                  </a:lnTo>
                  <a:lnTo>
                    <a:pt x="2755" y="2095"/>
                  </a:lnTo>
                  <a:lnTo>
                    <a:pt x="2757" y="2095"/>
                  </a:lnTo>
                  <a:lnTo>
                    <a:pt x="2757" y="2093"/>
                  </a:lnTo>
                  <a:lnTo>
                    <a:pt x="2757" y="2095"/>
                  </a:lnTo>
                  <a:lnTo>
                    <a:pt x="2755" y="2095"/>
                  </a:lnTo>
                  <a:lnTo>
                    <a:pt x="2752" y="2095"/>
                  </a:lnTo>
                  <a:lnTo>
                    <a:pt x="2752" y="2095"/>
                  </a:lnTo>
                  <a:lnTo>
                    <a:pt x="2752" y="2095"/>
                  </a:lnTo>
                  <a:lnTo>
                    <a:pt x="2752" y="2095"/>
                  </a:lnTo>
                  <a:lnTo>
                    <a:pt x="2755" y="2095"/>
                  </a:lnTo>
                  <a:lnTo>
                    <a:pt x="2759" y="2091"/>
                  </a:lnTo>
                  <a:lnTo>
                    <a:pt x="2759" y="2091"/>
                  </a:lnTo>
                  <a:lnTo>
                    <a:pt x="2759" y="2091"/>
                  </a:lnTo>
                  <a:lnTo>
                    <a:pt x="2759" y="2088"/>
                  </a:lnTo>
                  <a:lnTo>
                    <a:pt x="2759" y="2088"/>
                  </a:lnTo>
                  <a:lnTo>
                    <a:pt x="2759" y="2088"/>
                  </a:lnTo>
                  <a:lnTo>
                    <a:pt x="2757" y="2088"/>
                  </a:lnTo>
                  <a:lnTo>
                    <a:pt x="2757" y="2088"/>
                  </a:lnTo>
                  <a:lnTo>
                    <a:pt x="2757" y="2088"/>
                  </a:lnTo>
                  <a:lnTo>
                    <a:pt x="2757" y="2088"/>
                  </a:lnTo>
                  <a:lnTo>
                    <a:pt x="2757" y="2086"/>
                  </a:lnTo>
                  <a:lnTo>
                    <a:pt x="2757" y="2086"/>
                  </a:lnTo>
                  <a:lnTo>
                    <a:pt x="2759" y="2086"/>
                  </a:lnTo>
                  <a:lnTo>
                    <a:pt x="2759" y="2086"/>
                  </a:lnTo>
                  <a:lnTo>
                    <a:pt x="2759" y="2086"/>
                  </a:lnTo>
                  <a:lnTo>
                    <a:pt x="2759" y="2086"/>
                  </a:lnTo>
                  <a:lnTo>
                    <a:pt x="2759" y="2084"/>
                  </a:lnTo>
                  <a:lnTo>
                    <a:pt x="2759" y="2084"/>
                  </a:lnTo>
                  <a:lnTo>
                    <a:pt x="2759" y="2084"/>
                  </a:lnTo>
                  <a:lnTo>
                    <a:pt x="2759" y="2084"/>
                  </a:lnTo>
                  <a:lnTo>
                    <a:pt x="2759" y="2084"/>
                  </a:lnTo>
                  <a:lnTo>
                    <a:pt x="2759" y="2084"/>
                  </a:lnTo>
                  <a:lnTo>
                    <a:pt x="2759" y="2081"/>
                  </a:lnTo>
                  <a:lnTo>
                    <a:pt x="2759" y="2081"/>
                  </a:lnTo>
                  <a:lnTo>
                    <a:pt x="2759" y="2081"/>
                  </a:lnTo>
                  <a:lnTo>
                    <a:pt x="2759" y="2079"/>
                  </a:lnTo>
                  <a:lnTo>
                    <a:pt x="2759" y="2079"/>
                  </a:lnTo>
                  <a:lnTo>
                    <a:pt x="2759" y="2079"/>
                  </a:lnTo>
                  <a:lnTo>
                    <a:pt x="2759" y="2079"/>
                  </a:lnTo>
                  <a:lnTo>
                    <a:pt x="2759" y="2079"/>
                  </a:lnTo>
                  <a:lnTo>
                    <a:pt x="2757" y="2077"/>
                  </a:lnTo>
                  <a:lnTo>
                    <a:pt x="2757" y="2079"/>
                  </a:lnTo>
                  <a:lnTo>
                    <a:pt x="2757" y="2079"/>
                  </a:lnTo>
                  <a:lnTo>
                    <a:pt x="2757" y="2079"/>
                  </a:lnTo>
                  <a:lnTo>
                    <a:pt x="2757" y="2079"/>
                  </a:lnTo>
                  <a:lnTo>
                    <a:pt x="2757" y="2079"/>
                  </a:lnTo>
                  <a:lnTo>
                    <a:pt x="2757" y="2079"/>
                  </a:lnTo>
                  <a:lnTo>
                    <a:pt x="2757" y="2077"/>
                  </a:lnTo>
                  <a:lnTo>
                    <a:pt x="2757" y="2077"/>
                  </a:lnTo>
                  <a:lnTo>
                    <a:pt x="2755" y="2079"/>
                  </a:lnTo>
                  <a:lnTo>
                    <a:pt x="2755" y="2079"/>
                  </a:lnTo>
                  <a:lnTo>
                    <a:pt x="2755" y="2079"/>
                  </a:lnTo>
                  <a:lnTo>
                    <a:pt x="2755" y="2079"/>
                  </a:lnTo>
                  <a:lnTo>
                    <a:pt x="2755" y="2079"/>
                  </a:lnTo>
                  <a:lnTo>
                    <a:pt x="2755" y="2077"/>
                  </a:lnTo>
                  <a:lnTo>
                    <a:pt x="2755" y="2077"/>
                  </a:lnTo>
                  <a:lnTo>
                    <a:pt x="2752" y="2077"/>
                  </a:lnTo>
                  <a:lnTo>
                    <a:pt x="2752" y="2079"/>
                  </a:lnTo>
                  <a:lnTo>
                    <a:pt x="2750" y="2077"/>
                  </a:lnTo>
                  <a:lnTo>
                    <a:pt x="2750" y="2077"/>
                  </a:lnTo>
                  <a:lnTo>
                    <a:pt x="2750" y="2077"/>
                  </a:lnTo>
                  <a:lnTo>
                    <a:pt x="2748" y="2077"/>
                  </a:lnTo>
                  <a:lnTo>
                    <a:pt x="2748" y="2077"/>
                  </a:lnTo>
                  <a:lnTo>
                    <a:pt x="2748" y="2077"/>
                  </a:lnTo>
                  <a:lnTo>
                    <a:pt x="2745" y="2077"/>
                  </a:lnTo>
                  <a:lnTo>
                    <a:pt x="2745" y="2077"/>
                  </a:lnTo>
                  <a:lnTo>
                    <a:pt x="2745" y="2077"/>
                  </a:lnTo>
                  <a:lnTo>
                    <a:pt x="2743" y="2077"/>
                  </a:lnTo>
                  <a:lnTo>
                    <a:pt x="2743" y="2077"/>
                  </a:lnTo>
                  <a:lnTo>
                    <a:pt x="2740" y="2077"/>
                  </a:lnTo>
                  <a:lnTo>
                    <a:pt x="2740" y="2077"/>
                  </a:lnTo>
                  <a:lnTo>
                    <a:pt x="2740" y="2077"/>
                  </a:lnTo>
                  <a:lnTo>
                    <a:pt x="2738" y="2079"/>
                  </a:lnTo>
                  <a:lnTo>
                    <a:pt x="2738" y="2079"/>
                  </a:lnTo>
                  <a:lnTo>
                    <a:pt x="2738" y="2077"/>
                  </a:lnTo>
                  <a:lnTo>
                    <a:pt x="2738" y="2077"/>
                  </a:lnTo>
                  <a:lnTo>
                    <a:pt x="2738" y="2077"/>
                  </a:lnTo>
                  <a:lnTo>
                    <a:pt x="2738" y="2077"/>
                  </a:lnTo>
                  <a:lnTo>
                    <a:pt x="2738" y="2077"/>
                  </a:lnTo>
                  <a:lnTo>
                    <a:pt x="2736" y="2077"/>
                  </a:lnTo>
                  <a:lnTo>
                    <a:pt x="2736" y="2077"/>
                  </a:lnTo>
                  <a:lnTo>
                    <a:pt x="2736" y="2077"/>
                  </a:lnTo>
                  <a:lnTo>
                    <a:pt x="2736" y="2077"/>
                  </a:lnTo>
                  <a:lnTo>
                    <a:pt x="2736" y="2077"/>
                  </a:lnTo>
                  <a:lnTo>
                    <a:pt x="2736" y="2077"/>
                  </a:lnTo>
                  <a:lnTo>
                    <a:pt x="2736" y="2077"/>
                  </a:lnTo>
                  <a:lnTo>
                    <a:pt x="2736" y="2077"/>
                  </a:lnTo>
                  <a:lnTo>
                    <a:pt x="2736" y="2077"/>
                  </a:lnTo>
                  <a:lnTo>
                    <a:pt x="2733" y="2079"/>
                  </a:lnTo>
                  <a:lnTo>
                    <a:pt x="2733" y="2079"/>
                  </a:lnTo>
                  <a:lnTo>
                    <a:pt x="2733" y="2081"/>
                  </a:lnTo>
                  <a:lnTo>
                    <a:pt x="2733" y="2081"/>
                  </a:lnTo>
                  <a:lnTo>
                    <a:pt x="2733" y="2084"/>
                  </a:lnTo>
                  <a:lnTo>
                    <a:pt x="2733" y="2084"/>
                  </a:lnTo>
                  <a:lnTo>
                    <a:pt x="2733" y="2081"/>
                  </a:lnTo>
                  <a:lnTo>
                    <a:pt x="2733" y="2081"/>
                  </a:lnTo>
                  <a:lnTo>
                    <a:pt x="2733" y="2081"/>
                  </a:lnTo>
                  <a:lnTo>
                    <a:pt x="2733" y="2084"/>
                  </a:lnTo>
                  <a:lnTo>
                    <a:pt x="2733" y="2084"/>
                  </a:lnTo>
                  <a:lnTo>
                    <a:pt x="2733" y="2084"/>
                  </a:lnTo>
                  <a:lnTo>
                    <a:pt x="2733" y="2084"/>
                  </a:lnTo>
                  <a:lnTo>
                    <a:pt x="2731" y="2084"/>
                  </a:lnTo>
                  <a:lnTo>
                    <a:pt x="2731" y="2081"/>
                  </a:lnTo>
                  <a:lnTo>
                    <a:pt x="2731" y="2081"/>
                  </a:lnTo>
                  <a:lnTo>
                    <a:pt x="2731" y="2084"/>
                  </a:lnTo>
                  <a:lnTo>
                    <a:pt x="2731" y="2084"/>
                  </a:lnTo>
                  <a:lnTo>
                    <a:pt x="2731" y="2081"/>
                  </a:lnTo>
                  <a:lnTo>
                    <a:pt x="2731" y="2084"/>
                  </a:lnTo>
                  <a:lnTo>
                    <a:pt x="2729" y="2084"/>
                  </a:lnTo>
                  <a:lnTo>
                    <a:pt x="2729" y="2081"/>
                  </a:lnTo>
                  <a:lnTo>
                    <a:pt x="2729" y="2084"/>
                  </a:lnTo>
                  <a:lnTo>
                    <a:pt x="2726" y="2084"/>
                  </a:lnTo>
                  <a:lnTo>
                    <a:pt x="2726" y="2086"/>
                  </a:lnTo>
                  <a:lnTo>
                    <a:pt x="2726" y="2086"/>
                  </a:lnTo>
                  <a:lnTo>
                    <a:pt x="2726" y="2088"/>
                  </a:lnTo>
                  <a:lnTo>
                    <a:pt x="2729" y="2088"/>
                  </a:lnTo>
                  <a:lnTo>
                    <a:pt x="2729" y="2088"/>
                  </a:lnTo>
                  <a:lnTo>
                    <a:pt x="2726" y="2091"/>
                  </a:lnTo>
                  <a:lnTo>
                    <a:pt x="2726" y="2091"/>
                  </a:lnTo>
                  <a:lnTo>
                    <a:pt x="2726" y="2091"/>
                  </a:lnTo>
                  <a:lnTo>
                    <a:pt x="2726" y="2093"/>
                  </a:lnTo>
                  <a:lnTo>
                    <a:pt x="2726" y="2093"/>
                  </a:lnTo>
                  <a:lnTo>
                    <a:pt x="2726" y="2093"/>
                  </a:lnTo>
                  <a:lnTo>
                    <a:pt x="2726" y="2091"/>
                  </a:lnTo>
                  <a:lnTo>
                    <a:pt x="2726" y="2088"/>
                  </a:lnTo>
                  <a:lnTo>
                    <a:pt x="2726" y="2088"/>
                  </a:lnTo>
                  <a:lnTo>
                    <a:pt x="2724" y="2088"/>
                  </a:lnTo>
                  <a:lnTo>
                    <a:pt x="2724" y="2088"/>
                  </a:lnTo>
                  <a:lnTo>
                    <a:pt x="2724" y="2086"/>
                  </a:lnTo>
                  <a:lnTo>
                    <a:pt x="2724" y="2086"/>
                  </a:lnTo>
                  <a:lnTo>
                    <a:pt x="2724" y="2086"/>
                  </a:lnTo>
                  <a:lnTo>
                    <a:pt x="2724" y="2084"/>
                  </a:lnTo>
                  <a:lnTo>
                    <a:pt x="2724" y="2084"/>
                  </a:lnTo>
                  <a:lnTo>
                    <a:pt x="2724" y="2084"/>
                  </a:lnTo>
                  <a:lnTo>
                    <a:pt x="2724" y="2084"/>
                  </a:lnTo>
                  <a:lnTo>
                    <a:pt x="2724" y="2081"/>
                  </a:lnTo>
                  <a:lnTo>
                    <a:pt x="2724" y="2081"/>
                  </a:lnTo>
                  <a:lnTo>
                    <a:pt x="2721" y="2084"/>
                  </a:lnTo>
                  <a:lnTo>
                    <a:pt x="2721" y="2084"/>
                  </a:lnTo>
                  <a:lnTo>
                    <a:pt x="2721" y="2084"/>
                  </a:lnTo>
                  <a:lnTo>
                    <a:pt x="2721" y="2084"/>
                  </a:lnTo>
                  <a:lnTo>
                    <a:pt x="2721" y="2084"/>
                  </a:lnTo>
                  <a:lnTo>
                    <a:pt x="2721" y="2081"/>
                  </a:lnTo>
                  <a:lnTo>
                    <a:pt x="2721" y="2081"/>
                  </a:lnTo>
                  <a:lnTo>
                    <a:pt x="2721" y="2079"/>
                  </a:lnTo>
                  <a:lnTo>
                    <a:pt x="2721" y="2079"/>
                  </a:lnTo>
                  <a:lnTo>
                    <a:pt x="2721" y="2079"/>
                  </a:lnTo>
                  <a:lnTo>
                    <a:pt x="2719" y="2079"/>
                  </a:lnTo>
                  <a:lnTo>
                    <a:pt x="2719" y="2081"/>
                  </a:lnTo>
                  <a:lnTo>
                    <a:pt x="2719" y="2081"/>
                  </a:lnTo>
                  <a:lnTo>
                    <a:pt x="2719" y="2081"/>
                  </a:lnTo>
                  <a:lnTo>
                    <a:pt x="2719" y="2084"/>
                  </a:lnTo>
                  <a:lnTo>
                    <a:pt x="2719" y="2086"/>
                  </a:lnTo>
                  <a:lnTo>
                    <a:pt x="2717" y="2086"/>
                  </a:lnTo>
                  <a:lnTo>
                    <a:pt x="2719" y="2086"/>
                  </a:lnTo>
                  <a:lnTo>
                    <a:pt x="2719" y="2086"/>
                  </a:lnTo>
                  <a:lnTo>
                    <a:pt x="2719" y="2088"/>
                  </a:lnTo>
                  <a:lnTo>
                    <a:pt x="2719" y="2088"/>
                  </a:lnTo>
                  <a:lnTo>
                    <a:pt x="2719" y="2088"/>
                  </a:lnTo>
                  <a:lnTo>
                    <a:pt x="2719" y="2088"/>
                  </a:lnTo>
                  <a:lnTo>
                    <a:pt x="2719" y="2088"/>
                  </a:lnTo>
                  <a:lnTo>
                    <a:pt x="2719" y="2088"/>
                  </a:lnTo>
                  <a:lnTo>
                    <a:pt x="2719" y="2088"/>
                  </a:lnTo>
                  <a:lnTo>
                    <a:pt x="2719" y="2091"/>
                  </a:lnTo>
                  <a:lnTo>
                    <a:pt x="2717" y="2091"/>
                  </a:lnTo>
                  <a:lnTo>
                    <a:pt x="2717" y="2091"/>
                  </a:lnTo>
                  <a:lnTo>
                    <a:pt x="2717" y="2091"/>
                  </a:lnTo>
                  <a:lnTo>
                    <a:pt x="2717" y="2091"/>
                  </a:lnTo>
                  <a:lnTo>
                    <a:pt x="2717" y="2093"/>
                  </a:lnTo>
                  <a:lnTo>
                    <a:pt x="2717" y="2093"/>
                  </a:lnTo>
                  <a:lnTo>
                    <a:pt x="2717" y="2093"/>
                  </a:lnTo>
                  <a:lnTo>
                    <a:pt x="2717" y="2093"/>
                  </a:lnTo>
                  <a:lnTo>
                    <a:pt x="2717" y="2093"/>
                  </a:lnTo>
                  <a:lnTo>
                    <a:pt x="2717" y="2093"/>
                  </a:lnTo>
                  <a:lnTo>
                    <a:pt x="2717" y="2093"/>
                  </a:lnTo>
                  <a:lnTo>
                    <a:pt x="2717" y="2093"/>
                  </a:lnTo>
                  <a:lnTo>
                    <a:pt x="2717" y="2093"/>
                  </a:lnTo>
                  <a:lnTo>
                    <a:pt x="2717" y="2093"/>
                  </a:lnTo>
                  <a:lnTo>
                    <a:pt x="2717" y="2093"/>
                  </a:lnTo>
                  <a:lnTo>
                    <a:pt x="2717" y="2093"/>
                  </a:lnTo>
                  <a:lnTo>
                    <a:pt x="2717" y="2093"/>
                  </a:lnTo>
                  <a:lnTo>
                    <a:pt x="2717" y="2095"/>
                  </a:lnTo>
                  <a:lnTo>
                    <a:pt x="2717" y="2095"/>
                  </a:lnTo>
                  <a:lnTo>
                    <a:pt x="2717" y="2095"/>
                  </a:lnTo>
                  <a:lnTo>
                    <a:pt x="2717" y="2098"/>
                  </a:lnTo>
                  <a:lnTo>
                    <a:pt x="2714" y="2095"/>
                  </a:lnTo>
                  <a:lnTo>
                    <a:pt x="2714" y="2095"/>
                  </a:lnTo>
                  <a:lnTo>
                    <a:pt x="2714" y="2095"/>
                  </a:lnTo>
                  <a:lnTo>
                    <a:pt x="2714" y="2095"/>
                  </a:lnTo>
                  <a:lnTo>
                    <a:pt x="2712" y="2091"/>
                  </a:lnTo>
                  <a:lnTo>
                    <a:pt x="2712" y="2091"/>
                  </a:lnTo>
                  <a:lnTo>
                    <a:pt x="2712" y="2091"/>
                  </a:lnTo>
                  <a:lnTo>
                    <a:pt x="2712" y="2091"/>
                  </a:lnTo>
                  <a:lnTo>
                    <a:pt x="2712" y="2091"/>
                  </a:lnTo>
                  <a:lnTo>
                    <a:pt x="2712" y="2091"/>
                  </a:lnTo>
                  <a:lnTo>
                    <a:pt x="2712" y="2093"/>
                  </a:lnTo>
                  <a:lnTo>
                    <a:pt x="2712" y="2093"/>
                  </a:lnTo>
                  <a:lnTo>
                    <a:pt x="2712" y="2093"/>
                  </a:lnTo>
                  <a:lnTo>
                    <a:pt x="2712" y="2093"/>
                  </a:lnTo>
                  <a:lnTo>
                    <a:pt x="2712" y="2095"/>
                  </a:lnTo>
                  <a:lnTo>
                    <a:pt x="2712" y="2093"/>
                  </a:lnTo>
                  <a:lnTo>
                    <a:pt x="2712" y="2095"/>
                  </a:lnTo>
                  <a:lnTo>
                    <a:pt x="2714" y="2095"/>
                  </a:lnTo>
                  <a:lnTo>
                    <a:pt x="2714" y="2095"/>
                  </a:lnTo>
                  <a:lnTo>
                    <a:pt x="2714" y="2098"/>
                  </a:lnTo>
                  <a:lnTo>
                    <a:pt x="2714" y="2098"/>
                  </a:lnTo>
                  <a:lnTo>
                    <a:pt x="2712" y="2098"/>
                  </a:lnTo>
                  <a:lnTo>
                    <a:pt x="2712" y="2098"/>
                  </a:lnTo>
                  <a:lnTo>
                    <a:pt x="2712" y="2098"/>
                  </a:lnTo>
                  <a:lnTo>
                    <a:pt x="2712" y="2098"/>
                  </a:lnTo>
                  <a:lnTo>
                    <a:pt x="2712" y="2098"/>
                  </a:lnTo>
                  <a:lnTo>
                    <a:pt x="2712" y="2098"/>
                  </a:lnTo>
                  <a:lnTo>
                    <a:pt x="2712" y="2098"/>
                  </a:lnTo>
                  <a:lnTo>
                    <a:pt x="2710" y="2100"/>
                  </a:lnTo>
                  <a:lnTo>
                    <a:pt x="2710" y="2100"/>
                  </a:lnTo>
                  <a:lnTo>
                    <a:pt x="2710" y="2103"/>
                  </a:lnTo>
                  <a:lnTo>
                    <a:pt x="2710" y="2103"/>
                  </a:lnTo>
                  <a:lnTo>
                    <a:pt x="2710" y="2103"/>
                  </a:lnTo>
                  <a:lnTo>
                    <a:pt x="2710" y="2100"/>
                  </a:lnTo>
                  <a:lnTo>
                    <a:pt x="2710" y="2100"/>
                  </a:lnTo>
                  <a:lnTo>
                    <a:pt x="2710" y="2098"/>
                  </a:lnTo>
                  <a:lnTo>
                    <a:pt x="2710" y="2098"/>
                  </a:lnTo>
                  <a:lnTo>
                    <a:pt x="2707" y="2095"/>
                  </a:lnTo>
                  <a:lnTo>
                    <a:pt x="2707" y="2098"/>
                  </a:lnTo>
                  <a:lnTo>
                    <a:pt x="2707" y="2098"/>
                  </a:lnTo>
                  <a:lnTo>
                    <a:pt x="2707" y="2095"/>
                  </a:lnTo>
                  <a:lnTo>
                    <a:pt x="2705" y="2095"/>
                  </a:lnTo>
                  <a:lnTo>
                    <a:pt x="2705" y="2098"/>
                  </a:lnTo>
                  <a:lnTo>
                    <a:pt x="2707" y="2098"/>
                  </a:lnTo>
                  <a:lnTo>
                    <a:pt x="2707" y="2098"/>
                  </a:lnTo>
                  <a:lnTo>
                    <a:pt x="2707" y="2098"/>
                  </a:lnTo>
                  <a:lnTo>
                    <a:pt x="2707" y="2100"/>
                  </a:lnTo>
                  <a:lnTo>
                    <a:pt x="2705" y="2105"/>
                  </a:lnTo>
                  <a:lnTo>
                    <a:pt x="2703" y="2105"/>
                  </a:lnTo>
                  <a:lnTo>
                    <a:pt x="2703" y="2105"/>
                  </a:lnTo>
                  <a:lnTo>
                    <a:pt x="2703" y="2107"/>
                  </a:lnTo>
                  <a:lnTo>
                    <a:pt x="2703" y="2107"/>
                  </a:lnTo>
                  <a:lnTo>
                    <a:pt x="2703" y="2107"/>
                  </a:lnTo>
                  <a:lnTo>
                    <a:pt x="2703" y="2107"/>
                  </a:lnTo>
                  <a:lnTo>
                    <a:pt x="2703" y="2107"/>
                  </a:lnTo>
                  <a:lnTo>
                    <a:pt x="2703" y="2107"/>
                  </a:lnTo>
                  <a:lnTo>
                    <a:pt x="2703" y="2107"/>
                  </a:lnTo>
                  <a:lnTo>
                    <a:pt x="2705" y="2107"/>
                  </a:lnTo>
                  <a:lnTo>
                    <a:pt x="2703" y="2107"/>
                  </a:lnTo>
                  <a:lnTo>
                    <a:pt x="2703" y="2110"/>
                  </a:lnTo>
                  <a:lnTo>
                    <a:pt x="2705" y="2110"/>
                  </a:lnTo>
                  <a:lnTo>
                    <a:pt x="2705" y="2112"/>
                  </a:lnTo>
                  <a:lnTo>
                    <a:pt x="2705" y="2112"/>
                  </a:lnTo>
                  <a:lnTo>
                    <a:pt x="2707" y="2110"/>
                  </a:lnTo>
                  <a:lnTo>
                    <a:pt x="2707" y="2110"/>
                  </a:lnTo>
                  <a:lnTo>
                    <a:pt x="2707" y="2110"/>
                  </a:lnTo>
                  <a:lnTo>
                    <a:pt x="2705" y="2112"/>
                  </a:lnTo>
                  <a:lnTo>
                    <a:pt x="2705" y="2112"/>
                  </a:lnTo>
                  <a:lnTo>
                    <a:pt x="2705" y="2114"/>
                  </a:lnTo>
                  <a:lnTo>
                    <a:pt x="2705" y="2114"/>
                  </a:lnTo>
                  <a:lnTo>
                    <a:pt x="2703" y="2114"/>
                  </a:lnTo>
                  <a:lnTo>
                    <a:pt x="2703" y="2117"/>
                  </a:lnTo>
                  <a:lnTo>
                    <a:pt x="2703" y="2117"/>
                  </a:lnTo>
                  <a:lnTo>
                    <a:pt x="2703" y="2114"/>
                  </a:lnTo>
                  <a:lnTo>
                    <a:pt x="2703" y="2114"/>
                  </a:lnTo>
                  <a:lnTo>
                    <a:pt x="2703" y="2112"/>
                  </a:lnTo>
                  <a:lnTo>
                    <a:pt x="2703" y="2112"/>
                  </a:lnTo>
                  <a:lnTo>
                    <a:pt x="2703" y="2112"/>
                  </a:lnTo>
                  <a:lnTo>
                    <a:pt x="2703" y="2112"/>
                  </a:lnTo>
                  <a:lnTo>
                    <a:pt x="2703" y="2112"/>
                  </a:lnTo>
                  <a:lnTo>
                    <a:pt x="2703" y="2110"/>
                  </a:lnTo>
                  <a:lnTo>
                    <a:pt x="2703" y="2110"/>
                  </a:lnTo>
                  <a:lnTo>
                    <a:pt x="2700" y="2110"/>
                  </a:lnTo>
                  <a:lnTo>
                    <a:pt x="2700" y="2110"/>
                  </a:lnTo>
                  <a:lnTo>
                    <a:pt x="2700" y="2110"/>
                  </a:lnTo>
                  <a:lnTo>
                    <a:pt x="2700" y="2107"/>
                  </a:lnTo>
                  <a:lnTo>
                    <a:pt x="2700" y="2107"/>
                  </a:lnTo>
                  <a:lnTo>
                    <a:pt x="2700" y="2107"/>
                  </a:lnTo>
                  <a:lnTo>
                    <a:pt x="2700" y="2107"/>
                  </a:lnTo>
                  <a:lnTo>
                    <a:pt x="2703" y="2105"/>
                  </a:lnTo>
                  <a:lnTo>
                    <a:pt x="2703" y="2105"/>
                  </a:lnTo>
                  <a:lnTo>
                    <a:pt x="2703" y="2105"/>
                  </a:lnTo>
                  <a:lnTo>
                    <a:pt x="2703" y="2103"/>
                  </a:lnTo>
                  <a:lnTo>
                    <a:pt x="2703" y="2103"/>
                  </a:lnTo>
                  <a:lnTo>
                    <a:pt x="2703" y="2103"/>
                  </a:lnTo>
                  <a:lnTo>
                    <a:pt x="2703" y="2100"/>
                  </a:lnTo>
                  <a:lnTo>
                    <a:pt x="2700" y="2100"/>
                  </a:lnTo>
                  <a:lnTo>
                    <a:pt x="2700" y="2098"/>
                  </a:lnTo>
                  <a:lnTo>
                    <a:pt x="2700" y="2098"/>
                  </a:lnTo>
                  <a:lnTo>
                    <a:pt x="2700" y="2095"/>
                  </a:lnTo>
                  <a:lnTo>
                    <a:pt x="2703" y="2095"/>
                  </a:lnTo>
                  <a:lnTo>
                    <a:pt x="2703" y="2095"/>
                  </a:lnTo>
                  <a:lnTo>
                    <a:pt x="2703" y="2095"/>
                  </a:lnTo>
                  <a:lnTo>
                    <a:pt x="2700" y="2093"/>
                  </a:lnTo>
                  <a:lnTo>
                    <a:pt x="2703" y="2093"/>
                  </a:lnTo>
                  <a:lnTo>
                    <a:pt x="2703" y="2093"/>
                  </a:lnTo>
                  <a:lnTo>
                    <a:pt x="2703" y="2091"/>
                  </a:lnTo>
                  <a:lnTo>
                    <a:pt x="2703" y="2091"/>
                  </a:lnTo>
                  <a:lnTo>
                    <a:pt x="2700" y="2091"/>
                  </a:lnTo>
                  <a:lnTo>
                    <a:pt x="2700" y="2088"/>
                  </a:lnTo>
                  <a:lnTo>
                    <a:pt x="2700" y="2088"/>
                  </a:lnTo>
                  <a:lnTo>
                    <a:pt x="2700" y="2088"/>
                  </a:lnTo>
                  <a:lnTo>
                    <a:pt x="2700" y="2088"/>
                  </a:lnTo>
                  <a:lnTo>
                    <a:pt x="2700" y="2088"/>
                  </a:lnTo>
                  <a:lnTo>
                    <a:pt x="2700" y="2088"/>
                  </a:lnTo>
                  <a:lnTo>
                    <a:pt x="2698" y="2088"/>
                  </a:lnTo>
                  <a:lnTo>
                    <a:pt x="2698" y="2088"/>
                  </a:lnTo>
                  <a:lnTo>
                    <a:pt x="2698" y="2091"/>
                  </a:lnTo>
                  <a:lnTo>
                    <a:pt x="2698" y="2091"/>
                  </a:lnTo>
                  <a:lnTo>
                    <a:pt x="2698" y="2091"/>
                  </a:lnTo>
                  <a:lnTo>
                    <a:pt x="2698" y="2091"/>
                  </a:lnTo>
                  <a:lnTo>
                    <a:pt x="2698" y="2091"/>
                  </a:lnTo>
                  <a:lnTo>
                    <a:pt x="2698" y="2091"/>
                  </a:lnTo>
                  <a:lnTo>
                    <a:pt x="2698" y="2091"/>
                  </a:lnTo>
                  <a:lnTo>
                    <a:pt x="2698" y="2091"/>
                  </a:lnTo>
                  <a:lnTo>
                    <a:pt x="2698" y="2091"/>
                  </a:lnTo>
                  <a:lnTo>
                    <a:pt x="2698" y="2091"/>
                  </a:lnTo>
                  <a:lnTo>
                    <a:pt x="2695" y="2091"/>
                  </a:lnTo>
                  <a:lnTo>
                    <a:pt x="2695" y="2091"/>
                  </a:lnTo>
                  <a:lnTo>
                    <a:pt x="2695" y="2091"/>
                  </a:lnTo>
                  <a:lnTo>
                    <a:pt x="2695" y="2091"/>
                  </a:lnTo>
                  <a:lnTo>
                    <a:pt x="2698" y="2093"/>
                  </a:lnTo>
                  <a:lnTo>
                    <a:pt x="2698" y="2093"/>
                  </a:lnTo>
                  <a:lnTo>
                    <a:pt x="2698" y="2095"/>
                  </a:lnTo>
                  <a:lnTo>
                    <a:pt x="2698" y="2095"/>
                  </a:lnTo>
                  <a:lnTo>
                    <a:pt x="2698" y="2095"/>
                  </a:lnTo>
                  <a:lnTo>
                    <a:pt x="2700" y="2098"/>
                  </a:lnTo>
                  <a:lnTo>
                    <a:pt x="2700" y="2098"/>
                  </a:lnTo>
                  <a:lnTo>
                    <a:pt x="2700" y="2098"/>
                  </a:lnTo>
                  <a:lnTo>
                    <a:pt x="2700" y="2098"/>
                  </a:lnTo>
                  <a:lnTo>
                    <a:pt x="2700" y="2098"/>
                  </a:lnTo>
                  <a:lnTo>
                    <a:pt x="2698" y="2100"/>
                  </a:lnTo>
                  <a:lnTo>
                    <a:pt x="2698" y="2100"/>
                  </a:lnTo>
                  <a:lnTo>
                    <a:pt x="2698" y="2100"/>
                  </a:lnTo>
                  <a:lnTo>
                    <a:pt x="2700" y="2100"/>
                  </a:lnTo>
                  <a:lnTo>
                    <a:pt x="2700" y="2103"/>
                  </a:lnTo>
                  <a:lnTo>
                    <a:pt x="2700" y="2103"/>
                  </a:lnTo>
                  <a:lnTo>
                    <a:pt x="2700" y="2103"/>
                  </a:lnTo>
                  <a:lnTo>
                    <a:pt x="2698" y="2100"/>
                  </a:lnTo>
                  <a:lnTo>
                    <a:pt x="2698" y="2100"/>
                  </a:lnTo>
                  <a:lnTo>
                    <a:pt x="2698" y="2100"/>
                  </a:lnTo>
                  <a:lnTo>
                    <a:pt x="2698" y="2100"/>
                  </a:lnTo>
                  <a:lnTo>
                    <a:pt x="2698" y="2100"/>
                  </a:lnTo>
                  <a:lnTo>
                    <a:pt x="2698" y="2100"/>
                  </a:lnTo>
                  <a:lnTo>
                    <a:pt x="2698" y="2098"/>
                  </a:lnTo>
                  <a:lnTo>
                    <a:pt x="2698" y="2098"/>
                  </a:lnTo>
                  <a:lnTo>
                    <a:pt x="2698" y="2098"/>
                  </a:lnTo>
                  <a:lnTo>
                    <a:pt x="2698" y="2098"/>
                  </a:lnTo>
                  <a:lnTo>
                    <a:pt x="2698" y="2098"/>
                  </a:lnTo>
                  <a:lnTo>
                    <a:pt x="2698" y="2098"/>
                  </a:lnTo>
                  <a:lnTo>
                    <a:pt x="2698" y="2098"/>
                  </a:lnTo>
                  <a:lnTo>
                    <a:pt x="2695" y="2100"/>
                  </a:lnTo>
                  <a:lnTo>
                    <a:pt x="2695" y="2100"/>
                  </a:lnTo>
                  <a:lnTo>
                    <a:pt x="2695" y="2103"/>
                  </a:lnTo>
                  <a:lnTo>
                    <a:pt x="2695" y="2100"/>
                  </a:lnTo>
                  <a:lnTo>
                    <a:pt x="2695" y="2100"/>
                  </a:lnTo>
                  <a:lnTo>
                    <a:pt x="2695" y="2100"/>
                  </a:lnTo>
                  <a:lnTo>
                    <a:pt x="2693" y="2103"/>
                  </a:lnTo>
                  <a:lnTo>
                    <a:pt x="2693" y="2100"/>
                  </a:lnTo>
                  <a:lnTo>
                    <a:pt x="2695" y="2100"/>
                  </a:lnTo>
                  <a:lnTo>
                    <a:pt x="2695" y="2095"/>
                  </a:lnTo>
                  <a:lnTo>
                    <a:pt x="2695" y="2095"/>
                  </a:lnTo>
                  <a:lnTo>
                    <a:pt x="2695" y="2095"/>
                  </a:lnTo>
                  <a:lnTo>
                    <a:pt x="2693" y="2098"/>
                  </a:lnTo>
                  <a:lnTo>
                    <a:pt x="2693" y="2098"/>
                  </a:lnTo>
                  <a:lnTo>
                    <a:pt x="2693" y="2098"/>
                  </a:lnTo>
                  <a:lnTo>
                    <a:pt x="2693" y="2098"/>
                  </a:lnTo>
                  <a:lnTo>
                    <a:pt x="2693" y="2093"/>
                  </a:lnTo>
                  <a:lnTo>
                    <a:pt x="2693" y="2093"/>
                  </a:lnTo>
                  <a:lnTo>
                    <a:pt x="2693" y="2093"/>
                  </a:lnTo>
                  <a:lnTo>
                    <a:pt x="2693" y="2093"/>
                  </a:lnTo>
                  <a:lnTo>
                    <a:pt x="2693" y="2093"/>
                  </a:lnTo>
                  <a:lnTo>
                    <a:pt x="2691" y="2095"/>
                  </a:lnTo>
                  <a:lnTo>
                    <a:pt x="2691" y="2095"/>
                  </a:lnTo>
                  <a:lnTo>
                    <a:pt x="2691" y="2095"/>
                  </a:lnTo>
                  <a:lnTo>
                    <a:pt x="2691" y="2095"/>
                  </a:lnTo>
                  <a:lnTo>
                    <a:pt x="2691" y="2098"/>
                  </a:lnTo>
                  <a:lnTo>
                    <a:pt x="2691" y="2095"/>
                  </a:lnTo>
                  <a:lnTo>
                    <a:pt x="2691" y="2098"/>
                  </a:lnTo>
                  <a:lnTo>
                    <a:pt x="2691" y="2098"/>
                  </a:lnTo>
                  <a:lnTo>
                    <a:pt x="2691" y="2098"/>
                  </a:lnTo>
                  <a:lnTo>
                    <a:pt x="2691" y="2098"/>
                  </a:lnTo>
                  <a:lnTo>
                    <a:pt x="2691" y="2098"/>
                  </a:lnTo>
                  <a:lnTo>
                    <a:pt x="2691" y="2098"/>
                  </a:lnTo>
                  <a:lnTo>
                    <a:pt x="2691" y="2098"/>
                  </a:lnTo>
                  <a:lnTo>
                    <a:pt x="2691" y="2098"/>
                  </a:lnTo>
                  <a:lnTo>
                    <a:pt x="2691" y="2100"/>
                  </a:lnTo>
                  <a:lnTo>
                    <a:pt x="2691" y="2100"/>
                  </a:lnTo>
                  <a:lnTo>
                    <a:pt x="2691" y="2100"/>
                  </a:lnTo>
                  <a:lnTo>
                    <a:pt x="2691" y="2103"/>
                  </a:lnTo>
                  <a:lnTo>
                    <a:pt x="2691" y="2103"/>
                  </a:lnTo>
                  <a:lnTo>
                    <a:pt x="2688" y="2103"/>
                  </a:lnTo>
                  <a:lnTo>
                    <a:pt x="2688" y="2103"/>
                  </a:lnTo>
                  <a:lnTo>
                    <a:pt x="2688" y="2100"/>
                  </a:lnTo>
                  <a:lnTo>
                    <a:pt x="2688" y="2100"/>
                  </a:lnTo>
                  <a:lnTo>
                    <a:pt x="2688" y="2100"/>
                  </a:lnTo>
                  <a:lnTo>
                    <a:pt x="2688" y="2098"/>
                  </a:lnTo>
                  <a:lnTo>
                    <a:pt x="2688" y="2095"/>
                  </a:lnTo>
                  <a:lnTo>
                    <a:pt x="2688" y="2095"/>
                  </a:lnTo>
                  <a:lnTo>
                    <a:pt x="2686" y="2098"/>
                  </a:lnTo>
                  <a:lnTo>
                    <a:pt x="2686" y="2100"/>
                  </a:lnTo>
                  <a:lnTo>
                    <a:pt x="2686" y="2100"/>
                  </a:lnTo>
                  <a:lnTo>
                    <a:pt x="2686" y="2103"/>
                  </a:lnTo>
                  <a:lnTo>
                    <a:pt x="2686" y="2103"/>
                  </a:lnTo>
                  <a:lnTo>
                    <a:pt x="2686" y="2103"/>
                  </a:lnTo>
                  <a:lnTo>
                    <a:pt x="2686" y="2103"/>
                  </a:lnTo>
                  <a:lnTo>
                    <a:pt x="2686" y="2103"/>
                  </a:lnTo>
                  <a:lnTo>
                    <a:pt x="2686" y="2103"/>
                  </a:lnTo>
                  <a:lnTo>
                    <a:pt x="2686" y="2103"/>
                  </a:lnTo>
                  <a:lnTo>
                    <a:pt x="2686" y="2100"/>
                  </a:lnTo>
                  <a:lnTo>
                    <a:pt x="2686" y="2103"/>
                  </a:lnTo>
                  <a:lnTo>
                    <a:pt x="2684" y="2103"/>
                  </a:lnTo>
                  <a:lnTo>
                    <a:pt x="2684" y="2100"/>
                  </a:lnTo>
                  <a:lnTo>
                    <a:pt x="2684" y="2100"/>
                  </a:lnTo>
                  <a:lnTo>
                    <a:pt x="2684" y="2100"/>
                  </a:lnTo>
                  <a:lnTo>
                    <a:pt x="2684" y="2100"/>
                  </a:lnTo>
                  <a:lnTo>
                    <a:pt x="2681" y="2103"/>
                  </a:lnTo>
                  <a:lnTo>
                    <a:pt x="2681" y="2103"/>
                  </a:lnTo>
                  <a:lnTo>
                    <a:pt x="2681" y="2100"/>
                  </a:lnTo>
                  <a:lnTo>
                    <a:pt x="2681" y="2100"/>
                  </a:lnTo>
                  <a:lnTo>
                    <a:pt x="2681" y="2100"/>
                  </a:lnTo>
                  <a:lnTo>
                    <a:pt x="2681" y="2100"/>
                  </a:lnTo>
                  <a:lnTo>
                    <a:pt x="2681" y="2100"/>
                  </a:lnTo>
                  <a:lnTo>
                    <a:pt x="2681" y="2100"/>
                  </a:lnTo>
                  <a:lnTo>
                    <a:pt x="2681" y="2100"/>
                  </a:lnTo>
                  <a:lnTo>
                    <a:pt x="2681" y="2100"/>
                  </a:lnTo>
                  <a:lnTo>
                    <a:pt x="2684" y="2100"/>
                  </a:lnTo>
                  <a:lnTo>
                    <a:pt x="2681" y="2100"/>
                  </a:lnTo>
                  <a:lnTo>
                    <a:pt x="2681" y="2100"/>
                  </a:lnTo>
                  <a:lnTo>
                    <a:pt x="2681" y="2100"/>
                  </a:lnTo>
                  <a:lnTo>
                    <a:pt x="2681" y="2100"/>
                  </a:lnTo>
                  <a:lnTo>
                    <a:pt x="2681" y="2100"/>
                  </a:lnTo>
                  <a:lnTo>
                    <a:pt x="2681" y="2100"/>
                  </a:lnTo>
                  <a:lnTo>
                    <a:pt x="2681" y="2100"/>
                  </a:lnTo>
                  <a:lnTo>
                    <a:pt x="2681" y="2098"/>
                  </a:lnTo>
                  <a:lnTo>
                    <a:pt x="2679" y="2098"/>
                  </a:lnTo>
                  <a:lnTo>
                    <a:pt x="2677" y="2100"/>
                  </a:lnTo>
                  <a:lnTo>
                    <a:pt x="2674" y="2103"/>
                  </a:lnTo>
                  <a:lnTo>
                    <a:pt x="2674" y="2103"/>
                  </a:lnTo>
                  <a:lnTo>
                    <a:pt x="2672" y="2105"/>
                  </a:lnTo>
                  <a:lnTo>
                    <a:pt x="2672" y="2107"/>
                  </a:lnTo>
                  <a:lnTo>
                    <a:pt x="2672" y="2107"/>
                  </a:lnTo>
                  <a:lnTo>
                    <a:pt x="2669" y="2107"/>
                  </a:lnTo>
                  <a:lnTo>
                    <a:pt x="2669" y="2107"/>
                  </a:lnTo>
                  <a:lnTo>
                    <a:pt x="2672" y="2105"/>
                  </a:lnTo>
                  <a:lnTo>
                    <a:pt x="2672" y="2105"/>
                  </a:lnTo>
                  <a:lnTo>
                    <a:pt x="2672" y="2105"/>
                  </a:lnTo>
                  <a:lnTo>
                    <a:pt x="2672" y="2103"/>
                  </a:lnTo>
                  <a:lnTo>
                    <a:pt x="2672" y="2103"/>
                  </a:lnTo>
                  <a:lnTo>
                    <a:pt x="2672" y="2103"/>
                  </a:lnTo>
                  <a:lnTo>
                    <a:pt x="2672" y="2103"/>
                  </a:lnTo>
                  <a:lnTo>
                    <a:pt x="2672" y="2103"/>
                  </a:lnTo>
                  <a:lnTo>
                    <a:pt x="2674" y="2100"/>
                  </a:lnTo>
                  <a:lnTo>
                    <a:pt x="2674" y="2100"/>
                  </a:lnTo>
                  <a:lnTo>
                    <a:pt x="2674" y="2098"/>
                  </a:lnTo>
                  <a:lnTo>
                    <a:pt x="2674" y="2095"/>
                  </a:lnTo>
                  <a:lnTo>
                    <a:pt x="2674" y="2095"/>
                  </a:lnTo>
                  <a:lnTo>
                    <a:pt x="2674" y="2095"/>
                  </a:lnTo>
                  <a:lnTo>
                    <a:pt x="2672" y="2095"/>
                  </a:lnTo>
                  <a:lnTo>
                    <a:pt x="2674" y="2093"/>
                  </a:lnTo>
                  <a:lnTo>
                    <a:pt x="2674" y="2093"/>
                  </a:lnTo>
                  <a:lnTo>
                    <a:pt x="2674" y="2093"/>
                  </a:lnTo>
                  <a:lnTo>
                    <a:pt x="2674" y="2093"/>
                  </a:lnTo>
                  <a:lnTo>
                    <a:pt x="2674" y="2093"/>
                  </a:lnTo>
                  <a:lnTo>
                    <a:pt x="2674" y="2091"/>
                  </a:lnTo>
                  <a:lnTo>
                    <a:pt x="2674" y="2091"/>
                  </a:lnTo>
                  <a:lnTo>
                    <a:pt x="2674" y="2091"/>
                  </a:lnTo>
                  <a:lnTo>
                    <a:pt x="2674" y="2091"/>
                  </a:lnTo>
                  <a:lnTo>
                    <a:pt x="2674" y="2091"/>
                  </a:lnTo>
                  <a:lnTo>
                    <a:pt x="2674" y="2091"/>
                  </a:lnTo>
                  <a:lnTo>
                    <a:pt x="2672" y="2091"/>
                  </a:lnTo>
                  <a:lnTo>
                    <a:pt x="2672" y="2091"/>
                  </a:lnTo>
                  <a:lnTo>
                    <a:pt x="2672" y="2091"/>
                  </a:lnTo>
                  <a:lnTo>
                    <a:pt x="2672" y="2093"/>
                  </a:lnTo>
                  <a:lnTo>
                    <a:pt x="2672" y="2093"/>
                  </a:lnTo>
                  <a:lnTo>
                    <a:pt x="2672" y="2093"/>
                  </a:lnTo>
                  <a:lnTo>
                    <a:pt x="2672" y="2093"/>
                  </a:lnTo>
                  <a:lnTo>
                    <a:pt x="2672" y="2093"/>
                  </a:lnTo>
                  <a:lnTo>
                    <a:pt x="2672" y="2091"/>
                  </a:lnTo>
                  <a:lnTo>
                    <a:pt x="2672" y="2091"/>
                  </a:lnTo>
                  <a:lnTo>
                    <a:pt x="2672" y="2091"/>
                  </a:lnTo>
                  <a:lnTo>
                    <a:pt x="2672" y="2091"/>
                  </a:lnTo>
                  <a:lnTo>
                    <a:pt x="2672" y="2091"/>
                  </a:lnTo>
                  <a:lnTo>
                    <a:pt x="2672" y="2091"/>
                  </a:lnTo>
                  <a:lnTo>
                    <a:pt x="2672" y="2091"/>
                  </a:lnTo>
                  <a:lnTo>
                    <a:pt x="2672" y="2091"/>
                  </a:lnTo>
                  <a:lnTo>
                    <a:pt x="2669" y="2091"/>
                  </a:lnTo>
                  <a:lnTo>
                    <a:pt x="2669" y="2091"/>
                  </a:lnTo>
                  <a:lnTo>
                    <a:pt x="2669" y="2093"/>
                  </a:lnTo>
                  <a:lnTo>
                    <a:pt x="2667" y="2095"/>
                  </a:lnTo>
                  <a:lnTo>
                    <a:pt x="2667" y="2098"/>
                  </a:lnTo>
                  <a:lnTo>
                    <a:pt x="2667" y="2100"/>
                  </a:lnTo>
                  <a:lnTo>
                    <a:pt x="2667" y="2100"/>
                  </a:lnTo>
                  <a:lnTo>
                    <a:pt x="2665" y="2100"/>
                  </a:lnTo>
                  <a:lnTo>
                    <a:pt x="2665" y="2100"/>
                  </a:lnTo>
                  <a:lnTo>
                    <a:pt x="2665" y="2098"/>
                  </a:lnTo>
                  <a:lnTo>
                    <a:pt x="2665" y="2098"/>
                  </a:lnTo>
                  <a:lnTo>
                    <a:pt x="2665" y="2098"/>
                  </a:lnTo>
                  <a:lnTo>
                    <a:pt x="2667" y="2095"/>
                  </a:lnTo>
                  <a:lnTo>
                    <a:pt x="2667" y="2093"/>
                  </a:lnTo>
                  <a:lnTo>
                    <a:pt x="2667" y="2093"/>
                  </a:lnTo>
                  <a:lnTo>
                    <a:pt x="2667" y="2091"/>
                  </a:lnTo>
                  <a:lnTo>
                    <a:pt x="2669" y="2091"/>
                  </a:lnTo>
                  <a:lnTo>
                    <a:pt x="2667" y="2091"/>
                  </a:lnTo>
                  <a:lnTo>
                    <a:pt x="2667" y="2091"/>
                  </a:lnTo>
                  <a:lnTo>
                    <a:pt x="2667" y="2091"/>
                  </a:lnTo>
                  <a:lnTo>
                    <a:pt x="2669" y="2091"/>
                  </a:lnTo>
                  <a:lnTo>
                    <a:pt x="2669" y="2091"/>
                  </a:lnTo>
                  <a:lnTo>
                    <a:pt x="2669" y="2091"/>
                  </a:lnTo>
                  <a:lnTo>
                    <a:pt x="2674" y="2084"/>
                  </a:lnTo>
                  <a:lnTo>
                    <a:pt x="2677" y="2081"/>
                  </a:lnTo>
                  <a:lnTo>
                    <a:pt x="2677" y="2081"/>
                  </a:lnTo>
                  <a:lnTo>
                    <a:pt x="2677" y="2079"/>
                  </a:lnTo>
                  <a:lnTo>
                    <a:pt x="2679" y="2077"/>
                  </a:lnTo>
                  <a:lnTo>
                    <a:pt x="2679" y="2077"/>
                  </a:lnTo>
                  <a:lnTo>
                    <a:pt x="2679" y="2074"/>
                  </a:lnTo>
                  <a:lnTo>
                    <a:pt x="2681" y="2074"/>
                  </a:lnTo>
                  <a:lnTo>
                    <a:pt x="2681" y="2074"/>
                  </a:lnTo>
                  <a:lnTo>
                    <a:pt x="2681" y="2072"/>
                  </a:lnTo>
                  <a:lnTo>
                    <a:pt x="2681" y="2072"/>
                  </a:lnTo>
                  <a:lnTo>
                    <a:pt x="2679" y="2072"/>
                  </a:lnTo>
                  <a:lnTo>
                    <a:pt x="2679" y="2069"/>
                  </a:lnTo>
                  <a:lnTo>
                    <a:pt x="2679" y="2069"/>
                  </a:lnTo>
                  <a:lnTo>
                    <a:pt x="2677" y="2072"/>
                  </a:lnTo>
                  <a:lnTo>
                    <a:pt x="2677" y="2074"/>
                  </a:lnTo>
                  <a:lnTo>
                    <a:pt x="2677" y="2074"/>
                  </a:lnTo>
                  <a:lnTo>
                    <a:pt x="2674" y="2074"/>
                  </a:lnTo>
                  <a:lnTo>
                    <a:pt x="2674" y="2074"/>
                  </a:lnTo>
                  <a:lnTo>
                    <a:pt x="2674" y="2074"/>
                  </a:lnTo>
                  <a:lnTo>
                    <a:pt x="2674" y="2077"/>
                  </a:lnTo>
                  <a:lnTo>
                    <a:pt x="2674" y="2077"/>
                  </a:lnTo>
                  <a:lnTo>
                    <a:pt x="2674" y="2077"/>
                  </a:lnTo>
                  <a:lnTo>
                    <a:pt x="2674" y="2077"/>
                  </a:lnTo>
                  <a:lnTo>
                    <a:pt x="2672" y="2077"/>
                  </a:lnTo>
                  <a:lnTo>
                    <a:pt x="2672" y="2077"/>
                  </a:lnTo>
                  <a:lnTo>
                    <a:pt x="2672" y="2077"/>
                  </a:lnTo>
                  <a:lnTo>
                    <a:pt x="2672" y="2077"/>
                  </a:lnTo>
                  <a:lnTo>
                    <a:pt x="2672" y="2077"/>
                  </a:lnTo>
                  <a:lnTo>
                    <a:pt x="2669" y="2077"/>
                  </a:lnTo>
                  <a:lnTo>
                    <a:pt x="2669" y="2077"/>
                  </a:lnTo>
                  <a:lnTo>
                    <a:pt x="2669" y="2077"/>
                  </a:lnTo>
                  <a:lnTo>
                    <a:pt x="2669" y="2077"/>
                  </a:lnTo>
                  <a:lnTo>
                    <a:pt x="2667" y="2077"/>
                  </a:lnTo>
                  <a:lnTo>
                    <a:pt x="2667" y="2077"/>
                  </a:lnTo>
                  <a:lnTo>
                    <a:pt x="2667" y="2077"/>
                  </a:lnTo>
                  <a:lnTo>
                    <a:pt x="2667" y="2074"/>
                  </a:lnTo>
                  <a:lnTo>
                    <a:pt x="2665" y="2074"/>
                  </a:lnTo>
                  <a:lnTo>
                    <a:pt x="2665" y="2074"/>
                  </a:lnTo>
                  <a:lnTo>
                    <a:pt x="2662" y="2074"/>
                  </a:lnTo>
                  <a:lnTo>
                    <a:pt x="2662" y="2077"/>
                  </a:lnTo>
                  <a:lnTo>
                    <a:pt x="2662" y="2077"/>
                  </a:lnTo>
                  <a:lnTo>
                    <a:pt x="2662" y="2079"/>
                  </a:lnTo>
                  <a:lnTo>
                    <a:pt x="2662" y="2079"/>
                  </a:lnTo>
                  <a:lnTo>
                    <a:pt x="2662" y="2077"/>
                  </a:lnTo>
                  <a:lnTo>
                    <a:pt x="2662" y="2077"/>
                  </a:lnTo>
                  <a:lnTo>
                    <a:pt x="2662" y="2077"/>
                  </a:lnTo>
                  <a:lnTo>
                    <a:pt x="2662" y="2077"/>
                  </a:lnTo>
                  <a:lnTo>
                    <a:pt x="2660" y="2077"/>
                  </a:lnTo>
                  <a:lnTo>
                    <a:pt x="2660" y="2079"/>
                  </a:lnTo>
                  <a:lnTo>
                    <a:pt x="2660" y="2081"/>
                  </a:lnTo>
                  <a:lnTo>
                    <a:pt x="2660" y="2084"/>
                  </a:lnTo>
                  <a:lnTo>
                    <a:pt x="2658" y="2084"/>
                  </a:lnTo>
                  <a:lnTo>
                    <a:pt x="2660" y="2081"/>
                  </a:lnTo>
                  <a:lnTo>
                    <a:pt x="2660" y="2081"/>
                  </a:lnTo>
                  <a:lnTo>
                    <a:pt x="2660" y="2079"/>
                  </a:lnTo>
                  <a:lnTo>
                    <a:pt x="2658" y="2077"/>
                  </a:lnTo>
                  <a:lnTo>
                    <a:pt x="2658" y="2077"/>
                  </a:lnTo>
                  <a:lnTo>
                    <a:pt x="2660" y="2074"/>
                  </a:lnTo>
                  <a:lnTo>
                    <a:pt x="2660" y="2074"/>
                  </a:lnTo>
                  <a:lnTo>
                    <a:pt x="2658" y="2074"/>
                  </a:lnTo>
                  <a:lnTo>
                    <a:pt x="2658" y="2074"/>
                  </a:lnTo>
                  <a:lnTo>
                    <a:pt x="2658" y="2074"/>
                  </a:lnTo>
                  <a:lnTo>
                    <a:pt x="2658" y="2072"/>
                  </a:lnTo>
                  <a:lnTo>
                    <a:pt x="2658" y="2072"/>
                  </a:lnTo>
                  <a:lnTo>
                    <a:pt x="2658" y="2072"/>
                  </a:lnTo>
                  <a:lnTo>
                    <a:pt x="2658" y="2072"/>
                  </a:lnTo>
                  <a:lnTo>
                    <a:pt x="2655" y="2072"/>
                  </a:lnTo>
                  <a:lnTo>
                    <a:pt x="2655" y="2072"/>
                  </a:lnTo>
                  <a:lnTo>
                    <a:pt x="2655" y="2072"/>
                  </a:lnTo>
                  <a:lnTo>
                    <a:pt x="2655" y="2072"/>
                  </a:lnTo>
                  <a:lnTo>
                    <a:pt x="2655" y="2072"/>
                  </a:lnTo>
                  <a:lnTo>
                    <a:pt x="2655" y="2072"/>
                  </a:lnTo>
                  <a:lnTo>
                    <a:pt x="2655" y="2072"/>
                  </a:lnTo>
                  <a:lnTo>
                    <a:pt x="2655" y="2072"/>
                  </a:lnTo>
                  <a:lnTo>
                    <a:pt x="2653" y="2074"/>
                  </a:lnTo>
                  <a:lnTo>
                    <a:pt x="2653" y="2079"/>
                  </a:lnTo>
                  <a:lnTo>
                    <a:pt x="2653" y="2079"/>
                  </a:lnTo>
                  <a:lnTo>
                    <a:pt x="2653" y="2079"/>
                  </a:lnTo>
                  <a:lnTo>
                    <a:pt x="2651" y="2081"/>
                  </a:lnTo>
                  <a:lnTo>
                    <a:pt x="2651" y="2086"/>
                  </a:lnTo>
                  <a:lnTo>
                    <a:pt x="2653" y="2086"/>
                  </a:lnTo>
                  <a:lnTo>
                    <a:pt x="2653" y="2086"/>
                  </a:lnTo>
                  <a:lnTo>
                    <a:pt x="2653" y="2088"/>
                  </a:lnTo>
                  <a:lnTo>
                    <a:pt x="2653" y="2086"/>
                  </a:lnTo>
                  <a:lnTo>
                    <a:pt x="2651" y="2086"/>
                  </a:lnTo>
                  <a:lnTo>
                    <a:pt x="2651" y="2088"/>
                  </a:lnTo>
                  <a:lnTo>
                    <a:pt x="2651" y="2088"/>
                  </a:lnTo>
                  <a:lnTo>
                    <a:pt x="2653" y="2088"/>
                  </a:lnTo>
                  <a:lnTo>
                    <a:pt x="2653" y="2091"/>
                  </a:lnTo>
                  <a:lnTo>
                    <a:pt x="2653" y="2091"/>
                  </a:lnTo>
                  <a:lnTo>
                    <a:pt x="2651" y="2088"/>
                  </a:lnTo>
                  <a:lnTo>
                    <a:pt x="2651" y="2088"/>
                  </a:lnTo>
                  <a:lnTo>
                    <a:pt x="2648" y="2091"/>
                  </a:lnTo>
                  <a:lnTo>
                    <a:pt x="2648" y="2093"/>
                  </a:lnTo>
                  <a:lnTo>
                    <a:pt x="2648" y="2093"/>
                  </a:lnTo>
                  <a:lnTo>
                    <a:pt x="2648" y="2093"/>
                  </a:lnTo>
                  <a:lnTo>
                    <a:pt x="2648" y="2093"/>
                  </a:lnTo>
                  <a:lnTo>
                    <a:pt x="2648" y="2093"/>
                  </a:lnTo>
                  <a:lnTo>
                    <a:pt x="2648" y="2095"/>
                  </a:lnTo>
                  <a:lnTo>
                    <a:pt x="2646" y="2103"/>
                  </a:lnTo>
                  <a:lnTo>
                    <a:pt x="2646" y="2105"/>
                  </a:lnTo>
                  <a:lnTo>
                    <a:pt x="2646" y="2107"/>
                  </a:lnTo>
                  <a:lnTo>
                    <a:pt x="2646" y="2110"/>
                  </a:lnTo>
                  <a:lnTo>
                    <a:pt x="2646" y="2110"/>
                  </a:lnTo>
                  <a:lnTo>
                    <a:pt x="2646" y="2112"/>
                  </a:lnTo>
                  <a:lnTo>
                    <a:pt x="2646" y="2110"/>
                  </a:lnTo>
                  <a:lnTo>
                    <a:pt x="2646" y="2110"/>
                  </a:lnTo>
                  <a:lnTo>
                    <a:pt x="2643" y="2107"/>
                  </a:lnTo>
                  <a:lnTo>
                    <a:pt x="2643" y="2103"/>
                  </a:lnTo>
                  <a:lnTo>
                    <a:pt x="2643" y="2103"/>
                  </a:lnTo>
                  <a:lnTo>
                    <a:pt x="2643" y="2103"/>
                  </a:lnTo>
                  <a:lnTo>
                    <a:pt x="2643" y="2100"/>
                  </a:lnTo>
                  <a:lnTo>
                    <a:pt x="2643" y="2100"/>
                  </a:lnTo>
                  <a:lnTo>
                    <a:pt x="2643" y="2100"/>
                  </a:lnTo>
                  <a:lnTo>
                    <a:pt x="2643" y="2100"/>
                  </a:lnTo>
                  <a:lnTo>
                    <a:pt x="2641" y="2100"/>
                  </a:lnTo>
                  <a:lnTo>
                    <a:pt x="2641" y="2100"/>
                  </a:lnTo>
                  <a:lnTo>
                    <a:pt x="2639" y="2103"/>
                  </a:lnTo>
                  <a:lnTo>
                    <a:pt x="2639" y="2103"/>
                  </a:lnTo>
                  <a:lnTo>
                    <a:pt x="2639" y="2100"/>
                  </a:lnTo>
                  <a:lnTo>
                    <a:pt x="2641" y="2098"/>
                  </a:lnTo>
                  <a:lnTo>
                    <a:pt x="2641" y="2098"/>
                  </a:lnTo>
                  <a:lnTo>
                    <a:pt x="2641" y="2098"/>
                  </a:lnTo>
                  <a:lnTo>
                    <a:pt x="2641" y="2095"/>
                  </a:lnTo>
                  <a:lnTo>
                    <a:pt x="2641" y="2095"/>
                  </a:lnTo>
                  <a:lnTo>
                    <a:pt x="2641" y="2095"/>
                  </a:lnTo>
                  <a:lnTo>
                    <a:pt x="2641" y="2095"/>
                  </a:lnTo>
                  <a:lnTo>
                    <a:pt x="2641" y="2095"/>
                  </a:lnTo>
                  <a:lnTo>
                    <a:pt x="2641" y="2095"/>
                  </a:lnTo>
                  <a:lnTo>
                    <a:pt x="2641" y="2093"/>
                  </a:lnTo>
                  <a:lnTo>
                    <a:pt x="2641" y="2093"/>
                  </a:lnTo>
                  <a:lnTo>
                    <a:pt x="2641" y="2093"/>
                  </a:lnTo>
                  <a:lnTo>
                    <a:pt x="2641" y="2093"/>
                  </a:lnTo>
                  <a:lnTo>
                    <a:pt x="2641" y="2093"/>
                  </a:lnTo>
                  <a:lnTo>
                    <a:pt x="2641" y="2091"/>
                  </a:lnTo>
                  <a:lnTo>
                    <a:pt x="2641" y="2088"/>
                  </a:lnTo>
                  <a:lnTo>
                    <a:pt x="2641" y="2088"/>
                  </a:lnTo>
                  <a:lnTo>
                    <a:pt x="2641" y="2091"/>
                  </a:lnTo>
                  <a:lnTo>
                    <a:pt x="2639" y="2091"/>
                  </a:lnTo>
                  <a:lnTo>
                    <a:pt x="2639" y="2091"/>
                  </a:lnTo>
                  <a:lnTo>
                    <a:pt x="2639" y="2091"/>
                  </a:lnTo>
                  <a:lnTo>
                    <a:pt x="2639" y="2091"/>
                  </a:lnTo>
                  <a:lnTo>
                    <a:pt x="2639" y="2086"/>
                  </a:lnTo>
                  <a:lnTo>
                    <a:pt x="2639" y="2086"/>
                  </a:lnTo>
                  <a:lnTo>
                    <a:pt x="2639" y="2084"/>
                  </a:lnTo>
                  <a:lnTo>
                    <a:pt x="2639" y="2081"/>
                  </a:lnTo>
                  <a:lnTo>
                    <a:pt x="2641" y="2081"/>
                  </a:lnTo>
                  <a:lnTo>
                    <a:pt x="2641" y="2081"/>
                  </a:lnTo>
                  <a:lnTo>
                    <a:pt x="2639" y="2081"/>
                  </a:lnTo>
                  <a:lnTo>
                    <a:pt x="2639" y="2079"/>
                  </a:lnTo>
                  <a:lnTo>
                    <a:pt x="2639" y="2079"/>
                  </a:lnTo>
                  <a:lnTo>
                    <a:pt x="2639" y="2079"/>
                  </a:lnTo>
                  <a:lnTo>
                    <a:pt x="2641" y="2079"/>
                  </a:lnTo>
                  <a:lnTo>
                    <a:pt x="2641" y="2079"/>
                  </a:lnTo>
                  <a:lnTo>
                    <a:pt x="2641" y="2079"/>
                  </a:lnTo>
                  <a:lnTo>
                    <a:pt x="2641" y="2074"/>
                  </a:lnTo>
                  <a:lnTo>
                    <a:pt x="2641" y="2074"/>
                  </a:lnTo>
                  <a:lnTo>
                    <a:pt x="2641" y="2072"/>
                  </a:lnTo>
                  <a:lnTo>
                    <a:pt x="2641" y="2072"/>
                  </a:lnTo>
                  <a:lnTo>
                    <a:pt x="2643" y="2069"/>
                  </a:lnTo>
                  <a:lnTo>
                    <a:pt x="2643" y="2067"/>
                  </a:lnTo>
                  <a:lnTo>
                    <a:pt x="2641" y="2067"/>
                  </a:lnTo>
                  <a:lnTo>
                    <a:pt x="2641" y="2065"/>
                  </a:lnTo>
                  <a:lnTo>
                    <a:pt x="2641" y="2065"/>
                  </a:lnTo>
                  <a:lnTo>
                    <a:pt x="2639" y="2065"/>
                  </a:lnTo>
                  <a:lnTo>
                    <a:pt x="2639" y="2065"/>
                  </a:lnTo>
                  <a:lnTo>
                    <a:pt x="2641" y="2065"/>
                  </a:lnTo>
                  <a:lnTo>
                    <a:pt x="2641" y="2065"/>
                  </a:lnTo>
                  <a:lnTo>
                    <a:pt x="2641" y="2065"/>
                  </a:lnTo>
                  <a:lnTo>
                    <a:pt x="2641" y="2065"/>
                  </a:lnTo>
                  <a:lnTo>
                    <a:pt x="2641" y="2065"/>
                  </a:lnTo>
                  <a:lnTo>
                    <a:pt x="2641" y="2062"/>
                  </a:lnTo>
                  <a:lnTo>
                    <a:pt x="2643" y="2062"/>
                  </a:lnTo>
                  <a:lnTo>
                    <a:pt x="2643" y="2060"/>
                  </a:lnTo>
                  <a:lnTo>
                    <a:pt x="2643" y="2058"/>
                  </a:lnTo>
                  <a:lnTo>
                    <a:pt x="2643" y="2058"/>
                  </a:lnTo>
                  <a:lnTo>
                    <a:pt x="2643" y="2055"/>
                  </a:lnTo>
                  <a:lnTo>
                    <a:pt x="2643" y="2055"/>
                  </a:lnTo>
                  <a:lnTo>
                    <a:pt x="2643" y="2055"/>
                  </a:lnTo>
                  <a:lnTo>
                    <a:pt x="2641" y="2055"/>
                  </a:lnTo>
                  <a:lnTo>
                    <a:pt x="2641" y="2055"/>
                  </a:lnTo>
                  <a:lnTo>
                    <a:pt x="2643" y="2055"/>
                  </a:lnTo>
                  <a:lnTo>
                    <a:pt x="2643" y="2055"/>
                  </a:lnTo>
                  <a:lnTo>
                    <a:pt x="2643" y="2053"/>
                  </a:lnTo>
                  <a:lnTo>
                    <a:pt x="2643" y="2051"/>
                  </a:lnTo>
                  <a:lnTo>
                    <a:pt x="2643" y="2051"/>
                  </a:lnTo>
                  <a:lnTo>
                    <a:pt x="2646" y="2048"/>
                  </a:lnTo>
                  <a:lnTo>
                    <a:pt x="2646" y="2048"/>
                  </a:lnTo>
                  <a:lnTo>
                    <a:pt x="2646" y="2048"/>
                  </a:lnTo>
                  <a:lnTo>
                    <a:pt x="2646" y="2046"/>
                  </a:lnTo>
                  <a:lnTo>
                    <a:pt x="2646" y="2046"/>
                  </a:lnTo>
                  <a:lnTo>
                    <a:pt x="2646" y="2046"/>
                  </a:lnTo>
                  <a:lnTo>
                    <a:pt x="2643" y="2046"/>
                  </a:lnTo>
                  <a:lnTo>
                    <a:pt x="2643" y="2046"/>
                  </a:lnTo>
                  <a:lnTo>
                    <a:pt x="2643" y="2043"/>
                  </a:lnTo>
                  <a:lnTo>
                    <a:pt x="2643" y="2043"/>
                  </a:lnTo>
                  <a:lnTo>
                    <a:pt x="2641" y="2043"/>
                  </a:lnTo>
                  <a:lnTo>
                    <a:pt x="2641" y="2043"/>
                  </a:lnTo>
                  <a:lnTo>
                    <a:pt x="2641" y="2041"/>
                  </a:lnTo>
                  <a:lnTo>
                    <a:pt x="2641" y="2041"/>
                  </a:lnTo>
                  <a:lnTo>
                    <a:pt x="2641" y="2041"/>
                  </a:lnTo>
                  <a:lnTo>
                    <a:pt x="2641" y="2041"/>
                  </a:lnTo>
                  <a:lnTo>
                    <a:pt x="2641" y="2041"/>
                  </a:lnTo>
                  <a:lnTo>
                    <a:pt x="2641" y="2041"/>
                  </a:lnTo>
                  <a:lnTo>
                    <a:pt x="2641" y="2039"/>
                  </a:lnTo>
                  <a:lnTo>
                    <a:pt x="2641" y="2039"/>
                  </a:lnTo>
                  <a:lnTo>
                    <a:pt x="2641" y="2036"/>
                  </a:lnTo>
                  <a:lnTo>
                    <a:pt x="2641" y="2036"/>
                  </a:lnTo>
                  <a:lnTo>
                    <a:pt x="2639" y="2036"/>
                  </a:lnTo>
                  <a:lnTo>
                    <a:pt x="2639" y="2036"/>
                  </a:lnTo>
                  <a:lnTo>
                    <a:pt x="2639" y="2034"/>
                  </a:lnTo>
                  <a:lnTo>
                    <a:pt x="2639" y="2034"/>
                  </a:lnTo>
                  <a:lnTo>
                    <a:pt x="2641" y="2034"/>
                  </a:lnTo>
                  <a:lnTo>
                    <a:pt x="2641" y="2036"/>
                  </a:lnTo>
                  <a:lnTo>
                    <a:pt x="2641" y="2036"/>
                  </a:lnTo>
                  <a:lnTo>
                    <a:pt x="2641" y="2039"/>
                  </a:lnTo>
                  <a:lnTo>
                    <a:pt x="2641" y="2039"/>
                  </a:lnTo>
                  <a:lnTo>
                    <a:pt x="2641" y="2039"/>
                  </a:lnTo>
                  <a:lnTo>
                    <a:pt x="2641" y="2041"/>
                  </a:lnTo>
                  <a:lnTo>
                    <a:pt x="2643" y="2041"/>
                  </a:lnTo>
                  <a:lnTo>
                    <a:pt x="2643" y="2041"/>
                  </a:lnTo>
                  <a:lnTo>
                    <a:pt x="2643" y="2041"/>
                  </a:lnTo>
                  <a:lnTo>
                    <a:pt x="2643" y="2041"/>
                  </a:lnTo>
                  <a:lnTo>
                    <a:pt x="2643" y="2041"/>
                  </a:lnTo>
                  <a:lnTo>
                    <a:pt x="2643" y="2041"/>
                  </a:lnTo>
                  <a:lnTo>
                    <a:pt x="2643" y="2043"/>
                  </a:lnTo>
                  <a:lnTo>
                    <a:pt x="2646" y="2043"/>
                  </a:lnTo>
                  <a:lnTo>
                    <a:pt x="2646" y="2041"/>
                  </a:lnTo>
                  <a:lnTo>
                    <a:pt x="2646" y="2041"/>
                  </a:lnTo>
                  <a:lnTo>
                    <a:pt x="2646" y="2039"/>
                  </a:lnTo>
                  <a:lnTo>
                    <a:pt x="2646" y="2039"/>
                  </a:lnTo>
                  <a:lnTo>
                    <a:pt x="2646" y="2039"/>
                  </a:lnTo>
                  <a:lnTo>
                    <a:pt x="2646" y="2036"/>
                  </a:lnTo>
                  <a:lnTo>
                    <a:pt x="2646" y="2034"/>
                  </a:lnTo>
                  <a:lnTo>
                    <a:pt x="2646" y="2032"/>
                  </a:lnTo>
                  <a:lnTo>
                    <a:pt x="2648" y="2032"/>
                  </a:lnTo>
                  <a:lnTo>
                    <a:pt x="2648" y="2032"/>
                  </a:lnTo>
                  <a:lnTo>
                    <a:pt x="2648" y="2034"/>
                  </a:lnTo>
                  <a:lnTo>
                    <a:pt x="2648" y="2032"/>
                  </a:lnTo>
                  <a:lnTo>
                    <a:pt x="2648" y="2032"/>
                  </a:lnTo>
                  <a:lnTo>
                    <a:pt x="2648" y="2032"/>
                  </a:lnTo>
                  <a:lnTo>
                    <a:pt x="2648" y="2029"/>
                  </a:lnTo>
                  <a:lnTo>
                    <a:pt x="2648" y="2029"/>
                  </a:lnTo>
                  <a:lnTo>
                    <a:pt x="2648" y="2029"/>
                  </a:lnTo>
                  <a:lnTo>
                    <a:pt x="2648" y="2029"/>
                  </a:lnTo>
                  <a:lnTo>
                    <a:pt x="2648" y="2032"/>
                  </a:lnTo>
                  <a:lnTo>
                    <a:pt x="2648" y="2029"/>
                  </a:lnTo>
                  <a:lnTo>
                    <a:pt x="2648" y="2029"/>
                  </a:lnTo>
                  <a:lnTo>
                    <a:pt x="2648" y="2029"/>
                  </a:lnTo>
                  <a:lnTo>
                    <a:pt x="2648" y="2027"/>
                  </a:lnTo>
                  <a:lnTo>
                    <a:pt x="2648" y="2029"/>
                  </a:lnTo>
                  <a:lnTo>
                    <a:pt x="2648" y="2029"/>
                  </a:lnTo>
                  <a:lnTo>
                    <a:pt x="2648" y="2029"/>
                  </a:lnTo>
                  <a:lnTo>
                    <a:pt x="2648" y="2029"/>
                  </a:lnTo>
                  <a:lnTo>
                    <a:pt x="2648" y="2027"/>
                  </a:lnTo>
                  <a:lnTo>
                    <a:pt x="2648" y="2027"/>
                  </a:lnTo>
                  <a:lnTo>
                    <a:pt x="2648" y="2027"/>
                  </a:lnTo>
                  <a:lnTo>
                    <a:pt x="2648" y="2027"/>
                  </a:lnTo>
                  <a:lnTo>
                    <a:pt x="2648" y="2027"/>
                  </a:lnTo>
                  <a:lnTo>
                    <a:pt x="2648" y="2027"/>
                  </a:lnTo>
                  <a:lnTo>
                    <a:pt x="2648" y="2025"/>
                  </a:lnTo>
                  <a:lnTo>
                    <a:pt x="2648" y="2025"/>
                  </a:lnTo>
                  <a:lnTo>
                    <a:pt x="2648" y="2022"/>
                  </a:lnTo>
                  <a:lnTo>
                    <a:pt x="2648" y="2022"/>
                  </a:lnTo>
                  <a:lnTo>
                    <a:pt x="2648" y="2022"/>
                  </a:lnTo>
                  <a:lnTo>
                    <a:pt x="2646" y="2022"/>
                  </a:lnTo>
                  <a:lnTo>
                    <a:pt x="2646" y="2022"/>
                  </a:lnTo>
                  <a:lnTo>
                    <a:pt x="2646" y="2022"/>
                  </a:lnTo>
                  <a:lnTo>
                    <a:pt x="2646" y="2022"/>
                  </a:lnTo>
                  <a:lnTo>
                    <a:pt x="2648" y="2022"/>
                  </a:lnTo>
                  <a:lnTo>
                    <a:pt x="2648" y="2022"/>
                  </a:lnTo>
                  <a:lnTo>
                    <a:pt x="2648" y="2022"/>
                  </a:lnTo>
                  <a:lnTo>
                    <a:pt x="2648" y="2020"/>
                  </a:lnTo>
                  <a:lnTo>
                    <a:pt x="2648" y="2020"/>
                  </a:lnTo>
                  <a:lnTo>
                    <a:pt x="2648" y="2020"/>
                  </a:lnTo>
                  <a:lnTo>
                    <a:pt x="2648" y="2020"/>
                  </a:lnTo>
                  <a:lnTo>
                    <a:pt x="2648" y="2017"/>
                  </a:lnTo>
                  <a:lnTo>
                    <a:pt x="2648" y="2017"/>
                  </a:lnTo>
                  <a:lnTo>
                    <a:pt x="2648" y="2017"/>
                  </a:lnTo>
                  <a:lnTo>
                    <a:pt x="2648" y="2017"/>
                  </a:lnTo>
                  <a:lnTo>
                    <a:pt x="2646" y="2017"/>
                  </a:lnTo>
                  <a:lnTo>
                    <a:pt x="2646" y="2015"/>
                  </a:lnTo>
                  <a:lnTo>
                    <a:pt x="2646" y="2015"/>
                  </a:lnTo>
                  <a:lnTo>
                    <a:pt x="2646" y="2015"/>
                  </a:lnTo>
                  <a:lnTo>
                    <a:pt x="2646" y="2015"/>
                  </a:lnTo>
                  <a:lnTo>
                    <a:pt x="2646" y="2015"/>
                  </a:lnTo>
                  <a:lnTo>
                    <a:pt x="2646" y="2015"/>
                  </a:lnTo>
                  <a:lnTo>
                    <a:pt x="2646" y="2015"/>
                  </a:lnTo>
                  <a:lnTo>
                    <a:pt x="2646" y="2013"/>
                  </a:lnTo>
                  <a:lnTo>
                    <a:pt x="2643" y="2013"/>
                  </a:lnTo>
                  <a:lnTo>
                    <a:pt x="2641" y="2015"/>
                  </a:lnTo>
                  <a:lnTo>
                    <a:pt x="2641" y="2015"/>
                  </a:lnTo>
                  <a:lnTo>
                    <a:pt x="2641" y="2015"/>
                  </a:lnTo>
                  <a:lnTo>
                    <a:pt x="2641" y="2017"/>
                  </a:lnTo>
                  <a:lnTo>
                    <a:pt x="2639" y="2017"/>
                  </a:lnTo>
                  <a:lnTo>
                    <a:pt x="2639" y="2017"/>
                  </a:lnTo>
                  <a:lnTo>
                    <a:pt x="2639" y="2017"/>
                  </a:lnTo>
                  <a:lnTo>
                    <a:pt x="2639" y="2017"/>
                  </a:lnTo>
                  <a:lnTo>
                    <a:pt x="2639" y="2017"/>
                  </a:lnTo>
                  <a:lnTo>
                    <a:pt x="2639" y="2017"/>
                  </a:lnTo>
                  <a:lnTo>
                    <a:pt x="2641" y="2020"/>
                  </a:lnTo>
                  <a:lnTo>
                    <a:pt x="2639" y="2020"/>
                  </a:lnTo>
                  <a:lnTo>
                    <a:pt x="2639" y="2020"/>
                  </a:lnTo>
                  <a:lnTo>
                    <a:pt x="2636" y="2017"/>
                  </a:lnTo>
                  <a:lnTo>
                    <a:pt x="2636" y="2017"/>
                  </a:lnTo>
                  <a:lnTo>
                    <a:pt x="2636" y="2017"/>
                  </a:lnTo>
                  <a:lnTo>
                    <a:pt x="2636" y="2017"/>
                  </a:lnTo>
                  <a:lnTo>
                    <a:pt x="2636" y="2017"/>
                  </a:lnTo>
                  <a:lnTo>
                    <a:pt x="2634" y="2017"/>
                  </a:lnTo>
                  <a:lnTo>
                    <a:pt x="2634" y="2017"/>
                  </a:lnTo>
                  <a:lnTo>
                    <a:pt x="2636" y="2015"/>
                  </a:lnTo>
                  <a:lnTo>
                    <a:pt x="2636" y="2015"/>
                  </a:lnTo>
                  <a:lnTo>
                    <a:pt x="2634" y="2015"/>
                  </a:lnTo>
                  <a:lnTo>
                    <a:pt x="2634" y="2015"/>
                  </a:lnTo>
                  <a:lnTo>
                    <a:pt x="2634" y="2015"/>
                  </a:lnTo>
                  <a:lnTo>
                    <a:pt x="2636" y="2015"/>
                  </a:lnTo>
                  <a:lnTo>
                    <a:pt x="2636" y="2015"/>
                  </a:lnTo>
                  <a:lnTo>
                    <a:pt x="2636" y="2015"/>
                  </a:lnTo>
                  <a:lnTo>
                    <a:pt x="2636" y="2015"/>
                  </a:lnTo>
                  <a:lnTo>
                    <a:pt x="2634" y="2013"/>
                  </a:lnTo>
                  <a:lnTo>
                    <a:pt x="2634" y="2013"/>
                  </a:lnTo>
                  <a:lnTo>
                    <a:pt x="2632" y="2013"/>
                  </a:lnTo>
                  <a:lnTo>
                    <a:pt x="2632" y="2013"/>
                  </a:lnTo>
                  <a:lnTo>
                    <a:pt x="2632" y="2013"/>
                  </a:lnTo>
                  <a:lnTo>
                    <a:pt x="2632" y="2010"/>
                  </a:lnTo>
                  <a:lnTo>
                    <a:pt x="2632" y="2010"/>
                  </a:lnTo>
                  <a:lnTo>
                    <a:pt x="2632" y="2010"/>
                  </a:lnTo>
                  <a:lnTo>
                    <a:pt x="2632" y="2010"/>
                  </a:lnTo>
                  <a:lnTo>
                    <a:pt x="2632" y="2010"/>
                  </a:lnTo>
                  <a:lnTo>
                    <a:pt x="2632" y="2010"/>
                  </a:lnTo>
                  <a:lnTo>
                    <a:pt x="2634" y="2010"/>
                  </a:lnTo>
                  <a:lnTo>
                    <a:pt x="2634" y="2010"/>
                  </a:lnTo>
                  <a:lnTo>
                    <a:pt x="2634" y="2010"/>
                  </a:lnTo>
                  <a:lnTo>
                    <a:pt x="2634" y="2010"/>
                  </a:lnTo>
                  <a:lnTo>
                    <a:pt x="2632" y="2008"/>
                  </a:lnTo>
                  <a:lnTo>
                    <a:pt x="2634" y="2010"/>
                  </a:lnTo>
                  <a:lnTo>
                    <a:pt x="2634" y="2010"/>
                  </a:lnTo>
                  <a:lnTo>
                    <a:pt x="2636" y="2010"/>
                  </a:lnTo>
                  <a:lnTo>
                    <a:pt x="2636" y="2010"/>
                  </a:lnTo>
                  <a:lnTo>
                    <a:pt x="2636" y="2008"/>
                  </a:lnTo>
                  <a:lnTo>
                    <a:pt x="2636" y="2008"/>
                  </a:lnTo>
                  <a:lnTo>
                    <a:pt x="2636" y="2008"/>
                  </a:lnTo>
                  <a:lnTo>
                    <a:pt x="2636" y="2008"/>
                  </a:lnTo>
                  <a:lnTo>
                    <a:pt x="2636" y="2008"/>
                  </a:lnTo>
                  <a:lnTo>
                    <a:pt x="2639" y="2008"/>
                  </a:lnTo>
                  <a:lnTo>
                    <a:pt x="2639" y="2008"/>
                  </a:lnTo>
                  <a:lnTo>
                    <a:pt x="2639" y="2008"/>
                  </a:lnTo>
                  <a:lnTo>
                    <a:pt x="2641" y="2008"/>
                  </a:lnTo>
                  <a:lnTo>
                    <a:pt x="2643" y="2006"/>
                  </a:lnTo>
                  <a:lnTo>
                    <a:pt x="2646" y="2008"/>
                  </a:lnTo>
                  <a:lnTo>
                    <a:pt x="2646" y="2008"/>
                  </a:lnTo>
                  <a:lnTo>
                    <a:pt x="2648" y="2008"/>
                  </a:lnTo>
                  <a:lnTo>
                    <a:pt x="2648" y="2008"/>
                  </a:lnTo>
                  <a:lnTo>
                    <a:pt x="2648" y="2006"/>
                  </a:lnTo>
                  <a:lnTo>
                    <a:pt x="2648" y="2006"/>
                  </a:lnTo>
                  <a:lnTo>
                    <a:pt x="2646" y="2006"/>
                  </a:lnTo>
                  <a:lnTo>
                    <a:pt x="2646" y="2006"/>
                  </a:lnTo>
                  <a:lnTo>
                    <a:pt x="2648" y="2006"/>
                  </a:lnTo>
                  <a:lnTo>
                    <a:pt x="2648" y="2006"/>
                  </a:lnTo>
                  <a:lnTo>
                    <a:pt x="2648" y="2006"/>
                  </a:lnTo>
                  <a:lnTo>
                    <a:pt x="2648" y="2006"/>
                  </a:lnTo>
                  <a:lnTo>
                    <a:pt x="2648" y="2003"/>
                  </a:lnTo>
                  <a:lnTo>
                    <a:pt x="2648" y="2003"/>
                  </a:lnTo>
                  <a:lnTo>
                    <a:pt x="2648" y="2003"/>
                  </a:lnTo>
                  <a:lnTo>
                    <a:pt x="2648" y="2003"/>
                  </a:lnTo>
                  <a:lnTo>
                    <a:pt x="2648" y="2003"/>
                  </a:lnTo>
                  <a:lnTo>
                    <a:pt x="2648" y="2003"/>
                  </a:lnTo>
                  <a:lnTo>
                    <a:pt x="2648" y="2003"/>
                  </a:lnTo>
                  <a:lnTo>
                    <a:pt x="2648" y="2003"/>
                  </a:lnTo>
                  <a:lnTo>
                    <a:pt x="2648" y="2003"/>
                  </a:lnTo>
                  <a:lnTo>
                    <a:pt x="2648" y="2003"/>
                  </a:lnTo>
                  <a:lnTo>
                    <a:pt x="2648" y="2003"/>
                  </a:lnTo>
                  <a:lnTo>
                    <a:pt x="2651" y="2003"/>
                  </a:lnTo>
                  <a:lnTo>
                    <a:pt x="2651" y="2001"/>
                  </a:lnTo>
                  <a:lnTo>
                    <a:pt x="2648" y="2001"/>
                  </a:lnTo>
                  <a:lnTo>
                    <a:pt x="2651" y="1999"/>
                  </a:lnTo>
                  <a:lnTo>
                    <a:pt x="2648" y="1999"/>
                  </a:lnTo>
                  <a:lnTo>
                    <a:pt x="2648" y="1999"/>
                  </a:lnTo>
                  <a:lnTo>
                    <a:pt x="2648" y="1996"/>
                  </a:lnTo>
                  <a:lnTo>
                    <a:pt x="2648" y="1996"/>
                  </a:lnTo>
                  <a:lnTo>
                    <a:pt x="2648" y="1996"/>
                  </a:lnTo>
                  <a:lnTo>
                    <a:pt x="2646" y="1996"/>
                  </a:lnTo>
                  <a:lnTo>
                    <a:pt x="2646" y="1996"/>
                  </a:lnTo>
                  <a:lnTo>
                    <a:pt x="2648" y="1996"/>
                  </a:lnTo>
                  <a:lnTo>
                    <a:pt x="2648" y="1996"/>
                  </a:lnTo>
                  <a:lnTo>
                    <a:pt x="2648" y="1996"/>
                  </a:lnTo>
                  <a:lnTo>
                    <a:pt x="2648" y="1994"/>
                  </a:lnTo>
                  <a:lnTo>
                    <a:pt x="2648" y="1994"/>
                  </a:lnTo>
                  <a:lnTo>
                    <a:pt x="2648" y="1994"/>
                  </a:lnTo>
                  <a:lnTo>
                    <a:pt x="2648" y="1994"/>
                  </a:lnTo>
                  <a:lnTo>
                    <a:pt x="2646" y="1994"/>
                  </a:lnTo>
                  <a:lnTo>
                    <a:pt x="2646" y="1994"/>
                  </a:lnTo>
                  <a:lnTo>
                    <a:pt x="2646" y="1991"/>
                  </a:lnTo>
                  <a:lnTo>
                    <a:pt x="2648" y="1991"/>
                  </a:lnTo>
                  <a:lnTo>
                    <a:pt x="2648" y="1991"/>
                  </a:lnTo>
                  <a:lnTo>
                    <a:pt x="2648" y="1991"/>
                  </a:lnTo>
                  <a:lnTo>
                    <a:pt x="2648" y="1991"/>
                  </a:lnTo>
                  <a:lnTo>
                    <a:pt x="2648" y="1991"/>
                  </a:lnTo>
                  <a:lnTo>
                    <a:pt x="2646" y="1991"/>
                  </a:lnTo>
                  <a:lnTo>
                    <a:pt x="2646" y="1991"/>
                  </a:lnTo>
                  <a:lnTo>
                    <a:pt x="2646" y="1991"/>
                  </a:lnTo>
                  <a:lnTo>
                    <a:pt x="2646" y="1991"/>
                  </a:lnTo>
                  <a:lnTo>
                    <a:pt x="2646" y="1991"/>
                  </a:lnTo>
                  <a:lnTo>
                    <a:pt x="2643" y="1991"/>
                  </a:lnTo>
                  <a:lnTo>
                    <a:pt x="2643" y="1991"/>
                  </a:lnTo>
                  <a:lnTo>
                    <a:pt x="2643" y="1994"/>
                  </a:lnTo>
                  <a:lnTo>
                    <a:pt x="2643" y="1994"/>
                  </a:lnTo>
                  <a:lnTo>
                    <a:pt x="2643" y="1994"/>
                  </a:lnTo>
                  <a:lnTo>
                    <a:pt x="2643" y="1994"/>
                  </a:lnTo>
                  <a:lnTo>
                    <a:pt x="2643" y="1994"/>
                  </a:lnTo>
                  <a:lnTo>
                    <a:pt x="2643" y="1994"/>
                  </a:lnTo>
                  <a:lnTo>
                    <a:pt x="2641" y="1994"/>
                  </a:lnTo>
                  <a:lnTo>
                    <a:pt x="2641" y="1994"/>
                  </a:lnTo>
                  <a:lnTo>
                    <a:pt x="2641" y="1994"/>
                  </a:lnTo>
                  <a:lnTo>
                    <a:pt x="2641" y="1994"/>
                  </a:lnTo>
                  <a:lnTo>
                    <a:pt x="2641" y="1994"/>
                  </a:lnTo>
                  <a:lnTo>
                    <a:pt x="2641" y="1994"/>
                  </a:lnTo>
                  <a:lnTo>
                    <a:pt x="2641" y="1994"/>
                  </a:lnTo>
                  <a:lnTo>
                    <a:pt x="2641" y="1991"/>
                  </a:lnTo>
                  <a:lnTo>
                    <a:pt x="2639" y="1994"/>
                  </a:lnTo>
                  <a:lnTo>
                    <a:pt x="2639" y="1996"/>
                  </a:lnTo>
                  <a:lnTo>
                    <a:pt x="2639" y="1996"/>
                  </a:lnTo>
                  <a:lnTo>
                    <a:pt x="2639" y="1994"/>
                  </a:lnTo>
                  <a:lnTo>
                    <a:pt x="2639" y="1996"/>
                  </a:lnTo>
                  <a:lnTo>
                    <a:pt x="2639" y="1996"/>
                  </a:lnTo>
                  <a:lnTo>
                    <a:pt x="2641" y="1996"/>
                  </a:lnTo>
                  <a:lnTo>
                    <a:pt x="2641" y="1996"/>
                  </a:lnTo>
                  <a:lnTo>
                    <a:pt x="2641" y="1999"/>
                  </a:lnTo>
                  <a:lnTo>
                    <a:pt x="2641" y="1999"/>
                  </a:lnTo>
                  <a:lnTo>
                    <a:pt x="2641" y="1999"/>
                  </a:lnTo>
                  <a:lnTo>
                    <a:pt x="2643" y="1999"/>
                  </a:lnTo>
                  <a:lnTo>
                    <a:pt x="2643" y="1999"/>
                  </a:lnTo>
                  <a:lnTo>
                    <a:pt x="2643" y="1999"/>
                  </a:lnTo>
                  <a:lnTo>
                    <a:pt x="2641" y="1999"/>
                  </a:lnTo>
                  <a:lnTo>
                    <a:pt x="2641" y="1999"/>
                  </a:lnTo>
                  <a:lnTo>
                    <a:pt x="2639" y="1999"/>
                  </a:lnTo>
                  <a:lnTo>
                    <a:pt x="2636" y="2001"/>
                  </a:lnTo>
                  <a:lnTo>
                    <a:pt x="2636" y="2001"/>
                  </a:lnTo>
                  <a:lnTo>
                    <a:pt x="2636" y="2001"/>
                  </a:lnTo>
                  <a:lnTo>
                    <a:pt x="2634" y="2001"/>
                  </a:lnTo>
                  <a:lnTo>
                    <a:pt x="2634" y="1999"/>
                  </a:lnTo>
                  <a:lnTo>
                    <a:pt x="2634" y="1999"/>
                  </a:lnTo>
                  <a:lnTo>
                    <a:pt x="2634" y="1999"/>
                  </a:lnTo>
                  <a:lnTo>
                    <a:pt x="2634" y="1999"/>
                  </a:lnTo>
                  <a:lnTo>
                    <a:pt x="2634" y="1994"/>
                  </a:lnTo>
                  <a:lnTo>
                    <a:pt x="2634" y="1994"/>
                  </a:lnTo>
                  <a:lnTo>
                    <a:pt x="2634" y="1996"/>
                  </a:lnTo>
                  <a:lnTo>
                    <a:pt x="2634" y="1996"/>
                  </a:lnTo>
                  <a:lnTo>
                    <a:pt x="2632" y="1996"/>
                  </a:lnTo>
                  <a:lnTo>
                    <a:pt x="2632" y="1994"/>
                  </a:lnTo>
                  <a:lnTo>
                    <a:pt x="2629" y="1999"/>
                  </a:lnTo>
                  <a:lnTo>
                    <a:pt x="2629" y="1999"/>
                  </a:lnTo>
                  <a:lnTo>
                    <a:pt x="2629" y="2001"/>
                  </a:lnTo>
                  <a:lnTo>
                    <a:pt x="2627" y="2003"/>
                  </a:lnTo>
                  <a:lnTo>
                    <a:pt x="2627" y="2003"/>
                  </a:lnTo>
                  <a:lnTo>
                    <a:pt x="2624" y="2006"/>
                  </a:lnTo>
                  <a:lnTo>
                    <a:pt x="2624" y="2006"/>
                  </a:lnTo>
                  <a:lnTo>
                    <a:pt x="2624" y="2006"/>
                  </a:lnTo>
                  <a:lnTo>
                    <a:pt x="2624" y="2008"/>
                  </a:lnTo>
                  <a:lnTo>
                    <a:pt x="2622" y="2008"/>
                  </a:lnTo>
                  <a:lnTo>
                    <a:pt x="2622" y="2010"/>
                  </a:lnTo>
                  <a:lnTo>
                    <a:pt x="2622" y="2010"/>
                  </a:lnTo>
                  <a:lnTo>
                    <a:pt x="2620" y="2013"/>
                  </a:lnTo>
                  <a:lnTo>
                    <a:pt x="2620" y="2013"/>
                  </a:lnTo>
                  <a:lnTo>
                    <a:pt x="2617" y="2013"/>
                  </a:lnTo>
                  <a:lnTo>
                    <a:pt x="2613" y="2020"/>
                  </a:lnTo>
                  <a:lnTo>
                    <a:pt x="2613" y="2022"/>
                  </a:lnTo>
                  <a:lnTo>
                    <a:pt x="2613" y="2022"/>
                  </a:lnTo>
                  <a:lnTo>
                    <a:pt x="2613" y="2022"/>
                  </a:lnTo>
                  <a:lnTo>
                    <a:pt x="2613" y="2025"/>
                  </a:lnTo>
                  <a:lnTo>
                    <a:pt x="2613" y="2025"/>
                  </a:lnTo>
                  <a:lnTo>
                    <a:pt x="2613" y="2025"/>
                  </a:lnTo>
                  <a:lnTo>
                    <a:pt x="2613" y="2027"/>
                  </a:lnTo>
                  <a:lnTo>
                    <a:pt x="2613" y="2027"/>
                  </a:lnTo>
                  <a:lnTo>
                    <a:pt x="2613" y="2027"/>
                  </a:lnTo>
                  <a:lnTo>
                    <a:pt x="2615" y="2027"/>
                  </a:lnTo>
                  <a:lnTo>
                    <a:pt x="2613" y="2027"/>
                  </a:lnTo>
                  <a:lnTo>
                    <a:pt x="2613" y="2027"/>
                  </a:lnTo>
                  <a:lnTo>
                    <a:pt x="2613" y="2027"/>
                  </a:lnTo>
                  <a:lnTo>
                    <a:pt x="2613" y="2029"/>
                  </a:lnTo>
                  <a:lnTo>
                    <a:pt x="2613" y="2029"/>
                  </a:lnTo>
                  <a:lnTo>
                    <a:pt x="2615" y="2032"/>
                  </a:lnTo>
                  <a:lnTo>
                    <a:pt x="2615" y="2032"/>
                  </a:lnTo>
                  <a:lnTo>
                    <a:pt x="2613" y="2032"/>
                  </a:lnTo>
                  <a:lnTo>
                    <a:pt x="2613" y="2034"/>
                  </a:lnTo>
                  <a:lnTo>
                    <a:pt x="2613" y="2034"/>
                  </a:lnTo>
                  <a:lnTo>
                    <a:pt x="2613" y="2036"/>
                  </a:lnTo>
                  <a:lnTo>
                    <a:pt x="2613" y="2036"/>
                  </a:lnTo>
                  <a:lnTo>
                    <a:pt x="2610" y="2036"/>
                  </a:lnTo>
                  <a:lnTo>
                    <a:pt x="2610" y="2039"/>
                  </a:lnTo>
                  <a:lnTo>
                    <a:pt x="2610" y="2039"/>
                  </a:lnTo>
                  <a:lnTo>
                    <a:pt x="2613" y="2039"/>
                  </a:lnTo>
                  <a:lnTo>
                    <a:pt x="2613" y="2039"/>
                  </a:lnTo>
                  <a:lnTo>
                    <a:pt x="2613" y="2039"/>
                  </a:lnTo>
                  <a:lnTo>
                    <a:pt x="2613" y="2039"/>
                  </a:lnTo>
                  <a:lnTo>
                    <a:pt x="2613" y="2041"/>
                  </a:lnTo>
                  <a:lnTo>
                    <a:pt x="2610" y="2041"/>
                  </a:lnTo>
                  <a:lnTo>
                    <a:pt x="2610" y="2041"/>
                  </a:lnTo>
                  <a:lnTo>
                    <a:pt x="2610" y="2041"/>
                  </a:lnTo>
                  <a:lnTo>
                    <a:pt x="2610" y="2039"/>
                  </a:lnTo>
                  <a:lnTo>
                    <a:pt x="2608" y="2041"/>
                  </a:lnTo>
                  <a:lnTo>
                    <a:pt x="2608" y="2041"/>
                  </a:lnTo>
                  <a:lnTo>
                    <a:pt x="2608" y="2041"/>
                  </a:lnTo>
                  <a:lnTo>
                    <a:pt x="2608" y="2041"/>
                  </a:lnTo>
                  <a:lnTo>
                    <a:pt x="2608" y="2041"/>
                  </a:lnTo>
                  <a:lnTo>
                    <a:pt x="2608" y="2041"/>
                  </a:lnTo>
                  <a:lnTo>
                    <a:pt x="2608" y="2041"/>
                  </a:lnTo>
                  <a:lnTo>
                    <a:pt x="2610" y="2041"/>
                  </a:lnTo>
                  <a:lnTo>
                    <a:pt x="2610" y="2041"/>
                  </a:lnTo>
                  <a:lnTo>
                    <a:pt x="2610" y="2043"/>
                  </a:lnTo>
                  <a:lnTo>
                    <a:pt x="2613" y="2041"/>
                  </a:lnTo>
                  <a:lnTo>
                    <a:pt x="2613" y="2041"/>
                  </a:lnTo>
                  <a:lnTo>
                    <a:pt x="2613" y="2043"/>
                  </a:lnTo>
                  <a:lnTo>
                    <a:pt x="2613" y="2043"/>
                  </a:lnTo>
                  <a:lnTo>
                    <a:pt x="2613" y="2043"/>
                  </a:lnTo>
                  <a:lnTo>
                    <a:pt x="2613" y="2043"/>
                  </a:lnTo>
                  <a:lnTo>
                    <a:pt x="2613" y="2043"/>
                  </a:lnTo>
                  <a:lnTo>
                    <a:pt x="2613" y="2043"/>
                  </a:lnTo>
                  <a:lnTo>
                    <a:pt x="2613" y="2043"/>
                  </a:lnTo>
                  <a:lnTo>
                    <a:pt x="2615" y="2043"/>
                  </a:lnTo>
                  <a:lnTo>
                    <a:pt x="2615" y="2043"/>
                  </a:lnTo>
                  <a:lnTo>
                    <a:pt x="2615" y="2043"/>
                  </a:lnTo>
                  <a:lnTo>
                    <a:pt x="2613" y="2046"/>
                  </a:lnTo>
                  <a:lnTo>
                    <a:pt x="2613" y="2046"/>
                  </a:lnTo>
                  <a:lnTo>
                    <a:pt x="2613" y="2046"/>
                  </a:lnTo>
                  <a:lnTo>
                    <a:pt x="2613" y="2046"/>
                  </a:lnTo>
                  <a:lnTo>
                    <a:pt x="2613" y="2046"/>
                  </a:lnTo>
                  <a:lnTo>
                    <a:pt x="2613" y="2046"/>
                  </a:lnTo>
                  <a:lnTo>
                    <a:pt x="2613" y="2048"/>
                  </a:lnTo>
                  <a:lnTo>
                    <a:pt x="2613" y="2048"/>
                  </a:lnTo>
                  <a:lnTo>
                    <a:pt x="2613" y="2051"/>
                  </a:lnTo>
                  <a:lnTo>
                    <a:pt x="2613" y="2051"/>
                  </a:lnTo>
                  <a:lnTo>
                    <a:pt x="2613" y="2051"/>
                  </a:lnTo>
                  <a:lnTo>
                    <a:pt x="2613" y="2051"/>
                  </a:lnTo>
                  <a:lnTo>
                    <a:pt x="2613" y="2053"/>
                  </a:lnTo>
                  <a:lnTo>
                    <a:pt x="2610" y="2053"/>
                  </a:lnTo>
                  <a:lnTo>
                    <a:pt x="2610" y="2055"/>
                  </a:lnTo>
                  <a:lnTo>
                    <a:pt x="2610" y="2055"/>
                  </a:lnTo>
                  <a:lnTo>
                    <a:pt x="2610" y="2055"/>
                  </a:lnTo>
                  <a:lnTo>
                    <a:pt x="2608" y="2055"/>
                  </a:lnTo>
                  <a:lnTo>
                    <a:pt x="2608" y="2055"/>
                  </a:lnTo>
                  <a:lnTo>
                    <a:pt x="2608" y="2058"/>
                  </a:lnTo>
                  <a:lnTo>
                    <a:pt x="2608" y="2058"/>
                  </a:lnTo>
                  <a:lnTo>
                    <a:pt x="2606" y="2060"/>
                  </a:lnTo>
                  <a:lnTo>
                    <a:pt x="2606" y="2060"/>
                  </a:lnTo>
                  <a:lnTo>
                    <a:pt x="2606" y="2060"/>
                  </a:lnTo>
                  <a:lnTo>
                    <a:pt x="2606" y="2060"/>
                  </a:lnTo>
                  <a:lnTo>
                    <a:pt x="2606" y="2060"/>
                  </a:lnTo>
                  <a:lnTo>
                    <a:pt x="2606" y="2060"/>
                  </a:lnTo>
                  <a:lnTo>
                    <a:pt x="2603" y="2060"/>
                  </a:lnTo>
                  <a:lnTo>
                    <a:pt x="2603" y="2060"/>
                  </a:lnTo>
                  <a:lnTo>
                    <a:pt x="2603" y="2060"/>
                  </a:lnTo>
                  <a:lnTo>
                    <a:pt x="2606" y="2062"/>
                  </a:lnTo>
                  <a:lnTo>
                    <a:pt x="2606" y="2060"/>
                  </a:lnTo>
                  <a:lnTo>
                    <a:pt x="2606" y="2060"/>
                  </a:lnTo>
                  <a:lnTo>
                    <a:pt x="2608" y="2062"/>
                  </a:lnTo>
                  <a:lnTo>
                    <a:pt x="2608" y="2062"/>
                  </a:lnTo>
                  <a:lnTo>
                    <a:pt x="2610" y="2062"/>
                  </a:lnTo>
                  <a:lnTo>
                    <a:pt x="2610" y="2062"/>
                  </a:lnTo>
                  <a:lnTo>
                    <a:pt x="2610" y="2062"/>
                  </a:lnTo>
                  <a:lnTo>
                    <a:pt x="2610" y="2062"/>
                  </a:lnTo>
                  <a:lnTo>
                    <a:pt x="2610" y="2062"/>
                  </a:lnTo>
                  <a:lnTo>
                    <a:pt x="2610" y="2062"/>
                  </a:lnTo>
                  <a:lnTo>
                    <a:pt x="2610" y="2062"/>
                  </a:lnTo>
                  <a:lnTo>
                    <a:pt x="2610" y="2062"/>
                  </a:lnTo>
                  <a:lnTo>
                    <a:pt x="2610" y="2062"/>
                  </a:lnTo>
                  <a:lnTo>
                    <a:pt x="2613" y="2062"/>
                  </a:lnTo>
                  <a:lnTo>
                    <a:pt x="2613" y="2062"/>
                  </a:lnTo>
                  <a:lnTo>
                    <a:pt x="2613" y="2062"/>
                  </a:lnTo>
                  <a:lnTo>
                    <a:pt x="2613" y="2062"/>
                  </a:lnTo>
                  <a:lnTo>
                    <a:pt x="2610" y="2065"/>
                  </a:lnTo>
                  <a:lnTo>
                    <a:pt x="2608" y="2065"/>
                  </a:lnTo>
                  <a:lnTo>
                    <a:pt x="2608" y="2065"/>
                  </a:lnTo>
                  <a:lnTo>
                    <a:pt x="2608" y="2067"/>
                  </a:lnTo>
                  <a:lnTo>
                    <a:pt x="2608" y="2069"/>
                  </a:lnTo>
                  <a:lnTo>
                    <a:pt x="2608" y="2069"/>
                  </a:lnTo>
                  <a:lnTo>
                    <a:pt x="2606" y="2072"/>
                  </a:lnTo>
                  <a:lnTo>
                    <a:pt x="2606" y="2072"/>
                  </a:lnTo>
                  <a:lnTo>
                    <a:pt x="2606" y="2074"/>
                  </a:lnTo>
                  <a:lnTo>
                    <a:pt x="2606" y="2074"/>
                  </a:lnTo>
                  <a:lnTo>
                    <a:pt x="2606" y="2074"/>
                  </a:lnTo>
                  <a:lnTo>
                    <a:pt x="2606" y="2077"/>
                  </a:lnTo>
                  <a:lnTo>
                    <a:pt x="2606" y="2079"/>
                  </a:lnTo>
                  <a:lnTo>
                    <a:pt x="2606" y="2079"/>
                  </a:lnTo>
                  <a:lnTo>
                    <a:pt x="2606" y="2079"/>
                  </a:lnTo>
                  <a:lnTo>
                    <a:pt x="2606" y="2079"/>
                  </a:lnTo>
                  <a:lnTo>
                    <a:pt x="2606" y="2079"/>
                  </a:lnTo>
                  <a:lnTo>
                    <a:pt x="2606" y="2079"/>
                  </a:lnTo>
                  <a:lnTo>
                    <a:pt x="2606" y="2079"/>
                  </a:lnTo>
                  <a:lnTo>
                    <a:pt x="2608" y="2079"/>
                  </a:lnTo>
                  <a:lnTo>
                    <a:pt x="2608" y="2079"/>
                  </a:lnTo>
                  <a:lnTo>
                    <a:pt x="2608" y="2081"/>
                  </a:lnTo>
                  <a:lnTo>
                    <a:pt x="2608" y="2081"/>
                  </a:lnTo>
                  <a:lnTo>
                    <a:pt x="2608" y="2084"/>
                  </a:lnTo>
                  <a:lnTo>
                    <a:pt x="2608" y="2088"/>
                  </a:lnTo>
                  <a:lnTo>
                    <a:pt x="2608" y="2088"/>
                  </a:lnTo>
                  <a:lnTo>
                    <a:pt x="2608" y="2088"/>
                  </a:lnTo>
                  <a:lnTo>
                    <a:pt x="2608" y="2091"/>
                  </a:lnTo>
                  <a:lnTo>
                    <a:pt x="2608" y="2093"/>
                  </a:lnTo>
                  <a:lnTo>
                    <a:pt x="2608" y="2098"/>
                  </a:lnTo>
                  <a:lnTo>
                    <a:pt x="2608" y="2100"/>
                  </a:lnTo>
                  <a:lnTo>
                    <a:pt x="2608" y="2103"/>
                  </a:lnTo>
                  <a:lnTo>
                    <a:pt x="2608" y="2105"/>
                  </a:lnTo>
                  <a:lnTo>
                    <a:pt x="2608" y="2107"/>
                  </a:lnTo>
                  <a:lnTo>
                    <a:pt x="2608" y="2107"/>
                  </a:lnTo>
                  <a:lnTo>
                    <a:pt x="2608" y="2110"/>
                  </a:lnTo>
                  <a:lnTo>
                    <a:pt x="2608" y="2110"/>
                  </a:lnTo>
                  <a:lnTo>
                    <a:pt x="2608" y="2112"/>
                  </a:lnTo>
                  <a:lnTo>
                    <a:pt x="2608" y="2112"/>
                  </a:lnTo>
                  <a:lnTo>
                    <a:pt x="2608" y="2112"/>
                  </a:lnTo>
                  <a:lnTo>
                    <a:pt x="2608" y="2112"/>
                  </a:lnTo>
                  <a:lnTo>
                    <a:pt x="2608" y="2112"/>
                  </a:lnTo>
                  <a:lnTo>
                    <a:pt x="2606" y="2114"/>
                  </a:lnTo>
                  <a:lnTo>
                    <a:pt x="2606" y="2114"/>
                  </a:lnTo>
                  <a:lnTo>
                    <a:pt x="2606" y="2114"/>
                  </a:lnTo>
                  <a:lnTo>
                    <a:pt x="2606" y="2117"/>
                  </a:lnTo>
                  <a:lnTo>
                    <a:pt x="2606" y="2119"/>
                  </a:lnTo>
                  <a:lnTo>
                    <a:pt x="2608" y="2122"/>
                  </a:lnTo>
                  <a:lnTo>
                    <a:pt x="2608" y="2122"/>
                  </a:lnTo>
                  <a:lnTo>
                    <a:pt x="2610" y="2122"/>
                  </a:lnTo>
                  <a:lnTo>
                    <a:pt x="2610" y="2122"/>
                  </a:lnTo>
                  <a:lnTo>
                    <a:pt x="2610" y="2124"/>
                  </a:lnTo>
                  <a:lnTo>
                    <a:pt x="2610" y="2124"/>
                  </a:lnTo>
                  <a:lnTo>
                    <a:pt x="2610" y="2124"/>
                  </a:lnTo>
                  <a:lnTo>
                    <a:pt x="2610" y="2124"/>
                  </a:lnTo>
                  <a:lnTo>
                    <a:pt x="2610" y="2124"/>
                  </a:lnTo>
                  <a:lnTo>
                    <a:pt x="2610" y="2124"/>
                  </a:lnTo>
                  <a:lnTo>
                    <a:pt x="2610" y="2124"/>
                  </a:lnTo>
                  <a:lnTo>
                    <a:pt x="2613" y="2124"/>
                  </a:lnTo>
                  <a:lnTo>
                    <a:pt x="2613" y="2126"/>
                  </a:lnTo>
                  <a:lnTo>
                    <a:pt x="2613" y="2126"/>
                  </a:lnTo>
                  <a:lnTo>
                    <a:pt x="2613" y="2126"/>
                  </a:lnTo>
                  <a:lnTo>
                    <a:pt x="2613" y="2124"/>
                  </a:lnTo>
                  <a:lnTo>
                    <a:pt x="2613" y="2124"/>
                  </a:lnTo>
                  <a:lnTo>
                    <a:pt x="2613" y="2124"/>
                  </a:lnTo>
                  <a:lnTo>
                    <a:pt x="2615" y="2124"/>
                  </a:lnTo>
                  <a:lnTo>
                    <a:pt x="2615" y="2126"/>
                  </a:lnTo>
                  <a:lnTo>
                    <a:pt x="2617" y="2126"/>
                  </a:lnTo>
                  <a:lnTo>
                    <a:pt x="2620" y="2126"/>
                  </a:lnTo>
                  <a:lnTo>
                    <a:pt x="2620" y="2126"/>
                  </a:lnTo>
                  <a:lnTo>
                    <a:pt x="2617" y="2126"/>
                  </a:lnTo>
                  <a:lnTo>
                    <a:pt x="2617" y="2126"/>
                  </a:lnTo>
                  <a:lnTo>
                    <a:pt x="2615" y="2126"/>
                  </a:lnTo>
                  <a:lnTo>
                    <a:pt x="2615" y="2126"/>
                  </a:lnTo>
                  <a:lnTo>
                    <a:pt x="2613" y="2126"/>
                  </a:lnTo>
                  <a:lnTo>
                    <a:pt x="2613" y="2126"/>
                  </a:lnTo>
                  <a:lnTo>
                    <a:pt x="2613" y="2129"/>
                  </a:lnTo>
                  <a:lnTo>
                    <a:pt x="2613" y="2129"/>
                  </a:lnTo>
                  <a:lnTo>
                    <a:pt x="2615" y="2131"/>
                  </a:lnTo>
                  <a:lnTo>
                    <a:pt x="2613" y="2131"/>
                  </a:lnTo>
                  <a:lnTo>
                    <a:pt x="2613" y="2129"/>
                  </a:lnTo>
                  <a:lnTo>
                    <a:pt x="2613" y="2129"/>
                  </a:lnTo>
                  <a:lnTo>
                    <a:pt x="2610" y="2126"/>
                  </a:lnTo>
                  <a:lnTo>
                    <a:pt x="2610" y="2126"/>
                  </a:lnTo>
                  <a:lnTo>
                    <a:pt x="2610" y="2126"/>
                  </a:lnTo>
                  <a:lnTo>
                    <a:pt x="2608" y="2126"/>
                  </a:lnTo>
                  <a:lnTo>
                    <a:pt x="2608" y="2126"/>
                  </a:lnTo>
                  <a:lnTo>
                    <a:pt x="2608" y="2126"/>
                  </a:lnTo>
                  <a:lnTo>
                    <a:pt x="2606" y="2129"/>
                  </a:lnTo>
                  <a:lnTo>
                    <a:pt x="2606" y="2129"/>
                  </a:lnTo>
                  <a:lnTo>
                    <a:pt x="2606" y="2131"/>
                  </a:lnTo>
                  <a:lnTo>
                    <a:pt x="2603" y="2133"/>
                  </a:lnTo>
                  <a:lnTo>
                    <a:pt x="2603" y="2136"/>
                  </a:lnTo>
                  <a:lnTo>
                    <a:pt x="2603" y="2138"/>
                  </a:lnTo>
                  <a:lnTo>
                    <a:pt x="2606" y="2140"/>
                  </a:lnTo>
                  <a:lnTo>
                    <a:pt x="2606" y="2143"/>
                  </a:lnTo>
                  <a:lnTo>
                    <a:pt x="2606" y="2143"/>
                  </a:lnTo>
                  <a:lnTo>
                    <a:pt x="2606" y="2143"/>
                  </a:lnTo>
                  <a:lnTo>
                    <a:pt x="2608" y="2143"/>
                  </a:lnTo>
                  <a:lnTo>
                    <a:pt x="2610" y="2143"/>
                  </a:lnTo>
                  <a:lnTo>
                    <a:pt x="2613" y="2143"/>
                  </a:lnTo>
                  <a:lnTo>
                    <a:pt x="2615" y="2143"/>
                  </a:lnTo>
                  <a:lnTo>
                    <a:pt x="2615" y="2143"/>
                  </a:lnTo>
                  <a:lnTo>
                    <a:pt x="2615" y="2140"/>
                  </a:lnTo>
                  <a:lnTo>
                    <a:pt x="2615" y="2140"/>
                  </a:lnTo>
                  <a:lnTo>
                    <a:pt x="2615" y="2143"/>
                  </a:lnTo>
                  <a:lnTo>
                    <a:pt x="2615" y="2143"/>
                  </a:lnTo>
                  <a:lnTo>
                    <a:pt x="2615" y="2145"/>
                  </a:lnTo>
                  <a:lnTo>
                    <a:pt x="2613" y="2145"/>
                  </a:lnTo>
                  <a:lnTo>
                    <a:pt x="2613" y="2148"/>
                  </a:lnTo>
                  <a:lnTo>
                    <a:pt x="2613" y="2148"/>
                  </a:lnTo>
                  <a:lnTo>
                    <a:pt x="2615" y="2145"/>
                  </a:lnTo>
                  <a:lnTo>
                    <a:pt x="2617" y="2143"/>
                  </a:lnTo>
                  <a:lnTo>
                    <a:pt x="2617" y="2143"/>
                  </a:lnTo>
                  <a:lnTo>
                    <a:pt x="2617" y="2145"/>
                  </a:lnTo>
                  <a:lnTo>
                    <a:pt x="2617" y="2145"/>
                  </a:lnTo>
                  <a:lnTo>
                    <a:pt x="2617" y="2145"/>
                  </a:lnTo>
                  <a:lnTo>
                    <a:pt x="2617" y="2145"/>
                  </a:lnTo>
                  <a:lnTo>
                    <a:pt x="2617" y="2145"/>
                  </a:lnTo>
                  <a:lnTo>
                    <a:pt x="2620" y="2143"/>
                  </a:lnTo>
                  <a:lnTo>
                    <a:pt x="2620" y="2143"/>
                  </a:lnTo>
                  <a:lnTo>
                    <a:pt x="2620" y="2143"/>
                  </a:lnTo>
                  <a:lnTo>
                    <a:pt x="2620" y="2145"/>
                  </a:lnTo>
                  <a:lnTo>
                    <a:pt x="2620" y="2145"/>
                  </a:lnTo>
                  <a:lnTo>
                    <a:pt x="2617" y="2145"/>
                  </a:lnTo>
                  <a:lnTo>
                    <a:pt x="2615" y="2148"/>
                  </a:lnTo>
                  <a:lnTo>
                    <a:pt x="2615" y="2148"/>
                  </a:lnTo>
                  <a:lnTo>
                    <a:pt x="2613" y="2148"/>
                  </a:lnTo>
                  <a:lnTo>
                    <a:pt x="2613" y="2148"/>
                  </a:lnTo>
                  <a:lnTo>
                    <a:pt x="2613" y="2150"/>
                  </a:lnTo>
                  <a:lnTo>
                    <a:pt x="2613" y="2150"/>
                  </a:lnTo>
                  <a:lnTo>
                    <a:pt x="2613" y="2150"/>
                  </a:lnTo>
                  <a:lnTo>
                    <a:pt x="2613" y="2150"/>
                  </a:lnTo>
                  <a:lnTo>
                    <a:pt x="2613" y="2152"/>
                  </a:lnTo>
                  <a:lnTo>
                    <a:pt x="2615" y="2152"/>
                  </a:lnTo>
                  <a:lnTo>
                    <a:pt x="2615" y="2152"/>
                  </a:lnTo>
                  <a:lnTo>
                    <a:pt x="2617" y="2155"/>
                  </a:lnTo>
                  <a:lnTo>
                    <a:pt x="2617" y="2155"/>
                  </a:lnTo>
                  <a:lnTo>
                    <a:pt x="2620" y="2155"/>
                  </a:lnTo>
                  <a:lnTo>
                    <a:pt x="2622" y="2152"/>
                  </a:lnTo>
                  <a:lnTo>
                    <a:pt x="2622" y="2152"/>
                  </a:lnTo>
                  <a:lnTo>
                    <a:pt x="2622" y="2155"/>
                  </a:lnTo>
                  <a:lnTo>
                    <a:pt x="2617" y="2155"/>
                  </a:lnTo>
                  <a:lnTo>
                    <a:pt x="2615" y="2155"/>
                  </a:lnTo>
                  <a:lnTo>
                    <a:pt x="2613" y="2152"/>
                  </a:lnTo>
                  <a:lnTo>
                    <a:pt x="2613" y="2152"/>
                  </a:lnTo>
                  <a:lnTo>
                    <a:pt x="2610" y="2152"/>
                  </a:lnTo>
                  <a:lnTo>
                    <a:pt x="2608" y="2155"/>
                  </a:lnTo>
                  <a:lnTo>
                    <a:pt x="2608" y="2155"/>
                  </a:lnTo>
                  <a:lnTo>
                    <a:pt x="2606" y="2155"/>
                  </a:lnTo>
                  <a:lnTo>
                    <a:pt x="2606" y="2155"/>
                  </a:lnTo>
                  <a:lnTo>
                    <a:pt x="2606" y="2155"/>
                  </a:lnTo>
                  <a:lnTo>
                    <a:pt x="2606" y="2155"/>
                  </a:lnTo>
                  <a:lnTo>
                    <a:pt x="2606" y="2152"/>
                  </a:lnTo>
                  <a:lnTo>
                    <a:pt x="2606" y="2152"/>
                  </a:lnTo>
                  <a:lnTo>
                    <a:pt x="2606" y="2152"/>
                  </a:lnTo>
                  <a:lnTo>
                    <a:pt x="2603" y="2152"/>
                  </a:lnTo>
                  <a:lnTo>
                    <a:pt x="2606" y="2152"/>
                  </a:lnTo>
                  <a:lnTo>
                    <a:pt x="2606" y="2152"/>
                  </a:lnTo>
                  <a:lnTo>
                    <a:pt x="2603" y="2150"/>
                  </a:lnTo>
                  <a:lnTo>
                    <a:pt x="2603" y="2150"/>
                  </a:lnTo>
                  <a:lnTo>
                    <a:pt x="2603" y="2150"/>
                  </a:lnTo>
                  <a:lnTo>
                    <a:pt x="2603" y="2152"/>
                  </a:lnTo>
                  <a:lnTo>
                    <a:pt x="2603" y="2152"/>
                  </a:lnTo>
                  <a:lnTo>
                    <a:pt x="2603" y="2157"/>
                  </a:lnTo>
                  <a:lnTo>
                    <a:pt x="2603" y="2157"/>
                  </a:lnTo>
                  <a:lnTo>
                    <a:pt x="2603" y="2159"/>
                  </a:lnTo>
                  <a:lnTo>
                    <a:pt x="2603" y="2164"/>
                  </a:lnTo>
                  <a:lnTo>
                    <a:pt x="2603" y="2164"/>
                  </a:lnTo>
                  <a:lnTo>
                    <a:pt x="2603" y="2164"/>
                  </a:lnTo>
                  <a:lnTo>
                    <a:pt x="2603" y="2166"/>
                  </a:lnTo>
                  <a:lnTo>
                    <a:pt x="2603" y="2166"/>
                  </a:lnTo>
                  <a:lnTo>
                    <a:pt x="2603" y="2166"/>
                  </a:lnTo>
                  <a:lnTo>
                    <a:pt x="2603" y="2169"/>
                  </a:lnTo>
                  <a:lnTo>
                    <a:pt x="2603" y="2169"/>
                  </a:lnTo>
                  <a:lnTo>
                    <a:pt x="2603" y="2171"/>
                  </a:lnTo>
                  <a:lnTo>
                    <a:pt x="2603" y="2174"/>
                  </a:lnTo>
                  <a:lnTo>
                    <a:pt x="2603" y="2176"/>
                  </a:lnTo>
                  <a:lnTo>
                    <a:pt x="2603" y="2178"/>
                  </a:lnTo>
                  <a:lnTo>
                    <a:pt x="2603" y="2181"/>
                  </a:lnTo>
                  <a:lnTo>
                    <a:pt x="2603" y="2183"/>
                  </a:lnTo>
                  <a:lnTo>
                    <a:pt x="2603" y="2183"/>
                  </a:lnTo>
                  <a:lnTo>
                    <a:pt x="2603" y="2185"/>
                  </a:lnTo>
                  <a:lnTo>
                    <a:pt x="2603" y="2185"/>
                  </a:lnTo>
                  <a:lnTo>
                    <a:pt x="2601" y="2185"/>
                  </a:lnTo>
                  <a:lnTo>
                    <a:pt x="2601" y="2185"/>
                  </a:lnTo>
                  <a:lnTo>
                    <a:pt x="2601" y="2185"/>
                  </a:lnTo>
                  <a:lnTo>
                    <a:pt x="2598" y="2185"/>
                  </a:lnTo>
                  <a:lnTo>
                    <a:pt x="2598" y="2185"/>
                  </a:lnTo>
                  <a:lnTo>
                    <a:pt x="2598" y="2183"/>
                  </a:lnTo>
                  <a:lnTo>
                    <a:pt x="2598" y="2183"/>
                  </a:lnTo>
                  <a:lnTo>
                    <a:pt x="2598" y="2183"/>
                  </a:lnTo>
                  <a:lnTo>
                    <a:pt x="2598" y="2183"/>
                  </a:lnTo>
                  <a:lnTo>
                    <a:pt x="2598" y="2185"/>
                  </a:lnTo>
                  <a:lnTo>
                    <a:pt x="2598" y="2185"/>
                  </a:lnTo>
                  <a:lnTo>
                    <a:pt x="2598" y="2185"/>
                  </a:lnTo>
                  <a:lnTo>
                    <a:pt x="2598" y="2188"/>
                  </a:lnTo>
                  <a:lnTo>
                    <a:pt x="2598" y="2188"/>
                  </a:lnTo>
                  <a:lnTo>
                    <a:pt x="2598" y="2185"/>
                  </a:lnTo>
                  <a:lnTo>
                    <a:pt x="2596" y="2185"/>
                  </a:lnTo>
                  <a:lnTo>
                    <a:pt x="2596" y="2185"/>
                  </a:lnTo>
                  <a:lnTo>
                    <a:pt x="2596" y="2185"/>
                  </a:lnTo>
                  <a:lnTo>
                    <a:pt x="2594" y="2185"/>
                  </a:lnTo>
                  <a:lnTo>
                    <a:pt x="2594" y="2185"/>
                  </a:lnTo>
                  <a:lnTo>
                    <a:pt x="2594" y="2183"/>
                  </a:lnTo>
                  <a:lnTo>
                    <a:pt x="2594" y="2181"/>
                  </a:lnTo>
                  <a:lnTo>
                    <a:pt x="2596" y="2181"/>
                  </a:lnTo>
                  <a:lnTo>
                    <a:pt x="2596" y="2178"/>
                  </a:lnTo>
                  <a:lnTo>
                    <a:pt x="2596" y="2178"/>
                  </a:lnTo>
                  <a:lnTo>
                    <a:pt x="2596" y="2176"/>
                  </a:lnTo>
                  <a:lnTo>
                    <a:pt x="2598" y="2176"/>
                  </a:lnTo>
                  <a:lnTo>
                    <a:pt x="2598" y="2174"/>
                  </a:lnTo>
                  <a:lnTo>
                    <a:pt x="2596" y="2176"/>
                  </a:lnTo>
                  <a:lnTo>
                    <a:pt x="2594" y="2183"/>
                  </a:lnTo>
                  <a:lnTo>
                    <a:pt x="2589" y="2188"/>
                  </a:lnTo>
                  <a:lnTo>
                    <a:pt x="2587" y="2190"/>
                  </a:lnTo>
                  <a:lnTo>
                    <a:pt x="2587" y="2192"/>
                  </a:lnTo>
                  <a:lnTo>
                    <a:pt x="2587" y="2192"/>
                  </a:lnTo>
                  <a:lnTo>
                    <a:pt x="2587" y="2192"/>
                  </a:lnTo>
                  <a:lnTo>
                    <a:pt x="2587" y="2195"/>
                  </a:lnTo>
                  <a:lnTo>
                    <a:pt x="2587" y="2195"/>
                  </a:lnTo>
                  <a:lnTo>
                    <a:pt x="2587" y="2195"/>
                  </a:lnTo>
                  <a:lnTo>
                    <a:pt x="2587" y="2195"/>
                  </a:lnTo>
                  <a:lnTo>
                    <a:pt x="2589" y="2195"/>
                  </a:lnTo>
                  <a:lnTo>
                    <a:pt x="2594" y="2192"/>
                  </a:lnTo>
                  <a:lnTo>
                    <a:pt x="2594" y="2190"/>
                  </a:lnTo>
                  <a:lnTo>
                    <a:pt x="2596" y="2190"/>
                  </a:lnTo>
                  <a:lnTo>
                    <a:pt x="2601" y="2188"/>
                  </a:lnTo>
                  <a:lnTo>
                    <a:pt x="2603" y="2185"/>
                  </a:lnTo>
                  <a:lnTo>
                    <a:pt x="2603" y="2185"/>
                  </a:lnTo>
                  <a:lnTo>
                    <a:pt x="2608" y="2183"/>
                  </a:lnTo>
                  <a:lnTo>
                    <a:pt x="2608" y="2183"/>
                  </a:lnTo>
                  <a:lnTo>
                    <a:pt x="2610" y="2185"/>
                  </a:lnTo>
                  <a:lnTo>
                    <a:pt x="2610" y="2185"/>
                  </a:lnTo>
                  <a:lnTo>
                    <a:pt x="2613" y="2183"/>
                  </a:lnTo>
                  <a:lnTo>
                    <a:pt x="2613" y="2183"/>
                  </a:lnTo>
                  <a:lnTo>
                    <a:pt x="2615" y="2183"/>
                  </a:lnTo>
                  <a:lnTo>
                    <a:pt x="2615" y="2183"/>
                  </a:lnTo>
                  <a:lnTo>
                    <a:pt x="2615" y="2183"/>
                  </a:lnTo>
                  <a:lnTo>
                    <a:pt x="2617" y="2181"/>
                  </a:lnTo>
                  <a:lnTo>
                    <a:pt x="2617" y="2181"/>
                  </a:lnTo>
                  <a:lnTo>
                    <a:pt x="2620" y="2181"/>
                  </a:lnTo>
                  <a:lnTo>
                    <a:pt x="2620" y="2181"/>
                  </a:lnTo>
                  <a:lnTo>
                    <a:pt x="2620" y="2181"/>
                  </a:lnTo>
                  <a:lnTo>
                    <a:pt x="2617" y="2181"/>
                  </a:lnTo>
                  <a:lnTo>
                    <a:pt x="2617" y="2183"/>
                  </a:lnTo>
                  <a:lnTo>
                    <a:pt x="2615" y="2183"/>
                  </a:lnTo>
                  <a:lnTo>
                    <a:pt x="2615" y="2183"/>
                  </a:lnTo>
                  <a:lnTo>
                    <a:pt x="2615" y="2185"/>
                  </a:lnTo>
                  <a:lnTo>
                    <a:pt x="2615" y="2188"/>
                  </a:lnTo>
                  <a:lnTo>
                    <a:pt x="2615" y="2188"/>
                  </a:lnTo>
                  <a:lnTo>
                    <a:pt x="2613" y="2188"/>
                  </a:lnTo>
                  <a:lnTo>
                    <a:pt x="2613" y="2188"/>
                  </a:lnTo>
                  <a:lnTo>
                    <a:pt x="2610" y="2190"/>
                  </a:lnTo>
                  <a:lnTo>
                    <a:pt x="2610" y="2190"/>
                  </a:lnTo>
                  <a:lnTo>
                    <a:pt x="2610" y="2190"/>
                  </a:lnTo>
                  <a:lnTo>
                    <a:pt x="2613" y="2188"/>
                  </a:lnTo>
                  <a:lnTo>
                    <a:pt x="2613" y="2188"/>
                  </a:lnTo>
                  <a:lnTo>
                    <a:pt x="2613" y="2188"/>
                  </a:lnTo>
                  <a:lnTo>
                    <a:pt x="2613" y="2188"/>
                  </a:lnTo>
                  <a:lnTo>
                    <a:pt x="2613" y="2188"/>
                  </a:lnTo>
                  <a:lnTo>
                    <a:pt x="2610" y="2188"/>
                  </a:lnTo>
                  <a:lnTo>
                    <a:pt x="2610" y="2190"/>
                  </a:lnTo>
                  <a:lnTo>
                    <a:pt x="2610" y="2192"/>
                  </a:lnTo>
                  <a:lnTo>
                    <a:pt x="2610" y="2192"/>
                  </a:lnTo>
                  <a:lnTo>
                    <a:pt x="2608" y="2192"/>
                  </a:lnTo>
                  <a:lnTo>
                    <a:pt x="2608" y="2192"/>
                  </a:lnTo>
                  <a:lnTo>
                    <a:pt x="2608" y="2192"/>
                  </a:lnTo>
                  <a:lnTo>
                    <a:pt x="2608" y="2195"/>
                  </a:lnTo>
                  <a:lnTo>
                    <a:pt x="2608" y="2195"/>
                  </a:lnTo>
                  <a:lnTo>
                    <a:pt x="2608" y="2197"/>
                  </a:lnTo>
                  <a:lnTo>
                    <a:pt x="2608" y="2197"/>
                  </a:lnTo>
                  <a:lnTo>
                    <a:pt x="2608" y="2200"/>
                  </a:lnTo>
                  <a:lnTo>
                    <a:pt x="2606" y="2202"/>
                  </a:lnTo>
                  <a:lnTo>
                    <a:pt x="2606" y="2202"/>
                  </a:lnTo>
                  <a:lnTo>
                    <a:pt x="2606" y="2204"/>
                  </a:lnTo>
                  <a:lnTo>
                    <a:pt x="2603" y="2204"/>
                  </a:lnTo>
                  <a:lnTo>
                    <a:pt x="2603" y="2209"/>
                  </a:lnTo>
                  <a:lnTo>
                    <a:pt x="2603" y="2209"/>
                  </a:lnTo>
                  <a:lnTo>
                    <a:pt x="2598" y="2216"/>
                  </a:lnTo>
                  <a:lnTo>
                    <a:pt x="2596" y="2219"/>
                  </a:lnTo>
                  <a:lnTo>
                    <a:pt x="2596" y="2221"/>
                  </a:lnTo>
                  <a:lnTo>
                    <a:pt x="2596" y="2223"/>
                  </a:lnTo>
                  <a:lnTo>
                    <a:pt x="2596" y="2223"/>
                  </a:lnTo>
                  <a:lnTo>
                    <a:pt x="2596" y="2223"/>
                  </a:lnTo>
                  <a:lnTo>
                    <a:pt x="2596" y="2223"/>
                  </a:lnTo>
                  <a:lnTo>
                    <a:pt x="2594" y="2223"/>
                  </a:lnTo>
                  <a:lnTo>
                    <a:pt x="2594" y="2223"/>
                  </a:lnTo>
                  <a:lnTo>
                    <a:pt x="2594" y="2223"/>
                  </a:lnTo>
                  <a:lnTo>
                    <a:pt x="2594" y="2226"/>
                  </a:lnTo>
                  <a:lnTo>
                    <a:pt x="2594" y="2226"/>
                  </a:lnTo>
                  <a:lnTo>
                    <a:pt x="2594" y="2226"/>
                  </a:lnTo>
                  <a:lnTo>
                    <a:pt x="2594" y="2226"/>
                  </a:lnTo>
                  <a:lnTo>
                    <a:pt x="2594" y="2226"/>
                  </a:lnTo>
                  <a:lnTo>
                    <a:pt x="2594" y="2228"/>
                  </a:lnTo>
                  <a:lnTo>
                    <a:pt x="2596" y="2228"/>
                  </a:lnTo>
                  <a:lnTo>
                    <a:pt x="2596" y="2228"/>
                  </a:lnTo>
                  <a:lnTo>
                    <a:pt x="2596" y="2228"/>
                  </a:lnTo>
                  <a:lnTo>
                    <a:pt x="2596" y="2228"/>
                  </a:lnTo>
                  <a:lnTo>
                    <a:pt x="2598" y="2228"/>
                  </a:lnTo>
                  <a:lnTo>
                    <a:pt x="2598" y="2230"/>
                  </a:lnTo>
                  <a:lnTo>
                    <a:pt x="2598" y="2230"/>
                  </a:lnTo>
                  <a:lnTo>
                    <a:pt x="2598" y="2230"/>
                  </a:lnTo>
                  <a:lnTo>
                    <a:pt x="2598" y="2233"/>
                  </a:lnTo>
                  <a:lnTo>
                    <a:pt x="2601" y="2230"/>
                  </a:lnTo>
                  <a:lnTo>
                    <a:pt x="2601" y="2233"/>
                  </a:lnTo>
                  <a:lnTo>
                    <a:pt x="2601" y="2235"/>
                  </a:lnTo>
                  <a:lnTo>
                    <a:pt x="2601" y="2237"/>
                  </a:lnTo>
                  <a:lnTo>
                    <a:pt x="2603" y="2237"/>
                  </a:lnTo>
                  <a:lnTo>
                    <a:pt x="2603" y="2237"/>
                  </a:lnTo>
                  <a:lnTo>
                    <a:pt x="2603" y="2240"/>
                  </a:lnTo>
                  <a:lnTo>
                    <a:pt x="2603" y="2240"/>
                  </a:lnTo>
                  <a:lnTo>
                    <a:pt x="2603" y="2240"/>
                  </a:lnTo>
                  <a:lnTo>
                    <a:pt x="2603" y="2240"/>
                  </a:lnTo>
                  <a:lnTo>
                    <a:pt x="2606" y="2240"/>
                  </a:lnTo>
                  <a:lnTo>
                    <a:pt x="2606" y="2240"/>
                  </a:lnTo>
                  <a:lnTo>
                    <a:pt x="2606" y="2240"/>
                  </a:lnTo>
                  <a:lnTo>
                    <a:pt x="2606" y="2240"/>
                  </a:lnTo>
                  <a:lnTo>
                    <a:pt x="2606" y="2240"/>
                  </a:lnTo>
                  <a:lnTo>
                    <a:pt x="2608" y="2240"/>
                  </a:lnTo>
                  <a:lnTo>
                    <a:pt x="2608" y="2240"/>
                  </a:lnTo>
                  <a:lnTo>
                    <a:pt x="2608" y="2240"/>
                  </a:lnTo>
                  <a:lnTo>
                    <a:pt x="2610" y="2240"/>
                  </a:lnTo>
                  <a:lnTo>
                    <a:pt x="2613" y="2237"/>
                  </a:lnTo>
                  <a:lnTo>
                    <a:pt x="2613" y="2237"/>
                  </a:lnTo>
                  <a:lnTo>
                    <a:pt x="2613" y="2237"/>
                  </a:lnTo>
                  <a:lnTo>
                    <a:pt x="2613" y="2235"/>
                  </a:lnTo>
                  <a:lnTo>
                    <a:pt x="2615" y="2235"/>
                  </a:lnTo>
                  <a:lnTo>
                    <a:pt x="2615" y="2235"/>
                  </a:lnTo>
                  <a:lnTo>
                    <a:pt x="2615" y="2235"/>
                  </a:lnTo>
                  <a:lnTo>
                    <a:pt x="2615" y="2235"/>
                  </a:lnTo>
                  <a:lnTo>
                    <a:pt x="2615" y="2235"/>
                  </a:lnTo>
                  <a:lnTo>
                    <a:pt x="2620" y="2233"/>
                  </a:lnTo>
                  <a:lnTo>
                    <a:pt x="2622" y="2233"/>
                  </a:lnTo>
                  <a:lnTo>
                    <a:pt x="2624" y="2230"/>
                  </a:lnTo>
                  <a:lnTo>
                    <a:pt x="2624" y="2230"/>
                  </a:lnTo>
                  <a:lnTo>
                    <a:pt x="2624" y="2230"/>
                  </a:lnTo>
                  <a:lnTo>
                    <a:pt x="2627" y="2230"/>
                  </a:lnTo>
                  <a:lnTo>
                    <a:pt x="2627" y="2228"/>
                  </a:lnTo>
                  <a:lnTo>
                    <a:pt x="2627" y="2228"/>
                  </a:lnTo>
                  <a:lnTo>
                    <a:pt x="2627" y="2228"/>
                  </a:lnTo>
                  <a:lnTo>
                    <a:pt x="2627" y="2228"/>
                  </a:lnTo>
                  <a:lnTo>
                    <a:pt x="2627" y="2226"/>
                  </a:lnTo>
                  <a:lnTo>
                    <a:pt x="2627" y="2226"/>
                  </a:lnTo>
                  <a:lnTo>
                    <a:pt x="2627" y="2226"/>
                  </a:lnTo>
                  <a:lnTo>
                    <a:pt x="2627" y="2226"/>
                  </a:lnTo>
                  <a:lnTo>
                    <a:pt x="2629" y="2228"/>
                  </a:lnTo>
                  <a:lnTo>
                    <a:pt x="2629" y="2226"/>
                  </a:lnTo>
                  <a:lnTo>
                    <a:pt x="2629" y="2226"/>
                  </a:lnTo>
                  <a:lnTo>
                    <a:pt x="2629" y="2226"/>
                  </a:lnTo>
                  <a:lnTo>
                    <a:pt x="2632" y="2226"/>
                  </a:lnTo>
                  <a:lnTo>
                    <a:pt x="2632" y="2226"/>
                  </a:lnTo>
                  <a:lnTo>
                    <a:pt x="2632" y="2226"/>
                  </a:lnTo>
                  <a:lnTo>
                    <a:pt x="2632" y="2223"/>
                  </a:lnTo>
                  <a:lnTo>
                    <a:pt x="2632" y="2221"/>
                  </a:lnTo>
                  <a:lnTo>
                    <a:pt x="2632" y="2221"/>
                  </a:lnTo>
                  <a:lnTo>
                    <a:pt x="2632" y="2219"/>
                  </a:lnTo>
                  <a:lnTo>
                    <a:pt x="2634" y="2219"/>
                  </a:lnTo>
                  <a:lnTo>
                    <a:pt x="2634" y="2219"/>
                  </a:lnTo>
                  <a:lnTo>
                    <a:pt x="2634" y="2219"/>
                  </a:lnTo>
                  <a:lnTo>
                    <a:pt x="2634" y="2221"/>
                  </a:lnTo>
                  <a:lnTo>
                    <a:pt x="2634" y="2221"/>
                  </a:lnTo>
                  <a:lnTo>
                    <a:pt x="2634" y="2223"/>
                  </a:lnTo>
                  <a:lnTo>
                    <a:pt x="2634" y="2223"/>
                  </a:lnTo>
                  <a:lnTo>
                    <a:pt x="2634" y="2223"/>
                  </a:lnTo>
                  <a:lnTo>
                    <a:pt x="2634" y="2223"/>
                  </a:lnTo>
                  <a:lnTo>
                    <a:pt x="2634" y="2226"/>
                  </a:lnTo>
                  <a:lnTo>
                    <a:pt x="2634" y="2226"/>
                  </a:lnTo>
                  <a:lnTo>
                    <a:pt x="2634" y="2226"/>
                  </a:lnTo>
                  <a:lnTo>
                    <a:pt x="2634" y="2223"/>
                  </a:lnTo>
                  <a:lnTo>
                    <a:pt x="2634" y="2223"/>
                  </a:lnTo>
                  <a:lnTo>
                    <a:pt x="2636" y="2223"/>
                  </a:lnTo>
                  <a:lnTo>
                    <a:pt x="2636" y="2223"/>
                  </a:lnTo>
                  <a:lnTo>
                    <a:pt x="2639" y="2223"/>
                  </a:lnTo>
                  <a:lnTo>
                    <a:pt x="2639" y="2223"/>
                  </a:lnTo>
                  <a:lnTo>
                    <a:pt x="2639" y="2221"/>
                  </a:lnTo>
                  <a:lnTo>
                    <a:pt x="2641" y="2219"/>
                  </a:lnTo>
                  <a:lnTo>
                    <a:pt x="2641" y="2219"/>
                  </a:lnTo>
                  <a:lnTo>
                    <a:pt x="2641" y="2219"/>
                  </a:lnTo>
                  <a:lnTo>
                    <a:pt x="2641" y="2219"/>
                  </a:lnTo>
                  <a:lnTo>
                    <a:pt x="2643" y="2221"/>
                  </a:lnTo>
                  <a:lnTo>
                    <a:pt x="2643" y="2219"/>
                  </a:lnTo>
                  <a:lnTo>
                    <a:pt x="2643" y="2219"/>
                  </a:lnTo>
                  <a:lnTo>
                    <a:pt x="2643" y="2219"/>
                  </a:lnTo>
                  <a:lnTo>
                    <a:pt x="2643" y="2219"/>
                  </a:lnTo>
                  <a:lnTo>
                    <a:pt x="2643" y="2219"/>
                  </a:lnTo>
                  <a:lnTo>
                    <a:pt x="2646" y="2219"/>
                  </a:lnTo>
                  <a:lnTo>
                    <a:pt x="2646" y="2219"/>
                  </a:lnTo>
                  <a:lnTo>
                    <a:pt x="2646" y="2219"/>
                  </a:lnTo>
                  <a:lnTo>
                    <a:pt x="2646" y="2216"/>
                  </a:lnTo>
                  <a:lnTo>
                    <a:pt x="2646" y="2216"/>
                  </a:lnTo>
                  <a:lnTo>
                    <a:pt x="2648" y="2216"/>
                  </a:lnTo>
                  <a:lnTo>
                    <a:pt x="2648" y="2216"/>
                  </a:lnTo>
                  <a:lnTo>
                    <a:pt x="2648" y="2216"/>
                  </a:lnTo>
                  <a:lnTo>
                    <a:pt x="2648" y="2219"/>
                  </a:lnTo>
                  <a:lnTo>
                    <a:pt x="2648" y="2219"/>
                  </a:lnTo>
                  <a:lnTo>
                    <a:pt x="2648" y="2219"/>
                  </a:lnTo>
                  <a:lnTo>
                    <a:pt x="2651" y="2219"/>
                  </a:lnTo>
                  <a:lnTo>
                    <a:pt x="2651" y="2219"/>
                  </a:lnTo>
                  <a:lnTo>
                    <a:pt x="2651" y="2219"/>
                  </a:lnTo>
                  <a:lnTo>
                    <a:pt x="2651" y="2219"/>
                  </a:lnTo>
                  <a:lnTo>
                    <a:pt x="2653" y="2219"/>
                  </a:lnTo>
                  <a:lnTo>
                    <a:pt x="2653" y="2219"/>
                  </a:lnTo>
                  <a:lnTo>
                    <a:pt x="2653" y="2219"/>
                  </a:lnTo>
                  <a:lnTo>
                    <a:pt x="2653" y="2219"/>
                  </a:lnTo>
                  <a:lnTo>
                    <a:pt x="2653" y="2219"/>
                  </a:lnTo>
                  <a:lnTo>
                    <a:pt x="2653" y="2219"/>
                  </a:lnTo>
                  <a:lnTo>
                    <a:pt x="2653" y="2219"/>
                  </a:lnTo>
                  <a:lnTo>
                    <a:pt x="2653" y="2219"/>
                  </a:lnTo>
                  <a:lnTo>
                    <a:pt x="2653" y="2216"/>
                  </a:lnTo>
                  <a:lnTo>
                    <a:pt x="2653" y="2216"/>
                  </a:lnTo>
                  <a:lnTo>
                    <a:pt x="2655" y="2216"/>
                  </a:lnTo>
                  <a:lnTo>
                    <a:pt x="2655" y="2216"/>
                  </a:lnTo>
                  <a:lnTo>
                    <a:pt x="2658" y="2216"/>
                  </a:lnTo>
                  <a:lnTo>
                    <a:pt x="2658" y="2219"/>
                  </a:lnTo>
                  <a:lnTo>
                    <a:pt x="2658" y="2219"/>
                  </a:lnTo>
                  <a:lnTo>
                    <a:pt x="2658" y="2219"/>
                  </a:lnTo>
                  <a:lnTo>
                    <a:pt x="2660" y="2216"/>
                  </a:lnTo>
                  <a:lnTo>
                    <a:pt x="2660" y="2216"/>
                  </a:lnTo>
                  <a:lnTo>
                    <a:pt x="2660" y="2214"/>
                  </a:lnTo>
                  <a:lnTo>
                    <a:pt x="2660" y="2214"/>
                  </a:lnTo>
                  <a:lnTo>
                    <a:pt x="2660" y="2214"/>
                  </a:lnTo>
                  <a:lnTo>
                    <a:pt x="2660" y="2214"/>
                  </a:lnTo>
                  <a:lnTo>
                    <a:pt x="2660" y="2214"/>
                  </a:lnTo>
                  <a:lnTo>
                    <a:pt x="2660" y="2214"/>
                  </a:lnTo>
                  <a:lnTo>
                    <a:pt x="2662" y="2214"/>
                  </a:lnTo>
                  <a:lnTo>
                    <a:pt x="2665" y="2214"/>
                  </a:lnTo>
                  <a:lnTo>
                    <a:pt x="2665" y="2214"/>
                  </a:lnTo>
                  <a:lnTo>
                    <a:pt x="2665" y="2214"/>
                  </a:lnTo>
                  <a:lnTo>
                    <a:pt x="2667" y="2214"/>
                  </a:lnTo>
                  <a:lnTo>
                    <a:pt x="2667" y="2214"/>
                  </a:lnTo>
                  <a:lnTo>
                    <a:pt x="2667" y="2211"/>
                  </a:lnTo>
                  <a:lnTo>
                    <a:pt x="2667" y="2211"/>
                  </a:lnTo>
                  <a:lnTo>
                    <a:pt x="2667" y="2211"/>
                  </a:lnTo>
                  <a:lnTo>
                    <a:pt x="2667" y="2211"/>
                  </a:lnTo>
                  <a:lnTo>
                    <a:pt x="2667" y="2211"/>
                  </a:lnTo>
                  <a:lnTo>
                    <a:pt x="2667" y="2211"/>
                  </a:lnTo>
                  <a:lnTo>
                    <a:pt x="2667" y="2214"/>
                  </a:lnTo>
                  <a:lnTo>
                    <a:pt x="2667" y="2214"/>
                  </a:lnTo>
                  <a:lnTo>
                    <a:pt x="2669" y="2214"/>
                  </a:lnTo>
                  <a:lnTo>
                    <a:pt x="2669" y="2214"/>
                  </a:lnTo>
                  <a:lnTo>
                    <a:pt x="2669" y="2214"/>
                  </a:lnTo>
                  <a:lnTo>
                    <a:pt x="2669" y="2214"/>
                  </a:lnTo>
                  <a:lnTo>
                    <a:pt x="2672" y="2211"/>
                  </a:lnTo>
                  <a:lnTo>
                    <a:pt x="2672" y="2211"/>
                  </a:lnTo>
                  <a:lnTo>
                    <a:pt x="2672" y="2211"/>
                  </a:lnTo>
                  <a:lnTo>
                    <a:pt x="2672" y="2211"/>
                  </a:lnTo>
                  <a:lnTo>
                    <a:pt x="2672" y="2211"/>
                  </a:lnTo>
                  <a:lnTo>
                    <a:pt x="2672" y="2209"/>
                  </a:lnTo>
                  <a:lnTo>
                    <a:pt x="2674" y="2209"/>
                  </a:lnTo>
                  <a:lnTo>
                    <a:pt x="2674" y="2211"/>
                  </a:lnTo>
                  <a:lnTo>
                    <a:pt x="2674" y="2211"/>
                  </a:lnTo>
                  <a:lnTo>
                    <a:pt x="2674" y="2211"/>
                  </a:lnTo>
                  <a:lnTo>
                    <a:pt x="2674" y="2211"/>
                  </a:lnTo>
                  <a:lnTo>
                    <a:pt x="2674" y="2211"/>
                  </a:lnTo>
                  <a:lnTo>
                    <a:pt x="2674" y="2211"/>
                  </a:lnTo>
                  <a:lnTo>
                    <a:pt x="2677" y="2211"/>
                  </a:lnTo>
                  <a:lnTo>
                    <a:pt x="2677" y="2211"/>
                  </a:lnTo>
                  <a:lnTo>
                    <a:pt x="2681" y="2209"/>
                  </a:lnTo>
                  <a:lnTo>
                    <a:pt x="2681" y="2209"/>
                  </a:lnTo>
                  <a:lnTo>
                    <a:pt x="2681" y="2209"/>
                  </a:lnTo>
                  <a:lnTo>
                    <a:pt x="2684" y="2209"/>
                  </a:lnTo>
                  <a:lnTo>
                    <a:pt x="2684" y="2209"/>
                  </a:lnTo>
                  <a:lnTo>
                    <a:pt x="2684" y="2209"/>
                  </a:lnTo>
                  <a:lnTo>
                    <a:pt x="2686" y="2209"/>
                  </a:lnTo>
                  <a:lnTo>
                    <a:pt x="2686" y="2209"/>
                  </a:lnTo>
                  <a:lnTo>
                    <a:pt x="2686" y="2211"/>
                  </a:lnTo>
                  <a:lnTo>
                    <a:pt x="2686" y="2209"/>
                  </a:lnTo>
                  <a:lnTo>
                    <a:pt x="2686" y="2209"/>
                  </a:lnTo>
                  <a:lnTo>
                    <a:pt x="2686" y="2209"/>
                  </a:lnTo>
                  <a:lnTo>
                    <a:pt x="2686" y="2209"/>
                  </a:lnTo>
                  <a:lnTo>
                    <a:pt x="2688" y="2209"/>
                  </a:lnTo>
                  <a:lnTo>
                    <a:pt x="2688" y="2209"/>
                  </a:lnTo>
                  <a:lnTo>
                    <a:pt x="2688" y="2207"/>
                  </a:lnTo>
                  <a:lnTo>
                    <a:pt x="2691" y="2207"/>
                  </a:lnTo>
                  <a:lnTo>
                    <a:pt x="2691" y="2207"/>
                  </a:lnTo>
                  <a:lnTo>
                    <a:pt x="2688" y="2207"/>
                  </a:lnTo>
                  <a:lnTo>
                    <a:pt x="2688" y="2207"/>
                  </a:lnTo>
                  <a:lnTo>
                    <a:pt x="2688" y="2204"/>
                  </a:lnTo>
                  <a:lnTo>
                    <a:pt x="2686" y="2204"/>
                  </a:lnTo>
                  <a:lnTo>
                    <a:pt x="2686" y="2204"/>
                  </a:lnTo>
                  <a:lnTo>
                    <a:pt x="2686" y="2204"/>
                  </a:lnTo>
                  <a:lnTo>
                    <a:pt x="2688" y="2204"/>
                  </a:lnTo>
                  <a:lnTo>
                    <a:pt x="2688" y="2207"/>
                  </a:lnTo>
                  <a:lnTo>
                    <a:pt x="2688" y="2207"/>
                  </a:lnTo>
                  <a:lnTo>
                    <a:pt x="2691" y="2207"/>
                  </a:lnTo>
                  <a:lnTo>
                    <a:pt x="2691" y="2207"/>
                  </a:lnTo>
                  <a:lnTo>
                    <a:pt x="2691" y="2204"/>
                  </a:lnTo>
                  <a:lnTo>
                    <a:pt x="2691" y="2204"/>
                  </a:lnTo>
                  <a:lnTo>
                    <a:pt x="2691" y="2204"/>
                  </a:lnTo>
                  <a:lnTo>
                    <a:pt x="2691" y="2204"/>
                  </a:lnTo>
                  <a:lnTo>
                    <a:pt x="2688" y="2204"/>
                  </a:lnTo>
                  <a:lnTo>
                    <a:pt x="2691" y="2204"/>
                  </a:lnTo>
                  <a:lnTo>
                    <a:pt x="2693" y="2202"/>
                  </a:lnTo>
                  <a:lnTo>
                    <a:pt x="2695" y="2202"/>
                  </a:lnTo>
                  <a:lnTo>
                    <a:pt x="2695" y="2202"/>
                  </a:lnTo>
                  <a:lnTo>
                    <a:pt x="2698" y="2202"/>
                  </a:lnTo>
                  <a:lnTo>
                    <a:pt x="2700" y="2200"/>
                  </a:lnTo>
                  <a:lnTo>
                    <a:pt x="2700" y="2200"/>
                  </a:lnTo>
                  <a:lnTo>
                    <a:pt x="2700" y="2200"/>
                  </a:lnTo>
                  <a:lnTo>
                    <a:pt x="2700" y="2197"/>
                  </a:lnTo>
                  <a:lnTo>
                    <a:pt x="2700" y="2197"/>
                  </a:lnTo>
                  <a:lnTo>
                    <a:pt x="2700" y="2195"/>
                  </a:lnTo>
                  <a:lnTo>
                    <a:pt x="2700" y="2195"/>
                  </a:lnTo>
                  <a:lnTo>
                    <a:pt x="2700" y="2195"/>
                  </a:lnTo>
                  <a:lnTo>
                    <a:pt x="2700" y="2195"/>
                  </a:lnTo>
                  <a:lnTo>
                    <a:pt x="2700" y="2195"/>
                  </a:lnTo>
                  <a:lnTo>
                    <a:pt x="2700" y="2192"/>
                  </a:lnTo>
                  <a:lnTo>
                    <a:pt x="2700" y="2192"/>
                  </a:lnTo>
                  <a:lnTo>
                    <a:pt x="2700" y="2195"/>
                  </a:lnTo>
                  <a:lnTo>
                    <a:pt x="2700" y="2195"/>
                  </a:lnTo>
                  <a:lnTo>
                    <a:pt x="2700" y="2195"/>
                  </a:lnTo>
                  <a:lnTo>
                    <a:pt x="2700" y="2195"/>
                  </a:lnTo>
                  <a:lnTo>
                    <a:pt x="2700" y="2197"/>
                  </a:lnTo>
                  <a:lnTo>
                    <a:pt x="2703" y="2197"/>
                  </a:lnTo>
                  <a:lnTo>
                    <a:pt x="2703" y="2197"/>
                  </a:lnTo>
                  <a:lnTo>
                    <a:pt x="2703" y="2197"/>
                  </a:lnTo>
                  <a:lnTo>
                    <a:pt x="2705" y="2197"/>
                  </a:lnTo>
                  <a:lnTo>
                    <a:pt x="2705" y="2197"/>
                  </a:lnTo>
                  <a:lnTo>
                    <a:pt x="2705" y="2195"/>
                  </a:lnTo>
                  <a:lnTo>
                    <a:pt x="2705" y="2195"/>
                  </a:lnTo>
                  <a:lnTo>
                    <a:pt x="2705" y="2195"/>
                  </a:lnTo>
                  <a:lnTo>
                    <a:pt x="2705" y="2197"/>
                  </a:lnTo>
                  <a:lnTo>
                    <a:pt x="2705" y="2197"/>
                  </a:lnTo>
                  <a:lnTo>
                    <a:pt x="2705" y="2197"/>
                  </a:lnTo>
                  <a:lnTo>
                    <a:pt x="2707" y="2195"/>
                  </a:lnTo>
                  <a:lnTo>
                    <a:pt x="2707" y="2195"/>
                  </a:lnTo>
                  <a:lnTo>
                    <a:pt x="2705" y="2195"/>
                  </a:lnTo>
                  <a:lnTo>
                    <a:pt x="2705" y="2195"/>
                  </a:lnTo>
                  <a:lnTo>
                    <a:pt x="2705" y="2195"/>
                  </a:lnTo>
                  <a:lnTo>
                    <a:pt x="2705" y="2195"/>
                  </a:lnTo>
                  <a:lnTo>
                    <a:pt x="2705" y="2195"/>
                  </a:lnTo>
                  <a:lnTo>
                    <a:pt x="2705" y="2195"/>
                  </a:lnTo>
                  <a:lnTo>
                    <a:pt x="2705" y="2195"/>
                  </a:lnTo>
                  <a:lnTo>
                    <a:pt x="2705" y="2195"/>
                  </a:lnTo>
                  <a:lnTo>
                    <a:pt x="2705" y="2192"/>
                  </a:lnTo>
                  <a:lnTo>
                    <a:pt x="2705" y="2192"/>
                  </a:lnTo>
                  <a:lnTo>
                    <a:pt x="2705" y="2192"/>
                  </a:lnTo>
                  <a:lnTo>
                    <a:pt x="2705" y="2192"/>
                  </a:lnTo>
                  <a:lnTo>
                    <a:pt x="2705" y="2192"/>
                  </a:lnTo>
                  <a:lnTo>
                    <a:pt x="2705" y="2192"/>
                  </a:lnTo>
                  <a:lnTo>
                    <a:pt x="2705" y="2192"/>
                  </a:lnTo>
                  <a:lnTo>
                    <a:pt x="2705" y="2190"/>
                  </a:lnTo>
                  <a:lnTo>
                    <a:pt x="2705" y="2190"/>
                  </a:lnTo>
                  <a:lnTo>
                    <a:pt x="2705" y="2188"/>
                  </a:lnTo>
                  <a:lnTo>
                    <a:pt x="2705" y="2188"/>
                  </a:lnTo>
                  <a:lnTo>
                    <a:pt x="2703" y="2188"/>
                  </a:lnTo>
                  <a:lnTo>
                    <a:pt x="2703" y="2185"/>
                  </a:lnTo>
                  <a:lnTo>
                    <a:pt x="2703" y="2185"/>
                  </a:lnTo>
                  <a:lnTo>
                    <a:pt x="2703" y="2185"/>
                  </a:lnTo>
                  <a:lnTo>
                    <a:pt x="2705" y="2188"/>
                  </a:lnTo>
                  <a:lnTo>
                    <a:pt x="2705" y="2190"/>
                  </a:lnTo>
                  <a:lnTo>
                    <a:pt x="2707" y="2188"/>
                  </a:lnTo>
                  <a:lnTo>
                    <a:pt x="2707" y="2188"/>
                  </a:lnTo>
                  <a:lnTo>
                    <a:pt x="2707" y="2188"/>
                  </a:lnTo>
                  <a:lnTo>
                    <a:pt x="2707" y="2190"/>
                  </a:lnTo>
                  <a:lnTo>
                    <a:pt x="2707" y="2190"/>
                  </a:lnTo>
                  <a:lnTo>
                    <a:pt x="2707" y="2190"/>
                  </a:lnTo>
                  <a:lnTo>
                    <a:pt x="2707" y="2190"/>
                  </a:lnTo>
                  <a:lnTo>
                    <a:pt x="2707" y="2192"/>
                  </a:lnTo>
                  <a:lnTo>
                    <a:pt x="2707" y="2192"/>
                  </a:lnTo>
                  <a:lnTo>
                    <a:pt x="2707" y="2192"/>
                  </a:lnTo>
                  <a:lnTo>
                    <a:pt x="2707" y="2190"/>
                  </a:lnTo>
                  <a:lnTo>
                    <a:pt x="2710" y="2190"/>
                  </a:lnTo>
                  <a:lnTo>
                    <a:pt x="2710" y="2188"/>
                  </a:lnTo>
                  <a:lnTo>
                    <a:pt x="2710" y="2188"/>
                  </a:lnTo>
                  <a:lnTo>
                    <a:pt x="2710" y="2188"/>
                  </a:lnTo>
                  <a:lnTo>
                    <a:pt x="2712" y="2185"/>
                  </a:lnTo>
                  <a:lnTo>
                    <a:pt x="2712" y="2183"/>
                  </a:lnTo>
                  <a:lnTo>
                    <a:pt x="2712" y="2183"/>
                  </a:lnTo>
                  <a:lnTo>
                    <a:pt x="2712" y="2181"/>
                  </a:lnTo>
                  <a:lnTo>
                    <a:pt x="2712" y="2181"/>
                  </a:lnTo>
                  <a:lnTo>
                    <a:pt x="2712" y="2178"/>
                  </a:lnTo>
                  <a:lnTo>
                    <a:pt x="2712" y="2178"/>
                  </a:lnTo>
                  <a:lnTo>
                    <a:pt x="2712" y="2178"/>
                  </a:lnTo>
                  <a:lnTo>
                    <a:pt x="2712" y="2178"/>
                  </a:lnTo>
                  <a:lnTo>
                    <a:pt x="2712" y="2176"/>
                  </a:lnTo>
                  <a:lnTo>
                    <a:pt x="2712" y="2176"/>
                  </a:lnTo>
                  <a:lnTo>
                    <a:pt x="2712" y="2176"/>
                  </a:lnTo>
                  <a:lnTo>
                    <a:pt x="2712" y="2176"/>
                  </a:lnTo>
                  <a:lnTo>
                    <a:pt x="2714" y="2176"/>
                  </a:lnTo>
                  <a:lnTo>
                    <a:pt x="2714" y="2176"/>
                  </a:lnTo>
                  <a:lnTo>
                    <a:pt x="2714" y="2176"/>
                  </a:lnTo>
                  <a:lnTo>
                    <a:pt x="2714" y="2178"/>
                  </a:lnTo>
                  <a:lnTo>
                    <a:pt x="2714" y="2178"/>
                  </a:lnTo>
                  <a:lnTo>
                    <a:pt x="2714" y="2178"/>
                  </a:lnTo>
                  <a:lnTo>
                    <a:pt x="2714" y="2181"/>
                  </a:lnTo>
                  <a:lnTo>
                    <a:pt x="2714" y="2181"/>
                  </a:lnTo>
                  <a:lnTo>
                    <a:pt x="2714" y="2183"/>
                  </a:lnTo>
                  <a:lnTo>
                    <a:pt x="2714" y="2183"/>
                  </a:lnTo>
                  <a:lnTo>
                    <a:pt x="2714" y="2183"/>
                  </a:lnTo>
                  <a:lnTo>
                    <a:pt x="2714" y="2183"/>
                  </a:lnTo>
                  <a:lnTo>
                    <a:pt x="2714" y="2183"/>
                  </a:lnTo>
                  <a:lnTo>
                    <a:pt x="2714" y="2183"/>
                  </a:lnTo>
                  <a:lnTo>
                    <a:pt x="2714" y="2185"/>
                  </a:lnTo>
                  <a:lnTo>
                    <a:pt x="2714" y="2185"/>
                  </a:lnTo>
                  <a:lnTo>
                    <a:pt x="2714" y="2185"/>
                  </a:lnTo>
                  <a:lnTo>
                    <a:pt x="2714" y="2185"/>
                  </a:lnTo>
                  <a:lnTo>
                    <a:pt x="2714" y="2185"/>
                  </a:lnTo>
                  <a:lnTo>
                    <a:pt x="2714" y="2185"/>
                  </a:lnTo>
                  <a:lnTo>
                    <a:pt x="2714" y="2190"/>
                  </a:lnTo>
                  <a:lnTo>
                    <a:pt x="2714" y="2190"/>
                  </a:lnTo>
                  <a:lnTo>
                    <a:pt x="2714" y="2190"/>
                  </a:lnTo>
                  <a:lnTo>
                    <a:pt x="2714" y="2192"/>
                  </a:lnTo>
                  <a:lnTo>
                    <a:pt x="2717" y="2192"/>
                  </a:lnTo>
                  <a:lnTo>
                    <a:pt x="2717" y="2192"/>
                  </a:lnTo>
                  <a:lnTo>
                    <a:pt x="2719" y="2192"/>
                  </a:lnTo>
                  <a:lnTo>
                    <a:pt x="2719" y="2188"/>
                  </a:lnTo>
                  <a:lnTo>
                    <a:pt x="2721" y="2188"/>
                  </a:lnTo>
                  <a:lnTo>
                    <a:pt x="2721" y="2185"/>
                  </a:lnTo>
                  <a:lnTo>
                    <a:pt x="2724" y="2185"/>
                  </a:lnTo>
                  <a:lnTo>
                    <a:pt x="2721" y="2188"/>
                  </a:lnTo>
                  <a:lnTo>
                    <a:pt x="2721" y="2190"/>
                  </a:lnTo>
                  <a:lnTo>
                    <a:pt x="2719" y="2190"/>
                  </a:lnTo>
                  <a:lnTo>
                    <a:pt x="2719" y="2192"/>
                  </a:lnTo>
                  <a:lnTo>
                    <a:pt x="2719" y="2192"/>
                  </a:lnTo>
                  <a:lnTo>
                    <a:pt x="2719" y="2192"/>
                  </a:lnTo>
                  <a:lnTo>
                    <a:pt x="2717" y="2192"/>
                  </a:lnTo>
                  <a:lnTo>
                    <a:pt x="2717" y="2192"/>
                  </a:lnTo>
                  <a:lnTo>
                    <a:pt x="2717" y="2195"/>
                  </a:lnTo>
                  <a:lnTo>
                    <a:pt x="2717" y="2195"/>
                  </a:lnTo>
                  <a:lnTo>
                    <a:pt x="2717" y="2195"/>
                  </a:lnTo>
                  <a:lnTo>
                    <a:pt x="2717" y="2195"/>
                  </a:lnTo>
                  <a:lnTo>
                    <a:pt x="2717" y="2195"/>
                  </a:lnTo>
                  <a:lnTo>
                    <a:pt x="2717" y="2195"/>
                  </a:lnTo>
                  <a:lnTo>
                    <a:pt x="2714" y="2195"/>
                  </a:lnTo>
                  <a:lnTo>
                    <a:pt x="2714" y="2197"/>
                  </a:lnTo>
                  <a:lnTo>
                    <a:pt x="2712" y="2200"/>
                  </a:lnTo>
                  <a:lnTo>
                    <a:pt x="2710" y="2202"/>
                  </a:lnTo>
                  <a:lnTo>
                    <a:pt x="2710" y="2202"/>
                  </a:lnTo>
                  <a:lnTo>
                    <a:pt x="2710" y="2202"/>
                  </a:lnTo>
                  <a:lnTo>
                    <a:pt x="2710" y="2202"/>
                  </a:lnTo>
                  <a:lnTo>
                    <a:pt x="2712" y="2204"/>
                  </a:lnTo>
                  <a:lnTo>
                    <a:pt x="2712" y="2204"/>
                  </a:lnTo>
                  <a:lnTo>
                    <a:pt x="2714" y="2200"/>
                  </a:lnTo>
                  <a:lnTo>
                    <a:pt x="2714" y="2200"/>
                  </a:lnTo>
                  <a:lnTo>
                    <a:pt x="2717" y="2200"/>
                  </a:lnTo>
                  <a:lnTo>
                    <a:pt x="2717" y="2197"/>
                  </a:lnTo>
                  <a:lnTo>
                    <a:pt x="2717" y="2197"/>
                  </a:lnTo>
                  <a:lnTo>
                    <a:pt x="2717" y="2197"/>
                  </a:lnTo>
                  <a:lnTo>
                    <a:pt x="2717" y="2197"/>
                  </a:lnTo>
                  <a:lnTo>
                    <a:pt x="2719" y="2195"/>
                  </a:lnTo>
                  <a:lnTo>
                    <a:pt x="2719" y="2195"/>
                  </a:lnTo>
                  <a:lnTo>
                    <a:pt x="2719" y="2195"/>
                  </a:lnTo>
                  <a:lnTo>
                    <a:pt x="2719" y="2195"/>
                  </a:lnTo>
                  <a:lnTo>
                    <a:pt x="2719" y="2195"/>
                  </a:lnTo>
                  <a:lnTo>
                    <a:pt x="2719" y="2195"/>
                  </a:lnTo>
                  <a:lnTo>
                    <a:pt x="2719" y="2195"/>
                  </a:lnTo>
                  <a:lnTo>
                    <a:pt x="2719" y="2192"/>
                  </a:lnTo>
                  <a:lnTo>
                    <a:pt x="2721" y="2192"/>
                  </a:lnTo>
                  <a:lnTo>
                    <a:pt x="2721" y="2192"/>
                  </a:lnTo>
                  <a:lnTo>
                    <a:pt x="2721" y="2192"/>
                  </a:lnTo>
                  <a:lnTo>
                    <a:pt x="2719" y="2197"/>
                  </a:lnTo>
                  <a:lnTo>
                    <a:pt x="2719" y="2200"/>
                  </a:lnTo>
                  <a:lnTo>
                    <a:pt x="2719" y="2202"/>
                  </a:lnTo>
                  <a:lnTo>
                    <a:pt x="2719" y="2202"/>
                  </a:lnTo>
                  <a:lnTo>
                    <a:pt x="2719" y="2202"/>
                  </a:lnTo>
                  <a:lnTo>
                    <a:pt x="2719" y="2200"/>
                  </a:lnTo>
                  <a:lnTo>
                    <a:pt x="2719" y="2200"/>
                  </a:lnTo>
                  <a:lnTo>
                    <a:pt x="2719" y="2200"/>
                  </a:lnTo>
                  <a:lnTo>
                    <a:pt x="2721" y="2200"/>
                  </a:lnTo>
                  <a:lnTo>
                    <a:pt x="2721" y="2200"/>
                  </a:lnTo>
                  <a:lnTo>
                    <a:pt x="2721" y="2200"/>
                  </a:lnTo>
                  <a:lnTo>
                    <a:pt x="2721" y="2197"/>
                  </a:lnTo>
                  <a:lnTo>
                    <a:pt x="2721" y="2197"/>
                  </a:lnTo>
                  <a:lnTo>
                    <a:pt x="2721" y="2197"/>
                  </a:lnTo>
                  <a:lnTo>
                    <a:pt x="2721" y="2195"/>
                  </a:lnTo>
                  <a:lnTo>
                    <a:pt x="2721" y="2195"/>
                  </a:lnTo>
                  <a:lnTo>
                    <a:pt x="2721" y="2195"/>
                  </a:lnTo>
                  <a:lnTo>
                    <a:pt x="2721" y="2197"/>
                  </a:lnTo>
                  <a:lnTo>
                    <a:pt x="2721" y="2197"/>
                  </a:lnTo>
                  <a:lnTo>
                    <a:pt x="2721" y="2197"/>
                  </a:lnTo>
                  <a:lnTo>
                    <a:pt x="2721" y="2197"/>
                  </a:lnTo>
                  <a:lnTo>
                    <a:pt x="2724" y="2197"/>
                  </a:lnTo>
                  <a:lnTo>
                    <a:pt x="2724" y="2200"/>
                  </a:lnTo>
                  <a:lnTo>
                    <a:pt x="2724" y="2200"/>
                  </a:lnTo>
                  <a:lnTo>
                    <a:pt x="2724" y="2197"/>
                  </a:lnTo>
                  <a:lnTo>
                    <a:pt x="2724" y="2197"/>
                  </a:lnTo>
                  <a:lnTo>
                    <a:pt x="2724" y="2197"/>
                  </a:lnTo>
                  <a:lnTo>
                    <a:pt x="2724" y="2197"/>
                  </a:lnTo>
                  <a:lnTo>
                    <a:pt x="2724" y="2197"/>
                  </a:lnTo>
                  <a:lnTo>
                    <a:pt x="2724" y="2195"/>
                  </a:lnTo>
                  <a:lnTo>
                    <a:pt x="2724" y="2195"/>
                  </a:lnTo>
                  <a:lnTo>
                    <a:pt x="2724" y="2195"/>
                  </a:lnTo>
                  <a:lnTo>
                    <a:pt x="2726" y="2195"/>
                  </a:lnTo>
                  <a:lnTo>
                    <a:pt x="2726" y="2195"/>
                  </a:lnTo>
                  <a:lnTo>
                    <a:pt x="2726" y="2195"/>
                  </a:lnTo>
                  <a:lnTo>
                    <a:pt x="2726" y="2195"/>
                  </a:lnTo>
                  <a:lnTo>
                    <a:pt x="2726" y="2195"/>
                  </a:lnTo>
                  <a:lnTo>
                    <a:pt x="2726" y="2192"/>
                  </a:lnTo>
                  <a:lnTo>
                    <a:pt x="2726" y="2195"/>
                  </a:lnTo>
                  <a:lnTo>
                    <a:pt x="2726" y="2195"/>
                  </a:lnTo>
                  <a:lnTo>
                    <a:pt x="2726" y="2195"/>
                  </a:lnTo>
                  <a:lnTo>
                    <a:pt x="2726" y="2195"/>
                  </a:lnTo>
                  <a:lnTo>
                    <a:pt x="2726" y="2192"/>
                  </a:lnTo>
                  <a:lnTo>
                    <a:pt x="2726" y="2192"/>
                  </a:lnTo>
                  <a:lnTo>
                    <a:pt x="2726" y="2192"/>
                  </a:lnTo>
                  <a:lnTo>
                    <a:pt x="2729" y="2195"/>
                  </a:lnTo>
                  <a:lnTo>
                    <a:pt x="2729" y="2195"/>
                  </a:lnTo>
                  <a:lnTo>
                    <a:pt x="2726" y="2195"/>
                  </a:lnTo>
                  <a:lnTo>
                    <a:pt x="2726" y="2197"/>
                  </a:lnTo>
                  <a:lnTo>
                    <a:pt x="2726" y="2197"/>
                  </a:lnTo>
                  <a:lnTo>
                    <a:pt x="2726" y="2197"/>
                  </a:lnTo>
                  <a:lnTo>
                    <a:pt x="2726" y="2200"/>
                  </a:lnTo>
                  <a:lnTo>
                    <a:pt x="2729" y="2197"/>
                  </a:lnTo>
                  <a:lnTo>
                    <a:pt x="2729" y="2197"/>
                  </a:lnTo>
                  <a:lnTo>
                    <a:pt x="2729" y="2197"/>
                  </a:lnTo>
                  <a:lnTo>
                    <a:pt x="2729" y="2197"/>
                  </a:lnTo>
                  <a:lnTo>
                    <a:pt x="2729" y="2197"/>
                  </a:lnTo>
                  <a:lnTo>
                    <a:pt x="2729" y="2197"/>
                  </a:lnTo>
                  <a:lnTo>
                    <a:pt x="2729" y="2197"/>
                  </a:lnTo>
                  <a:lnTo>
                    <a:pt x="2729" y="2200"/>
                  </a:lnTo>
                  <a:lnTo>
                    <a:pt x="2731" y="2200"/>
                  </a:lnTo>
                  <a:lnTo>
                    <a:pt x="2731" y="2200"/>
                  </a:lnTo>
                  <a:lnTo>
                    <a:pt x="2731" y="2200"/>
                  </a:lnTo>
                  <a:lnTo>
                    <a:pt x="2731" y="2197"/>
                  </a:lnTo>
                  <a:lnTo>
                    <a:pt x="2731" y="2197"/>
                  </a:lnTo>
                  <a:lnTo>
                    <a:pt x="2731" y="2195"/>
                  </a:lnTo>
                  <a:lnTo>
                    <a:pt x="2731" y="2195"/>
                  </a:lnTo>
                  <a:lnTo>
                    <a:pt x="2733" y="2195"/>
                  </a:lnTo>
                  <a:lnTo>
                    <a:pt x="2733" y="2195"/>
                  </a:lnTo>
                  <a:lnTo>
                    <a:pt x="2733" y="2192"/>
                  </a:lnTo>
                  <a:lnTo>
                    <a:pt x="2733" y="2192"/>
                  </a:lnTo>
                  <a:lnTo>
                    <a:pt x="2733" y="2190"/>
                  </a:lnTo>
                  <a:lnTo>
                    <a:pt x="2733" y="2190"/>
                  </a:lnTo>
                  <a:lnTo>
                    <a:pt x="2733" y="2188"/>
                  </a:lnTo>
                  <a:lnTo>
                    <a:pt x="2733" y="2188"/>
                  </a:lnTo>
                  <a:lnTo>
                    <a:pt x="2733" y="2188"/>
                  </a:lnTo>
                  <a:lnTo>
                    <a:pt x="2733" y="2188"/>
                  </a:lnTo>
                  <a:lnTo>
                    <a:pt x="2733" y="2188"/>
                  </a:lnTo>
                  <a:lnTo>
                    <a:pt x="2733" y="2188"/>
                  </a:lnTo>
                  <a:lnTo>
                    <a:pt x="2731" y="2188"/>
                  </a:lnTo>
                  <a:lnTo>
                    <a:pt x="2731" y="2188"/>
                  </a:lnTo>
                  <a:lnTo>
                    <a:pt x="2731" y="2188"/>
                  </a:lnTo>
                  <a:lnTo>
                    <a:pt x="2731" y="2185"/>
                  </a:lnTo>
                  <a:lnTo>
                    <a:pt x="2731" y="2185"/>
                  </a:lnTo>
                  <a:lnTo>
                    <a:pt x="2731" y="2185"/>
                  </a:lnTo>
                  <a:lnTo>
                    <a:pt x="2731" y="2188"/>
                  </a:lnTo>
                  <a:lnTo>
                    <a:pt x="2731" y="2188"/>
                  </a:lnTo>
                  <a:lnTo>
                    <a:pt x="2729" y="2188"/>
                  </a:lnTo>
                  <a:lnTo>
                    <a:pt x="2729" y="2185"/>
                  </a:lnTo>
                  <a:lnTo>
                    <a:pt x="2729" y="2185"/>
                  </a:lnTo>
                  <a:lnTo>
                    <a:pt x="2729" y="2183"/>
                  </a:lnTo>
                  <a:lnTo>
                    <a:pt x="2729" y="2183"/>
                  </a:lnTo>
                  <a:lnTo>
                    <a:pt x="2729" y="2181"/>
                  </a:lnTo>
                  <a:lnTo>
                    <a:pt x="2729" y="2181"/>
                  </a:lnTo>
                  <a:lnTo>
                    <a:pt x="2729" y="2181"/>
                  </a:lnTo>
                  <a:lnTo>
                    <a:pt x="2729" y="2181"/>
                  </a:lnTo>
                  <a:lnTo>
                    <a:pt x="2731" y="2183"/>
                  </a:lnTo>
                  <a:lnTo>
                    <a:pt x="2731" y="2183"/>
                  </a:lnTo>
                  <a:lnTo>
                    <a:pt x="2731" y="2183"/>
                  </a:lnTo>
                  <a:lnTo>
                    <a:pt x="2731" y="2181"/>
                  </a:lnTo>
                  <a:lnTo>
                    <a:pt x="2731" y="2181"/>
                  </a:lnTo>
                  <a:lnTo>
                    <a:pt x="2731" y="2181"/>
                  </a:lnTo>
                  <a:lnTo>
                    <a:pt x="2731" y="2181"/>
                  </a:lnTo>
                  <a:lnTo>
                    <a:pt x="2731" y="2181"/>
                  </a:lnTo>
                  <a:lnTo>
                    <a:pt x="2731" y="2181"/>
                  </a:lnTo>
                  <a:lnTo>
                    <a:pt x="2731" y="2181"/>
                  </a:lnTo>
                  <a:lnTo>
                    <a:pt x="2731" y="2181"/>
                  </a:lnTo>
                  <a:lnTo>
                    <a:pt x="2731" y="2181"/>
                  </a:lnTo>
                  <a:lnTo>
                    <a:pt x="2731" y="2181"/>
                  </a:lnTo>
                  <a:lnTo>
                    <a:pt x="2731" y="2181"/>
                  </a:lnTo>
                  <a:lnTo>
                    <a:pt x="2731" y="2181"/>
                  </a:lnTo>
                  <a:lnTo>
                    <a:pt x="2731" y="2181"/>
                  </a:lnTo>
                  <a:lnTo>
                    <a:pt x="2731" y="2181"/>
                  </a:lnTo>
                  <a:lnTo>
                    <a:pt x="2731" y="2183"/>
                  </a:lnTo>
                  <a:lnTo>
                    <a:pt x="2731" y="2183"/>
                  </a:lnTo>
                  <a:lnTo>
                    <a:pt x="2731" y="2183"/>
                  </a:lnTo>
                  <a:lnTo>
                    <a:pt x="2731" y="2183"/>
                  </a:lnTo>
                  <a:lnTo>
                    <a:pt x="2731" y="2183"/>
                  </a:lnTo>
                  <a:lnTo>
                    <a:pt x="2731" y="2183"/>
                  </a:lnTo>
                  <a:lnTo>
                    <a:pt x="2731" y="2183"/>
                  </a:lnTo>
                  <a:lnTo>
                    <a:pt x="2731" y="2183"/>
                  </a:lnTo>
                  <a:lnTo>
                    <a:pt x="2731" y="2183"/>
                  </a:lnTo>
                  <a:lnTo>
                    <a:pt x="2733" y="2183"/>
                  </a:lnTo>
                  <a:lnTo>
                    <a:pt x="2733" y="2183"/>
                  </a:lnTo>
                  <a:lnTo>
                    <a:pt x="2733" y="2183"/>
                  </a:lnTo>
                  <a:lnTo>
                    <a:pt x="2733" y="2183"/>
                  </a:lnTo>
                  <a:lnTo>
                    <a:pt x="2733" y="2183"/>
                  </a:lnTo>
                  <a:lnTo>
                    <a:pt x="2733" y="2183"/>
                  </a:lnTo>
                  <a:lnTo>
                    <a:pt x="2733" y="2183"/>
                  </a:lnTo>
                  <a:lnTo>
                    <a:pt x="2733" y="2183"/>
                  </a:lnTo>
                  <a:lnTo>
                    <a:pt x="2733" y="2183"/>
                  </a:lnTo>
                  <a:lnTo>
                    <a:pt x="2733" y="2183"/>
                  </a:lnTo>
                  <a:lnTo>
                    <a:pt x="2733" y="2183"/>
                  </a:lnTo>
                  <a:lnTo>
                    <a:pt x="2736" y="2183"/>
                  </a:lnTo>
                  <a:lnTo>
                    <a:pt x="2736" y="2183"/>
                  </a:lnTo>
                  <a:lnTo>
                    <a:pt x="2738" y="2183"/>
                  </a:lnTo>
                  <a:lnTo>
                    <a:pt x="2738" y="2181"/>
                  </a:lnTo>
                  <a:lnTo>
                    <a:pt x="2740" y="2181"/>
                  </a:lnTo>
                  <a:lnTo>
                    <a:pt x="2740" y="2181"/>
                  </a:lnTo>
                  <a:lnTo>
                    <a:pt x="2740" y="2181"/>
                  </a:lnTo>
                  <a:lnTo>
                    <a:pt x="2740" y="2183"/>
                  </a:lnTo>
                  <a:lnTo>
                    <a:pt x="2740" y="2183"/>
                  </a:lnTo>
                  <a:lnTo>
                    <a:pt x="2740" y="2183"/>
                  </a:lnTo>
                  <a:lnTo>
                    <a:pt x="2743" y="2183"/>
                  </a:lnTo>
                  <a:lnTo>
                    <a:pt x="2743" y="2183"/>
                  </a:lnTo>
                  <a:lnTo>
                    <a:pt x="2740" y="2181"/>
                  </a:lnTo>
                  <a:lnTo>
                    <a:pt x="2743" y="2178"/>
                  </a:lnTo>
                  <a:lnTo>
                    <a:pt x="2743" y="2174"/>
                  </a:lnTo>
                  <a:lnTo>
                    <a:pt x="2743" y="2171"/>
                  </a:lnTo>
                  <a:lnTo>
                    <a:pt x="2743" y="2171"/>
                  </a:lnTo>
                  <a:lnTo>
                    <a:pt x="2743" y="2174"/>
                  </a:lnTo>
                  <a:lnTo>
                    <a:pt x="2743" y="2178"/>
                  </a:lnTo>
                  <a:lnTo>
                    <a:pt x="2743" y="2178"/>
                  </a:lnTo>
                  <a:lnTo>
                    <a:pt x="2743" y="2178"/>
                  </a:lnTo>
                  <a:lnTo>
                    <a:pt x="2743" y="2181"/>
                  </a:lnTo>
                  <a:lnTo>
                    <a:pt x="2743" y="2181"/>
                  </a:lnTo>
                  <a:lnTo>
                    <a:pt x="2743" y="2183"/>
                  </a:lnTo>
                  <a:lnTo>
                    <a:pt x="2743" y="2183"/>
                  </a:lnTo>
                  <a:lnTo>
                    <a:pt x="2748" y="2181"/>
                  </a:lnTo>
                  <a:lnTo>
                    <a:pt x="2748" y="2178"/>
                  </a:lnTo>
                  <a:lnTo>
                    <a:pt x="2750" y="2176"/>
                  </a:lnTo>
                  <a:lnTo>
                    <a:pt x="2752" y="2174"/>
                  </a:lnTo>
                  <a:lnTo>
                    <a:pt x="2752" y="2174"/>
                  </a:lnTo>
                  <a:lnTo>
                    <a:pt x="2752" y="2174"/>
                  </a:lnTo>
                  <a:lnTo>
                    <a:pt x="2752" y="2174"/>
                  </a:lnTo>
                  <a:lnTo>
                    <a:pt x="2755" y="2174"/>
                  </a:lnTo>
                  <a:lnTo>
                    <a:pt x="2752" y="2174"/>
                  </a:lnTo>
                  <a:lnTo>
                    <a:pt x="2752" y="2174"/>
                  </a:lnTo>
                  <a:lnTo>
                    <a:pt x="2752" y="2176"/>
                  </a:lnTo>
                  <a:lnTo>
                    <a:pt x="2752" y="2176"/>
                  </a:lnTo>
                  <a:lnTo>
                    <a:pt x="2752" y="2176"/>
                  </a:lnTo>
                  <a:lnTo>
                    <a:pt x="2750" y="2178"/>
                  </a:lnTo>
                  <a:lnTo>
                    <a:pt x="2750" y="2178"/>
                  </a:lnTo>
                  <a:lnTo>
                    <a:pt x="2750" y="2178"/>
                  </a:lnTo>
                  <a:lnTo>
                    <a:pt x="2750" y="2181"/>
                  </a:lnTo>
                  <a:lnTo>
                    <a:pt x="2750" y="2181"/>
                  </a:lnTo>
                  <a:lnTo>
                    <a:pt x="2750" y="2181"/>
                  </a:lnTo>
                  <a:lnTo>
                    <a:pt x="2750" y="2181"/>
                  </a:lnTo>
                  <a:lnTo>
                    <a:pt x="2750" y="2181"/>
                  </a:lnTo>
                  <a:lnTo>
                    <a:pt x="2752" y="2181"/>
                  </a:lnTo>
                  <a:lnTo>
                    <a:pt x="2750" y="2181"/>
                  </a:lnTo>
                  <a:lnTo>
                    <a:pt x="2750" y="2183"/>
                  </a:lnTo>
                  <a:lnTo>
                    <a:pt x="2750" y="2183"/>
                  </a:lnTo>
                  <a:lnTo>
                    <a:pt x="2748" y="2183"/>
                  </a:lnTo>
                  <a:lnTo>
                    <a:pt x="2748" y="2183"/>
                  </a:lnTo>
                  <a:lnTo>
                    <a:pt x="2750" y="2185"/>
                  </a:lnTo>
                  <a:lnTo>
                    <a:pt x="2750" y="2185"/>
                  </a:lnTo>
                  <a:lnTo>
                    <a:pt x="2748" y="2185"/>
                  </a:lnTo>
                  <a:lnTo>
                    <a:pt x="2748" y="2185"/>
                  </a:lnTo>
                  <a:lnTo>
                    <a:pt x="2748" y="2188"/>
                  </a:lnTo>
                  <a:lnTo>
                    <a:pt x="2745" y="2188"/>
                  </a:lnTo>
                  <a:lnTo>
                    <a:pt x="2745" y="2188"/>
                  </a:lnTo>
                  <a:lnTo>
                    <a:pt x="2745" y="2188"/>
                  </a:lnTo>
                  <a:lnTo>
                    <a:pt x="2745" y="2188"/>
                  </a:lnTo>
                  <a:lnTo>
                    <a:pt x="2743" y="2190"/>
                  </a:lnTo>
                  <a:lnTo>
                    <a:pt x="2743" y="2190"/>
                  </a:lnTo>
                  <a:lnTo>
                    <a:pt x="2743" y="2190"/>
                  </a:lnTo>
                  <a:lnTo>
                    <a:pt x="2740" y="2195"/>
                  </a:lnTo>
                  <a:lnTo>
                    <a:pt x="2740" y="2195"/>
                  </a:lnTo>
                  <a:lnTo>
                    <a:pt x="2740" y="2197"/>
                  </a:lnTo>
                  <a:lnTo>
                    <a:pt x="2740" y="2197"/>
                  </a:lnTo>
                  <a:lnTo>
                    <a:pt x="2740" y="2197"/>
                  </a:lnTo>
                  <a:lnTo>
                    <a:pt x="2740" y="2200"/>
                  </a:lnTo>
                  <a:lnTo>
                    <a:pt x="2743" y="2200"/>
                  </a:lnTo>
                  <a:lnTo>
                    <a:pt x="2743" y="2200"/>
                  </a:lnTo>
                  <a:lnTo>
                    <a:pt x="2743" y="2200"/>
                  </a:lnTo>
                  <a:lnTo>
                    <a:pt x="2743" y="2202"/>
                  </a:lnTo>
                  <a:lnTo>
                    <a:pt x="2743" y="2202"/>
                  </a:lnTo>
                  <a:lnTo>
                    <a:pt x="2740" y="2204"/>
                  </a:lnTo>
                  <a:lnTo>
                    <a:pt x="2740" y="2204"/>
                  </a:lnTo>
                  <a:lnTo>
                    <a:pt x="2740" y="2204"/>
                  </a:lnTo>
                  <a:lnTo>
                    <a:pt x="2740" y="2207"/>
                  </a:lnTo>
                  <a:lnTo>
                    <a:pt x="2740" y="2207"/>
                  </a:lnTo>
                  <a:lnTo>
                    <a:pt x="2738" y="2209"/>
                  </a:lnTo>
                  <a:lnTo>
                    <a:pt x="2738" y="2209"/>
                  </a:lnTo>
                  <a:lnTo>
                    <a:pt x="2738" y="2209"/>
                  </a:lnTo>
                  <a:lnTo>
                    <a:pt x="2738" y="2209"/>
                  </a:lnTo>
                  <a:lnTo>
                    <a:pt x="2738" y="2209"/>
                  </a:lnTo>
                  <a:lnTo>
                    <a:pt x="2738" y="2211"/>
                  </a:lnTo>
                  <a:lnTo>
                    <a:pt x="2738" y="2211"/>
                  </a:lnTo>
                  <a:lnTo>
                    <a:pt x="2738" y="2211"/>
                  </a:lnTo>
                  <a:lnTo>
                    <a:pt x="2736" y="2214"/>
                  </a:lnTo>
                  <a:lnTo>
                    <a:pt x="2733" y="2214"/>
                  </a:lnTo>
                  <a:lnTo>
                    <a:pt x="2733" y="2216"/>
                  </a:lnTo>
                  <a:lnTo>
                    <a:pt x="2733" y="2216"/>
                  </a:lnTo>
                  <a:lnTo>
                    <a:pt x="2731" y="2216"/>
                  </a:lnTo>
                  <a:lnTo>
                    <a:pt x="2731" y="2216"/>
                  </a:lnTo>
                  <a:lnTo>
                    <a:pt x="2731" y="2216"/>
                  </a:lnTo>
                  <a:lnTo>
                    <a:pt x="2729" y="2219"/>
                  </a:lnTo>
                  <a:lnTo>
                    <a:pt x="2729" y="2219"/>
                  </a:lnTo>
                  <a:lnTo>
                    <a:pt x="2729" y="2219"/>
                  </a:lnTo>
                  <a:lnTo>
                    <a:pt x="2726" y="2221"/>
                  </a:lnTo>
                  <a:lnTo>
                    <a:pt x="2726" y="2223"/>
                  </a:lnTo>
                  <a:lnTo>
                    <a:pt x="2726" y="2226"/>
                  </a:lnTo>
                  <a:lnTo>
                    <a:pt x="2726" y="2226"/>
                  </a:lnTo>
                  <a:lnTo>
                    <a:pt x="2726" y="2228"/>
                  </a:lnTo>
                  <a:lnTo>
                    <a:pt x="2726" y="2228"/>
                  </a:lnTo>
                  <a:lnTo>
                    <a:pt x="2729" y="2228"/>
                  </a:lnTo>
                  <a:lnTo>
                    <a:pt x="2729" y="2228"/>
                  </a:lnTo>
                  <a:lnTo>
                    <a:pt x="2731" y="2228"/>
                  </a:lnTo>
                  <a:lnTo>
                    <a:pt x="2733" y="2228"/>
                  </a:lnTo>
                  <a:lnTo>
                    <a:pt x="2733" y="2228"/>
                  </a:lnTo>
                  <a:lnTo>
                    <a:pt x="2736" y="2228"/>
                  </a:lnTo>
                  <a:lnTo>
                    <a:pt x="2736" y="2228"/>
                  </a:lnTo>
                  <a:lnTo>
                    <a:pt x="2736" y="2228"/>
                  </a:lnTo>
                  <a:lnTo>
                    <a:pt x="2736" y="2228"/>
                  </a:lnTo>
                  <a:lnTo>
                    <a:pt x="2736" y="2228"/>
                  </a:lnTo>
                  <a:lnTo>
                    <a:pt x="2738" y="2228"/>
                  </a:lnTo>
                  <a:lnTo>
                    <a:pt x="2738" y="2226"/>
                  </a:lnTo>
                  <a:lnTo>
                    <a:pt x="2738" y="2226"/>
                  </a:lnTo>
                  <a:lnTo>
                    <a:pt x="2740" y="2226"/>
                  </a:lnTo>
                  <a:lnTo>
                    <a:pt x="2740" y="2223"/>
                  </a:lnTo>
                  <a:lnTo>
                    <a:pt x="2740" y="2223"/>
                  </a:lnTo>
                  <a:lnTo>
                    <a:pt x="2740" y="2223"/>
                  </a:lnTo>
                  <a:lnTo>
                    <a:pt x="2740" y="2223"/>
                  </a:lnTo>
                  <a:lnTo>
                    <a:pt x="2740" y="2223"/>
                  </a:lnTo>
                  <a:lnTo>
                    <a:pt x="2740" y="2223"/>
                  </a:lnTo>
                  <a:lnTo>
                    <a:pt x="2740" y="2223"/>
                  </a:lnTo>
                  <a:lnTo>
                    <a:pt x="2743" y="2223"/>
                  </a:lnTo>
                  <a:lnTo>
                    <a:pt x="2743" y="2223"/>
                  </a:lnTo>
                  <a:lnTo>
                    <a:pt x="2743" y="2223"/>
                  </a:lnTo>
                  <a:lnTo>
                    <a:pt x="2743" y="2221"/>
                  </a:lnTo>
                  <a:lnTo>
                    <a:pt x="2740" y="2221"/>
                  </a:lnTo>
                  <a:lnTo>
                    <a:pt x="2743" y="2221"/>
                  </a:lnTo>
                  <a:lnTo>
                    <a:pt x="2743" y="2221"/>
                  </a:lnTo>
                  <a:lnTo>
                    <a:pt x="2743" y="2221"/>
                  </a:lnTo>
                  <a:lnTo>
                    <a:pt x="2743" y="2221"/>
                  </a:lnTo>
                  <a:lnTo>
                    <a:pt x="2745" y="2223"/>
                  </a:lnTo>
                  <a:lnTo>
                    <a:pt x="2745" y="2223"/>
                  </a:lnTo>
                  <a:lnTo>
                    <a:pt x="2748" y="2223"/>
                  </a:lnTo>
                  <a:lnTo>
                    <a:pt x="2748" y="2223"/>
                  </a:lnTo>
                  <a:lnTo>
                    <a:pt x="2748" y="2221"/>
                  </a:lnTo>
                  <a:lnTo>
                    <a:pt x="2748" y="2221"/>
                  </a:lnTo>
                  <a:lnTo>
                    <a:pt x="2748" y="2221"/>
                  </a:lnTo>
                  <a:lnTo>
                    <a:pt x="2748" y="2221"/>
                  </a:lnTo>
                  <a:lnTo>
                    <a:pt x="2748" y="2221"/>
                  </a:lnTo>
                  <a:lnTo>
                    <a:pt x="2750" y="2219"/>
                  </a:lnTo>
                  <a:lnTo>
                    <a:pt x="2750" y="2219"/>
                  </a:lnTo>
                  <a:lnTo>
                    <a:pt x="2752" y="2219"/>
                  </a:lnTo>
                  <a:lnTo>
                    <a:pt x="2752" y="2216"/>
                  </a:lnTo>
                  <a:lnTo>
                    <a:pt x="2752" y="2216"/>
                  </a:lnTo>
                  <a:lnTo>
                    <a:pt x="2752" y="2216"/>
                  </a:lnTo>
                  <a:lnTo>
                    <a:pt x="2752" y="2214"/>
                  </a:lnTo>
                  <a:lnTo>
                    <a:pt x="2752" y="2214"/>
                  </a:lnTo>
                  <a:lnTo>
                    <a:pt x="2752" y="2211"/>
                  </a:lnTo>
                  <a:lnTo>
                    <a:pt x="2750" y="2211"/>
                  </a:lnTo>
                  <a:lnTo>
                    <a:pt x="2750" y="2211"/>
                  </a:lnTo>
                  <a:lnTo>
                    <a:pt x="2750" y="2209"/>
                  </a:lnTo>
                  <a:lnTo>
                    <a:pt x="2750" y="2209"/>
                  </a:lnTo>
                  <a:lnTo>
                    <a:pt x="2750" y="2209"/>
                  </a:lnTo>
                  <a:lnTo>
                    <a:pt x="2750" y="2209"/>
                  </a:lnTo>
                  <a:lnTo>
                    <a:pt x="2750" y="2209"/>
                  </a:lnTo>
                  <a:lnTo>
                    <a:pt x="2750" y="2209"/>
                  </a:lnTo>
                  <a:lnTo>
                    <a:pt x="2752" y="2211"/>
                  </a:lnTo>
                  <a:lnTo>
                    <a:pt x="2752" y="2211"/>
                  </a:lnTo>
                  <a:lnTo>
                    <a:pt x="2752" y="2211"/>
                  </a:lnTo>
                  <a:lnTo>
                    <a:pt x="2752" y="2211"/>
                  </a:lnTo>
                  <a:lnTo>
                    <a:pt x="2752" y="2211"/>
                  </a:lnTo>
                  <a:lnTo>
                    <a:pt x="2752" y="2211"/>
                  </a:lnTo>
                  <a:lnTo>
                    <a:pt x="2752" y="2211"/>
                  </a:lnTo>
                  <a:lnTo>
                    <a:pt x="2752" y="2209"/>
                  </a:lnTo>
                  <a:lnTo>
                    <a:pt x="2755" y="2209"/>
                  </a:lnTo>
                  <a:lnTo>
                    <a:pt x="2752" y="2209"/>
                  </a:lnTo>
                  <a:lnTo>
                    <a:pt x="2752" y="2209"/>
                  </a:lnTo>
                  <a:lnTo>
                    <a:pt x="2752" y="2209"/>
                  </a:lnTo>
                  <a:lnTo>
                    <a:pt x="2755" y="2207"/>
                  </a:lnTo>
                  <a:lnTo>
                    <a:pt x="2755" y="2207"/>
                  </a:lnTo>
                  <a:lnTo>
                    <a:pt x="2752" y="2204"/>
                  </a:lnTo>
                  <a:lnTo>
                    <a:pt x="2752" y="2204"/>
                  </a:lnTo>
                  <a:lnTo>
                    <a:pt x="2752" y="2204"/>
                  </a:lnTo>
                  <a:lnTo>
                    <a:pt x="2752" y="2204"/>
                  </a:lnTo>
                  <a:lnTo>
                    <a:pt x="2752" y="2204"/>
                  </a:lnTo>
                  <a:lnTo>
                    <a:pt x="2752" y="2204"/>
                  </a:lnTo>
                  <a:lnTo>
                    <a:pt x="2750" y="2204"/>
                  </a:lnTo>
                  <a:lnTo>
                    <a:pt x="2750" y="2204"/>
                  </a:lnTo>
                  <a:lnTo>
                    <a:pt x="2750" y="2202"/>
                  </a:lnTo>
                  <a:lnTo>
                    <a:pt x="2750" y="2202"/>
                  </a:lnTo>
                  <a:lnTo>
                    <a:pt x="2752" y="2202"/>
                  </a:lnTo>
                  <a:lnTo>
                    <a:pt x="2752" y="2202"/>
                  </a:lnTo>
                  <a:lnTo>
                    <a:pt x="2752" y="2204"/>
                  </a:lnTo>
                  <a:lnTo>
                    <a:pt x="2752" y="2204"/>
                  </a:lnTo>
                  <a:lnTo>
                    <a:pt x="2752" y="2204"/>
                  </a:lnTo>
                  <a:lnTo>
                    <a:pt x="2752" y="2202"/>
                  </a:lnTo>
                  <a:lnTo>
                    <a:pt x="2755" y="2202"/>
                  </a:lnTo>
                  <a:lnTo>
                    <a:pt x="2755" y="2202"/>
                  </a:lnTo>
                  <a:lnTo>
                    <a:pt x="2755" y="2202"/>
                  </a:lnTo>
                  <a:lnTo>
                    <a:pt x="2752" y="2200"/>
                  </a:lnTo>
                  <a:lnTo>
                    <a:pt x="2752" y="2200"/>
                  </a:lnTo>
                  <a:lnTo>
                    <a:pt x="2752" y="2200"/>
                  </a:lnTo>
                  <a:lnTo>
                    <a:pt x="2752" y="2200"/>
                  </a:lnTo>
                  <a:lnTo>
                    <a:pt x="2752" y="2197"/>
                  </a:lnTo>
                  <a:lnTo>
                    <a:pt x="2752" y="2197"/>
                  </a:lnTo>
                  <a:lnTo>
                    <a:pt x="2752" y="2197"/>
                  </a:lnTo>
                  <a:lnTo>
                    <a:pt x="2752" y="2195"/>
                  </a:lnTo>
                  <a:lnTo>
                    <a:pt x="2755" y="2195"/>
                  </a:lnTo>
                  <a:lnTo>
                    <a:pt x="2755" y="2195"/>
                  </a:lnTo>
                  <a:lnTo>
                    <a:pt x="2755" y="2195"/>
                  </a:lnTo>
                  <a:lnTo>
                    <a:pt x="2755" y="2192"/>
                  </a:lnTo>
                  <a:lnTo>
                    <a:pt x="2752" y="2192"/>
                  </a:lnTo>
                  <a:lnTo>
                    <a:pt x="2755" y="2192"/>
                  </a:lnTo>
                  <a:lnTo>
                    <a:pt x="2755" y="2190"/>
                  </a:lnTo>
                  <a:lnTo>
                    <a:pt x="2755" y="2190"/>
                  </a:lnTo>
                  <a:lnTo>
                    <a:pt x="2755" y="2188"/>
                  </a:lnTo>
                  <a:lnTo>
                    <a:pt x="2755" y="2188"/>
                  </a:lnTo>
                  <a:lnTo>
                    <a:pt x="2755" y="2188"/>
                  </a:lnTo>
                  <a:lnTo>
                    <a:pt x="2755" y="2188"/>
                  </a:lnTo>
                  <a:lnTo>
                    <a:pt x="2755" y="2188"/>
                  </a:lnTo>
                  <a:lnTo>
                    <a:pt x="2755" y="2190"/>
                  </a:lnTo>
                  <a:lnTo>
                    <a:pt x="2755" y="2190"/>
                  </a:lnTo>
                  <a:lnTo>
                    <a:pt x="2755" y="2188"/>
                  </a:lnTo>
                  <a:lnTo>
                    <a:pt x="2755" y="2188"/>
                  </a:lnTo>
                  <a:lnTo>
                    <a:pt x="2757" y="2188"/>
                  </a:lnTo>
                  <a:lnTo>
                    <a:pt x="2757" y="2188"/>
                  </a:lnTo>
                  <a:lnTo>
                    <a:pt x="2757" y="2188"/>
                  </a:lnTo>
                  <a:lnTo>
                    <a:pt x="2757" y="2190"/>
                  </a:lnTo>
                  <a:lnTo>
                    <a:pt x="2757" y="2190"/>
                  </a:lnTo>
                  <a:lnTo>
                    <a:pt x="2757" y="2190"/>
                  </a:lnTo>
                  <a:lnTo>
                    <a:pt x="2757" y="2188"/>
                  </a:lnTo>
                  <a:lnTo>
                    <a:pt x="2757" y="2190"/>
                  </a:lnTo>
                  <a:lnTo>
                    <a:pt x="2759" y="2190"/>
                  </a:lnTo>
                  <a:lnTo>
                    <a:pt x="2759" y="2190"/>
                  </a:lnTo>
                  <a:lnTo>
                    <a:pt x="2759" y="2188"/>
                  </a:lnTo>
                  <a:lnTo>
                    <a:pt x="2759" y="2190"/>
                  </a:lnTo>
                  <a:lnTo>
                    <a:pt x="2759" y="2190"/>
                  </a:lnTo>
                  <a:lnTo>
                    <a:pt x="2759" y="2190"/>
                  </a:lnTo>
                  <a:lnTo>
                    <a:pt x="2759" y="2188"/>
                  </a:lnTo>
                  <a:lnTo>
                    <a:pt x="2759" y="2188"/>
                  </a:lnTo>
                  <a:lnTo>
                    <a:pt x="2759" y="2188"/>
                  </a:lnTo>
                  <a:lnTo>
                    <a:pt x="2759" y="2188"/>
                  </a:lnTo>
                  <a:lnTo>
                    <a:pt x="2759" y="2188"/>
                  </a:lnTo>
                  <a:lnTo>
                    <a:pt x="2759" y="2188"/>
                  </a:lnTo>
                  <a:lnTo>
                    <a:pt x="2759" y="2188"/>
                  </a:lnTo>
                  <a:lnTo>
                    <a:pt x="2759" y="2188"/>
                  </a:lnTo>
                  <a:lnTo>
                    <a:pt x="2759" y="2185"/>
                  </a:lnTo>
                  <a:lnTo>
                    <a:pt x="2759" y="2188"/>
                  </a:lnTo>
                  <a:lnTo>
                    <a:pt x="2762" y="2188"/>
                  </a:lnTo>
                  <a:lnTo>
                    <a:pt x="2762" y="2188"/>
                  </a:lnTo>
                  <a:lnTo>
                    <a:pt x="2762" y="2188"/>
                  </a:lnTo>
                  <a:lnTo>
                    <a:pt x="2762" y="2188"/>
                  </a:lnTo>
                  <a:lnTo>
                    <a:pt x="2762" y="2185"/>
                  </a:lnTo>
                  <a:lnTo>
                    <a:pt x="2764" y="2181"/>
                  </a:lnTo>
                  <a:lnTo>
                    <a:pt x="2764" y="2178"/>
                  </a:lnTo>
                  <a:lnTo>
                    <a:pt x="2764" y="2176"/>
                  </a:lnTo>
                  <a:lnTo>
                    <a:pt x="2764" y="2174"/>
                  </a:lnTo>
                  <a:lnTo>
                    <a:pt x="2764" y="2174"/>
                  </a:lnTo>
                  <a:lnTo>
                    <a:pt x="2764" y="2174"/>
                  </a:lnTo>
                  <a:lnTo>
                    <a:pt x="2764" y="2174"/>
                  </a:lnTo>
                  <a:lnTo>
                    <a:pt x="2764" y="2176"/>
                  </a:lnTo>
                  <a:lnTo>
                    <a:pt x="2764" y="2185"/>
                  </a:lnTo>
                  <a:lnTo>
                    <a:pt x="2762" y="2185"/>
                  </a:lnTo>
                  <a:lnTo>
                    <a:pt x="2762" y="2188"/>
                  </a:lnTo>
                  <a:lnTo>
                    <a:pt x="2764" y="2188"/>
                  </a:lnTo>
                  <a:lnTo>
                    <a:pt x="2764" y="2188"/>
                  </a:lnTo>
                  <a:lnTo>
                    <a:pt x="2766" y="2185"/>
                  </a:lnTo>
                  <a:lnTo>
                    <a:pt x="2766" y="2185"/>
                  </a:lnTo>
                  <a:lnTo>
                    <a:pt x="2766" y="2185"/>
                  </a:lnTo>
                  <a:lnTo>
                    <a:pt x="2766" y="2183"/>
                  </a:lnTo>
                  <a:lnTo>
                    <a:pt x="2766" y="2183"/>
                  </a:lnTo>
                  <a:lnTo>
                    <a:pt x="2766" y="2183"/>
                  </a:lnTo>
                  <a:lnTo>
                    <a:pt x="2766" y="2183"/>
                  </a:lnTo>
                  <a:lnTo>
                    <a:pt x="2766" y="2183"/>
                  </a:lnTo>
                  <a:lnTo>
                    <a:pt x="2766" y="2183"/>
                  </a:lnTo>
                  <a:lnTo>
                    <a:pt x="2766" y="2183"/>
                  </a:lnTo>
                  <a:lnTo>
                    <a:pt x="2766" y="2181"/>
                  </a:lnTo>
                  <a:lnTo>
                    <a:pt x="2766" y="2181"/>
                  </a:lnTo>
                  <a:lnTo>
                    <a:pt x="2766" y="2181"/>
                  </a:lnTo>
                  <a:lnTo>
                    <a:pt x="2766" y="2181"/>
                  </a:lnTo>
                  <a:lnTo>
                    <a:pt x="2766" y="2181"/>
                  </a:lnTo>
                  <a:lnTo>
                    <a:pt x="2766" y="2183"/>
                  </a:lnTo>
                  <a:lnTo>
                    <a:pt x="2766" y="2181"/>
                  </a:lnTo>
                  <a:lnTo>
                    <a:pt x="2769" y="2181"/>
                  </a:lnTo>
                  <a:lnTo>
                    <a:pt x="2766" y="2181"/>
                  </a:lnTo>
                  <a:lnTo>
                    <a:pt x="2766" y="2178"/>
                  </a:lnTo>
                  <a:lnTo>
                    <a:pt x="2766" y="2178"/>
                  </a:lnTo>
                  <a:lnTo>
                    <a:pt x="2766" y="2178"/>
                  </a:lnTo>
                  <a:lnTo>
                    <a:pt x="2766" y="2178"/>
                  </a:lnTo>
                  <a:lnTo>
                    <a:pt x="2766" y="2178"/>
                  </a:lnTo>
                  <a:lnTo>
                    <a:pt x="2766" y="2178"/>
                  </a:lnTo>
                  <a:lnTo>
                    <a:pt x="2766" y="2178"/>
                  </a:lnTo>
                  <a:lnTo>
                    <a:pt x="2766" y="2178"/>
                  </a:lnTo>
                  <a:lnTo>
                    <a:pt x="2766" y="2178"/>
                  </a:lnTo>
                  <a:lnTo>
                    <a:pt x="2766" y="2176"/>
                  </a:lnTo>
                  <a:lnTo>
                    <a:pt x="2766" y="2174"/>
                  </a:lnTo>
                  <a:lnTo>
                    <a:pt x="2766" y="2174"/>
                  </a:lnTo>
                  <a:lnTo>
                    <a:pt x="2766" y="2171"/>
                  </a:lnTo>
                  <a:lnTo>
                    <a:pt x="2766" y="2171"/>
                  </a:lnTo>
                  <a:lnTo>
                    <a:pt x="2766" y="2169"/>
                  </a:lnTo>
                  <a:lnTo>
                    <a:pt x="2766" y="2169"/>
                  </a:lnTo>
                  <a:lnTo>
                    <a:pt x="2766" y="2166"/>
                  </a:lnTo>
                  <a:lnTo>
                    <a:pt x="2764" y="2166"/>
                  </a:lnTo>
                  <a:lnTo>
                    <a:pt x="2766" y="2166"/>
                  </a:lnTo>
                  <a:lnTo>
                    <a:pt x="2766" y="2166"/>
                  </a:lnTo>
                  <a:lnTo>
                    <a:pt x="2766" y="2164"/>
                  </a:lnTo>
                  <a:lnTo>
                    <a:pt x="2766" y="2162"/>
                  </a:lnTo>
                  <a:lnTo>
                    <a:pt x="2766" y="2159"/>
                  </a:lnTo>
                  <a:lnTo>
                    <a:pt x="2766" y="2157"/>
                  </a:lnTo>
                  <a:lnTo>
                    <a:pt x="2766" y="2157"/>
                  </a:lnTo>
                  <a:lnTo>
                    <a:pt x="2766" y="2157"/>
                  </a:lnTo>
                  <a:lnTo>
                    <a:pt x="2764" y="2157"/>
                  </a:lnTo>
                  <a:lnTo>
                    <a:pt x="2764" y="2157"/>
                  </a:lnTo>
                  <a:lnTo>
                    <a:pt x="2764" y="2157"/>
                  </a:lnTo>
                  <a:lnTo>
                    <a:pt x="2766" y="2157"/>
                  </a:lnTo>
                  <a:lnTo>
                    <a:pt x="2766" y="2157"/>
                  </a:lnTo>
                  <a:lnTo>
                    <a:pt x="2766" y="2157"/>
                  </a:lnTo>
                  <a:lnTo>
                    <a:pt x="2766" y="2157"/>
                  </a:lnTo>
                  <a:lnTo>
                    <a:pt x="2766" y="2157"/>
                  </a:lnTo>
                  <a:lnTo>
                    <a:pt x="2766" y="2157"/>
                  </a:lnTo>
                  <a:lnTo>
                    <a:pt x="2769" y="2157"/>
                  </a:lnTo>
                  <a:lnTo>
                    <a:pt x="2769" y="2157"/>
                  </a:lnTo>
                  <a:lnTo>
                    <a:pt x="2769" y="2157"/>
                  </a:lnTo>
                  <a:lnTo>
                    <a:pt x="2769" y="2157"/>
                  </a:lnTo>
                  <a:lnTo>
                    <a:pt x="2769" y="2155"/>
                  </a:lnTo>
                  <a:lnTo>
                    <a:pt x="2769" y="2155"/>
                  </a:lnTo>
                  <a:lnTo>
                    <a:pt x="2769" y="2155"/>
                  </a:lnTo>
                  <a:lnTo>
                    <a:pt x="2771" y="2155"/>
                  </a:lnTo>
                  <a:lnTo>
                    <a:pt x="2771" y="2157"/>
                  </a:lnTo>
                  <a:lnTo>
                    <a:pt x="2771" y="2157"/>
                  </a:lnTo>
                  <a:lnTo>
                    <a:pt x="2771" y="2157"/>
                  </a:lnTo>
                  <a:lnTo>
                    <a:pt x="2771" y="2157"/>
                  </a:lnTo>
                  <a:lnTo>
                    <a:pt x="2771" y="2157"/>
                  </a:lnTo>
                  <a:lnTo>
                    <a:pt x="2771" y="2157"/>
                  </a:lnTo>
                  <a:lnTo>
                    <a:pt x="2771" y="2157"/>
                  </a:lnTo>
                  <a:lnTo>
                    <a:pt x="2771" y="2157"/>
                  </a:lnTo>
                  <a:lnTo>
                    <a:pt x="2771" y="2157"/>
                  </a:lnTo>
                  <a:lnTo>
                    <a:pt x="2771" y="2157"/>
                  </a:lnTo>
                  <a:lnTo>
                    <a:pt x="2774" y="2157"/>
                  </a:lnTo>
                  <a:lnTo>
                    <a:pt x="2774" y="2157"/>
                  </a:lnTo>
                  <a:lnTo>
                    <a:pt x="2774" y="2157"/>
                  </a:lnTo>
                  <a:lnTo>
                    <a:pt x="2774" y="2157"/>
                  </a:lnTo>
                  <a:lnTo>
                    <a:pt x="2774" y="2159"/>
                  </a:lnTo>
                  <a:lnTo>
                    <a:pt x="2776" y="2159"/>
                  </a:lnTo>
                  <a:lnTo>
                    <a:pt x="2776" y="2159"/>
                  </a:lnTo>
                  <a:lnTo>
                    <a:pt x="2776" y="2159"/>
                  </a:lnTo>
                  <a:lnTo>
                    <a:pt x="2776" y="2159"/>
                  </a:lnTo>
                  <a:lnTo>
                    <a:pt x="2776" y="2159"/>
                  </a:lnTo>
                  <a:lnTo>
                    <a:pt x="2776" y="2159"/>
                  </a:lnTo>
                  <a:lnTo>
                    <a:pt x="2776" y="2159"/>
                  </a:lnTo>
                  <a:lnTo>
                    <a:pt x="2776" y="2159"/>
                  </a:lnTo>
                  <a:lnTo>
                    <a:pt x="2776" y="2159"/>
                  </a:lnTo>
                  <a:lnTo>
                    <a:pt x="2778" y="2162"/>
                  </a:lnTo>
                  <a:lnTo>
                    <a:pt x="2778" y="2162"/>
                  </a:lnTo>
                  <a:lnTo>
                    <a:pt x="2778" y="2164"/>
                  </a:lnTo>
                  <a:lnTo>
                    <a:pt x="2778" y="2164"/>
                  </a:lnTo>
                  <a:lnTo>
                    <a:pt x="2778" y="2164"/>
                  </a:lnTo>
                  <a:lnTo>
                    <a:pt x="2781" y="2164"/>
                  </a:lnTo>
                  <a:lnTo>
                    <a:pt x="2781" y="2164"/>
                  </a:lnTo>
                  <a:lnTo>
                    <a:pt x="2781" y="2164"/>
                  </a:lnTo>
                  <a:lnTo>
                    <a:pt x="2781" y="2166"/>
                  </a:lnTo>
                  <a:lnTo>
                    <a:pt x="2781" y="2166"/>
                  </a:lnTo>
                  <a:lnTo>
                    <a:pt x="2781" y="2164"/>
                  </a:lnTo>
                  <a:lnTo>
                    <a:pt x="2781" y="2164"/>
                  </a:lnTo>
                  <a:lnTo>
                    <a:pt x="2781" y="2166"/>
                  </a:lnTo>
                  <a:lnTo>
                    <a:pt x="2783" y="2166"/>
                  </a:lnTo>
                  <a:lnTo>
                    <a:pt x="2783" y="2169"/>
                  </a:lnTo>
                  <a:lnTo>
                    <a:pt x="2783" y="2169"/>
                  </a:lnTo>
                  <a:lnTo>
                    <a:pt x="2783" y="2169"/>
                  </a:lnTo>
                  <a:lnTo>
                    <a:pt x="2783" y="2171"/>
                  </a:lnTo>
                  <a:lnTo>
                    <a:pt x="2783" y="2171"/>
                  </a:lnTo>
                  <a:lnTo>
                    <a:pt x="2783" y="2171"/>
                  </a:lnTo>
                  <a:lnTo>
                    <a:pt x="2783" y="2171"/>
                  </a:lnTo>
                  <a:lnTo>
                    <a:pt x="2783" y="2174"/>
                  </a:lnTo>
                  <a:lnTo>
                    <a:pt x="2783" y="2174"/>
                  </a:lnTo>
                  <a:lnTo>
                    <a:pt x="2783" y="2174"/>
                  </a:lnTo>
                  <a:lnTo>
                    <a:pt x="2785" y="2174"/>
                  </a:lnTo>
                  <a:lnTo>
                    <a:pt x="2785" y="2174"/>
                  </a:lnTo>
                  <a:lnTo>
                    <a:pt x="2785" y="2174"/>
                  </a:lnTo>
                  <a:lnTo>
                    <a:pt x="2785" y="2171"/>
                  </a:lnTo>
                  <a:lnTo>
                    <a:pt x="2785" y="2171"/>
                  </a:lnTo>
                  <a:lnTo>
                    <a:pt x="2788" y="2174"/>
                  </a:lnTo>
                  <a:lnTo>
                    <a:pt x="2788" y="2174"/>
                  </a:lnTo>
                  <a:lnTo>
                    <a:pt x="2788" y="2174"/>
                  </a:lnTo>
                  <a:lnTo>
                    <a:pt x="2788" y="2171"/>
                  </a:lnTo>
                  <a:lnTo>
                    <a:pt x="2788" y="2174"/>
                  </a:lnTo>
                  <a:lnTo>
                    <a:pt x="2788" y="2174"/>
                  </a:lnTo>
                  <a:lnTo>
                    <a:pt x="2785" y="2174"/>
                  </a:lnTo>
                  <a:lnTo>
                    <a:pt x="2785" y="2176"/>
                  </a:lnTo>
                  <a:lnTo>
                    <a:pt x="2785" y="2176"/>
                  </a:lnTo>
                  <a:lnTo>
                    <a:pt x="2785" y="2178"/>
                  </a:lnTo>
                  <a:lnTo>
                    <a:pt x="2785" y="2176"/>
                  </a:lnTo>
                  <a:lnTo>
                    <a:pt x="2788" y="2176"/>
                  </a:lnTo>
                  <a:lnTo>
                    <a:pt x="2788" y="2178"/>
                  </a:lnTo>
                  <a:lnTo>
                    <a:pt x="2788" y="2178"/>
                  </a:lnTo>
                  <a:lnTo>
                    <a:pt x="2785" y="2178"/>
                  </a:lnTo>
                  <a:lnTo>
                    <a:pt x="2788" y="2181"/>
                  </a:lnTo>
                  <a:lnTo>
                    <a:pt x="2785" y="2181"/>
                  </a:lnTo>
                  <a:lnTo>
                    <a:pt x="2785" y="2181"/>
                  </a:lnTo>
                  <a:lnTo>
                    <a:pt x="2785" y="2181"/>
                  </a:lnTo>
                  <a:lnTo>
                    <a:pt x="2785" y="2181"/>
                  </a:lnTo>
                  <a:lnTo>
                    <a:pt x="2785" y="2181"/>
                  </a:lnTo>
                  <a:lnTo>
                    <a:pt x="2785" y="2181"/>
                  </a:lnTo>
                  <a:lnTo>
                    <a:pt x="2785" y="2181"/>
                  </a:lnTo>
                  <a:lnTo>
                    <a:pt x="2785" y="2181"/>
                  </a:lnTo>
                  <a:lnTo>
                    <a:pt x="2785" y="2181"/>
                  </a:lnTo>
                  <a:lnTo>
                    <a:pt x="2785" y="2181"/>
                  </a:lnTo>
                  <a:lnTo>
                    <a:pt x="2785" y="2183"/>
                  </a:lnTo>
                  <a:lnTo>
                    <a:pt x="2785" y="2183"/>
                  </a:lnTo>
                  <a:lnTo>
                    <a:pt x="2785" y="2183"/>
                  </a:lnTo>
                  <a:lnTo>
                    <a:pt x="2788" y="2183"/>
                  </a:lnTo>
                  <a:lnTo>
                    <a:pt x="2788" y="2183"/>
                  </a:lnTo>
                  <a:lnTo>
                    <a:pt x="2788" y="2183"/>
                  </a:lnTo>
                  <a:lnTo>
                    <a:pt x="2788" y="2183"/>
                  </a:lnTo>
                  <a:lnTo>
                    <a:pt x="2785" y="2185"/>
                  </a:lnTo>
                  <a:lnTo>
                    <a:pt x="2785" y="2185"/>
                  </a:lnTo>
                  <a:lnTo>
                    <a:pt x="2785" y="2185"/>
                  </a:lnTo>
                  <a:lnTo>
                    <a:pt x="2785" y="2185"/>
                  </a:lnTo>
                  <a:lnTo>
                    <a:pt x="2785" y="2188"/>
                  </a:lnTo>
                  <a:lnTo>
                    <a:pt x="2785" y="2188"/>
                  </a:lnTo>
                  <a:lnTo>
                    <a:pt x="2785" y="2195"/>
                  </a:lnTo>
                  <a:lnTo>
                    <a:pt x="2785" y="2195"/>
                  </a:lnTo>
                  <a:lnTo>
                    <a:pt x="2785" y="2197"/>
                  </a:lnTo>
                  <a:lnTo>
                    <a:pt x="2785" y="2200"/>
                  </a:lnTo>
                  <a:lnTo>
                    <a:pt x="2785" y="2200"/>
                  </a:lnTo>
                  <a:lnTo>
                    <a:pt x="2785" y="2200"/>
                  </a:lnTo>
                  <a:lnTo>
                    <a:pt x="2785" y="2202"/>
                  </a:lnTo>
                  <a:lnTo>
                    <a:pt x="2788" y="2204"/>
                  </a:lnTo>
                  <a:lnTo>
                    <a:pt x="2788" y="2204"/>
                  </a:lnTo>
                  <a:lnTo>
                    <a:pt x="2788" y="2204"/>
                  </a:lnTo>
                  <a:lnTo>
                    <a:pt x="2788" y="2207"/>
                  </a:lnTo>
                  <a:lnTo>
                    <a:pt x="2788" y="2207"/>
                  </a:lnTo>
                  <a:lnTo>
                    <a:pt x="2788" y="2207"/>
                  </a:lnTo>
                  <a:lnTo>
                    <a:pt x="2790" y="2207"/>
                  </a:lnTo>
                  <a:lnTo>
                    <a:pt x="2790" y="2207"/>
                  </a:lnTo>
                  <a:lnTo>
                    <a:pt x="2790" y="2207"/>
                  </a:lnTo>
                  <a:lnTo>
                    <a:pt x="2792" y="2207"/>
                  </a:lnTo>
                  <a:lnTo>
                    <a:pt x="2792" y="2207"/>
                  </a:lnTo>
                  <a:lnTo>
                    <a:pt x="2792" y="2207"/>
                  </a:lnTo>
                  <a:lnTo>
                    <a:pt x="2792" y="2207"/>
                  </a:lnTo>
                  <a:lnTo>
                    <a:pt x="2792" y="2207"/>
                  </a:lnTo>
                  <a:lnTo>
                    <a:pt x="2792" y="2207"/>
                  </a:lnTo>
                  <a:lnTo>
                    <a:pt x="2792" y="2207"/>
                  </a:lnTo>
                  <a:lnTo>
                    <a:pt x="2795" y="2207"/>
                  </a:lnTo>
                  <a:lnTo>
                    <a:pt x="2795" y="2204"/>
                  </a:lnTo>
                  <a:lnTo>
                    <a:pt x="2795" y="2204"/>
                  </a:lnTo>
                  <a:lnTo>
                    <a:pt x="2795" y="2202"/>
                  </a:lnTo>
                  <a:lnTo>
                    <a:pt x="2795" y="2202"/>
                  </a:lnTo>
                  <a:lnTo>
                    <a:pt x="2795" y="2202"/>
                  </a:lnTo>
                  <a:lnTo>
                    <a:pt x="2795" y="2202"/>
                  </a:lnTo>
                  <a:lnTo>
                    <a:pt x="2795" y="2202"/>
                  </a:lnTo>
                  <a:lnTo>
                    <a:pt x="2795" y="2200"/>
                  </a:lnTo>
                  <a:lnTo>
                    <a:pt x="2797" y="2200"/>
                  </a:lnTo>
                  <a:lnTo>
                    <a:pt x="2797" y="2200"/>
                  </a:lnTo>
                  <a:lnTo>
                    <a:pt x="2797" y="2200"/>
                  </a:lnTo>
                  <a:lnTo>
                    <a:pt x="2797" y="2197"/>
                  </a:lnTo>
                  <a:lnTo>
                    <a:pt x="2797" y="2197"/>
                  </a:lnTo>
                  <a:lnTo>
                    <a:pt x="2797" y="2197"/>
                  </a:lnTo>
                  <a:lnTo>
                    <a:pt x="2797" y="2197"/>
                  </a:lnTo>
                  <a:lnTo>
                    <a:pt x="2797" y="2195"/>
                  </a:lnTo>
                  <a:lnTo>
                    <a:pt x="2797" y="2195"/>
                  </a:lnTo>
                  <a:lnTo>
                    <a:pt x="2797" y="2190"/>
                  </a:lnTo>
                  <a:lnTo>
                    <a:pt x="2797" y="2190"/>
                  </a:lnTo>
                  <a:lnTo>
                    <a:pt x="2797" y="2190"/>
                  </a:lnTo>
                  <a:lnTo>
                    <a:pt x="2800" y="2190"/>
                  </a:lnTo>
                  <a:lnTo>
                    <a:pt x="2800" y="2190"/>
                  </a:lnTo>
                  <a:lnTo>
                    <a:pt x="2800" y="2188"/>
                  </a:lnTo>
                  <a:lnTo>
                    <a:pt x="2800" y="2188"/>
                  </a:lnTo>
                  <a:lnTo>
                    <a:pt x="2800" y="2188"/>
                  </a:lnTo>
                  <a:lnTo>
                    <a:pt x="2800" y="2188"/>
                  </a:lnTo>
                  <a:lnTo>
                    <a:pt x="2800" y="2188"/>
                  </a:lnTo>
                  <a:lnTo>
                    <a:pt x="2800" y="2188"/>
                  </a:lnTo>
                  <a:lnTo>
                    <a:pt x="2800" y="2185"/>
                  </a:lnTo>
                  <a:lnTo>
                    <a:pt x="2800" y="2183"/>
                  </a:lnTo>
                  <a:lnTo>
                    <a:pt x="2800" y="2183"/>
                  </a:lnTo>
                  <a:lnTo>
                    <a:pt x="2800" y="2183"/>
                  </a:lnTo>
                  <a:lnTo>
                    <a:pt x="2800" y="2183"/>
                  </a:lnTo>
                  <a:lnTo>
                    <a:pt x="2800" y="2183"/>
                  </a:lnTo>
                  <a:lnTo>
                    <a:pt x="2800" y="2185"/>
                  </a:lnTo>
                  <a:lnTo>
                    <a:pt x="2802" y="2185"/>
                  </a:lnTo>
                  <a:lnTo>
                    <a:pt x="2802" y="2183"/>
                  </a:lnTo>
                  <a:lnTo>
                    <a:pt x="2802" y="2181"/>
                  </a:lnTo>
                  <a:lnTo>
                    <a:pt x="2802" y="2181"/>
                  </a:lnTo>
                  <a:lnTo>
                    <a:pt x="2802" y="2183"/>
                  </a:lnTo>
                  <a:lnTo>
                    <a:pt x="2802" y="2183"/>
                  </a:lnTo>
                  <a:lnTo>
                    <a:pt x="2802" y="2181"/>
                  </a:lnTo>
                  <a:lnTo>
                    <a:pt x="2802" y="2181"/>
                  </a:lnTo>
                  <a:lnTo>
                    <a:pt x="2804" y="2181"/>
                  </a:lnTo>
                  <a:lnTo>
                    <a:pt x="2804" y="2181"/>
                  </a:lnTo>
                  <a:lnTo>
                    <a:pt x="2804" y="2183"/>
                  </a:lnTo>
                  <a:lnTo>
                    <a:pt x="2804" y="2183"/>
                  </a:lnTo>
                  <a:lnTo>
                    <a:pt x="2804" y="2183"/>
                  </a:lnTo>
                  <a:lnTo>
                    <a:pt x="2804" y="2183"/>
                  </a:lnTo>
                  <a:lnTo>
                    <a:pt x="2804" y="2185"/>
                  </a:lnTo>
                  <a:lnTo>
                    <a:pt x="2802" y="2185"/>
                  </a:lnTo>
                  <a:lnTo>
                    <a:pt x="2804" y="2185"/>
                  </a:lnTo>
                  <a:lnTo>
                    <a:pt x="2804" y="2188"/>
                  </a:lnTo>
                  <a:lnTo>
                    <a:pt x="2804" y="2188"/>
                  </a:lnTo>
                  <a:lnTo>
                    <a:pt x="2802" y="2190"/>
                  </a:lnTo>
                  <a:lnTo>
                    <a:pt x="2802" y="2192"/>
                  </a:lnTo>
                  <a:lnTo>
                    <a:pt x="2804" y="2190"/>
                  </a:lnTo>
                  <a:lnTo>
                    <a:pt x="2804" y="2190"/>
                  </a:lnTo>
                  <a:lnTo>
                    <a:pt x="2804" y="2192"/>
                  </a:lnTo>
                  <a:lnTo>
                    <a:pt x="2804" y="2192"/>
                  </a:lnTo>
                  <a:lnTo>
                    <a:pt x="2804" y="2192"/>
                  </a:lnTo>
                  <a:lnTo>
                    <a:pt x="2804" y="2192"/>
                  </a:lnTo>
                  <a:lnTo>
                    <a:pt x="2807" y="2192"/>
                  </a:lnTo>
                  <a:lnTo>
                    <a:pt x="2807" y="2192"/>
                  </a:lnTo>
                  <a:lnTo>
                    <a:pt x="2807" y="2190"/>
                  </a:lnTo>
                  <a:lnTo>
                    <a:pt x="2807" y="2190"/>
                  </a:lnTo>
                  <a:lnTo>
                    <a:pt x="2807" y="2190"/>
                  </a:lnTo>
                  <a:lnTo>
                    <a:pt x="2807" y="2190"/>
                  </a:lnTo>
                  <a:lnTo>
                    <a:pt x="2807" y="2192"/>
                  </a:lnTo>
                  <a:lnTo>
                    <a:pt x="2807" y="2192"/>
                  </a:lnTo>
                  <a:lnTo>
                    <a:pt x="2807" y="2192"/>
                  </a:lnTo>
                  <a:lnTo>
                    <a:pt x="2807" y="2192"/>
                  </a:lnTo>
                  <a:lnTo>
                    <a:pt x="2807" y="2192"/>
                  </a:lnTo>
                  <a:lnTo>
                    <a:pt x="2807" y="2190"/>
                  </a:lnTo>
                  <a:lnTo>
                    <a:pt x="2807" y="2190"/>
                  </a:lnTo>
                  <a:lnTo>
                    <a:pt x="2809" y="2192"/>
                  </a:lnTo>
                  <a:lnTo>
                    <a:pt x="2807" y="2192"/>
                  </a:lnTo>
                  <a:lnTo>
                    <a:pt x="2807" y="2195"/>
                  </a:lnTo>
                  <a:lnTo>
                    <a:pt x="2807" y="2195"/>
                  </a:lnTo>
                  <a:lnTo>
                    <a:pt x="2807" y="2197"/>
                  </a:lnTo>
                  <a:lnTo>
                    <a:pt x="2807" y="2197"/>
                  </a:lnTo>
                  <a:lnTo>
                    <a:pt x="2807" y="2197"/>
                  </a:lnTo>
                  <a:lnTo>
                    <a:pt x="2807" y="2197"/>
                  </a:lnTo>
                  <a:lnTo>
                    <a:pt x="2807" y="2200"/>
                  </a:lnTo>
                  <a:lnTo>
                    <a:pt x="2807" y="2200"/>
                  </a:lnTo>
                  <a:lnTo>
                    <a:pt x="2807" y="2200"/>
                  </a:lnTo>
                  <a:lnTo>
                    <a:pt x="2807" y="2200"/>
                  </a:lnTo>
                  <a:lnTo>
                    <a:pt x="2807" y="2200"/>
                  </a:lnTo>
                  <a:lnTo>
                    <a:pt x="2809" y="2195"/>
                  </a:lnTo>
                  <a:lnTo>
                    <a:pt x="2809" y="2195"/>
                  </a:lnTo>
                  <a:lnTo>
                    <a:pt x="2809" y="2192"/>
                  </a:lnTo>
                  <a:lnTo>
                    <a:pt x="2809" y="2192"/>
                  </a:lnTo>
                  <a:lnTo>
                    <a:pt x="2809" y="2195"/>
                  </a:lnTo>
                  <a:lnTo>
                    <a:pt x="2809" y="2195"/>
                  </a:lnTo>
                  <a:lnTo>
                    <a:pt x="2809" y="2195"/>
                  </a:lnTo>
                  <a:lnTo>
                    <a:pt x="2809" y="2197"/>
                  </a:lnTo>
                  <a:lnTo>
                    <a:pt x="2809" y="2200"/>
                  </a:lnTo>
                  <a:lnTo>
                    <a:pt x="2809" y="2200"/>
                  </a:lnTo>
                  <a:lnTo>
                    <a:pt x="2809" y="2200"/>
                  </a:lnTo>
                  <a:lnTo>
                    <a:pt x="2809" y="2202"/>
                  </a:lnTo>
                  <a:lnTo>
                    <a:pt x="2809" y="2202"/>
                  </a:lnTo>
                  <a:lnTo>
                    <a:pt x="2809" y="2202"/>
                  </a:lnTo>
                  <a:lnTo>
                    <a:pt x="2809" y="2202"/>
                  </a:lnTo>
                  <a:lnTo>
                    <a:pt x="2809" y="2204"/>
                  </a:lnTo>
                  <a:lnTo>
                    <a:pt x="2809" y="2204"/>
                  </a:lnTo>
                  <a:lnTo>
                    <a:pt x="2809" y="2207"/>
                  </a:lnTo>
                  <a:lnTo>
                    <a:pt x="2811" y="2207"/>
                  </a:lnTo>
                  <a:lnTo>
                    <a:pt x="2811" y="2207"/>
                  </a:lnTo>
                  <a:lnTo>
                    <a:pt x="2811" y="2209"/>
                  </a:lnTo>
                  <a:lnTo>
                    <a:pt x="2814" y="2207"/>
                  </a:lnTo>
                  <a:lnTo>
                    <a:pt x="2814" y="2207"/>
                  </a:lnTo>
                  <a:lnTo>
                    <a:pt x="2816" y="2204"/>
                  </a:lnTo>
                  <a:lnTo>
                    <a:pt x="2816" y="2204"/>
                  </a:lnTo>
                  <a:lnTo>
                    <a:pt x="2816" y="2204"/>
                  </a:lnTo>
                  <a:lnTo>
                    <a:pt x="2816" y="2204"/>
                  </a:lnTo>
                  <a:lnTo>
                    <a:pt x="2816" y="2202"/>
                  </a:lnTo>
                  <a:lnTo>
                    <a:pt x="2816" y="2202"/>
                  </a:lnTo>
                  <a:lnTo>
                    <a:pt x="2816" y="2202"/>
                  </a:lnTo>
                  <a:lnTo>
                    <a:pt x="2816" y="2200"/>
                  </a:lnTo>
                  <a:lnTo>
                    <a:pt x="2819" y="2200"/>
                  </a:lnTo>
                  <a:lnTo>
                    <a:pt x="2819" y="2200"/>
                  </a:lnTo>
                  <a:lnTo>
                    <a:pt x="2819" y="2202"/>
                  </a:lnTo>
                  <a:lnTo>
                    <a:pt x="2819" y="2202"/>
                  </a:lnTo>
                  <a:lnTo>
                    <a:pt x="2819" y="2202"/>
                  </a:lnTo>
                  <a:lnTo>
                    <a:pt x="2819" y="2200"/>
                  </a:lnTo>
                  <a:lnTo>
                    <a:pt x="2819" y="2200"/>
                  </a:lnTo>
                  <a:lnTo>
                    <a:pt x="2819" y="2200"/>
                  </a:lnTo>
                  <a:lnTo>
                    <a:pt x="2819" y="2200"/>
                  </a:lnTo>
                  <a:lnTo>
                    <a:pt x="2821" y="2202"/>
                  </a:lnTo>
                  <a:lnTo>
                    <a:pt x="2821" y="2200"/>
                  </a:lnTo>
                  <a:lnTo>
                    <a:pt x="2821" y="2200"/>
                  </a:lnTo>
                  <a:lnTo>
                    <a:pt x="2821" y="2197"/>
                  </a:lnTo>
                  <a:lnTo>
                    <a:pt x="2821" y="2197"/>
                  </a:lnTo>
                  <a:lnTo>
                    <a:pt x="2821" y="2200"/>
                  </a:lnTo>
                  <a:lnTo>
                    <a:pt x="2823" y="2200"/>
                  </a:lnTo>
                  <a:lnTo>
                    <a:pt x="2823" y="2202"/>
                  </a:lnTo>
                  <a:lnTo>
                    <a:pt x="2826" y="2202"/>
                  </a:lnTo>
                  <a:lnTo>
                    <a:pt x="2826" y="2202"/>
                  </a:lnTo>
                  <a:lnTo>
                    <a:pt x="2826" y="2202"/>
                  </a:lnTo>
                  <a:lnTo>
                    <a:pt x="2828" y="2202"/>
                  </a:lnTo>
                  <a:lnTo>
                    <a:pt x="2828" y="2200"/>
                  </a:lnTo>
                  <a:lnTo>
                    <a:pt x="2828" y="2197"/>
                  </a:lnTo>
                  <a:lnTo>
                    <a:pt x="2828" y="2195"/>
                  </a:lnTo>
                  <a:lnTo>
                    <a:pt x="2828" y="2192"/>
                  </a:lnTo>
                  <a:lnTo>
                    <a:pt x="2828" y="2192"/>
                  </a:lnTo>
                  <a:lnTo>
                    <a:pt x="2830" y="2192"/>
                  </a:lnTo>
                  <a:lnTo>
                    <a:pt x="2830" y="2192"/>
                  </a:lnTo>
                  <a:lnTo>
                    <a:pt x="2830" y="2190"/>
                  </a:lnTo>
                  <a:lnTo>
                    <a:pt x="2830" y="2190"/>
                  </a:lnTo>
                  <a:close/>
                  <a:moveTo>
                    <a:pt x="2655" y="2424"/>
                  </a:moveTo>
                  <a:lnTo>
                    <a:pt x="2653" y="2424"/>
                  </a:lnTo>
                  <a:lnTo>
                    <a:pt x="2653" y="2424"/>
                  </a:lnTo>
                  <a:lnTo>
                    <a:pt x="2653" y="2427"/>
                  </a:lnTo>
                  <a:lnTo>
                    <a:pt x="2648" y="2429"/>
                  </a:lnTo>
                  <a:lnTo>
                    <a:pt x="2646" y="2429"/>
                  </a:lnTo>
                  <a:lnTo>
                    <a:pt x="2643" y="2429"/>
                  </a:lnTo>
                  <a:lnTo>
                    <a:pt x="2643" y="2429"/>
                  </a:lnTo>
                  <a:lnTo>
                    <a:pt x="2643" y="2429"/>
                  </a:lnTo>
                  <a:lnTo>
                    <a:pt x="2643" y="2429"/>
                  </a:lnTo>
                  <a:lnTo>
                    <a:pt x="2643" y="2429"/>
                  </a:lnTo>
                  <a:lnTo>
                    <a:pt x="2646" y="2429"/>
                  </a:lnTo>
                  <a:lnTo>
                    <a:pt x="2648" y="2429"/>
                  </a:lnTo>
                  <a:lnTo>
                    <a:pt x="2648" y="2429"/>
                  </a:lnTo>
                  <a:lnTo>
                    <a:pt x="2651" y="2427"/>
                  </a:lnTo>
                  <a:lnTo>
                    <a:pt x="2653" y="2427"/>
                  </a:lnTo>
                  <a:lnTo>
                    <a:pt x="2655" y="2424"/>
                  </a:lnTo>
                  <a:lnTo>
                    <a:pt x="2655" y="2424"/>
                  </a:lnTo>
                  <a:lnTo>
                    <a:pt x="2655" y="2420"/>
                  </a:lnTo>
                  <a:lnTo>
                    <a:pt x="2655" y="2422"/>
                  </a:lnTo>
                  <a:lnTo>
                    <a:pt x="2655" y="2424"/>
                  </a:lnTo>
                  <a:close/>
                  <a:moveTo>
                    <a:pt x="2620" y="2323"/>
                  </a:moveTo>
                  <a:lnTo>
                    <a:pt x="2620" y="2323"/>
                  </a:lnTo>
                  <a:lnTo>
                    <a:pt x="2620" y="2323"/>
                  </a:lnTo>
                  <a:lnTo>
                    <a:pt x="2620" y="2323"/>
                  </a:lnTo>
                  <a:lnTo>
                    <a:pt x="2617" y="2323"/>
                  </a:lnTo>
                  <a:lnTo>
                    <a:pt x="2617" y="2325"/>
                  </a:lnTo>
                  <a:lnTo>
                    <a:pt x="2617" y="2325"/>
                  </a:lnTo>
                  <a:lnTo>
                    <a:pt x="2617" y="2325"/>
                  </a:lnTo>
                  <a:lnTo>
                    <a:pt x="2620" y="2323"/>
                  </a:lnTo>
                  <a:lnTo>
                    <a:pt x="2620" y="2323"/>
                  </a:lnTo>
                  <a:lnTo>
                    <a:pt x="2620" y="2325"/>
                  </a:lnTo>
                  <a:lnTo>
                    <a:pt x="2620" y="2323"/>
                  </a:lnTo>
                  <a:lnTo>
                    <a:pt x="2620" y="2323"/>
                  </a:lnTo>
                  <a:close/>
                  <a:moveTo>
                    <a:pt x="2617" y="2327"/>
                  </a:moveTo>
                  <a:lnTo>
                    <a:pt x="2617" y="2327"/>
                  </a:lnTo>
                  <a:lnTo>
                    <a:pt x="2615" y="2327"/>
                  </a:lnTo>
                  <a:lnTo>
                    <a:pt x="2615" y="2327"/>
                  </a:lnTo>
                  <a:lnTo>
                    <a:pt x="2615" y="2325"/>
                  </a:lnTo>
                  <a:lnTo>
                    <a:pt x="2615" y="2325"/>
                  </a:lnTo>
                  <a:lnTo>
                    <a:pt x="2615" y="2325"/>
                  </a:lnTo>
                  <a:lnTo>
                    <a:pt x="2615" y="2325"/>
                  </a:lnTo>
                  <a:lnTo>
                    <a:pt x="2615" y="2325"/>
                  </a:lnTo>
                  <a:lnTo>
                    <a:pt x="2615" y="2325"/>
                  </a:lnTo>
                  <a:lnTo>
                    <a:pt x="2613" y="2327"/>
                  </a:lnTo>
                  <a:lnTo>
                    <a:pt x="2613" y="2327"/>
                  </a:lnTo>
                  <a:lnTo>
                    <a:pt x="2613" y="2327"/>
                  </a:lnTo>
                  <a:lnTo>
                    <a:pt x="2610" y="2325"/>
                  </a:lnTo>
                  <a:lnTo>
                    <a:pt x="2610" y="2325"/>
                  </a:lnTo>
                  <a:lnTo>
                    <a:pt x="2610" y="2325"/>
                  </a:lnTo>
                  <a:lnTo>
                    <a:pt x="2613" y="2325"/>
                  </a:lnTo>
                  <a:lnTo>
                    <a:pt x="2613" y="2323"/>
                  </a:lnTo>
                  <a:lnTo>
                    <a:pt x="2613" y="2323"/>
                  </a:lnTo>
                  <a:lnTo>
                    <a:pt x="2615" y="2320"/>
                  </a:lnTo>
                  <a:lnTo>
                    <a:pt x="2613" y="2320"/>
                  </a:lnTo>
                  <a:lnTo>
                    <a:pt x="2613" y="2320"/>
                  </a:lnTo>
                  <a:lnTo>
                    <a:pt x="2613" y="2320"/>
                  </a:lnTo>
                  <a:lnTo>
                    <a:pt x="2613" y="2320"/>
                  </a:lnTo>
                  <a:lnTo>
                    <a:pt x="2613" y="2323"/>
                  </a:lnTo>
                  <a:lnTo>
                    <a:pt x="2610" y="2320"/>
                  </a:lnTo>
                  <a:lnTo>
                    <a:pt x="2613" y="2318"/>
                  </a:lnTo>
                  <a:lnTo>
                    <a:pt x="2613" y="2318"/>
                  </a:lnTo>
                  <a:lnTo>
                    <a:pt x="2613" y="2315"/>
                  </a:lnTo>
                  <a:lnTo>
                    <a:pt x="2610" y="2318"/>
                  </a:lnTo>
                  <a:lnTo>
                    <a:pt x="2610" y="2318"/>
                  </a:lnTo>
                  <a:lnTo>
                    <a:pt x="2608" y="2318"/>
                  </a:lnTo>
                  <a:lnTo>
                    <a:pt x="2608" y="2318"/>
                  </a:lnTo>
                  <a:lnTo>
                    <a:pt x="2608" y="2318"/>
                  </a:lnTo>
                  <a:lnTo>
                    <a:pt x="2606" y="2318"/>
                  </a:lnTo>
                  <a:lnTo>
                    <a:pt x="2603" y="2318"/>
                  </a:lnTo>
                  <a:lnTo>
                    <a:pt x="2603" y="2318"/>
                  </a:lnTo>
                  <a:lnTo>
                    <a:pt x="2603" y="2315"/>
                  </a:lnTo>
                  <a:lnTo>
                    <a:pt x="2601" y="2315"/>
                  </a:lnTo>
                  <a:lnTo>
                    <a:pt x="2601" y="2315"/>
                  </a:lnTo>
                  <a:lnTo>
                    <a:pt x="2601" y="2318"/>
                  </a:lnTo>
                  <a:lnTo>
                    <a:pt x="2598" y="2318"/>
                  </a:lnTo>
                  <a:lnTo>
                    <a:pt x="2598" y="2318"/>
                  </a:lnTo>
                  <a:lnTo>
                    <a:pt x="2598" y="2320"/>
                  </a:lnTo>
                  <a:lnTo>
                    <a:pt x="2598" y="2320"/>
                  </a:lnTo>
                  <a:lnTo>
                    <a:pt x="2598" y="2320"/>
                  </a:lnTo>
                  <a:lnTo>
                    <a:pt x="2598" y="2320"/>
                  </a:lnTo>
                  <a:lnTo>
                    <a:pt x="2601" y="2323"/>
                  </a:lnTo>
                  <a:lnTo>
                    <a:pt x="2601" y="2323"/>
                  </a:lnTo>
                  <a:lnTo>
                    <a:pt x="2601" y="2323"/>
                  </a:lnTo>
                  <a:lnTo>
                    <a:pt x="2598" y="2323"/>
                  </a:lnTo>
                  <a:lnTo>
                    <a:pt x="2598" y="2323"/>
                  </a:lnTo>
                  <a:lnTo>
                    <a:pt x="2598" y="2323"/>
                  </a:lnTo>
                  <a:lnTo>
                    <a:pt x="2598" y="2323"/>
                  </a:lnTo>
                  <a:lnTo>
                    <a:pt x="2598" y="2323"/>
                  </a:lnTo>
                  <a:lnTo>
                    <a:pt x="2596" y="2323"/>
                  </a:lnTo>
                  <a:lnTo>
                    <a:pt x="2596" y="2323"/>
                  </a:lnTo>
                  <a:lnTo>
                    <a:pt x="2596" y="2323"/>
                  </a:lnTo>
                  <a:lnTo>
                    <a:pt x="2596" y="2323"/>
                  </a:lnTo>
                  <a:lnTo>
                    <a:pt x="2598" y="2320"/>
                  </a:lnTo>
                  <a:lnTo>
                    <a:pt x="2598" y="2318"/>
                  </a:lnTo>
                  <a:lnTo>
                    <a:pt x="2596" y="2318"/>
                  </a:lnTo>
                  <a:lnTo>
                    <a:pt x="2594" y="2315"/>
                  </a:lnTo>
                  <a:lnTo>
                    <a:pt x="2594" y="2315"/>
                  </a:lnTo>
                  <a:lnTo>
                    <a:pt x="2591" y="2315"/>
                  </a:lnTo>
                  <a:lnTo>
                    <a:pt x="2589" y="2323"/>
                  </a:lnTo>
                  <a:lnTo>
                    <a:pt x="2589" y="2323"/>
                  </a:lnTo>
                  <a:lnTo>
                    <a:pt x="2589" y="2325"/>
                  </a:lnTo>
                  <a:lnTo>
                    <a:pt x="2587" y="2327"/>
                  </a:lnTo>
                  <a:lnTo>
                    <a:pt x="2587" y="2330"/>
                  </a:lnTo>
                  <a:lnTo>
                    <a:pt x="2587" y="2330"/>
                  </a:lnTo>
                  <a:lnTo>
                    <a:pt x="2587" y="2332"/>
                  </a:lnTo>
                  <a:lnTo>
                    <a:pt x="2587" y="2332"/>
                  </a:lnTo>
                  <a:lnTo>
                    <a:pt x="2587" y="2332"/>
                  </a:lnTo>
                  <a:lnTo>
                    <a:pt x="2587" y="2332"/>
                  </a:lnTo>
                  <a:lnTo>
                    <a:pt x="2587" y="2332"/>
                  </a:lnTo>
                  <a:lnTo>
                    <a:pt x="2587" y="2332"/>
                  </a:lnTo>
                  <a:lnTo>
                    <a:pt x="2587" y="2332"/>
                  </a:lnTo>
                  <a:lnTo>
                    <a:pt x="2591" y="2325"/>
                  </a:lnTo>
                  <a:lnTo>
                    <a:pt x="2591" y="2323"/>
                  </a:lnTo>
                  <a:lnTo>
                    <a:pt x="2591" y="2320"/>
                  </a:lnTo>
                  <a:lnTo>
                    <a:pt x="2594" y="2320"/>
                  </a:lnTo>
                  <a:lnTo>
                    <a:pt x="2594" y="2320"/>
                  </a:lnTo>
                  <a:lnTo>
                    <a:pt x="2594" y="2320"/>
                  </a:lnTo>
                  <a:lnTo>
                    <a:pt x="2596" y="2320"/>
                  </a:lnTo>
                  <a:lnTo>
                    <a:pt x="2594" y="2320"/>
                  </a:lnTo>
                  <a:lnTo>
                    <a:pt x="2594" y="2323"/>
                  </a:lnTo>
                  <a:lnTo>
                    <a:pt x="2594" y="2323"/>
                  </a:lnTo>
                  <a:lnTo>
                    <a:pt x="2594" y="2323"/>
                  </a:lnTo>
                  <a:lnTo>
                    <a:pt x="2591" y="2325"/>
                  </a:lnTo>
                  <a:lnTo>
                    <a:pt x="2591" y="2325"/>
                  </a:lnTo>
                  <a:lnTo>
                    <a:pt x="2591" y="2325"/>
                  </a:lnTo>
                  <a:lnTo>
                    <a:pt x="2591" y="2330"/>
                  </a:lnTo>
                  <a:lnTo>
                    <a:pt x="2591" y="2330"/>
                  </a:lnTo>
                  <a:lnTo>
                    <a:pt x="2589" y="2332"/>
                  </a:lnTo>
                  <a:lnTo>
                    <a:pt x="2587" y="2334"/>
                  </a:lnTo>
                  <a:lnTo>
                    <a:pt x="2587" y="2334"/>
                  </a:lnTo>
                  <a:lnTo>
                    <a:pt x="2587" y="2334"/>
                  </a:lnTo>
                  <a:lnTo>
                    <a:pt x="2587" y="2337"/>
                  </a:lnTo>
                  <a:lnTo>
                    <a:pt x="2584" y="2337"/>
                  </a:lnTo>
                  <a:lnTo>
                    <a:pt x="2584" y="2339"/>
                  </a:lnTo>
                  <a:lnTo>
                    <a:pt x="2584" y="2342"/>
                  </a:lnTo>
                  <a:lnTo>
                    <a:pt x="2584" y="2342"/>
                  </a:lnTo>
                  <a:lnTo>
                    <a:pt x="2584" y="2342"/>
                  </a:lnTo>
                  <a:lnTo>
                    <a:pt x="2584" y="2342"/>
                  </a:lnTo>
                  <a:lnTo>
                    <a:pt x="2584" y="2342"/>
                  </a:lnTo>
                  <a:lnTo>
                    <a:pt x="2587" y="2342"/>
                  </a:lnTo>
                  <a:lnTo>
                    <a:pt x="2587" y="2342"/>
                  </a:lnTo>
                  <a:lnTo>
                    <a:pt x="2587" y="2342"/>
                  </a:lnTo>
                  <a:lnTo>
                    <a:pt x="2587" y="2342"/>
                  </a:lnTo>
                  <a:lnTo>
                    <a:pt x="2587" y="2342"/>
                  </a:lnTo>
                  <a:lnTo>
                    <a:pt x="2589" y="2342"/>
                  </a:lnTo>
                  <a:lnTo>
                    <a:pt x="2589" y="2339"/>
                  </a:lnTo>
                  <a:lnTo>
                    <a:pt x="2589" y="2339"/>
                  </a:lnTo>
                  <a:lnTo>
                    <a:pt x="2591" y="2337"/>
                  </a:lnTo>
                  <a:lnTo>
                    <a:pt x="2594" y="2337"/>
                  </a:lnTo>
                  <a:lnTo>
                    <a:pt x="2594" y="2334"/>
                  </a:lnTo>
                  <a:lnTo>
                    <a:pt x="2596" y="2332"/>
                  </a:lnTo>
                  <a:lnTo>
                    <a:pt x="2596" y="2332"/>
                  </a:lnTo>
                  <a:lnTo>
                    <a:pt x="2596" y="2334"/>
                  </a:lnTo>
                  <a:lnTo>
                    <a:pt x="2596" y="2334"/>
                  </a:lnTo>
                  <a:lnTo>
                    <a:pt x="2594" y="2337"/>
                  </a:lnTo>
                  <a:lnTo>
                    <a:pt x="2594" y="2337"/>
                  </a:lnTo>
                  <a:lnTo>
                    <a:pt x="2594" y="2339"/>
                  </a:lnTo>
                  <a:lnTo>
                    <a:pt x="2591" y="2339"/>
                  </a:lnTo>
                  <a:lnTo>
                    <a:pt x="2591" y="2342"/>
                  </a:lnTo>
                  <a:lnTo>
                    <a:pt x="2591" y="2342"/>
                  </a:lnTo>
                  <a:lnTo>
                    <a:pt x="2591" y="2342"/>
                  </a:lnTo>
                  <a:lnTo>
                    <a:pt x="2591" y="2344"/>
                  </a:lnTo>
                  <a:lnTo>
                    <a:pt x="2591" y="2344"/>
                  </a:lnTo>
                  <a:lnTo>
                    <a:pt x="2591" y="2344"/>
                  </a:lnTo>
                  <a:lnTo>
                    <a:pt x="2589" y="2346"/>
                  </a:lnTo>
                  <a:lnTo>
                    <a:pt x="2589" y="2346"/>
                  </a:lnTo>
                  <a:lnTo>
                    <a:pt x="2589" y="2346"/>
                  </a:lnTo>
                  <a:lnTo>
                    <a:pt x="2589" y="2346"/>
                  </a:lnTo>
                  <a:lnTo>
                    <a:pt x="2589" y="2349"/>
                  </a:lnTo>
                  <a:lnTo>
                    <a:pt x="2589" y="2349"/>
                  </a:lnTo>
                  <a:lnTo>
                    <a:pt x="2589" y="2349"/>
                  </a:lnTo>
                  <a:lnTo>
                    <a:pt x="2589" y="2351"/>
                  </a:lnTo>
                  <a:lnTo>
                    <a:pt x="2589" y="2351"/>
                  </a:lnTo>
                  <a:lnTo>
                    <a:pt x="2589" y="2351"/>
                  </a:lnTo>
                  <a:lnTo>
                    <a:pt x="2589" y="2351"/>
                  </a:lnTo>
                  <a:lnTo>
                    <a:pt x="2589" y="2351"/>
                  </a:lnTo>
                  <a:lnTo>
                    <a:pt x="2589" y="2353"/>
                  </a:lnTo>
                  <a:lnTo>
                    <a:pt x="2589" y="2353"/>
                  </a:lnTo>
                  <a:lnTo>
                    <a:pt x="2589" y="2351"/>
                  </a:lnTo>
                  <a:lnTo>
                    <a:pt x="2589" y="2353"/>
                  </a:lnTo>
                  <a:lnTo>
                    <a:pt x="2589" y="2353"/>
                  </a:lnTo>
                  <a:lnTo>
                    <a:pt x="2589" y="2353"/>
                  </a:lnTo>
                  <a:lnTo>
                    <a:pt x="2587" y="2353"/>
                  </a:lnTo>
                  <a:lnTo>
                    <a:pt x="2587" y="2353"/>
                  </a:lnTo>
                  <a:lnTo>
                    <a:pt x="2587" y="2356"/>
                  </a:lnTo>
                  <a:lnTo>
                    <a:pt x="2587" y="2356"/>
                  </a:lnTo>
                  <a:lnTo>
                    <a:pt x="2587" y="2356"/>
                  </a:lnTo>
                  <a:lnTo>
                    <a:pt x="2587" y="2356"/>
                  </a:lnTo>
                  <a:lnTo>
                    <a:pt x="2587" y="2356"/>
                  </a:lnTo>
                  <a:lnTo>
                    <a:pt x="2587" y="2356"/>
                  </a:lnTo>
                  <a:lnTo>
                    <a:pt x="2587" y="2356"/>
                  </a:lnTo>
                  <a:lnTo>
                    <a:pt x="2587" y="2356"/>
                  </a:lnTo>
                  <a:lnTo>
                    <a:pt x="2587" y="2353"/>
                  </a:lnTo>
                  <a:lnTo>
                    <a:pt x="2587" y="2353"/>
                  </a:lnTo>
                  <a:lnTo>
                    <a:pt x="2587" y="2353"/>
                  </a:lnTo>
                  <a:lnTo>
                    <a:pt x="2587" y="2351"/>
                  </a:lnTo>
                  <a:lnTo>
                    <a:pt x="2587" y="2351"/>
                  </a:lnTo>
                  <a:lnTo>
                    <a:pt x="2584" y="2351"/>
                  </a:lnTo>
                  <a:lnTo>
                    <a:pt x="2582" y="2351"/>
                  </a:lnTo>
                  <a:lnTo>
                    <a:pt x="2582" y="2351"/>
                  </a:lnTo>
                  <a:lnTo>
                    <a:pt x="2580" y="2356"/>
                  </a:lnTo>
                  <a:lnTo>
                    <a:pt x="2577" y="2356"/>
                  </a:lnTo>
                  <a:lnTo>
                    <a:pt x="2577" y="2356"/>
                  </a:lnTo>
                  <a:lnTo>
                    <a:pt x="2575" y="2356"/>
                  </a:lnTo>
                  <a:lnTo>
                    <a:pt x="2575" y="2356"/>
                  </a:lnTo>
                  <a:lnTo>
                    <a:pt x="2575" y="2356"/>
                  </a:lnTo>
                  <a:lnTo>
                    <a:pt x="2575" y="2356"/>
                  </a:lnTo>
                  <a:lnTo>
                    <a:pt x="2575" y="2356"/>
                  </a:lnTo>
                  <a:lnTo>
                    <a:pt x="2577" y="2356"/>
                  </a:lnTo>
                  <a:lnTo>
                    <a:pt x="2577" y="2356"/>
                  </a:lnTo>
                  <a:lnTo>
                    <a:pt x="2577" y="2356"/>
                  </a:lnTo>
                  <a:lnTo>
                    <a:pt x="2575" y="2353"/>
                  </a:lnTo>
                  <a:lnTo>
                    <a:pt x="2575" y="2353"/>
                  </a:lnTo>
                  <a:lnTo>
                    <a:pt x="2575" y="2353"/>
                  </a:lnTo>
                  <a:lnTo>
                    <a:pt x="2575" y="2353"/>
                  </a:lnTo>
                  <a:lnTo>
                    <a:pt x="2575" y="2353"/>
                  </a:lnTo>
                  <a:lnTo>
                    <a:pt x="2575" y="2353"/>
                  </a:lnTo>
                  <a:lnTo>
                    <a:pt x="2577" y="2349"/>
                  </a:lnTo>
                  <a:lnTo>
                    <a:pt x="2577" y="2349"/>
                  </a:lnTo>
                  <a:lnTo>
                    <a:pt x="2577" y="2349"/>
                  </a:lnTo>
                  <a:lnTo>
                    <a:pt x="2580" y="2349"/>
                  </a:lnTo>
                  <a:lnTo>
                    <a:pt x="2580" y="2349"/>
                  </a:lnTo>
                  <a:lnTo>
                    <a:pt x="2580" y="2349"/>
                  </a:lnTo>
                  <a:lnTo>
                    <a:pt x="2580" y="2349"/>
                  </a:lnTo>
                  <a:lnTo>
                    <a:pt x="2580" y="2349"/>
                  </a:lnTo>
                  <a:lnTo>
                    <a:pt x="2580" y="2349"/>
                  </a:lnTo>
                  <a:lnTo>
                    <a:pt x="2580" y="2349"/>
                  </a:lnTo>
                  <a:lnTo>
                    <a:pt x="2580" y="2346"/>
                  </a:lnTo>
                  <a:lnTo>
                    <a:pt x="2580" y="2346"/>
                  </a:lnTo>
                  <a:lnTo>
                    <a:pt x="2580" y="2346"/>
                  </a:lnTo>
                  <a:lnTo>
                    <a:pt x="2580" y="2346"/>
                  </a:lnTo>
                  <a:lnTo>
                    <a:pt x="2580" y="2346"/>
                  </a:lnTo>
                  <a:lnTo>
                    <a:pt x="2582" y="2346"/>
                  </a:lnTo>
                  <a:lnTo>
                    <a:pt x="2577" y="2346"/>
                  </a:lnTo>
                  <a:lnTo>
                    <a:pt x="2577" y="2346"/>
                  </a:lnTo>
                  <a:lnTo>
                    <a:pt x="2577" y="2346"/>
                  </a:lnTo>
                  <a:lnTo>
                    <a:pt x="2577" y="2346"/>
                  </a:lnTo>
                  <a:lnTo>
                    <a:pt x="2577" y="2346"/>
                  </a:lnTo>
                  <a:lnTo>
                    <a:pt x="2577" y="2346"/>
                  </a:lnTo>
                  <a:lnTo>
                    <a:pt x="2577" y="2346"/>
                  </a:lnTo>
                  <a:lnTo>
                    <a:pt x="2575" y="2349"/>
                  </a:lnTo>
                  <a:lnTo>
                    <a:pt x="2575" y="2349"/>
                  </a:lnTo>
                  <a:lnTo>
                    <a:pt x="2575" y="2349"/>
                  </a:lnTo>
                  <a:lnTo>
                    <a:pt x="2575" y="2349"/>
                  </a:lnTo>
                  <a:lnTo>
                    <a:pt x="2575" y="2346"/>
                  </a:lnTo>
                  <a:lnTo>
                    <a:pt x="2575" y="2346"/>
                  </a:lnTo>
                  <a:lnTo>
                    <a:pt x="2575" y="2346"/>
                  </a:lnTo>
                  <a:lnTo>
                    <a:pt x="2575" y="2346"/>
                  </a:lnTo>
                  <a:lnTo>
                    <a:pt x="2575" y="2346"/>
                  </a:lnTo>
                  <a:lnTo>
                    <a:pt x="2575" y="2346"/>
                  </a:lnTo>
                  <a:lnTo>
                    <a:pt x="2577" y="2346"/>
                  </a:lnTo>
                  <a:lnTo>
                    <a:pt x="2577" y="2344"/>
                  </a:lnTo>
                  <a:lnTo>
                    <a:pt x="2577" y="2344"/>
                  </a:lnTo>
                  <a:lnTo>
                    <a:pt x="2577" y="2344"/>
                  </a:lnTo>
                  <a:lnTo>
                    <a:pt x="2580" y="2344"/>
                  </a:lnTo>
                  <a:lnTo>
                    <a:pt x="2580" y="2344"/>
                  </a:lnTo>
                  <a:lnTo>
                    <a:pt x="2580" y="2344"/>
                  </a:lnTo>
                  <a:lnTo>
                    <a:pt x="2582" y="2344"/>
                  </a:lnTo>
                  <a:lnTo>
                    <a:pt x="2582" y="2342"/>
                  </a:lnTo>
                  <a:lnTo>
                    <a:pt x="2582" y="2342"/>
                  </a:lnTo>
                  <a:lnTo>
                    <a:pt x="2582" y="2342"/>
                  </a:lnTo>
                  <a:lnTo>
                    <a:pt x="2582" y="2342"/>
                  </a:lnTo>
                  <a:lnTo>
                    <a:pt x="2582" y="2342"/>
                  </a:lnTo>
                  <a:lnTo>
                    <a:pt x="2582" y="2339"/>
                  </a:lnTo>
                  <a:lnTo>
                    <a:pt x="2582" y="2339"/>
                  </a:lnTo>
                  <a:lnTo>
                    <a:pt x="2582" y="2339"/>
                  </a:lnTo>
                  <a:lnTo>
                    <a:pt x="2582" y="2337"/>
                  </a:lnTo>
                  <a:lnTo>
                    <a:pt x="2582" y="2337"/>
                  </a:lnTo>
                  <a:lnTo>
                    <a:pt x="2584" y="2334"/>
                  </a:lnTo>
                  <a:lnTo>
                    <a:pt x="2584" y="2334"/>
                  </a:lnTo>
                  <a:lnTo>
                    <a:pt x="2582" y="2334"/>
                  </a:lnTo>
                  <a:lnTo>
                    <a:pt x="2582" y="2334"/>
                  </a:lnTo>
                  <a:lnTo>
                    <a:pt x="2580" y="2337"/>
                  </a:lnTo>
                  <a:lnTo>
                    <a:pt x="2580" y="2337"/>
                  </a:lnTo>
                  <a:lnTo>
                    <a:pt x="2580" y="2337"/>
                  </a:lnTo>
                  <a:lnTo>
                    <a:pt x="2577" y="2339"/>
                  </a:lnTo>
                  <a:lnTo>
                    <a:pt x="2577" y="2342"/>
                  </a:lnTo>
                  <a:lnTo>
                    <a:pt x="2577" y="2342"/>
                  </a:lnTo>
                  <a:lnTo>
                    <a:pt x="2577" y="2342"/>
                  </a:lnTo>
                  <a:lnTo>
                    <a:pt x="2575" y="2344"/>
                  </a:lnTo>
                  <a:lnTo>
                    <a:pt x="2575" y="2344"/>
                  </a:lnTo>
                  <a:lnTo>
                    <a:pt x="2572" y="2346"/>
                  </a:lnTo>
                  <a:lnTo>
                    <a:pt x="2572" y="2344"/>
                  </a:lnTo>
                  <a:lnTo>
                    <a:pt x="2572" y="2344"/>
                  </a:lnTo>
                  <a:lnTo>
                    <a:pt x="2575" y="2342"/>
                  </a:lnTo>
                  <a:lnTo>
                    <a:pt x="2575" y="2342"/>
                  </a:lnTo>
                  <a:lnTo>
                    <a:pt x="2577" y="2339"/>
                  </a:lnTo>
                  <a:lnTo>
                    <a:pt x="2577" y="2337"/>
                  </a:lnTo>
                  <a:lnTo>
                    <a:pt x="2577" y="2334"/>
                  </a:lnTo>
                  <a:lnTo>
                    <a:pt x="2580" y="2334"/>
                  </a:lnTo>
                  <a:lnTo>
                    <a:pt x="2580" y="2334"/>
                  </a:lnTo>
                  <a:lnTo>
                    <a:pt x="2577" y="2334"/>
                  </a:lnTo>
                  <a:lnTo>
                    <a:pt x="2577" y="2334"/>
                  </a:lnTo>
                  <a:lnTo>
                    <a:pt x="2580" y="2337"/>
                  </a:lnTo>
                  <a:lnTo>
                    <a:pt x="2580" y="2334"/>
                  </a:lnTo>
                  <a:lnTo>
                    <a:pt x="2582" y="2334"/>
                  </a:lnTo>
                  <a:lnTo>
                    <a:pt x="2582" y="2332"/>
                  </a:lnTo>
                  <a:lnTo>
                    <a:pt x="2582" y="2332"/>
                  </a:lnTo>
                  <a:lnTo>
                    <a:pt x="2582" y="2332"/>
                  </a:lnTo>
                  <a:lnTo>
                    <a:pt x="2582" y="2332"/>
                  </a:lnTo>
                  <a:lnTo>
                    <a:pt x="2584" y="2332"/>
                  </a:lnTo>
                  <a:lnTo>
                    <a:pt x="2584" y="2332"/>
                  </a:lnTo>
                  <a:lnTo>
                    <a:pt x="2584" y="2332"/>
                  </a:lnTo>
                  <a:lnTo>
                    <a:pt x="2587" y="2330"/>
                  </a:lnTo>
                  <a:lnTo>
                    <a:pt x="2587" y="2330"/>
                  </a:lnTo>
                  <a:lnTo>
                    <a:pt x="2589" y="2320"/>
                  </a:lnTo>
                  <a:lnTo>
                    <a:pt x="2589" y="2320"/>
                  </a:lnTo>
                  <a:lnTo>
                    <a:pt x="2589" y="2318"/>
                  </a:lnTo>
                  <a:lnTo>
                    <a:pt x="2589" y="2318"/>
                  </a:lnTo>
                  <a:lnTo>
                    <a:pt x="2589" y="2318"/>
                  </a:lnTo>
                  <a:lnTo>
                    <a:pt x="2589" y="2318"/>
                  </a:lnTo>
                  <a:lnTo>
                    <a:pt x="2589" y="2315"/>
                  </a:lnTo>
                  <a:lnTo>
                    <a:pt x="2589" y="2315"/>
                  </a:lnTo>
                  <a:lnTo>
                    <a:pt x="2589" y="2318"/>
                  </a:lnTo>
                  <a:lnTo>
                    <a:pt x="2587" y="2318"/>
                  </a:lnTo>
                  <a:lnTo>
                    <a:pt x="2587" y="2320"/>
                  </a:lnTo>
                  <a:lnTo>
                    <a:pt x="2587" y="2320"/>
                  </a:lnTo>
                  <a:lnTo>
                    <a:pt x="2587" y="2323"/>
                  </a:lnTo>
                  <a:lnTo>
                    <a:pt x="2584" y="2325"/>
                  </a:lnTo>
                  <a:lnTo>
                    <a:pt x="2584" y="2325"/>
                  </a:lnTo>
                  <a:lnTo>
                    <a:pt x="2584" y="2325"/>
                  </a:lnTo>
                  <a:lnTo>
                    <a:pt x="2584" y="2323"/>
                  </a:lnTo>
                  <a:lnTo>
                    <a:pt x="2584" y="2318"/>
                  </a:lnTo>
                  <a:lnTo>
                    <a:pt x="2584" y="2315"/>
                  </a:lnTo>
                  <a:lnTo>
                    <a:pt x="2584" y="2315"/>
                  </a:lnTo>
                  <a:lnTo>
                    <a:pt x="2587" y="2313"/>
                  </a:lnTo>
                  <a:lnTo>
                    <a:pt x="2587" y="2313"/>
                  </a:lnTo>
                  <a:lnTo>
                    <a:pt x="2584" y="2306"/>
                  </a:lnTo>
                  <a:lnTo>
                    <a:pt x="2587" y="2304"/>
                  </a:lnTo>
                  <a:lnTo>
                    <a:pt x="2587" y="2304"/>
                  </a:lnTo>
                  <a:lnTo>
                    <a:pt x="2587" y="2301"/>
                  </a:lnTo>
                  <a:lnTo>
                    <a:pt x="2587" y="2301"/>
                  </a:lnTo>
                  <a:lnTo>
                    <a:pt x="2587" y="2301"/>
                  </a:lnTo>
                  <a:lnTo>
                    <a:pt x="2584" y="2301"/>
                  </a:lnTo>
                  <a:lnTo>
                    <a:pt x="2584" y="2301"/>
                  </a:lnTo>
                  <a:lnTo>
                    <a:pt x="2584" y="2301"/>
                  </a:lnTo>
                  <a:lnTo>
                    <a:pt x="2584" y="2301"/>
                  </a:lnTo>
                  <a:lnTo>
                    <a:pt x="2584" y="2299"/>
                  </a:lnTo>
                  <a:lnTo>
                    <a:pt x="2584" y="2299"/>
                  </a:lnTo>
                  <a:lnTo>
                    <a:pt x="2584" y="2299"/>
                  </a:lnTo>
                  <a:lnTo>
                    <a:pt x="2584" y="2299"/>
                  </a:lnTo>
                  <a:lnTo>
                    <a:pt x="2584" y="2299"/>
                  </a:lnTo>
                  <a:lnTo>
                    <a:pt x="2584" y="2299"/>
                  </a:lnTo>
                  <a:lnTo>
                    <a:pt x="2584" y="2299"/>
                  </a:lnTo>
                  <a:lnTo>
                    <a:pt x="2584" y="2297"/>
                  </a:lnTo>
                  <a:lnTo>
                    <a:pt x="2584" y="2297"/>
                  </a:lnTo>
                  <a:lnTo>
                    <a:pt x="2584" y="2294"/>
                  </a:lnTo>
                  <a:lnTo>
                    <a:pt x="2584" y="2292"/>
                  </a:lnTo>
                  <a:lnTo>
                    <a:pt x="2584" y="2289"/>
                  </a:lnTo>
                  <a:lnTo>
                    <a:pt x="2582" y="2289"/>
                  </a:lnTo>
                  <a:lnTo>
                    <a:pt x="2582" y="2289"/>
                  </a:lnTo>
                  <a:lnTo>
                    <a:pt x="2582" y="2289"/>
                  </a:lnTo>
                  <a:lnTo>
                    <a:pt x="2582" y="2289"/>
                  </a:lnTo>
                  <a:lnTo>
                    <a:pt x="2582" y="2289"/>
                  </a:lnTo>
                  <a:lnTo>
                    <a:pt x="2582" y="2289"/>
                  </a:lnTo>
                  <a:lnTo>
                    <a:pt x="2580" y="2289"/>
                  </a:lnTo>
                  <a:lnTo>
                    <a:pt x="2580" y="2289"/>
                  </a:lnTo>
                  <a:lnTo>
                    <a:pt x="2577" y="2289"/>
                  </a:lnTo>
                  <a:lnTo>
                    <a:pt x="2577" y="2289"/>
                  </a:lnTo>
                  <a:lnTo>
                    <a:pt x="2577" y="2289"/>
                  </a:lnTo>
                  <a:lnTo>
                    <a:pt x="2577" y="2289"/>
                  </a:lnTo>
                  <a:lnTo>
                    <a:pt x="2577" y="2289"/>
                  </a:lnTo>
                  <a:lnTo>
                    <a:pt x="2575" y="2289"/>
                  </a:lnTo>
                  <a:lnTo>
                    <a:pt x="2575" y="2289"/>
                  </a:lnTo>
                  <a:lnTo>
                    <a:pt x="2577" y="2287"/>
                  </a:lnTo>
                  <a:lnTo>
                    <a:pt x="2577" y="2285"/>
                  </a:lnTo>
                  <a:lnTo>
                    <a:pt x="2577" y="2282"/>
                  </a:lnTo>
                  <a:lnTo>
                    <a:pt x="2577" y="2282"/>
                  </a:lnTo>
                  <a:lnTo>
                    <a:pt x="2577" y="2282"/>
                  </a:lnTo>
                  <a:lnTo>
                    <a:pt x="2577" y="2282"/>
                  </a:lnTo>
                  <a:lnTo>
                    <a:pt x="2575" y="2285"/>
                  </a:lnTo>
                  <a:lnTo>
                    <a:pt x="2575" y="2285"/>
                  </a:lnTo>
                  <a:lnTo>
                    <a:pt x="2575" y="2285"/>
                  </a:lnTo>
                  <a:lnTo>
                    <a:pt x="2572" y="2285"/>
                  </a:lnTo>
                  <a:lnTo>
                    <a:pt x="2572" y="2285"/>
                  </a:lnTo>
                  <a:lnTo>
                    <a:pt x="2572" y="2285"/>
                  </a:lnTo>
                  <a:lnTo>
                    <a:pt x="2572" y="2285"/>
                  </a:lnTo>
                  <a:lnTo>
                    <a:pt x="2570" y="2285"/>
                  </a:lnTo>
                  <a:lnTo>
                    <a:pt x="2570" y="2285"/>
                  </a:lnTo>
                  <a:lnTo>
                    <a:pt x="2570" y="2285"/>
                  </a:lnTo>
                  <a:lnTo>
                    <a:pt x="2570" y="2285"/>
                  </a:lnTo>
                  <a:lnTo>
                    <a:pt x="2570" y="2285"/>
                  </a:lnTo>
                  <a:lnTo>
                    <a:pt x="2570" y="2287"/>
                  </a:lnTo>
                  <a:lnTo>
                    <a:pt x="2570" y="2287"/>
                  </a:lnTo>
                  <a:lnTo>
                    <a:pt x="2568" y="2292"/>
                  </a:lnTo>
                  <a:lnTo>
                    <a:pt x="2568" y="2297"/>
                  </a:lnTo>
                  <a:lnTo>
                    <a:pt x="2568" y="2297"/>
                  </a:lnTo>
                  <a:lnTo>
                    <a:pt x="2565" y="2297"/>
                  </a:lnTo>
                  <a:lnTo>
                    <a:pt x="2565" y="2299"/>
                  </a:lnTo>
                  <a:lnTo>
                    <a:pt x="2565" y="2301"/>
                  </a:lnTo>
                  <a:lnTo>
                    <a:pt x="2565" y="2306"/>
                  </a:lnTo>
                  <a:lnTo>
                    <a:pt x="2565" y="2306"/>
                  </a:lnTo>
                  <a:lnTo>
                    <a:pt x="2565" y="2308"/>
                  </a:lnTo>
                  <a:lnTo>
                    <a:pt x="2563" y="2308"/>
                  </a:lnTo>
                  <a:lnTo>
                    <a:pt x="2563" y="2308"/>
                  </a:lnTo>
                  <a:lnTo>
                    <a:pt x="2563" y="2311"/>
                  </a:lnTo>
                  <a:lnTo>
                    <a:pt x="2563" y="2311"/>
                  </a:lnTo>
                  <a:lnTo>
                    <a:pt x="2563" y="2311"/>
                  </a:lnTo>
                  <a:lnTo>
                    <a:pt x="2563" y="2311"/>
                  </a:lnTo>
                  <a:lnTo>
                    <a:pt x="2563" y="2311"/>
                  </a:lnTo>
                  <a:lnTo>
                    <a:pt x="2563" y="2308"/>
                  </a:lnTo>
                  <a:lnTo>
                    <a:pt x="2563" y="2308"/>
                  </a:lnTo>
                  <a:lnTo>
                    <a:pt x="2563" y="2311"/>
                  </a:lnTo>
                  <a:lnTo>
                    <a:pt x="2563" y="2311"/>
                  </a:lnTo>
                  <a:lnTo>
                    <a:pt x="2563" y="2311"/>
                  </a:lnTo>
                  <a:lnTo>
                    <a:pt x="2563" y="2311"/>
                  </a:lnTo>
                  <a:lnTo>
                    <a:pt x="2563" y="2311"/>
                  </a:lnTo>
                  <a:lnTo>
                    <a:pt x="2563" y="2313"/>
                  </a:lnTo>
                  <a:lnTo>
                    <a:pt x="2563" y="2313"/>
                  </a:lnTo>
                  <a:lnTo>
                    <a:pt x="2563" y="2315"/>
                  </a:lnTo>
                  <a:lnTo>
                    <a:pt x="2563" y="2315"/>
                  </a:lnTo>
                  <a:lnTo>
                    <a:pt x="2563" y="2318"/>
                  </a:lnTo>
                  <a:lnTo>
                    <a:pt x="2563" y="2318"/>
                  </a:lnTo>
                  <a:lnTo>
                    <a:pt x="2563" y="2318"/>
                  </a:lnTo>
                  <a:lnTo>
                    <a:pt x="2563" y="2323"/>
                  </a:lnTo>
                  <a:lnTo>
                    <a:pt x="2563" y="2325"/>
                  </a:lnTo>
                  <a:lnTo>
                    <a:pt x="2563" y="2327"/>
                  </a:lnTo>
                  <a:lnTo>
                    <a:pt x="2561" y="2332"/>
                  </a:lnTo>
                  <a:lnTo>
                    <a:pt x="2561" y="2332"/>
                  </a:lnTo>
                  <a:lnTo>
                    <a:pt x="2561" y="2332"/>
                  </a:lnTo>
                  <a:lnTo>
                    <a:pt x="2558" y="2334"/>
                  </a:lnTo>
                  <a:lnTo>
                    <a:pt x="2558" y="2337"/>
                  </a:lnTo>
                  <a:lnTo>
                    <a:pt x="2558" y="2339"/>
                  </a:lnTo>
                  <a:lnTo>
                    <a:pt x="2556" y="2339"/>
                  </a:lnTo>
                  <a:lnTo>
                    <a:pt x="2556" y="2339"/>
                  </a:lnTo>
                  <a:lnTo>
                    <a:pt x="2558" y="2342"/>
                  </a:lnTo>
                  <a:lnTo>
                    <a:pt x="2558" y="2342"/>
                  </a:lnTo>
                  <a:lnTo>
                    <a:pt x="2558" y="2344"/>
                  </a:lnTo>
                  <a:lnTo>
                    <a:pt x="2556" y="2344"/>
                  </a:lnTo>
                  <a:lnTo>
                    <a:pt x="2556" y="2344"/>
                  </a:lnTo>
                  <a:lnTo>
                    <a:pt x="2556" y="2346"/>
                  </a:lnTo>
                  <a:lnTo>
                    <a:pt x="2556" y="2346"/>
                  </a:lnTo>
                  <a:lnTo>
                    <a:pt x="2556" y="2346"/>
                  </a:lnTo>
                  <a:lnTo>
                    <a:pt x="2556" y="2346"/>
                  </a:lnTo>
                  <a:lnTo>
                    <a:pt x="2558" y="2346"/>
                  </a:lnTo>
                  <a:lnTo>
                    <a:pt x="2558" y="2349"/>
                  </a:lnTo>
                  <a:lnTo>
                    <a:pt x="2558" y="2349"/>
                  </a:lnTo>
                  <a:lnTo>
                    <a:pt x="2558" y="2349"/>
                  </a:lnTo>
                  <a:lnTo>
                    <a:pt x="2558" y="2351"/>
                  </a:lnTo>
                  <a:lnTo>
                    <a:pt x="2558" y="2351"/>
                  </a:lnTo>
                  <a:lnTo>
                    <a:pt x="2561" y="2351"/>
                  </a:lnTo>
                  <a:lnTo>
                    <a:pt x="2561" y="2351"/>
                  </a:lnTo>
                  <a:lnTo>
                    <a:pt x="2561" y="2353"/>
                  </a:lnTo>
                  <a:lnTo>
                    <a:pt x="2561" y="2356"/>
                  </a:lnTo>
                  <a:lnTo>
                    <a:pt x="2563" y="2356"/>
                  </a:lnTo>
                  <a:lnTo>
                    <a:pt x="2563" y="2358"/>
                  </a:lnTo>
                  <a:lnTo>
                    <a:pt x="2565" y="2360"/>
                  </a:lnTo>
                  <a:lnTo>
                    <a:pt x="2565" y="2360"/>
                  </a:lnTo>
                  <a:lnTo>
                    <a:pt x="2568" y="2363"/>
                  </a:lnTo>
                  <a:lnTo>
                    <a:pt x="2570" y="2363"/>
                  </a:lnTo>
                  <a:lnTo>
                    <a:pt x="2572" y="2365"/>
                  </a:lnTo>
                  <a:lnTo>
                    <a:pt x="2572" y="2365"/>
                  </a:lnTo>
                  <a:lnTo>
                    <a:pt x="2572" y="2365"/>
                  </a:lnTo>
                  <a:lnTo>
                    <a:pt x="2575" y="2365"/>
                  </a:lnTo>
                  <a:lnTo>
                    <a:pt x="2572" y="2365"/>
                  </a:lnTo>
                  <a:lnTo>
                    <a:pt x="2575" y="2365"/>
                  </a:lnTo>
                  <a:lnTo>
                    <a:pt x="2575" y="2365"/>
                  </a:lnTo>
                  <a:lnTo>
                    <a:pt x="2575" y="2363"/>
                  </a:lnTo>
                  <a:lnTo>
                    <a:pt x="2575" y="2363"/>
                  </a:lnTo>
                  <a:lnTo>
                    <a:pt x="2575" y="2363"/>
                  </a:lnTo>
                  <a:lnTo>
                    <a:pt x="2575" y="2363"/>
                  </a:lnTo>
                  <a:lnTo>
                    <a:pt x="2575" y="2363"/>
                  </a:lnTo>
                  <a:lnTo>
                    <a:pt x="2575" y="2363"/>
                  </a:lnTo>
                  <a:lnTo>
                    <a:pt x="2575" y="2363"/>
                  </a:lnTo>
                  <a:lnTo>
                    <a:pt x="2575" y="2363"/>
                  </a:lnTo>
                  <a:lnTo>
                    <a:pt x="2577" y="2363"/>
                  </a:lnTo>
                  <a:lnTo>
                    <a:pt x="2577" y="2363"/>
                  </a:lnTo>
                  <a:lnTo>
                    <a:pt x="2577" y="2363"/>
                  </a:lnTo>
                  <a:lnTo>
                    <a:pt x="2577" y="2363"/>
                  </a:lnTo>
                  <a:lnTo>
                    <a:pt x="2577" y="2363"/>
                  </a:lnTo>
                  <a:lnTo>
                    <a:pt x="2577" y="2365"/>
                  </a:lnTo>
                  <a:lnTo>
                    <a:pt x="2577" y="2363"/>
                  </a:lnTo>
                  <a:lnTo>
                    <a:pt x="2580" y="2363"/>
                  </a:lnTo>
                  <a:lnTo>
                    <a:pt x="2580" y="2363"/>
                  </a:lnTo>
                  <a:lnTo>
                    <a:pt x="2580" y="2360"/>
                  </a:lnTo>
                  <a:lnTo>
                    <a:pt x="2582" y="2360"/>
                  </a:lnTo>
                  <a:lnTo>
                    <a:pt x="2582" y="2360"/>
                  </a:lnTo>
                  <a:lnTo>
                    <a:pt x="2582" y="2360"/>
                  </a:lnTo>
                  <a:lnTo>
                    <a:pt x="2582" y="2360"/>
                  </a:lnTo>
                  <a:lnTo>
                    <a:pt x="2582" y="2360"/>
                  </a:lnTo>
                  <a:lnTo>
                    <a:pt x="2584" y="2358"/>
                  </a:lnTo>
                  <a:lnTo>
                    <a:pt x="2584" y="2358"/>
                  </a:lnTo>
                  <a:lnTo>
                    <a:pt x="2584" y="2358"/>
                  </a:lnTo>
                  <a:lnTo>
                    <a:pt x="2584" y="2358"/>
                  </a:lnTo>
                  <a:lnTo>
                    <a:pt x="2584" y="2358"/>
                  </a:lnTo>
                  <a:lnTo>
                    <a:pt x="2584" y="2358"/>
                  </a:lnTo>
                  <a:lnTo>
                    <a:pt x="2584" y="2358"/>
                  </a:lnTo>
                  <a:lnTo>
                    <a:pt x="2587" y="2358"/>
                  </a:lnTo>
                  <a:lnTo>
                    <a:pt x="2587" y="2356"/>
                  </a:lnTo>
                  <a:lnTo>
                    <a:pt x="2587" y="2356"/>
                  </a:lnTo>
                  <a:lnTo>
                    <a:pt x="2587" y="2356"/>
                  </a:lnTo>
                  <a:lnTo>
                    <a:pt x="2587" y="2356"/>
                  </a:lnTo>
                  <a:lnTo>
                    <a:pt x="2587" y="2358"/>
                  </a:lnTo>
                  <a:lnTo>
                    <a:pt x="2587" y="2358"/>
                  </a:lnTo>
                  <a:lnTo>
                    <a:pt x="2589" y="2358"/>
                  </a:lnTo>
                  <a:lnTo>
                    <a:pt x="2591" y="2358"/>
                  </a:lnTo>
                  <a:lnTo>
                    <a:pt x="2591" y="2358"/>
                  </a:lnTo>
                  <a:lnTo>
                    <a:pt x="2591" y="2358"/>
                  </a:lnTo>
                  <a:lnTo>
                    <a:pt x="2591" y="2358"/>
                  </a:lnTo>
                  <a:lnTo>
                    <a:pt x="2591" y="2358"/>
                  </a:lnTo>
                  <a:lnTo>
                    <a:pt x="2591" y="2358"/>
                  </a:lnTo>
                  <a:lnTo>
                    <a:pt x="2594" y="2358"/>
                  </a:lnTo>
                  <a:lnTo>
                    <a:pt x="2594" y="2358"/>
                  </a:lnTo>
                  <a:lnTo>
                    <a:pt x="2594" y="2358"/>
                  </a:lnTo>
                  <a:lnTo>
                    <a:pt x="2594" y="2358"/>
                  </a:lnTo>
                  <a:lnTo>
                    <a:pt x="2594" y="2356"/>
                  </a:lnTo>
                  <a:lnTo>
                    <a:pt x="2596" y="2356"/>
                  </a:lnTo>
                  <a:lnTo>
                    <a:pt x="2598" y="2353"/>
                  </a:lnTo>
                  <a:lnTo>
                    <a:pt x="2598" y="2351"/>
                  </a:lnTo>
                  <a:lnTo>
                    <a:pt x="2598" y="2351"/>
                  </a:lnTo>
                  <a:lnTo>
                    <a:pt x="2601" y="2351"/>
                  </a:lnTo>
                  <a:lnTo>
                    <a:pt x="2601" y="2351"/>
                  </a:lnTo>
                  <a:lnTo>
                    <a:pt x="2601" y="2351"/>
                  </a:lnTo>
                  <a:lnTo>
                    <a:pt x="2603" y="2351"/>
                  </a:lnTo>
                  <a:lnTo>
                    <a:pt x="2603" y="2346"/>
                  </a:lnTo>
                  <a:lnTo>
                    <a:pt x="2606" y="2346"/>
                  </a:lnTo>
                  <a:lnTo>
                    <a:pt x="2606" y="2346"/>
                  </a:lnTo>
                  <a:lnTo>
                    <a:pt x="2608" y="2344"/>
                  </a:lnTo>
                  <a:lnTo>
                    <a:pt x="2608" y="2344"/>
                  </a:lnTo>
                  <a:lnTo>
                    <a:pt x="2608" y="2344"/>
                  </a:lnTo>
                  <a:lnTo>
                    <a:pt x="2608" y="2342"/>
                  </a:lnTo>
                  <a:lnTo>
                    <a:pt x="2608" y="2342"/>
                  </a:lnTo>
                  <a:lnTo>
                    <a:pt x="2610" y="2339"/>
                  </a:lnTo>
                  <a:lnTo>
                    <a:pt x="2610" y="2339"/>
                  </a:lnTo>
                  <a:lnTo>
                    <a:pt x="2610" y="2339"/>
                  </a:lnTo>
                  <a:lnTo>
                    <a:pt x="2610" y="2337"/>
                  </a:lnTo>
                  <a:lnTo>
                    <a:pt x="2610" y="2337"/>
                  </a:lnTo>
                  <a:lnTo>
                    <a:pt x="2610" y="2337"/>
                  </a:lnTo>
                  <a:lnTo>
                    <a:pt x="2610" y="2337"/>
                  </a:lnTo>
                  <a:lnTo>
                    <a:pt x="2608" y="2337"/>
                  </a:lnTo>
                  <a:lnTo>
                    <a:pt x="2608" y="2337"/>
                  </a:lnTo>
                  <a:lnTo>
                    <a:pt x="2608" y="2337"/>
                  </a:lnTo>
                  <a:lnTo>
                    <a:pt x="2608" y="2337"/>
                  </a:lnTo>
                  <a:lnTo>
                    <a:pt x="2608" y="2337"/>
                  </a:lnTo>
                  <a:lnTo>
                    <a:pt x="2608" y="2337"/>
                  </a:lnTo>
                  <a:lnTo>
                    <a:pt x="2608" y="2334"/>
                  </a:lnTo>
                  <a:lnTo>
                    <a:pt x="2613" y="2332"/>
                  </a:lnTo>
                  <a:lnTo>
                    <a:pt x="2613" y="2332"/>
                  </a:lnTo>
                  <a:lnTo>
                    <a:pt x="2613" y="2332"/>
                  </a:lnTo>
                  <a:lnTo>
                    <a:pt x="2613" y="2332"/>
                  </a:lnTo>
                  <a:lnTo>
                    <a:pt x="2613" y="2332"/>
                  </a:lnTo>
                  <a:lnTo>
                    <a:pt x="2613" y="2332"/>
                  </a:lnTo>
                  <a:lnTo>
                    <a:pt x="2613" y="2332"/>
                  </a:lnTo>
                  <a:lnTo>
                    <a:pt x="2613" y="2332"/>
                  </a:lnTo>
                  <a:lnTo>
                    <a:pt x="2613" y="2332"/>
                  </a:lnTo>
                  <a:lnTo>
                    <a:pt x="2615" y="2330"/>
                  </a:lnTo>
                  <a:lnTo>
                    <a:pt x="2617" y="2327"/>
                  </a:lnTo>
                  <a:lnTo>
                    <a:pt x="2617" y="2327"/>
                  </a:lnTo>
                  <a:lnTo>
                    <a:pt x="2617" y="2327"/>
                  </a:lnTo>
                  <a:lnTo>
                    <a:pt x="2617" y="2327"/>
                  </a:lnTo>
                  <a:lnTo>
                    <a:pt x="2617" y="2327"/>
                  </a:lnTo>
                  <a:close/>
                  <a:moveTo>
                    <a:pt x="2527" y="2339"/>
                  </a:moveTo>
                  <a:lnTo>
                    <a:pt x="2530" y="2337"/>
                  </a:lnTo>
                  <a:lnTo>
                    <a:pt x="2532" y="2332"/>
                  </a:lnTo>
                  <a:lnTo>
                    <a:pt x="2532" y="2330"/>
                  </a:lnTo>
                  <a:lnTo>
                    <a:pt x="2535" y="2330"/>
                  </a:lnTo>
                  <a:lnTo>
                    <a:pt x="2535" y="2330"/>
                  </a:lnTo>
                  <a:lnTo>
                    <a:pt x="2532" y="2330"/>
                  </a:lnTo>
                  <a:lnTo>
                    <a:pt x="2530" y="2330"/>
                  </a:lnTo>
                  <a:lnTo>
                    <a:pt x="2525" y="2330"/>
                  </a:lnTo>
                  <a:lnTo>
                    <a:pt x="2523" y="2332"/>
                  </a:lnTo>
                  <a:lnTo>
                    <a:pt x="2520" y="2334"/>
                  </a:lnTo>
                  <a:lnTo>
                    <a:pt x="2516" y="2334"/>
                  </a:lnTo>
                  <a:lnTo>
                    <a:pt x="2513" y="2337"/>
                  </a:lnTo>
                  <a:lnTo>
                    <a:pt x="2513" y="2337"/>
                  </a:lnTo>
                  <a:lnTo>
                    <a:pt x="2513" y="2337"/>
                  </a:lnTo>
                  <a:lnTo>
                    <a:pt x="2511" y="2337"/>
                  </a:lnTo>
                  <a:lnTo>
                    <a:pt x="2509" y="2337"/>
                  </a:lnTo>
                  <a:lnTo>
                    <a:pt x="2509" y="2339"/>
                  </a:lnTo>
                  <a:lnTo>
                    <a:pt x="2509" y="2339"/>
                  </a:lnTo>
                  <a:lnTo>
                    <a:pt x="2513" y="2339"/>
                  </a:lnTo>
                  <a:lnTo>
                    <a:pt x="2513" y="2339"/>
                  </a:lnTo>
                  <a:lnTo>
                    <a:pt x="2506" y="2339"/>
                  </a:lnTo>
                  <a:lnTo>
                    <a:pt x="2504" y="2342"/>
                  </a:lnTo>
                  <a:lnTo>
                    <a:pt x="2506" y="2342"/>
                  </a:lnTo>
                  <a:lnTo>
                    <a:pt x="2506" y="2342"/>
                  </a:lnTo>
                  <a:lnTo>
                    <a:pt x="2504" y="2342"/>
                  </a:lnTo>
                  <a:lnTo>
                    <a:pt x="2504" y="2342"/>
                  </a:lnTo>
                  <a:lnTo>
                    <a:pt x="2504" y="2342"/>
                  </a:lnTo>
                  <a:lnTo>
                    <a:pt x="2501" y="2344"/>
                  </a:lnTo>
                  <a:lnTo>
                    <a:pt x="2497" y="2344"/>
                  </a:lnTo>
                  <a:lnTo>
                    <a:pt x="2492" y="2346"/>
                  </a:lnTo>
                  <a:lnTo>
                    <a:pt x="2492" y="2346"/>
                  </a:lnTo>
                  <a:lnTo>
                    <a:pt x="2492" y="2346"/>
                  </a:lnTo>
                  <a:lnTo>
                    <a:pt x="2492" y="2346"/>
                  </a:lnTo>
                  <a:lnTo>
                    <a:pt x="2492" y="2346"/>
                  </a:lnTo>
                  <a:lnTo>
                    <a:pt x="2492" y="2346"/>
                  </a:lnTo>
                  <a:lnTo>
                    <a:pt x="2492" y="2346"/>
                  </a:lnTo>
                  <a:lnTo>
                    <a:pt x="2492" y="2349"/>
                  </a:lnTo>
                  <a:lnTo>
                    <a:pt x="2490" y="2346"/>
                  </a:lnTo>
                  <a:lnTo>
                    <a:pt x="2490" y="2346"/>
                  </a:lnTo>
                  <a:lnTo>
                    <a:pt x="2490" y="2346"/>
                  </a:lnTo>
                  <a:lnTo>
                    <a:pt x="2490" y="2346"/>
                  </a:lnTo>
                  <a:lnTo>
                    <a:pt x="2490" y="2346"/>
                  </a:lnTo>
                  <a:lnTo>
                    <a:pt x="2487" y="2346"/>
                  </a:lnTo>
                  <a:lnTo>
                    <a:pt x="2487" y="2346"/>
                  </a:lnTo>
                  <a:lnTo>
                    <a:pt x="2487" y="2346"/>
                  </a:lnTo>
                  <a:lnTo>
                    <a:pt x="2487" y="2344"/>
                  </a:lnTo>
                  <a:lnTo>
                    <a:pt x="2487" y="2344"/>
                  </a:lnTo>
                  <a:lnTo>
                    <a:pt x="2487" y="2344"/>
                  </a:lnTo>
                  <a:lnTo>
                    <a:pt x="2485" y="2344"/>
                  </a:lnTo>
                  <a:lnTo>
                    <a:pt x="2485" y="2344"/>
                  </a:lnTo>
                  <a:lnTo>
                    <a:pt x="2482" y="2344"/>
                  </a:lnTo>
                  <a:lnTo>
                    <a:pt x="2482" y="2346"/>
                  </a:lnTo>
                  <a:lnTo>
                    <a:pt x="2482" y="2344"/>
                  </a:lnTo>
                  <a:lnTo>
                    <a:pt x="2482" y="2346"/>
                  </a:lnTo>
                  <a:lnTo>
                    <a:pt x="2482" y="2346"/>
                  </a:lnTo>
                  <a:lnTo>
                    <a:pt x="2482" y="2346"/>
                  </a:lnTo>
                  <a:lnTo>
                    <a:pt x="2482" y="2346"/>
                  </a:lnTo>
                  <a:lnTo>
                    <a:pt x="2480" y="2346"/>
                  </a:lnTo>
                  <a:lnTo>
                    <a:pt x="2480" y="2346"/>
                  </a:lnTo>
                  <a:lnTo>
                    <a:pt x="2480" y="2346"/>
                  </a:lnTo>
                  <a:lnTo>
                    <a:pt x="2480" y="2346"/>
                  </a:lnTo>
                  <a:lnTo>
                    <a:pt x="2480" y="2346"/>
                  </a:lnTo>
                  <a:lnTo>
                    <a:pt x="2480" y="2344"/>
                  </a:lnTo>
                  <a:lnTo>
                    <a:pt x="2480" y="2344"/>
                  </a:lnTo>
                  <a:lnTo>
                    <a:pt x="2480" y="2344"/>
                  </a:lnTo>
                  <a:lnTo>
                    <a:pt x="2480" y="2344"/>
                  </a:lnTo>
                  <a:lnTo>
                    <a:pt x="2480" y="2344"/>
                  </a:lnTo>
                  <a:lnTo>
                    <a:pt x="2480" y="2344"/>
                  </a:lnTo>
                  <a:lnTo>
                    <a:pt x="2480" y="2344"/>
                  </a:lnTo>
                  <a:lnTo>
                    <a:pt x="2480" y="2344"/>
                  </a:lnTo>
                  <a:lnTo>
                    <a:pt x="2478" y="2344"/>
                  </a:lnTo>
                  <a:lnTo>
                    <a:pt x="2475" y="2344"/>
                  </a:lnTo>
                  <a:lnTo>
                    <a:pt x="2473" y="2344"/>
                  </a:lnTo>
                  <a:lnTo>
                    <a:pt x="2473" y="2346"/>
                  </a:lnTo>
                  <a:lnTo>
                    <a:pt x="2473" y="2346"/>
                  </a:lnTo>
                  <a:lnTo>
                    <a:pt x="2473" y="2346"/>
                  </a:lnTo>
                  <a:lnTo>
                    <a:pt x="2473" y="2346"/>
                  </a:lnTo>
                  <a:lnTo>
                    <a:pt x="2473" y="2346"/>
                  </a:lnTo>
                  <a:lnTo>
                    <a:pt x="2473" y="2349"/>
                  </a:lnTo>
                  <a:lnTo>
                    <a:pt x="2473" y="2349"/>
                  </a:lnTo>
                  <a:lnTo>
                    <a:pt x="2473" y="2349"/>
                  </a:lnTo>
                  <a:lnTo>
                    <a:pt x="2475" y="2351"/>
                  </a:lnTo>
                  <a:lnTo>
                    <a:pt x="2475" y="2351"/>
                  </a:lnTo>
                  <a:lnTo>
                    <a:pt x="2473" y="2351"/>
                  </a:lnTo>
                  <a:lnTo>
                    <a:pt x="2471" y="2351"/>
                  </a:lnTo>
                  <a:lnTo>
                    <a:pt x="2471" y="2351"/>
                  </a:lnTo>
                  <a:lnTo>
                    <a:pt x="2471" y="2351"/>
                  </a:lnTo>
                  <a:lnTo>
                    <a:pt x="2468" y="2351"/>
                  </a:lnTo>
                  <a:lnTo>
                    <a:pt x="2468" y="2351"/>
                  </a:lnTo>
                  <a:lnTo>
                    <a:pt x="2471" y="2351"/>
                  </a:lnTo>
                  <a:lnTo>
                    <a:pt x="2471" y="2351"/>
                  </a:lnTo>
                  <a:lnTo>
                    <a:pt x="2471" y="2349"/>
                  </a:lnTo>
                  <a:lnTo>
                    <a:pt x="2468" y="2349"/>
                  </a:lnTo>
                  <a:lnTo>
                    <a:pt x="2468" y="2349"/>
                  </a:lnTo>
                  <a:lnTo>
                    <a:pt x="2468" y="2349"/>
                  </a:lnTo>
                  <a:lnTo>
                    <a:pt x="2468" y="2349"/>
                  </a:lnTo>
                  <a:lnTo>
                    <a:pt x="2468" y="2351"/>
                  </a:lnTo>
                  <a:lnTo>
                    <a:pt x="2466" y="2351"/>
                  </a:lnTo>
                  <a:lnTo>
                    <a:pt x="2466" y="2351"/>
                  </a:lnTo>
                  <a:lnTo>
                    <a:pt x="2466" y="2351"/>
                  </a:lnTo>
                  <a:lnTo>
                    <a:pt x="2466" y="2351"/>
                  </a:lnTo>
                  <a:lnTo>
                    <a:pt x="2466" y="2351"/>
                  </a:lnTo>
                  <a:lnTo>
                    <a:pt x="2466" y="2349"/>
                  </a:lnTo>
                  <a:lnTo>
                    <a:pt x="2466" y="2349"/>
                  </a:lnTo>
                  <a:lnTo>
                    <a:pt x="2466" y="2346"/>
                  </a:lnTo>
                  <a:lnTo>
                    <a:pt x="2468" y="2346"/>
                  </a:lnTo>
                  <a:lnTo>
                    <a:pt x="2468" y="2346"/>
                  </a:lnTo>
                  <a:lnTo>
                    <a:pt x="2468" y="2346"/>
                  </a:lnTo>
                  <a:lnTo>
                    <a:pt x="2468" y="2346"/>
                  </a:lnTo>
                  <a:lnTo>
                    <a:pt x="2466" y="2346"/>
                  </a:lnTo>
                  <a:lnTo>
                    <a:pt x="2466" y="2346"/>
                  </a:lnTo>
                  <a:lnTo>
                    <a:pt x="2466" y="2344"/>
                  </a:lnTo>
                  <a:lnTo>
                    <a:pt x="2466" y="2344"/>
                  </a:lnTo>
                  <a:lnTo>
                    <a:pt x="2466" y="2344"/>
                  </a:lnTo>
                  <a:lnTo>
                    <a:pt x="2466" y="2344"/>
                  </a:lnTo>
                  <a:lnTo>
                    <a:pt x="2466" y="2344"/>
                  </a:lnTo>
                  <a:lnTo>
                    <a:pt x="2466" y="2344"/>
                  </a:lnTo>
                  <a:lnTo>
                    <a:pt x="2466" y="2344"/>
                  </a:lnTo>
                  <a:lnTo>
                    <a:pt x="2466" y="2344"/>
                  </a:lnTo>
                  <a:lnTo>
                    <a:pt x="2466" y="2344"/>
                  </a:lnTo>
                  <a:lnTo>
                    <a:pt x="2466" y="2344"/>
                  </a:lnTo>
                  <a:lnTo>
                    <a:pt x="2466" y="2344"/>
                  </a:lnTo>
                  <a:lnTo>
                    <a:pt x="2466" y="2346"/>
                  </a:lnTo>
                  <a:lnTo>
                    <a:pt x="2466" y="2346"/>
                  </a:lnTo>
                  <a:lnTo>
                    <a:pt x="2466" y="2346"/>
                  </a:lnTo>
                  <a:lnTo>
                    <a:pt x="2464" y="2346"/>
                  </a:lnTo>
                  <a:lnTo>
                    <a:pt x="2464" y="2344"/>
                  </a:lnTo>
                  <a:lnTo>
                    <a:pt x="2464" y="2344"/>
                  </a:lnTo>
                  <a:lnTo>
                    <a:pt x="2464" y="2344"/>
                  </a:lnTo>
                  <a:lnTo>
                    <a:pt x="2466" y="2344"/>
                  </a:lnTo>
                  <a:lnTo>
                    <a:pt x="2466" y="2344"/>
                  </a:lnTo>
                  <a:lnTo>
                    <a:pt x="2466" y="2344"/>
                  </a:lnTo>
                  <a:lnTo>
                    <a:pt x="2466" y="2344"/>
                  </a:lnTo>
                  <a:lnTo>
                    <a:pt x="2464" y="2344"/>
                  </a:lnTo>
                  <a:lnTo>
                    <a:pt x="2464" y="2342"/>
                  </a:lnTo>
                  <a:lnTo>
                    <a:pt x="2464" y="2342"/>
                  </a:lnTo>
                  <a:lnTo>
                    <a:pt x="2461" y="2342"/>
                  </a:lnTo>
                  <a:lnTo>
                    <a:pt x="2461" y="2342"/>
                  </a:lnTo>
                  <a:lnTo>
                    <a:pt x="2461" y="2342"/>
                  </a:lnTo>
                  <a:lnTo>
                    <a:pt x="2461" y="2339"/>
                  </a:lnTo>
                  <a:lnTo>
                    <a:pt x="2461" y="2339"/>
                  </a:lnTo>
                  <a:lnTo>
                    <a:pt x="2459" y="2339"/>
                  </a:lnTo>
                  <a:lnTo>
                    <a:pt x="2459" y="2339"/>
                  </a:lnTo>
                  <a:lnTo>
                    <a:pt x="2459" y="2339"/>
                  </a:lnTo>
                  <a:lnTo>
                    <a:pt x="2459" y="2339"/>
                  </a:lnTo>
                  <a:lnTo>
                    <a:pt x="2456" y="2339"/>
                  </a:lnTo>
                  <a:lnTo>
                    <a:pt x="2456" y="2339"/>
                  </a:lnTo>
                  <a:lnTo>
                    <a:pt x="2456" y="2339"/>
                  </a:lnTo>
                  <a:lnTo>
                    <a:pt x="2456" y="2339"/>
                  </a:lnTo>
                  <a:lnTo>
                    <a:pt x="2456" y="2339"/>
                  </a:lnTo>
                  <a:lnTo>
                    <a:pt x="2456" y="2337"/>
                  </a:lnTo>
                  <a:lnTo>
                    <a:pt x="2454" y="2337"/>
                  </a:lnTo>
                  <a:lnTo>
                    <a:pt x="2456" y="2337"/>
                  </a:lnTo>
                  <a:lnTo>
                    <a:pt x="2456" y="2337"/>
                  </a:lnTo>
                  <a:lnTo>
                    <a:pt x="2456" y="2337"/>
                  </a:lnTo>
                  <a:lnTo>
                    <a:pt x="2456" y="2337"/>
                  </a:lnTo>
                  <a:lnTo>
                    <a:pt x="2456" y="2337"/>
                  </a:lnTo>
                  <a:lnTo>
                    <a:pt x="2456" y="2337"/>
                  </a:lnTo>
                  <a:lnTo>
                    <a:pt x="2456" y="2337"/>
                  </a:lnTo>
                  <a:lnTo>
                    <a:pt x="2456" y="2337"/>
                  </a:lnTo>
                  <a:lnTo>
                    <a:pt x="2456" y="2334"/>
                  </a:lnTo>
                  <a:lnTo>
                    <a:pt x="2456" y="2334"/>
                  </a:lnTo>
                  <a:lnTo>
                    <a:pt x="2456" y="2332"/>
                  </a:lnTo>
                  <a:lnTo>
                    <a:pt x="2456" y="2332"/>
                  </a:lnTo>
                  <a:lnTo>
                    <a:pt x="2456" y="2330"/>
                  </a:lnTo>
                  <a:lnTo>
                    <a:pt x="2456" y="2327"/>
                  </a:lnTo>
                  <a:lnTo>
                    <a:pt x="2454" y="2327"/>
                  </a:lnTo>
                  <a:lnTo>
                    <a:pt x="2454" y="2325"/>
                  </a:lnTo>
                  <a:lnTo>
                    <a:pt x="2454" y="2325"/>
                  </a:lnTo>
                  <a:lnTo>
                    <a:pt x="2454" y="2325"/>
                  </a:lnTo>
                  <a:lnTo>
                    <a:pt x="2454" y="2323"/>
                  </a:lnTo>
                  <a:lnTo>
                    <a:pt x="2452" y="2327"/>
                  </a:lnTo>
                  <a:lnTo>
                    <a:pt x="2449" y="2332"/>
                  </a:lnTo>
                  <a:lnTo>
                    <a:pt x="2449" y="2334"/>
                  </a:lnTo>
                  <a:lnTo>
                    <a:pt x="2449" y="2334"/>
                  </a:lnTo>
                  <a:lnTo>
                    <a:pt x="2447" y="2337"/>
                  </a:lnTo>
                  <a:lnTo>
                    <a:pt x="2449" y="2337"/>
                  </a:lnTo>
                  <a:lnTo>
                    <a:pt x="2449" y="2339"/>
                  </a:lnTo>
                  <a:lnTo>
                    <a:pt x="2447" y="2339"/>
                  </a:lnTo>
                  <a:lnTo>
                    <a:pt x="2447" y="2342"/>
                  </a:lnTo>
                  <a:lnTo>
                    <a:pt x="2447" y="2344"/>
                  </a:lnTo>
                  <a:lnTo>
                    <a:pt x="2445" y="2346"/>
                  </a:lnTo>
                  <a:lnTo>
                    <a:pt x="2447" y="2349"/>
                  </a:lnTo>
                  <a:lnTo>
                    <a:pt x="2447" y="2349"/>
                  </a:lnTo>
                  <a:lnTo>
                    <a:pt x="2447" y="2351"/>
                  </a:lnTo>
                  <a:lnTo>
                    <a:pt x="2449" y="2349"/>
                  </a:lnTo>
                  <a:lnTo>
                    <a:pt x="2449" y="2349"/>
                  </a:lnTo>
                  <a:lnTo>
                    <a:pt x="2454" y="2349"/>
                  </a:lnTo>
                  <a:lnTo>
                    <a:pt x="2454" y="2349"/>
                  </a:lnTo>
                  <a:lnTo>
                    <a:pt x="2454" y="2349"/>
                  </a:lnTo>
                  <a:lnTo>
                    <a:pt x="2454" y="2349"/>
                  </a:lnTo>
                  <a:lnTo>
                    <a:pt x="2454" y="2349"/>
                  </a:lnTo>
                  <a:lnTo>
                    <a:pt x="2456" y="2349"/>
                  </a:lnTo>
                  <a:lnTo>
                    <a:pt x="2456" y="2349"/>
                  </a:lnTo>
                  <a:lnTo>
                    <a:pt x="2456" y="2349"/>
                  </a:lnTo>
                  <a:lnTo>
                    <a:pt x="2456" y="2349"/>
                  </a:lnTo>
                  <a:lnTo>
                    <a:pt x="2459" y="2346"/>
                  </a:lnTo>
                  <a:lnTo>
                    <a:pt x="2459" y="2346"/>
                  </a:lnTo>
                  <a:lnTo>
                    <a:pt x="2459" y="2346"/>
                  </a:lnTo>
                  <a:lnTo>
                    <a:pt x="2459" y="2349"/>
                  </a:lnTo>
                  <a:lnTo>
                    <a:pt x="2459" y="2349"/>
                  </a:lnTo>
                  <a:lnTo>
                    <a:pt x="2459" y="2349"/>
                  </a:lnTo>
                  <a:lnTo>
                    <a:pt x="2459" y="2349"/>
                  </a:lnTo>
                  <a:lnTo>
                    <a:pt x="2459" y="2349"/>
                  </a:lnTo>
                  <a:lnTo>
                    <a:pt x="2459" y="2349"/>
                  </a:lnTo>
                  <a:lnTo>
                    <a:pt x="2459" y="2351"/>
                  </a:lnTo>
                  <a:lnTo>
                    <a:pt x="2459" y="2351"/>
                  </a:lnTo>
                  <a:lnTo>
                    <a:pt x="2459" y="2353"/>
                  </a:lnTo>
                  <a:lnTo>
                    <a:pt x="2459" y="2353"/>
                  </a:lnTo>
                  <a:lnTo>
                    <a:pt x="2461" y="2356"/>
                  </a:lnTo>
                  <a:lnTo>
                    <a:pt x="2459" y="2356"/>
                  </a:lnTo>
                  <a:lnTo>
                    <a:pt x="2459" y="2356"/>
                  </a:lnTo>
                  <a:lnTo>
                    <a:pt x="2459" y="2358"/>
                  </a:lnTo>
                  <a:lnTo>
                    <a:pt x="2461" y="2358"/>
                  </a:lnTo>
                  <a:lnTo>
                    <a:pt x="2461" y="2358"/>
                  </a:lnTo>
                  <a:lnTo>
                    <a:pt x="2461" y="2358"/>
                  </a:lnTo>
                  <a:lnTo>
                    <a:pt x="2461" y="2358"/>
                  </a:lnTo>
                  <a:lnTo>
                    <a:pt x="2466" y="2356"/>
                  </a:lnTo>
                  <a:lnTo>
                    <a:pt x="2466" y="2356"/>
                  </a:lnTo>
                  <a:lnTo>
                    <a:pt x="2466" y="2356"/>
                  </a:lnTo>
                  <a:lnTo>
                    <a:pt x="2466" y="2356"/>
                  </a:lnTo>
                  <a:lnTo>
                    <a:pt x="2468" y="2356"/>
                  </a:lnTo>
                  <a:lnTo>
                    <a:pt x="2468" y="2356"/>
                  </a:lnTo>
                  <a:lnTo>
                    <a:pt x="2468" y="2356"/>
                  </a:lnTo>
                  <a:lnTo>
                    <a:pt x="2468" y="2356"/>
                  </a:lnTo>
                  <a:lnTo>
                    <a:pt x="2468" y="2356"/>
                  </a:lnTo>
                  <a:lnTo>
                    <a:pt x="2468" y="2356"/>
                  </a:lnTo>
                  <a:lnTo>
                    <a:pt x="2468" y="2356"/>
                  </a:lnTo>
                  <a:lnTo>
                    <a:pt x="2471" y="2356"/>
                  </a:lnTo>
                  <a:lnTo>
                    <a:pt x="2473" y="2353"/>
                  </a:lnTo>
                  <a:lnTo>
                    <a:pt x="2473" y="2353"/>
                  </a:lnTo>
                  <a:lnTo>
                    <a:pt x="2473" y="2353"/>
                  </a:lnTo>
                  <a:lnTo>
                    <a:pt x="2473" y="2353"/>
                  </a:lnTo>
                  <a:lnTo>
                    <a:pt x="2473" y="2356"/>
                  </a:lnTo>
                  <a:lnTo>
                    <a:pt x="2473" y="2356"/>
                  </a:lnTo>
                  <a:lnTo>
                    <a:pt x="2475" y="2356"/>
                  </a:lnTo>
                  <a:lnTo>
                    <a:pt x="2475" y="2356"/>
                  </a:lnTo>
                  <a:lnTo>
                    <a:pt x="2473" y="2356"/>
                  </a:lnTo>
                  <a:lnTo>
                    <a:pt x="2473" y="2358"/>
                  </a:lnTo>
                  <a:lnTo>
                    <a:pt x="2473" y="2358"/>
                  </a:lnTo>
                  <a:lnTo>
                    <a:pt x="2473" y="2358"/>
                  </a:lnTo>
                  <a:lnTo>
                    <a:pt x="2473" y="2358"/>
                  </a:lnTo>
                  <a:lnTo>
                    <a:pt x="2473" y="2358"/>
                  </a:lnTo>
                  <a:lnTo>
                    <a:pt x="2475" y="2358"/>
                  </a:lnTo>
                  <a:lnTo>
                    <a:pt x="2478" y="2358"/>
                  </a:lnTo>
                  <a:lnTo>
                    <a:pt x="2478" y="2360"/>
                  </a:lnTo>
                  <a:lnTo>
                    <a:pt x="2478" y="2360"/>
                  </a:lnTo>
                  <a:lnTo>
                    <a:pt x="2478" y="2360"/>
                  </a:lnTo>
                  <a:lnTo>
                    <a:pt x="2480" y="2360"/>
                  </a:lnTo>
                  <a:lnTo>
                    <a:pt x="2482" y="2360"/>
                  </a:lnTo>
                  <a:lnTo>
                    <a:pt x="2482" y="2360"/>
                  </a:lnTo>
                  <a:lnTo>
                    <a:pt x="2482" y="2360"/>
                  </a:lnTo>
                  <a:lnTo>
                    <a:pt x="2482" y="2360"/>
                  </a:lnTo>
                  <a:lnTo>
                    <a:pt x="2482" y="2360"/>
                  </a:lnTo>
                  <a:lnTo>
                    <a:pt x="2485" y="2360"/>
                  </a:lnTo>
                  <a:lnTo>
                    <a:pt x="2485" y="2360"/>
                  </a:lnTo>
                  <a:lnTo>
                    <a:pt x="2485" y="2360"/>
                  </a:lnTo>
                  <a:lnTo>
                    <a:pt x="2485" y="2360"/>
                  </a:lnTo>
                  <a:lnTo>
                    <a:pt x="2485" y="2360"/>
                  </a:lnTo>
                  <a:lnTo>
                    <a:pt x="2485" y="2360"/>
                  </a:lnTo>
                  <a:lnTo>
                    <a:pt x="2487" y="2360"/>
                  </a:lnTo>
                  <a:lnTo>
                    <a:pt x="2487" y="2360"/>
                  </a:lnTo>
                  <a:lnTo>
                    <a:pt x="2487" y="2360"/>
                  </a:lnTo>
                  <a:lnTo>
                    <a:pt x="2487" y="2360"/>
                  </a:lnTo>
                  <a:lnTo>
                    <a:pt x="2487" y="2360"/>
                  </a:lnTo>
                  <a:lnTo>
                    <a:pt x="2490" y="2360"/>
                  </a:lnTo>
                  <a:lnTo>
                    <a:pt x="2490" y="2360"/>
                  </a:lnTo>
                  <a:lnTo>
                    <a:pt x="2490" y="2360"/>
                  </a:lnTo>
                  <a:lnTo>
                    <a:pt x="2490" y="2360"/>
                  </a:lnTo>
                  <a:lnTo>
                    <a:pt x="2492" y="2360"/>
                  </a:lnTo>
                  <a:lnTo>
                    <a:pt x="2494" y="2360"/>
                  </a:lnTo>
                  <a:lnTo>
                    <a:pt x="2494" y="2360"/>
                  </a:lnTo>
                  <a:lnTo>
                    <a:pt x="2497" y="2360"/>
                  </a:lnTo>
                  <a:lnTo>
                    <a:pt x="2497" y="2358"/>
                  </a:lnTo>
                  <a:lnTo>
                    <a:pt x="2497" y="2358"/>
                  </a:lnTo>
                  <a:lnTo>
                    <a:pt x="2499" y="2358"/>
                  </a:lnTo>
                  <a:lnTo>
                    <a:pt x="2499" y="2356"/>
                  </a:lnTo>
                  <a:lnTo>
                    <a:pt x="2497" y="2356"/>
                  </a:lnTo>
                  <a:lnTo>
                    <a:pt x="2497" y="2356"/>
                  </a:lnTo>
                  <a:lnTo>
                    <a:pt x="2497" y="2358"/>
                  </a:lnTo>
                  <a:lnTo>
                    <a:pt x="2497" y="2358"/>
                  </a:lnTo>
                  <a:lnTo>
                    <a:pt x="2494" y="2358"/>
                  </a:lnTo>
                  <a:lnTo>
                    <a:pt x="2494" y="2358"/>
                  </a:lnTo>
                  <a:lnTo>
                    <a:pt x="2494" y="2358"/>
                  </a:lnTo>
                  <a:lnTo>
                    <a:pt x="2494" y="2358"/>
                  </a:lnTo>
                  <a:lnTo>
                    <a:pt x="2494" y="2356"/>
                  </a:lnTo>
                  <a:lnTo>
                    <a:pt x="2497" y="2356"/>
                  </a:lnTo>
                  <a:lnTo>
                    <a:pt x="2497" y="2356"/>
                  </a:lnTo>
                  <a:lnTo>
                    <a:pt x="2497" y="2356"/>
                  </a:lnTo>
                  <a:lnTo>
                    <a:pt x="2494" y="2353"/>
                  </a:lnTo>
                  <a:lnTo>
                    <a:pt x="2497" y="2353"/>
                  </a:lnTo>
                  <a:lnTo>
                    <a:pt x="2497" y="2356"/>
                  </a:lnTo>
                  <a:lnTo>
                    <a:pt x="2497" y="2356"/>
                  </a:lnTo>
                  <a:lnTo>
                    <a:pt x="2499" y="2353"/>
                  </a:lnTo>
                  <a:lnTo>
                    <a:pt x="2499" y="2353"/>
                  </a:lnTo>
                  <a:lnTo>
                    <a:pt x="2499" y="2351"/>
                  </a:lnTo>
                  <a:lnTo>
                    <a:pt x="2499" y="2351"/>
                  </a:lnTo>
                  <a:lnTo>
                    <a:pt x="2499" y="2351"/>
                  </a:lnTo>
                  <a:lnTo>
                    <a:pt x="2501" y="2349"/>
                  </a:lnTo>
                  <a:lnTo>
                    <a:pt x="2501" y="2349"/>
                  </a:lnTo>
                  <a:lnTo>
                    <a:pt x="2501" y="2349"/>
                  </a:lnTo>
                  <a:lnTo>
                    <a:pt x="2501" y="2349"/>
                  </a:lnTo>
                  <a:lnTo>
                    <a:pt x="2499" y="2351"/>
                  </a:lnTo>
                  <a:lnTo>
                    <a:pt x="2499" y="2351"/>
                  </a:lnTo>
                  <a:lnTo>
                    <a:pt x="2499" y="2351"/>
                  </a:lnTo>
                  <a:lnTo>
                    <a:pt x="2499" y="2351"/>
                  </a:lnTo>
                  <a:lnTo>
                    <a:pt x="2499" y="2353"/>
                  </a:lnTo>
                  <a:lnTo>
                    <a:pt x="2499" y="2353"/>
                  </a:lnTo>
                  <a:lnTo>
                    <a:pt x="2499" y="2353"/>
                  </a:lnTo>
                  <a:lnTo>
                    <a:pt x="2499" y="2353"/>
                  </a:lnTo>
                  <a:lnTo>
                    <a:pt x="2499" y="2353"/>
                  </a:lnTo>
                  <a:lnTo>
                    <a:pt x="2499" y="2353"/>
                  </a:lnTo>
                  <a:lnTo>
                    <a:pt x="2499" y="2353"/>
                  </a:lnTo>
                  <a:lnTo>
                    <a:pt x="2499" y="2353"/>
                  </a:lnTo>
                  <a:lnTo>
                    <a:pt x="2499" y="2353"/>
                  </a:lnTo>
                  <a:lnTo>
                    <a:pt x="2499" y="2353"/>
                  </a:lnTo>
                  <a:lnTo>
                    <a:pt x="2499" y="2353"/>
                  </a:lnTo>
                  <a:lnTo>
                    <a:pt x="2499" y="2356"/>
                  </a:lnTo>
                  <a:lnTo>
                    <a:pt x="2499" y="2356"/>
                  </a:lnTo>
                  <a:lnTo>
                    <a:pt x="2499" y="2356"/>
                  </a:lnTo>
                  <a:lnTo>
                    <a:pt x="2501" y="2356"/>
                  </a:lnTo>
                  <a:lnTo>
                    <a:pt x="2501" y="2356"/>
                  </a:lnTo>
                  <a:lnTo>
                    <a:pt x="2504" y="2356"/>
                  </a:lnTo>
                  <a:lnTo>
                    <a:pt x="2504" y="2356"/>
                  </a:lnTo>
                  <a:lnTo>
                    <a:pt x="2504" y="2356"/>
                  </a:lnTo>
                  <a:lnTo>
                    <a:pt x="2504" y="2356"/>
                  </a:lnTo>
                  <a:lnTo>
                    <a:pt x="2504" y="2356"/>
                  </a:lnTo>
                  <a:lnTo>
                    <a:pt x="2504" y="2356"/>
                  </a:lnTo>
                  <a:lnTo>
                    <a:pt x="2504" y="2353"/>
                  </a:lnTo>
                  <a:lnTo>
                    <a:pt x="2504" y="2356"/>
                  </a:lnTo>
                  <a:lnTo>
                    <a:pt x="2506" y="2356"/>
                  </a:lnTo>
                  <a:lnTo>
                    <a:pt x="2506" y="2356"/>
                  </a:lnTo>
                  <a:lnTo>
                    <a:pt x="2506" y="2356"/>
                  </a:lnTo>
                  <a:lnTo>
                    <a:pt x="2506" y="2358"/>
                  </a:lnTo>
                  <a:lnTo>
                    <a:pt x="2506" y="2358"/>
                  </a:lnTo>
                  <a:lnTo>
                    <a:pt x="2506" y="2358"/>
                  </a:lnTo>
                  <a:lnTo>
                    <a:pt x="2506" y="2356"/>
                  </a:lnTo>
                  <a:lnTo>
                    <a:pt x="2506" y="2356"/>
                  </a:lnTo>
                  <a:lnTo>
                    <a:pt x="2509" y="2356"/>
                  </a:lnTo>
                  <a:lnTo>
                    <a:pt x="2509" y="2356"/>
                  </a:lnTo>
                  <a:lnTo>
                    <a:pt x="2509" y="2358"/>
                  </a:lnTo>
                  <a:lnTo>
                    <a:pt x="2509" y="2358"/>
                  </a:lnTo>
                  <a:lnTo>
                    <a:pt x="2506" y="2360"/>
                  </a:lnTo>
                  <a:lnTo>
                    <a:pt x="2506" y="2360"/>
                  </a:lnTo>
                  <a:lnTo>
                    <a:pt x="2506" y="2360"/>
                  </a:lnTo>
                  <a:lnTo>
                    <a:pt x="2504" y="2360"/>
                  </a:lnTo>
                  <a:lnTo>
                    <a:pt x="2504" y="2363"/>
                  </a:lnTo>
                  <a:lnTo>
                    <a:pt x="2506" y="2363"/>
                  </a:lnTo>
                  <a:lnTo>
                    <a:pt x="2509" y="2360"/>
                  </a:lnTo>
                  <a:lnTo>
                    <a:pt x="2509" y="2360"/>
                  </a:lnTo>
                  <a:lnTo>
                    <a:pt x="2509" y="2360"/>
                  </a:lnTo>
                  <a:lnTo>
                    <a:pt x="2509" y="2360"/>
                  </a:lnTo>
                  <a:lnTo>
                    <a:pt x="2509" y="2363"/>
                  </a:lnTo>
                  <a:lnTo>
                    <a:pt x="2509" y="2363"/>
                  </a:lnTo>
                  <a:lnTo>
                    <a:pt x="2509" y="2363"/>
                  </a:lnTo>
                  <a:lnTo>
                    <a:pt x="2511" y="2363"/>
                  </a:lnTo>
                  <a:lnTo>
                    <a:pt x="2511" y="2363"/>
                  </a:lnTo>
                  <a:lnTo>
                    <a:pt x="2511" y="2363"/>
                  </a:lnTo>
                  <a:lnTo>
                    <a:pt x="2511" y="2363"/>
                  </a:lnTo>
                  <a:lnTo>
                    <a:pt x="2511" y="2363"/>
                  </a:lnTo>
                  <a:lnTo>
                    <a:pt x="2511" y="2365"/>
                  </a:lnTo>
                  <a:lnTo>
                    <a:pt x="2513" y="2365"/>
                  </a:lnTo>
                  <a:lnTo>
                    <a:pt x="2516" y="2363"/>
                  </a:lnTo>
                  <a:lnTo>
                    <a:pt x="2516" y="2363"/>
                  </a:lnTo>
                  <a:lnTo>
                    <a:pt x="2516" y="2365"/>
                  </a:lnTo>
                  <a:lnTo>
                    <a:pt x="2516" y="2365"/>
                  </a:lnTo>
                  <a:lnTo>
                    <a:pt x="2516" y="2365"/>
                  </a:lnTo>
                  <a:lnTo>
                    <a:pt x="2516" y="2363"/>
                  </a:lnTo>
                  <a:lnTo>
                    <a:pt x="2516" y="2363"/>
                  </a:lnTo>
                  <a:lnTo>
                    <a:pt x="2516" y="2363"/>
                  </a:lnTo>
                  <a:lnTo>
                    <a:pt x="2518" y="2363"/>
                  </a:lnTo>
                  <a:lnTo>
                    <a:pt x="2523" y="2360"/>
                  </a:lnTo>
                  <a:lnTo>
                    <a:pt x="2525" y="2358"/>
                  </a:lnTo>
                  <a:lnTo>
                    <a:pt x="2525" y="2358"/>
                  </a:lnTo>
                  <a:lnTo>
                    <a:pt x="2525" y="2358"/>
                  </a:lnTo>
                  <a:lnTo>
                    <a:pt x="2523" y="2358"/>
                  </a:lnTo>
                  <a:lnTo>
                    <a:pt x="2523" y="2358"/>
                  </a:lnTo>
                  <a:lnTo>
                    <a:pt x="2520" y="2358"/>
                  </a:lnTo>
                  <a:lnTo>
                    <a:pt x="2520" y="2358"/>
                  </a:lnTo>
                  <a:lnTo>
                    <a:pt x="2520" y="2358"/>
                  </a:lnTo>
                  <a:lnTo>
                    <a:pt x="2520" y="2358"/>
                  </a:lnTo>
                  <a:lnTo>
                    <a:pt x="2523" y="2356"/>
                  </a:lnTo>
                  <a:lnTo>
                    <a:pt x="2523" y="2356"/>
                  </a:lnTo>
                  <a:lnTo>
                    <a:pt x="2523" y="2356"/>
                  </a:lnTo>
                  <a:lnTo>
                    <a:pt x="2523" y="2356"/>
                  </a:lnTo>
                  <a:lnTo>
                    <a:pt x="2523" y="2356"/>
                  </a:lnTo>
                  <a:lnTo>
                    <a:pt x="2523" y="2353"/>
                  </a:lnTo>
                  <a:lnTo>
                    <a:pt x="2523" y="2353"/>
                  </a:lnTo>
                  <a:lnTo>
                    <a:pt x="2523" y="2353"/>
                  </a:lnTo>
                  <a:lnTo>
                    <a:pt x="2523" y="2351"/>
                  </a:lnTo>
                  <a:lnTo>
                    <a:pt x="2520" y="2351"/>
                  </a:lnTo>
                  <a:lnTo>
                    <a:pt x="2520" y="2351"/>
                  </a:lnTo>
                  <a:lnTo>
                    <a:pt x="2520" y="2351"/>
                  </a:lnTo>
                  <a:lnTo>
                    <a:pt x="2523" y="2351"/>
                  </a:lnTo>
                  <a:lnTo>
                    <a:pt x="2523" y="2353"/>
                  </a:lnTo>
                  <a:lnTo>
                    <a:pt x="2523" y="2353"/>
                  </a:lnTo>
                  <a:lnTo>
                    <a:pt x="2520" y="2353"/>
                  </a:lnTo>
                  <a:lnTo>
                    <a:pt x="2520" y="2353"/>
                  </a:lnTo>
                  <a:lnTo>
                    <a:pt x="2520" y="2351"/>
                  </a:lnTo>
                  <a:lnTo>
                    <a:pt x="2520" y="2351"/>
                  </a:lnTo>
                  <a:lnTo>
                    <a:pt x="2520" y="2351"/>
                  </a:lnTo>
                  <a:lnTo>
                    <a:pt x="2518" y="2351"/>
                  </a:lnTo>
                  <a:lnTo>
                    <a:pt x="2518" y="2351"/>
                  </a:lnTo>
                  <a:lnTo>
                    <a:pt x="2516" y="2351"/>
                  </a:lnTo>
                  <a:lnTo>
                    <a:pt x="2518" y="2351"/>
                  </a:lnTo>
                  <a:lnTo>
                    <a:pt x="2518" y="2351"/>
                  </a:lnTo>
                  <a:lnTo>
                    <a:pt x="2518" y="2351"/>
                  </a:lnTo>
                  <a:lnTo>
                    <a:pt x="2518" y="2351"/>
                  </a:lnTo>
                  <a:lnTo>
                    <a:pt x="2518" y="2351"/>
                  </a:lnTo>
                  <a:lnTo>
                    <a:pt x="2518" y="2351"/>
                  </a:lnTo>
                  <a:lnTo>
                    <a:pt x="2516" y="2351"/>
                  </a:lnTo>
                  <a:lnTo>
                    <a:pt x="2516" y="2349"/>
                  </a:lnTo>
                  <a:lnTo>
                    <a:pt x="2518" y="2349"/>
                  </a:lnTo>
                  <a:lnTo>
                    <a:pt x="2520" y="2351"/>
                  </a:lnTo>
                  <a:lnTo>
                    <a:pt x="2520" y="2349"/>
                  </a:lnTo>
                  <a:lnTo>
                    <a:pt x="2520" y="2349"/>
                  </a:lnTo>
                  <a:lnTo>
                    <a:pt x="2518" y="2349"/>
                  </a:lnTo>
                  <a:lnTo>
                    <a:pt x="2516" y="2349"/>
                  </a:lnTo>
                  <a:lnTo>
                    <a:pt x="2516" y="2349"/>
                  </a:lnTo>
                  <a:lnTo>
                    <a:pt x="2518" y="2349"/>
                  </a:lnTo>
                  <a:lnTo>
                    <a:pt x="2520" y="2349"/>
                  </a:lnTo>
                  <a:lnTo>
                    <a:pt x="2520" y="2349"/>
                  </a:lnTo>
                  <a:lnTo>
                    <a:pt x="2523" y="2346"/>
                  </a:lnTo>
                  <a:lnTo>
                    <a:pt x="2523" y="2346"/>
                  </a:lnTo>
                  <a:lnTo>
                    <a:pt x="2523" y="2346"/>
                  </a:lnTo>
                  <a:lnTo>
                    <a:pt x="2520" y="2346"/>
                  </a:lnTo>
                  <a:lnTo>
                    <a:pt x="2518" y="2346"/>
                  </a:lnTo>
                  <a:lnTo>
                    <a:pt x="2520" y="2344"/>
                  </a:lnTo>
                  <a:lnTo>
                    <a:pt x="2523" y="2344"/>
                  </a:lnTo>
                  <a:lnTo>
                    <a:pt x="2523" y="2344"/>
                  </a:lnTo>
                  <a:lnTo>
                    <a:pt x="2523" y="2344"/>
                  </a:lnTo>
                  <a:lnTo>
                    <a:pt x="2520" y="2342"/>
                  </a:lnTo>
                  <a:lnTo>
                    <a:pt x="2523" y="2342"/>
                  </a:lnTo>
                  <a:lnTo>
                    <a:pt x="2523" y="2342"/>
                  </a:lnTo>
                  <a:lnTo>
                    <a:pt x="2523" y="2342"/>
                  </a:lnTo>
                  <a:lnTo>
                    <a:pt x="2523" y="2342"/>
                  </a:lnTo>
                  <a:lnTo>
                    <a:pt x="2523" y="2339"/>
                  </a:lnTo>
                  <a:lnTo>
                    <a:pt x="2523" y="2339"/>
                  </a:lnTo>
                  <a:lnTo>
                    <a:pt x="2523" y="2339"/>
                  </a:lnTo>
                  <a:lnTo>
                    <a:pt x="2523" y="2339"/>
                  </a:lnTo>
                  <a:lnTo>
                    <a:pt x="2525" y="2339"/>
                  </a:lnTo>
                  <a:lnTo>
                    <a:pt x="2525" y="2339"/>
                  </a:lnTo>
                  <a:lnTo>
                    <a:pt x="2525" y="2339"/>
                  </a:lnTo>
                  <a:lnTo>
                    <a:pt x="2525" y="2339"/>
                  </a:lnTo>
                  <a:lnTo>
                    <a:pt x="2525" y="2337"/>
                  </a:lnTo>
                  <a:lnTo>
                    <a:pt x="2525" y="2337"/>
                  </a:lnTo>
                  <a:lnTo>
                    <a:pt x="2527" y="2339"/>
                  </a:lnTo>
                  <a:lnTo>
                    <a:pt x="2527" y="2339"/>
                  </a:lnTo>
                  <a:lnTo>
                    <a:pt x="2527" y="2339"/>
                  </a:lnTo>
                  <a:close/>
                  <a:moveTo>
                    <a:pt x="2710" y="2195"/>
                  </a:moveTo>
                  <a:lnTo>
                    <a:pt x="2714" y="2195"/>
                  </a:lnTo>
                  <a:lnTo>
                    <a:pt x="2714" y="2195"/>
                  </a:lnTo>
                  <a:lnTo>
                    <a:pt x="2714" y="2192"/>
                  </a:lnTo>
                  <a:lnTo>
                    <a:pt x="2717" y="2192"/>
                  </a:lnTo>
                  <a:lnTo>
                    <a:pt x="2714" y="2192"/>
                  </a:lnTo>
                  <a:lnTo>
                    <a:pt x="2714" y="2192"/>
                  </a:lnTo>
                  <a:lnTo>
                    <a:pt x="2714" y="2192"/>
                  </a:lnTo>
                  <a:lnTo>
                    <a:pt x="2714" y="2190"/>
                  </a:lnTo>
                  <a:lnTo>
                    <a:pt x="2712" y="2190"/>
                  </a:lnTo>
                  <a:lnTo>
                    <a:pt x="2712" y="2190"/>
                  </a:lnTo>
                  <a:lnTo>
                    <a:pt x="2707" y="2192"/>
                  </a:lnTo>
                  <a:lnTo>
                    <a:pt x="2707" y="2195"/>
                  </a:lnTo>
                  <a:lnTo>
                    <a:pt x="2707" y="2195"/>
                  </a:lnTo>
                  <a:lnTo>
                    <a:pt x="2710" y="2195"/>
                  </a:lnTo>
                  <a:lnTo>
                    <a:pt x="2710" y="2195"/>
                  </a:lnTo>
                  <a:lnTo>
                    <a:pt x="2710" y="2195"/>
                  </a:lnTo>
                  <a:close/>
                  <a:moveTo>
                    <a:pt x="1389" y="1665"/>
                  </a:moveTo>
                  <a:lnTo>
                    <a:pt x="1389" y="1663"/>
                  </a:lnTo>
                  <a:lnTo>
                    <a:pt x="1389" y="1665"/>
                  </a:lnTo>
                  <a:lnTo>
                    <a:pt x="1389" y="1665"/>
                  </a:lnTo>
                  <a:lnTo>
                    <a:pt x="1387" y="1665"/>
                  </a:lnTo>
                  <a:lnTo>
                    <a:pt x="1387" y="1665"/>
                  </a:lnTo>
                  <a:lnTo>
                    <a:pt x="1387" y="1665"/>
                  </a:lnTo>
                  <a:lnTo>
                    <a:pt x="1389" y="1667"/>
                  </a:lnTo>
                  <a:lnTo>
                    <a:pt x="1389" y="1667"/>
                  </a:lnTo>
                  <a:lnTo>
                    <a:pt x="1392" y="1665"/>
                  </a:lnTo>
                  <a:lnTo>
                    <a:pt x="1392" y="1665"/>
                  </a:lnTo>
                  <a:lnTo>
                    <a:pt x="1392" y="1665"/>
                  </a:lnTo>
                  <a:lnTo>
                    <a:pt x="1392" y="1665"/>
                  </a:lnTo>
                  <a:lnTo>
                    <a:pt x="1394" y="1665"/>
                  </a:lnTo>
                  <a:lnTo>
                    <a:pt x="1392" y="1665"/>
                  </a:lnTo>
                  <a:lnTo>
                    <a:pt x="1389" y="1665"/>
                  </a:lnTo>
                  <a:close/>
                  <a:moveTo>
                    <a:pt x="2724" y="2209"/>
                  </a:moveTo>
                  <a:lnTo>
                    <a:pt x="2724" y="2209"/>
                  </a:lnTo>
                  <a:lnTo>
                    <a:pt x="2724" y="2209"/>
                  </a:lnTo>
                  <a:lnTo>
                    <a:pt x="2721" y="2209"/>
                  </a:lnTo>
                  <a:lnTo>
                    <a:pt x="2721" y="2209"/>
                  </a:lnTo>
                  <a:lnTo>
                    <a:pt x="2721" y="2211"/>
                  </a:lnTo>
                  <a:lnTo>
                    <a:pt x="2721" y="2211"/>
                  </a:lnTo>
                  <a:lnTo>
                    <a:pt x="2721" y="2211"/>
                  </a:lnTo>
                  <a:lnTo>
                    <a:pt x="2721" y="2211"/>
                  </a:lnTo>
                  <a:lnTo>
                    <a:pt x="2721" y="2209"/>
                  </a:lnTo>
                  <a:lnTo>
                    <a:pt x="2721" y="2211"/>
                  </a:lnTo>
                  <a:lnTo>
                    <a:pt x="2724" y="2211"/>
                  </a:lnTo>
                  <a:lnTo>
                    <a:pt x="2724" y="2209"/>
                  </a:lnTo>
                  <a:lnTo>
                    <a:pt x="2724" y="2211"/>
                  </a:lnTo>
                  <a:lnTo>
                    <a:pt x="2724" y="2209"/>
                  </a:lnTo>
                  <a:lnTo>
                    <a:pt x="2724" y="2209"/>
                  </a:lnTo>
                  <a:lnTo>
                    <a:pt x="2724" y="2209"/>
                  </a:lnTo>
                  <a:close/>
                  <a:moveTo>
                    <a:pt x="1865" y="2192"/>
                  </a:moveTo>
                  <a:lnTo>
                    <a:pt x="1865" y="2190"/>
                  </a:lnTo>
                  <a:lnTo>
                    <a:pt x="1865" y="2190"/>
                  </a:lnTo>
                  <a:lnTo>
                    <a:pt x="1865" y="2190"/>
                  </a:lnTo>
                  <a:lnTo>
                    <a:pt x="1865" y="2190"/>
                  </a:lnTo>
                  <a:lnTo>
                    <a:pt x="1862" y="2190"/>
                  </a:lnTo>
                  <a:lnTo>
                    <a:pt x="1862" y="2192"/>
                  </a:lnTo>
                  <a:lnTo>
                    <a:pt x="1862" y="2192"/>
                  </a:lnTo>
                  <a:lnTo>
                    <a:pt x="1862" y="2192"/>
                  </a:lnTo>
                  <a:lnTo>
                    <a:pt x="1862" y="2192"/>
                  </a:lnTo>
                  <a:lnTo>
                    <a:pt x="1862" y="2192"/>
                  </a:lnTo>
                  <a:lnTo>
                    <a:pt x="1865" y="2192"/>
                  </a:lnTo>
                  <a:close/>
                  <a:moveTo>
                    <a:pt x="1860" y="2204"/>
                  </a:moveTo>
                  <a:lnTo>
                    <a:pt x="1860" y="2204"/>
                  </a:lnTo>
                  <a:lnTo>
                    <a:pt x="1860" y="2204"/>
                  </a:lnTo>
                  <a:lnTo>
                    <a:pt x="1860" y="2204"/>
                  </a:lnTo>
                  <a:lnTo>
                    <a:pt x="1860" y="2204"/>
                  </a:lnTo>
                  <a:lnTo>
                    <a:pt x="1860" y="2207"/>
                  </a:lnTo>
                  <a:lnTo>
                    <a:pt x="1860" y="2209"/>
                  </a:lnTo>
                  <a:lnTo>
                    <a:pt x="1860" y="2209"/>
                  </a:lnTo>
                  <a:lnTo>
                    <a:pt x="1860" y="2209"/>
                  </a:lnTo>
                  <a:lnTo>
                    <a:pt x="1860" y="2209"/>
                  </a:lnTo>
                  <a:lnTo>
                    <a:pt x="1862" y="2209"/>
                  </a:lnTo>
                  <a:lnTo>
                    <a:pt x="1862" y="2209"/>
                  </a:lnTo>
                  <a:lnTo>
                    <a:pt x="1862" y="2209"/>
                  </a:lnTo>
                  <a:lnTo>
                    <a:pt x="1862" y="2209"/>
                  </a:lnTo>
                  <a:lnTo>
                    <a:pt x="1865" y="2209"/>
                  </a:lnTo>
                  <a:lnTo>
                    <a:pt x="1867" y="2207"/>
                  </a:lnTo>
                  <a:lnTo>
                    <a:pt x="1870" y="2207"/>
                  </a:lnTo>
                  <a:lnTo>
                    <a:pt x="1870" y="2207"/>
                  </a:lnTo>
                  <a:lnTo>
                    <a:pt x="1870" y="2207"/>
                  </a:lnTo>
                  <a:lnTo>
                    <a:pt x="1870" y="2207"/>
                  </a:lnTo>
                  <a:lnTo>
                    <a:pt x="1870" y="2207"/>
                  </a:lnTo>
                  <a:lnTo>
                    <a:pt x="1870" y="2204"/>
                  </a:lnTo>
                  <a:lnTo>
                    <a:pt x="1870" y="2204"/>
                  </a:lnTo>
                  <a:lnTo>
                    <a:pt x="1870" y="2202"/>
                  </a:lnTo>
                  <a:lnTo>
                    <a:pt x="1870" y="2202"/>
                  </a:lnTo>
                  <a:lnTo>
                    <a:pt x="1870" y="2202"/>
                  </a:lnTo>
                  <a:lnTo>
                    <a:pt x="1870" y="2202"/>
                  </a:lnTo>
                  <a:lnTo>
                    <a:pt x="1872" y="2200"/>
                  </a:lnTo>
                  <a:lnTo>
                    <a:pt x="1872" y="2200"/>
                  </a:lnTo>
                  <a:lnTo>
                    <a:pt x="1870" y="2200"/>
                  </a:lnTo>
                  <a:lnTo>
                    <a:pt x="1870" y="2200"/>
                  </a:lnTo>
                  <a:lnTo>
                    <a:pt x="1870" y="2197"/>
                  </a:lnTo>
                  <a:lnTo>
                    <a:pt x="1870" y="2200"/>
                  </a:lnTo>
                  <a:lnTo>
                    <a:pt x="1867" y="2200"/>
                  </a:lnTo>
                  <a:lnTo>
                    <a:pt x="1867" y="2200"/>
                  </a:lnTo>
                  <a:lnTo>
                    <a:pt x="1865" y="2202"/>
                  </a:lnTo>
                  <a:lnTo>
                    <a:pt x="1865" y="2202"/>
                  </a:lnTo>
                  <a:lnTo>
                    <a:pt x="1865" y="2202"/>
                  </a:lnTo>
                  <a:lnTo>
                    <a:pt x="1865" y="2202"/>
                  </a:lnTo>
                  <a:lnTo>
                    <a:pt x="1862" y="2202"/>
                  </a:lnTo>
                  <a:lnTo>
                    <a:pt x="1862" y="2204"/>
                  </a:lnTo>
                  <a:lnTo>
                    <a:pt x="1862" y="2204"/>
                  </a:lnTo>
                  <a:lnTo>
                    <a:pt x="1862" y="2204"/>
                  </a:lnTo>
                  <a:lnTo>
                    <a:pt x="1860" y="2204"/>
                  </a:lnTo>
                  <a:close/>
                  <a:moveTo>
                    <a:pt x="1870" y="1961"/>
                  </a:moveTo>
                  <a:lnTo>
                    <a:pt x="1870" y="1961"/>
                  </a:lnTo>
                  <a:lnTo>
                    <a:pt x="1872" y="1961"/>
                  </a:lnTo>
                  <a:lnTo>
                    <a:pt x="1872" y="1958"/>
                  </a:lnTo>
                  <a:lnTo>
                    <a:pt x="1872" y="1958"/>
                  </a:lnTo>
                  <a:lnTo>
                    <a:pt x="1872" y="1958"/>
                  </a:lnTo>
                  <a:lnTo>
                    <a:pt x="1870" y="1961"/>
                  </a:lnTo>
                  <a:lnTo>
                    <a:pt x="1867" y="1961"/>
                  </a:lnTo>
                  <a:lnTo>
                    <a:pt x="1867" y="1961"/>
                  </a:lnTo>
                  <a:lnTo>
                    <a:pt x="1867" y="1961"/>
                  </a:lnTo>
                  <a:lnTo>
                    <a:pt x="1867" y="1961"/>
                  </a:lnTo>
                  <a:lnTo>
                    <a:pt x="1867" y="1961"/>
                  </a:lnTo>
                  <a:lnTo>
                    <a:pt x="1867" y="1963"/>
                  </a:lnTo>
                  <a:lnTo>
                    <a:pt x="1867" y="1963"/>
                  </a:lnTo>
                  <a:lnTo>
                    <a:pt x="1870" y="1961"/>
                  </a:lnTo>
                  <a:lnTo>
                    <a:pt x="1870" y="1961"/>
                  </a:lnTo>
                  <a:close/>
                  <a:moveTo>
                    <a:pt x="1855" y="2176"/>
                  </a:moveTo>
                  <a:lnTo>
                    <a:pt x="1858" y="2176"/>
                  </a:lnTo>
                  <a:lnTo>
                    <a:pt x="1858" y="2176"/>
                  </a:lnTo>
                  <a:lnTo>
                    <a:pt x="1858" y="2176"/>
                  </a:lnTo>
                  <a:lnTo>
                    <a:pt x="1855" y="2176"/>
                  </a:lnTo>
                  <a:lnTo>
                    <a:pt x="1855" y="2176"/>
                  </a:lnTo>
                  <a:lnTo>
                    <a:pt x="1855" y="2176"/>
                  </a:lnTo>
                  <a:lnTo>
                    <a:pt x="1855" y="2174"/>
                  </a:lnTo>
                  <a:lnTo>
                    <a:pt x="1855" y="2174"/>
                  </a:lnTo>
                  <a:lnTo>
                    <a:pt x="1855" y="2176"/>
                  </a:lnTo>
                  <a:lnTo>
                    <a:pt x="1855" y="2176"/>
                  </a:lnTo>
                  <a:lnTo>
                    <a:pt x="1855" y="2176"/>
                  </a:lnTo>
                  <a:lnTo>
                    <a:pt x="1855" y="2176"/>
                  </a:lnTo>
                  <a:lnTo>
                    <a:pt x="1855" y="2178"/>
                  </a:lnTo>
                  <a:lnTo>
                    <a:pt x="1855" y="2176"/>
                  </a:lnTo>
                  <a:lnTo>
                    <a:pt x="1855" y="2176"/>
                  </a:lnTo>
                  <a:close/>
                  <a:moveTo>
                    <a:pt x="1886" y="2176"/>
                  </a:moveTo>
                  <a:lnTo>
                    <a:pt x="1886" y="2176"/>
                  </a:lnTo>
                  <a:lnTo>
                    <a:pt x="1886" y="2176"/>
                  </a:lnTo>
                  <a:lnTo>
                    <a:pt x="1886" y="2176"/>
                  </a:lnTo>
                  <a:lnTo>
                    <a:pt x="1886" y="2176"/>
                  </a:lnTo>
                  <a:lnTo>
                    <a:pt x="1884" y="2176"/>
                  </a:lnTo>
                  <a:lnTo>
                    <a:pt x="1884" y="2176"/>
                  </a:lnTo>
                  <a:lnTo>
                    <a:pt x="1884" y="2176"/>
                  </a:lnTo>
                  <a:lnTo>
                    <a:pt x="1884" y="2178"/>
                  </a:lnTo>
                  <a:lnTo>
                    <a:pt x="1881" y="2178"/>
                  </a:lnTo>
                  <a:lnTo>
                    <a:pt x="1881" y="2178"/>
                  </a:lnTo>
                  <a:lnTo>
                    <a:pt x="1884" y="2178"/>
                  </a:lnTo>
                  <a:lnTo>
                    <a:pt x="1884" y="2178"/>
                  </a:lnTo>
                  <a:lnTo>
                    <a:pt x="1884" y="2178"/>
                  </a:lnTo>
                  <a:lnTo>
                    <a:pt x="1884" y="2178"/>
                  </a:lnTo>
                  <a:lnTo>
                    <a:pt x="1884" y="2178"/>
                  </a:lnTo>
                  <a:lnTo>
                    <a:pt x="1884" y="2178"/>
                  </a:lnTo>
                  <a:lnTo>
                    <a:pt x="1884" y="2178"/>
                  </a:lnTo>
                  <a:lnTo>
                    <a:pt x="1884" y="2178"/>
                  </a:lnTo>
                  <a:lnTo>
                    <a:pt x="1884" y="2178"/>
                  </a:lnTo>
                  <a:lnTo>
                    <a:pt x="1884" y="2178"/>
                  </a:lnTo>
                  <a:lnTo>
                    <a:pt x="1884" y="2178"/>
                  </a:lnTo>
                  <a:lnTo>
                    <a:pt x="1884" y="2178"/>
                  </a:lnTo>
                  <a:lnTo>
                    <a:pt x="1884" y="2178"/>
                  </a:lnTo>
                  <a:lnTo>
                    <a:pt x="1884" y="2178"/>
                  </a:lnTo>
                  <a:lnTo>
                    <a:pt x="1884" y="2178"/>
                  </a:lnTo>
                  <a:lnTo>
                    <a:pt x="1884" y="2178"/>
                  </a:lnTo>
                  <a:lnTo>
                    <a:pt x="1884" y="2178"/>
                  </a:lnTo>
                  <a:lnTo>
                    <a:pt x="1884" y="2178"/>
                  </a:lnTo>
                  <a:lnTo>
                    <a:pt x="1886" y="2178"/>
                  </a:lnTo>
                  <a:lnTo>
                    <a:pt x="1886" y="2178"/>
                  </a:lnTo>
                  <a:lnTo>
                    <a:pt x="1886" y="2178"/>
                  </a:lnTo>
                  <a:lnTo>
                    <a:pt x="1884" y="2178"/>
                  </a:lnTo>
                  <a:lnTo>
                    <a:pt x="1884" y="2178"/>
                  </a:lnTo>
                  <a:lnTo>
                    <a:pt x="1886" y="2178"/>
                  </a:lnTo>
                  <a:lnTo>
                    <a:pt x="1886" y="2176"/>
                  </a:lnTo>
                  <a:close/>
                  <a:moveTo>
                    <a:pt x="1879" y="2197"/>
                  </a:moveTo>
                  <a:lnTo>
                    <a:pt x="1879" y="2195"/>
                  </a:lnTo>
                  <a:lnTo>
                    <a:pt x="1879" y="2195"/>
                  </a:lnTo>
                  <a:lnTo>
                    <a:pt x="1879" y="2197"/>
                  </a:lnTo>
                  <a:lnTo>
                    <a:pt x="1877" y="2197"/>
                  </a:lnTo>
                  <a:lnTo>
                    <a:pt x="1877" y="2197"/>
                  </a:lnTo>
                  <a:lnTo>
                    <a:pt x="1879" y="2197"/>
                  </a:lnTo>
                  <a:lnTo>
                    <a:pt x="1879" y="2197"/>
                  </a:lnTo>
                  <a:lnTo>
                    <a:pt x="1879" y="2197"/>
                  </a:lnTo>
                  <a:close/>
                  <a:moveTo>
                    <a:pt x="1839" y="2145"/>
                  </a:moveTo>
                  <a:lnTo>
                    <a:pt x="1839" y="2145"/>
                  </a:lnTo>
                  <a:lnTo>
                    <a:pt x="1839" y="2148"/>
                  </a:lnTo>
                  <a:lnTo>
                    <a:pt x="1839" y="2150"/>
                  </a:lnTo>
                  <a:lnTo>
                    <a:pt x="1841" y="2150"/>
                  </a:lnTo>
                  <a:lnTo>
                    <a:pt x="1841" y="2148"/>
                  </a:lnTo>
                  <a:lnTo>
                    <a:pt x="1841" y="2150"/>
                  </a:lnTo>
                  <a:lnTo>
                    <a:pt x="1844" y="2148"/>
                  </a:lnTo>
                  <a:lnTo>
                    <a:pt x="1844" y="2148"/>
                  </a:lnTo>
                  <a:lnTo>
                    <a:pt x="1844" y="2148"/>
                  </a:lnTo>
                  <a:lnTo>
                    <a:pt x="1844" y="2148"/>
                  </a:lnTo>
                  <a:lnTo>
                    <a:pt x="1844" y="2148"/>
                  </a:lnTo>
                  <a:lnTo>
                    <a:pt x="1844" y="2148"/>
                  </a:lnTo>
                  <a:lnTo>
                    <a:pt x="1844" y="2148"/>
                  </a:lnTo>
                  <a:lnTo>
                    <a:pt x="1844" y="2145"/>
                  </a:lnTo>
                  <a:lnTo>
                    <a:pt x="1841" y="2145"/>
                  </a:lnTo>
                  <a:lnTo>
                    <a:pt x="1841" y="2145"/>
                  </a:lnTo>
                  <a:lnTo>
                    <a:pt x="1841" y="2145"/>
                  </a:lnTo>
                  <a:lnTo>
                    <a:pt x="1841" y="2145"/>
                  </a:lnTo>
                  <a:lnTo>
                    <a:pt x="1839" y="2143"/>
                  </a:lnTo>
                  <a:lnTo>
                    <a:pt x="1839" y="2145"/>
                  </a:lnTo>
                  <a:close/>
                  <a:moveTo>
                    <a:pt x="1841" y="2124"/>
                  </a:moveTo>
                  <a:lnTo>
                    <a:pt x="1841" y="2124"/>
                  </a:lnTo>
                  <a:lnTo>
                    <a:pt x="1841" y="2124"/>
                  </a:lnTo>
                  <a:lnTo>
                    <a:pt x="1841" y="2124"/>
                  </a:lnTo>
                  <a:lnTo>
                    <a:pt x="1841" y="2126"/>
                  </a:lnTo>
                  <a:lnTo>
                    <a:pt x="1841" y="2124"/>
                  </a:lnTo>
                  <a:lnTo>
                    <a:pt x="1844" y="2124"/>
                  </a:lnTo>
                  <a:lnTo>
                    <a:pt x="1844" y="2124"/>
                  </a:lnTo>
                  <a:lnTo>
                    <a:pt x="1841" y="2124"/>
                  </a:lnTo>
                  <a:lnTo>
                    <a:pt x="1841" y="2124"/>
                  </a:lnTo>
                  <a:lnTo>
                    <a:pt x="1841" y="2124"/>
                  </a:lnTo>
                  <a:lnTo>
                    <a:pt x="1841" y="2124"/>
                  </a:lnTo>
                  <a:close/>
                  <a:moveTo>
                    <a:pt x="1377" y="1696"/>
                  </a:moveTo>
                  <a:lnTo>
                    <a:pt x="1377" y="1696"/>
                  </a:lnTo>
                  <a:lnTo>
                    <a:pt x="1375" y="1693"/>
                  </a:lnTo>
                  <a:lnTo>
                    <a:pt x="1375" y="1696"/>
                  </a:lnTo>
                  <a:lnTo>
                    <a:pt x="1375" y="1696"/>
                  </a:lnTo>
                  <a:lnTo>
                    <a:pt x="1373" y="1696"/>
                  </a:lnTo>
                  <a:lnTo>
                    <a:pt x="1373" y="1696"/>
                  </a:lnTo>
                  <a:lnTo>
                    <a:pt x="1373" y="1696"/>
                  </a:lnTo>
                  <a:lnTo>
                    <a:pt x="1373" y="1698"/>
                  </a:lnTo>
                  <a:lnTo>
                    <a:pt x="1373" y="1698"/>
                  </a:lnTo>
                  <a:lnTo>
                    <a:pt x="1373" y="1698"/>
                  </a:lnTo>
                  <a:lnTo>
                    <a:pt x="1375" y="1698"/>
                  </a:lnTo>
                  <a:lnTo>
                    <a:pt x="1375" y="1700"/>
                  </a:lnTo>
                  <a:lnTo>
                    <a:pt x="1375" y="1700"/>
                  </a:lnTo>
                  <a:lnTo>
                    <a:pt x="1377" y="1700"/>
                  </a:lnTo>
                  <a:lnTo>
                    <a:pt x="1377" y="1700"/>
                  </a:lnTo>
                  <a:lnTo>
                    <a:pt x="1377" y="1698"/>
                  </a:lnTo>
                  <a:lnTo>
                    <a:pt x="1380" y="1698"/>
                  </a:lnTo>
                  <a:lnTo>
                    <a:pt x="1377" y="1698"/>
                  </a:lnTo>
                  <a:lnTo>
                    <a:pt x="1377" y="1696"/>
                  </a:lnTo>
                  <a:lnTo>
                    <a:pt x="1377" y="1696"/>
                  </a:lnTo>
                  <a:lnTo>
                    <a:pt x="1377" y="1696"/>
                  </a:lnTo>
                  <a:close/>
                  <a:moveTo>
                    <a:pt x="2525" y="2368"/>
                  </a:moveTo>
                  <a:lnTo>
                    <a:pt x="2525" y="2368"/>
                  </a:lnTo>
                  <a:lnTo>
                    <a:pt x="2525" y="2368"/>
                  </a:lnTo>
                  <a:lnTo>
                    <a:pt x="2525" y="2368"/>
                  </a:lnTo>
                  <a:lnTo>
                    <a:pt x="2525" y="2368"/>
                  </a:lnTo>
                  <a:lnTo>
                    <a:pt x="2525" y="2368"/>
                  </a:lnTo>
                  <a:lnTo>
                    <a:pt x="2523" y="2370"/>
                  </a:lnTo>
                  <a:lnTo>
                    <a:pt x="2523" y="2370"/>
                  </a:lnTo>
                  <a:lnTo>
                    <a:pt x="2523" y="2370"/>
                  </a:lnTo>
                  <a:lnTo>
                    <a:pt x="2523" y="2370"/>
                  </a:lnTo>
                  <a:lnTo>
                    <a:pt x="2525" y="2370"/>
                  </a:lnTo>
                  <a:lnTo>
                    <a:pt x="2525" y="2370"/>
                  </a:lnTo>
                  <a:lnTo>
                    <a:pt x="2525" y="2370"/>
                  </a:lnTo>
                  <a:lnTo>
                    <a:pt x="2525" y="2370"/>
                  </a:lnTo>
                  <a:lnTo>
                    <a:pt x="2525" y="2368"/>
                  </a:lnTo>
                  <a:lnTo>
                    <a:pt x="2527" y="2368"/>
                  </a:lnTo>
                  <a:lnTo>
                    <a:pt x="2525" y="2368"/>
                  </a:lnTo>
                  <a:lnTo>
                    <a:pt x="2527" y="2368"/>
                  </a:lnTo>
                  <a:lnTo>
                    <a:pt x="2525" y="2368"/>
                  </a:lnTo>
                  <a:close/>
                  <a:moveTo>
                    <a:pt x="1382" y="1693"/>
                  </a:moveTo>
                  <a:lnTo>
                    <a:pt x="1382" y="1693"/>
                  </a:lnTo>
                  <a:lnTo>
                    <a:pt x="1382" y="1693"/>
                  </a:lnTo>
                  <a:lnTo>
                    <a:pt x="1382" y="1696"/>
                  </a:lnTo>
                  <a:lnTo>
                    <a:pt x="1382" y="1693"/>
                  </a:lnTo>
                  <a:lnTo>
                    <a:pt x="1384" y="1693"/>
                  </a:lnTo>
                  <a:lnTo>
                    <a:pt x="1384" y="1693"/>
                  </a:lnTo>
                  <a:lnTo>
                    <a:pt x="1384" y="1693"/>
                  </a:lnTo>
                  <a:lnTo>
                    <a:pt x="1382" y="1693"/>
                  </a:lnTo>
                  <a:close/>
                  <a:moveTo>
                    <a:pt x="1832" y="2103"/>
                  </a:moveTo>
                  <a:lnTo>
                    <a:pt x="1832" y="2103"/>
                  </a:lnTo>
                  <a:lnTo>
                    <a:pt x="1832" y="2103"/>
                  </a:lnTo>
                  <a:lnTo>
                    <a:pt x="1832" y="2105"/>
                  </a:lnTo>
                  <a:lnTo>
                    <a:pt x="1834" y="2105"/>
                  </a:lnTo>
                  <a:lnTo>
                    <a:pt x="1834" y="2105"/>
                  </a:lnTo>
                  <a:lnTo>
                    <a:pt x="1834" y="2105"/>
                  </a:lnTo>
                  <a:lnTo>
                    <a:pt x="1834" y="2105"/>
                  </a:lnTo>
                  <a:lnTo>
                    <a:pt x="1834" y="2105"/>
                  </a:lnTo>
                  <a:lnTo>
                    <a:pt x="1834" y="2103"/>
                  </a:lnTo>
                  <a:lnTo>
                    <a:pt x="1832" y="2103"/>
                  </a:lnTo>
                  <a:close/>
                  <a:moveTo>
                    <a:pt x="1836" y="2133"/>
                  </a:moveTo>
                  <a:lnTo>
                    <a:pt x="1834" y="2136"/>
                  </a:lnTo>
                  <a:lnTo>
                    <a:pt x="1832" y="2136"/>
                  </a:lnTo>
                  <a:lnTo>
                    <a:pt x="1832" y="2138"/>
                  </a:lnTo>
                  <a:lnTo>
                    <a:pt x="1832" y="2138"/>
                  </a:lnTo>
                  <a:lnTo>
                    <a:pt x="1834" y="2138"/>
                  </a:lnTo>
                  <a:lnTo>
                    <a:pt x="1834" y="2140"/>
                  </a:lnTo>
                  <a:lnTo>
                    <a:pt x="1836" y="2140"/>
                  </a:lnTo>
                  <a:lnTo>
                    <a:pt x="1836" y="2140"/>
                  </a:lnTo>
                  <a:lnTo>
                    <a:pt x="1839" y="2138"/>
                  </a:lnTo>
                  <a:lnTo>
                    <a:pt x="1839" y="2138"/>
                  </a:lnTo>
                  <a:lnTo>
                    <a:pt x="1836" y="2136"/>
                  </a:lnTo>
                  <a:lnTo>
                    <a:pt x="1836" y="2136"/>
                  </a:lnTo>
                  <a:lnTo>
                    <a:pt x="1836" y="2136"/>
                  </a:lnTo>
                  <a:lnTo>
                    <a:pt x="1836" y="2133"/>
                  </a:lnTo>
                  <a:lnTo>
                    <a:pt x="1836" y="2133"/>
                  </a:lnTo>
                  <a:lnTo>
                    <a:pt x="1836" y="2133"/>
                  </a:lnTo>
                  <a:lnTo>
                    <a:pt x="1836" y="2133"/>
                  </a:lnTo>
                  <a:close/>
                  <a:moveTo>
                    <a:pt x="1387" y="1686"/>
                  </a:moveTo>
                  <a:lnTo>
                    <a:pt x="1387" y="1686"/>
                  </a:lnTo>
                  <a:lnTo>
                    <a:pt x="1387" y="1689"/>
                  </a:lnTo>
                  <a:lnTo>
                    <a:pt x="1387" y="1686"/>
                  </a:lnTo>
                  <a:lnTo>
                    <a:pt x="1387" y="1686"/>
                  </a:lnTo>
                  <a:lnTo>
                    <a:pt x="1387" y="1686"/>
                  </a:lnTo>
                  <a:lnTo>
                    <a:pt x="1387" y="1686"/>
                  </a:lnTo>
                  <a:close/>
                  <a:moveTo>
                    <a:pt x="1619" y="444"/>
                  </a:moveTo>
                  <a:lnTo>
                    <a:pt x="1619" y="444"/>
                  </a:lnTo>
                  <a:lnTo>
                    <a:pt x="1619" y="447"/>
                  </a:lnTo>
                  <a:lnTo>
                    <a:pt x="1619" y="447"/>
                  </a:lnTo>
                  <a:lnTo>
                    <a:pt x="1621" y="447"/>
                  </a:lnTo>
                  <a:lnTo>
                    <a:pt x="1628" y="449"/>
                  </a:lnTo>
                  <a:lnTo>
                    <a:pt x="1628" y="449"/>
                  </a:lnTo>
                  <a:lnTo>
                    <a:pt x="1628" y="447"/>
                  </a:lnTo>
                  <a:lnTo>
                    <a:pt x="1628" y="444"/>
                  </a:lnTo>
                  <a:lnTo>
                    <a:pt x="1626" y="442"/>
                  </a:lnTo>
                  <a:lnTo>
                    <a:pt x="1621" y="442"/>
                  </a:lnTo>
                  <a:lnTo>
                    <a:pt x="1621" y="442"/>
                  </a:lnTo>
                  <a:lnTo>
                    <a:pt x="1621" y="442"/>
                  </a:lnTo>
                  <a:lnTo>
                    <a:pt x="1619" y="442"/>
                  </a:lnTo>
                  <a:lnTo>
                    <a:pt x="1619" y="442"/>
                  </a:lnTo>
                  <a:lnTo>
                    <a:pt x="1621" y="444"/>
                  </a:lnTo>
                  <a:lnTo>
                    <a:pt x="1621" y="444"/>
                  </a:lnTo>
                  <a:lnTo>
                    <a:pt x="1621" y="444"/>
                  </a:lnTo>
                  <a:lnTo>
                    <a:pt x="1619" y="444"/>
                  </a:lnTo>
                  <a:close/>
                  <a:moveTo>
                    <a:pt x="2563" y="2046"/>
                  </a:moveTo>
                  <a:lnTo>
                    <a:pt x="2565" y="2046"/>
                  </a:lnTo>
                  <a:lnTo>
                    <a:pt x="2563" y="2046"/>
                  </a:lnTo>
                  <a:lnTo>
                    <a:pt x="2561" y="2046"/>
                  </a:lnTo>
                  <a:lnTo>
                    <a:pt x="2561" y="2048"/>
                  </a:lnTo>
                  <a:lnTo>
                    <a:pt x="2561" y="2048"/>
                  </a:lnTo>
                  <a:lnTo>
                    <a:pt x="2563" y="2048"/>
                  </a:lnTo>
                  <a:lnTo>
                    <a:pt x="2563" y="2046"/>
                  </a:lnTo>
                  <a:close/>
                  <a:moveTo>
                    <a:pt x="2561" y="2053"/>
                  </a:moveTo>
                  <a:lnTo>
                    <a:pt x="2561" y="2051"/>
                  </a:lnTo>
                  <a:lnTo>
                    <a:pt x="2561" y="2051"/>
                  </a:lnTo>
                  <a:lnTo>
                    <a:pt x="2558" y="2053"/>
                  </a:lnTo>
                  <a:lnTo>
                    <a:pt x="2558" y="2055"/>
                  </a:lnTo>
                  <a:lnTo>
                    <a:pt x="2558" y="2058"/>
                  </a:lnTo>
                  <a:lnTo>
                    <a:pt x="2558" y="2058"/>
                  </a:lnTo>
                  <a:lnTo>
                    <a:pt x="2558" y="2055"/>
                  </a:lnTo>
                  <a:lnTo>
                    <a:pt x="2561" y="2053"/>
                  </a:lnTo>
                  <a:lnTo>
                    <a:pt x="2561" y="2053"/>
                  </a:lnTo>
                  <a:close/>
                  <a:moveTo>
                    <a:pt x="2561" y="2048"/>
                  </a:moveTo>
                  <a:lnTo>
                    <a:pt x="2561" y="2046"/>
                  </a:lnTo>
                  <a:lnTo>
                    <a:pt x="2561" y="2046"/>
                  </a:lnTo>
                  <a:lnTo>
                    <a:pt x="2561" y="2046"/>
                  </a:lnTo>
                  <a:lnTo>
                    <a:pt x="2561" y="2046"/>
                  </a:lnTo>
                  <a:lnTo>
                    <a:pt x="2561" y="2046"/>
                  </a:lnTo>
                  <a:lnTo>
                    <a:pt x="2561" y="2046"/>
                  </a:lnTo>
                  <a:lnTo>
                    <a:pt x="2561" y="2046"/>
                  </a:lnTo>
                  <a:lnTo>
                    <a:pt x="2558" y="2046"/>
                  </a:lnTo>
                  <a:lnTo>
                    <a:pt x="2558" y="2046"/>
                  </a:lnTo>
                  <a:lnTo>
                    <a:pt x="2558" y="2046"/>
                  </a:lnTo>
                  <a:lnTo>
                    <a:pt x="2556" y="2048"/>
                  </a:lnTo>
                  <a:lnTo>
                    <a:pt x="2556" y="2048"/>
                  </a:lnTo>
                  <a:lnTo>
                    <a:pt x="2556" y="2048"/>
                  </a:lnTo>
                  <a:lnTo>
                    <a:pt x="2558" y="2048"/>
                  </a:lnTo>
                  <a:lnTo>
                    <a:pt x="2561" y="2048"/>
                  </a:lnTo>
                  <a:close/>
                  <a:moveTo>
                    <a:pt x="2544" y="2093"/>
                  </a:moveTo>
                  <a:lnTo>
                    <a:pt x="2544" y="2093"/>
                  </a:lnTo>
                  <a:lnTo>
                    <a:pt x="2544" y="2093"/>
                  </a:lnTo>
                  <a:lnTo>
                    <a:pt x="2546" y="2093"/>
                  </a:lnTo>
                  <a:lnTo>
                    <a:pt x="2546" y="2093"/>
                  </a:lnTo>
                  <a:lnTo>
                    <a:pt x="2546" y="2093"/>
                  </a:lnTo>
                  <a:lnTo>
                    <a:pt x="2546" y="2093"/>
                  </a:lnTo>
                  <a:lnTo>
                    <a:pt x="2546" y="2091"/>
                  </a:lnTo>
                  <a:lnTo>
                    <a:pt x="2546" y="2091"/>
                  </a:lnTo>
                  <a:lnTo>
                    <a:pt x="2544" y="2091"/>
                  </a:lnTo>
                  <a:lnTo>
                    <a:pt x="2544" y="2091"/>
                  </a:lnTo>
                  <a:lnTo>
                    <a:pt x="2544" y="2088"/>
                  </a:lnTo>
                  <a:lnTo>
                    <a:pt x="2542" y="2088"/>
                  </a:lnTo>
                  <a:lnTo>
                    <a:pt x="2542" y="2088"/>
                  </a:lnTo>
                  <a:lnTo>
                    <a:pt x="2542" y="2088"/>
                  </a:lnTo>
                  <a:lnTo>
                    <a:pt x="2542" y="2091"/>
                  </a:lnTo>
                  <a:lnTo>
                    <a:pt x="2542" y="2091"/>
                  </a:lnTo>
                  <a:lnTo>
                    <a:pt x="2544" y="2091"/>
                  </a:lnTo>
                  <a:lnTo>
                    <a:pt x="2544" y="2091"/>
                  </a:lnTo>
                  <a:lnTo>
                    <a:pt x="2544" y="2091"/>
                  </a:lnTo>
                  <a:lnTo>
                    <a:pt x="2544" y="2091"/>
                  </a:lnTo>
                  <a:lnTo>
                    <a:pt x="2544" y="2091"/>
                  </a:lnTo>
                  <a:lnTo>
                    <a:pt x="2544" y="2091"/>
                  </a:lnTo>
                  <a:lnTo>
                    <a:pt x="2544" y="2091"/>
                  </a:lnTo>
                  <a:lnTo>
                    <a:pt x="2544" y="2093"/>
                  </a:lnTo>
                  <a:lnTo>
                    <a:pt x="2544" y="2093"/>
                  </a:lnTo>
                  <a:close/>
                  <a:moveTo>
                    <a:pt x="1879" y="1954"/>
                  </a:moveTo>
                  <a:lnTo>
                    <a:pt x="1879" y="1954"/>
                  </a:lnTo>
                  <a:lnTo>
                    <a:pt x="1879" y="1954"/>
                  </a:lnTo>
                  <a:lnTo>
                    <a:pt x="1879" y="1954"/>
                  </a:lnTo>
                  <a:lnTo>
                    <a:pt x="1881" y="1954"/>
                  </a:lnTo>
                  <a:lnTo>
                    <a:pt x="1881" y="1954"/>
                  </a:lnTo>
                  <a:lnTo>
                    <a:pt x="1881" y="1951"/>
                  </a:lnTo>
                  <a:lnTo>
                    <a:pt x="1881" y="1951"/>
                  </a:lnTo>
                  <a:lnTo>
                    <a:pt x="1881" y="1951"/>
                  </a:lnTo>
                  <a:lnTo>
                    <a:pt x="1881" y="1951"/>
                  </a:lnTo>
                  <a:lnTo>
                    <a:pt x="1881" y="1951"/>
                  </a:lnTo>
                  <a:lnTo>
                    <a:pt x="1881" y="1951"/>
                  </a:lnTo>
                  <a:lnTo>
                    <a:pt x="1881" y="1951"/>
                  </a:lnTo>
                  <a:lnTo>
                    <a:pt x="1881" y="1951"/>
                  </a:lnTo>
                  <a:lnTo>
                    <a:pt x="1881" y="1951"/>
                  </a:lnTo>
                  <a:lnTo>
                    <a:pt x="1881" y="1951"/>
                  </a:lnTo>
                  <a:lnTo>
                    <a:pt x="1881" y="1951"/>
                  </a:lnTo>
                  <a:lnTo>
                    <a:pt x="1881" y="1951"/>
                  </a:lnTo>
                  <a:lnTo>
                    <a:pt x="1879" y="1954"/>
                  </a:lnTo>
                  <a:close/>
                  <a:moveTo>
                    <a:pt x="2553" y="2072"/>
                  </a:moveTo>
                  <a:lnTo>
                    <a:pt x="2553" y="2074"/>
                  </a:lnTo>
                  <a:lnTo>
                    <a:pt x="2556" y="2077"/>
                  </a:lnTo>
                  <a:lnTo>
                    <a:pt x="2556" y="2077"/>
                  </a:lnTo>
                  <a:lnTo>
                    <a:pt x="2556" y="2074"/>
                  </a:lnTo>
                  <a:lnTo>
                    <a:pt x="2556" y="2074"/>
                  </a:lnTo>
                  <a:lnTo>
                    <a:pt x="2553" y="2072"/>
                  </a:lnTo>
                  <a:close/>
                  <a:moveTo>
                    <a:pt x="1907" y="1965"/>
                  </a:moveTo>
                  <a:lnTo>
                    <a:pt x="1907" y="1963"/>
                  </a:lnTo>
                  <a:lnTo>
                    <a:pt x="1907" y="1963"/>
                  </a:lnTo>
                  <a:lnTo>
                    <a:pt x="1907" y="1963"/>
                  </a:lnTo>
                  <a:lnTo>
                    <a:pt x="1907" y="1961"/>
                  </a:lnTo>
                  <a:lnTo>
                    <a:pt x="1907" y="1961"/>
                  </a:lnTo>
                  <a:lnTo>
                    <a:pt x="1907" y="1961"/>
                  </a:lnTo>
                  <a:lnTo>
                    <a:pt x="1907" y="1961"/>
                  </a:lnTo>
                  <a:lnTo>
                    <a:pt x="1907" y="1961"/>
                  </a:lnTo>
                  <a:lnTo>
                    <a:pt x="1907" y="1961"/>
                  </a:lnTo>
                  <a:lnTo>
                    <a:pt x="1905" y="1961"/>
                  </a:lnTo>
                  <a:lnTo>
                    <a:pt x="1907" y="1961"/>
                  </a:lnTo>
                  <a:lnTo>
                    <a:pt x="1907" y="1963"/>
                  </a:lnTo>
                  <a:lnTo>
                    <a:pt x="1907" y="1963"/>
                  </a:lnTo>
                  <a:lnTo>
                    <a:pt x="1907" y="1963"/>
                  </a:lnTo>
                  <a:lnTo>
                    <a:pt x="1907" y="1965"/>
                  </a:lnTo>
                  <a:close/>
                  <a:moveTo>
                    <a:pt x="1893" y="1894"/>
                  </a:moveTo>
                  <a:lnTo>
                    <a:pt x="1893" y="1894"/>
                  </a:lnTo>
                  <a:lnTo>
                    <a:pt x="1893" y="1894"/>
                  </a:lnTo>
                  <a:lnTo>
                    <a:pt x="1893" y="1894"/>
                  </a:lnTo>
                  <a:lnTo>
                    <a:pt x="1893" y="1892"/>
                  </a:lnTo>
                  <a:lnTo>
                    <a:pt x="1891" y="1892"/>
                  </a:lnTo>
                  <a:lnTo>
                    <a:pt x="1891" y="1892"/>
                  </a:lnTo>
                  <a:lnTo>
                    <a:pt x="1891" y="1892"/>
                  </a:lnTo>
                  <a:lnTo>
                    <a:pt x="1891" y="1892"/>
                  </a:lnTo>
                  <a:lnTo>
                    <a:pt x="1889" y="1892"/>
                  </a:lnTo>
                  <a:lnTo>
                    <a:pt x="1889" y="1892"/>
                  </a:lnTo>
                  <a:lnTo>
                    <a:pt x="1889" y="1892"/>
                  </a:lnTo>
                  <a:lnTo>
                    <a:pt x="1889" y="1892"/>
                  </a:lnTo>
                  <a:lnTo>
                    <a:pt x="1891" y="1892"/>
                  </a:lnTo>
                  <a:lnTo>
                    <a:pt x="1891" y="1892"/>
                  </a:lnTo>
                  <a:lnTo>
                    <a:pt x="1891" y="1894"/>
                  </a:lnTo>
                  <a:lnTo>
                    <a:pt x="1891" y="1894"/>
                  </a:lnTo>
                  <a:lnTo>
                    <a:pt x="1891" y="1894"/>
                  </a:lnTo>
                  <a:lnTo>
                    <a:pt x="1891" y="1897"/>
                  </a:lnTo>
                  <a:lnTo>
                    <a:pt x="1893" y="1897"/>
                  </a:lnTo>
                  <a:lnTo>
                    <a:pt x="1893" y="1897"/>
                  </a:lnTo>
                  <a:lnTo>
                    <a:pt x="1893" y="1897"/>
                  </a:lnTo>
                  <a:lnTo>
                    <a:pt x="1893" y="1899"/>
                  </a:lnTo>
                  <a:lnTo>
                    <a:pt x="1893" y="1899"/>
                  </a:lnTo>
                  <a:lnTo>
                    <a:pt x="1893" y="1899"/>
                  </a:lnTo>
                  <a:lnTo>
                    <a:pt x="1893" y="1897"/>
                  </a:lnTo>
                  <a:lnTo>
                    <a:pt x="1893" y="1897"/>
                  </a:lnTo>
                  <a:lnTo>
                    <a:pt x="1893" y="1897"/>
                  </a:lnTo>
                  <a:lnTo>
                    <a:pt x="1893" y="1897"/>
                  </a:lnTo>
                  <a:lnTo>
                    <a:pt x="1893" y="1897"/>
                  </a:lnTo>
                  <a:lnTo>
                    <a:pt x="1893" y="1894"/>
                  </a:lnTo>
                  <a:lnTo>
                    <a:pt x="1893" y="1894"/>
                  </a:lnTo>
                  <a:close/>
                  <a:moveTo>
                    <a:pt x="1889" y="2008"/>
                  </a:moveTo>
                  <a:lnTo>
                    <a:pt x="1889" y="2006"/>
                  </a:lnTo>
                  <a:lnTo>
                    <a:pt x="1891" y="2006"/>
                  </a:lnTo>
                  <a:lnTo>
                    <a:pt x="1896" y="1999"/>
                  </a:lnTo>
                  <a:lnTo>
                    <a:pt x="1896" y="1999"/>
                  </a:lnTo>
                  <a:lnTo>
                    <a:pt x="1896" y="1996"/>
                  </a:lnTo>
                  <a:lnTo>
                    <a:pt x="1898" y="1994"/>
                  </a:lnTo>
                  <a:lnTo>
                    <a:pt x="1898" y="1994"/>
                  </a:lnTo>
                  <a:lnTo>
                    <a:pt x="1898" y="1994"/>
                  </a:lnTo>
                  <a:lnTo>
                    <a:pt x="1898" y="1991"/>
                  </a:lnTo>
                  <a:lnTo>
                    <a:pt x="1898" y="1994"/>
                  </a:lnTo>
                  <a:lnTo>
                    <a:pt x="1896" y="1994"/>
                  </a:lnTo>
                  <a:lnTo>
                    <a:pt x="1896" y="1996"/>
                  </a:lnTo>
                  <a:lnTo>
                    <a:pt x="1896" y="1996"/>
                  </a:lnTo>
                  <a:lnTo>
                    <a:pt x="1896" y="1996"/>
                  </a:lnTo>
                  <a:lnTo>
                    <a:pt x="1893" y="1999"/>
                  </a:lnTo>
                  <a:lnTo>
                    <a:pt x="1893" y="1999"/>
                  </a:lnTo>
                  <a:lnTo>
                    <a:pt x="1893" y="2001"/>
                  </a:lnTo>
                  <a:lnTo>
                    <a:pt x="1889" y="2006"/>
                  </a:lnTo>
                  <a:lnTo>
                    <a:pt x="1889" y="2008"/>
                  </a:lnTo>
                  <a:close/>
                  <a:moveTo>
                    <a:pt x="1898" y="1906"/>
                  </a:moveTo>
                  <a:lnTo>
                    <a:pt x="1898" y="1906"/>
                  </a:lnTo>
                  <a:lnTo>
                    <a:pt x="1898" y="1906"/>
                  </a:lnTo>
                  <a:lnTo>
                    <a:pt x="1898" y="1906"/>
                  </a:lnTo>
                  <a:lnTo>
                    <a:pt x="1898" y="1906"/>
                  </a:lnTo>
                  <a:lnTo>
                    <a:pt x="1898" y="1904"/>
                  </a:lnTo>
                  <a:lnTo>
                    <a:pt x="1896" y="1904"/>
                  </a:lnTo>
                  <a:lnTo>
                    <a:pt x="1896" y="1904"/>
                  </a:lnTo>
                  <a:lnTo>
                    <a:pt x="1896" y="1904"/>
                  </a:lnTo>
                  <a:lnTo>
                    <a:pt x="1896" y="1904"/>
                  </a:lnTo>
                  <a:lnTo>
                    <a:pt x="1896" y="1904"/>
                  </a:lnTo>
                  <a:lnTo>
                    <a:pt x="1896" y="1906"/>
                  </a:lnTo>
                  <a:lnTo>
                    <a:pt x="1896" y="1906"/>
                  </a:lnTo>
                  <a:lnTo>
                    <a:pt x="1896" y="1906"/>
                  </a:lnTo>
                  <a:lnTo>
                    <a:pt x="1896" y="1906"/>
                  </a:lnTo>
                  <a:lnTo>
                    <a:pt x="1898" y="1909"/>
                  </a:lnTo>
                  <a:lnTo>
                    <a:pt x="1898" y="1909"/>
                  </a:lnTo>
                  <a:lnTo>
                    <a:pt x="1898" y="1909"/>
                  </a:lnTo>
                  <a:lnTo>
                    <a:pt x="1898" y="1911"/>
                  </a:lnTo>
                  <a:lnTo>
                    <a:pt x="1898" y="1911"/>
                  </a:lnTo>
                  <a:lnTo>
                    <a:pt x="1898" y="1911"/>
                  </a:lnTo>
                  <a:lnTo>
                    <a:pt x="1898" y="1911"/>
                  </a:lnTo>
                  <a:lnTo>
                    <a:pt x="1898" y="1909"/>
                  </a:lnTo>
                  <a:lnTo>
                    <a:pt x="1898" y="1909"/>
                  </a:lnTo>
                  <a:lnTo>
                    <a:pt x="1898" y="1909"/>
                  </a:lnTo>
                  <a:lnTo>
                    <a:pt x="1898" y="1909"/>
                  </a:lnTo>
                  <a:lnTo>
                    <a:pt x="1898" y="1909"/>
                  </a:lnTo>
                  <a:lnTo>
                    <a:pt x="1898" y="1909"/>
                  </a:lnTo>
                  <a:lnTo>
                    <a:pt x="1898" y="1909"/>
                  </a:lnTo>
                  <a:lnTo>
                    <a:pt x="1898" y="1906"/>
                  </a:lnTo>
                  <a:lnTo>
                    <a:pt x="1898" y="1906"/>
                  </a:lnTo>
                  <a:close/>
                  <a:moveTo>
                    <a:pt x="1905" y="1932"/>
                  </a:moveTo>
                  <a:lnTo>
                    <a:pt x="1905" y="1930"/>
                  </a:lnTo>
                  <a:lnTo>
                    <a:pt x="1905" y="1930"/>
                  </a:lnTo>
                  <a:lnTo>
                    <a:pt x="1905" y="1930"/>
                  </a:lnTo>
                  <a:lnTo>
                    <a:pt x="1905" y="1932"/>
                  </a:lnTo>
                  <a:lnTo>
                    <a:pt x="1905" y="1935"/>
                  </a:lnTo>
                  <a:lnTo>
                    <a:pt x="1905" y="1935"/>
                  </a:lnTo>
                  <a:lnTo>
                    <a:pt x="1905" y="1937"/>
                  </a:lnTo>
                  <a:lnTo>
                    <a:pt x="1905" y="1937"/>
                  </a:lnTo>
                  <a:lnTo>
                    <a:pt x="1905" y="1937"/>
                  </a:lnTo>
                  <a:lnTo>
                    <a:pt x="1905" y="1939"/>
                  </a:lnTo>
                  <a:lnTo>
                    <a:pt x="1905" y="1939"/>
                  </a:lnTo>
                  <a:lnTo>
                    <a:pt x="1905" y="1937"/>
                  </a:lnTo>
                  <a:lnTo>
                    <a:pt x="1905" y="1937"/>
                  </a:lnTo>
                  <a:lnTo>
                    <a:pt x="1905" y="1935"/>
                  </a:lnTo>
                  <a:lnTo>
                    <a:pt x="1905" y="1935"/>
                  </a:lnTo>
                  <a:lnTo>
                    <a:pt x="1905" y="1932"/>
                  </a:lnTo>
                  <a:lnTo>
                    <a:pt x="1905" y="1932"/>
                  </a:lnTo>
                  <a:lnTo>
                    <a:pt x="1905" y="1932"/>
                  </a:lnTo>
                  <a:lnTo>
                    <a:pt x="1905" y="1932"/>
                  </a:lnTo>
                  <a:lnTo>
                    <a:pt x="1905" y="1932"/>
                  </a:lnTo>
                  <a:lnTo>
                    <a:pt x="1905" y="1932"/>
                  </a:lnTo>
                  <a:lnTo>
                    <a:pt x="1905" y="1932"/>
                  </a:lnTo>
                  <a:lnTo>
                    <a:pt x="1905" y="1932"/>
                  </a:lnTo>
                  <a:close/>
                  <a:moveTo>
                    <a:pt x="2608" y="2053"/>
                  </a:moveTo>
                  <a:lnTo>
                    <a:pt x="2608" y="2053"/>
                  </a:lnTo>
                  <a:lnTo>
                    <a:pt x="2608" y="2053"/>
                  </a:lnTo>
                  <a:lnTo>
                    <a:pt x="2608" y="2053"/>
                  </a:lnTo>
                  <a:lnTo>
                    <a:pt x="2608" y="2051"/>
                  </a:lnTo>
                  <a:lnTo>
                    <a:pt x="2606" y="2051"/>
                  </a:lnTo>
                  <a:lnTo>
                    <a:pt x="2606" y="2053"/>
                  </a:lnTo>
                  <a:lnTo>
                    <a:pt x="2606" y="2053"/>
                  </a:lnTo>
                  <a:lnTo>
                    <a:pt x="2606" y="2053"/>
                  </a:lnTo>
                  <a:lnTo>
                    <a:pt x="2606" y="2053"/>
                  </a:lnTo>
                  <a:lnTo>
                    <a:pt x="2606" y="2053"/>
                  </a:lnTo>
                  <a:lnTo>
                    <a:pt x="2606" y="2053"/>
                  </a:lnTo>
                  <a:lnTo>
                    <a:pt x="2606" y="2053"/>
                  </a:lnTo>
                  <a:lnTo>
                    <a:pt x="2606" y="2053"/>
                  </a:lnTo>
                  <a:lnTo>
                    <a:pt x="2606" y="2053"/>
                  </a:lnTo>
                  <a:lnTo>
                    <a:pt x="2606" y="2053"/>
                  </a:lnTo>
                  <a:lnTo>
                    <a:pt x="2606" y="2053"/>
                  </a:lnTo>
                  <a:lnTo>
                    <a:pt x="2606" y="2055"/>
                  </a:lnTo>
                  <a:lnTo>
                    <a:pt x="2606" y="2055"/>
                  </a:lnTo>
                  <a:lnTo>
                    <a:pt x="2608" y="2055"/>
                  </a:lnTo>
                  <a:lnTo>
                    <a:pt x="2608" y="2053"/>
                  </a:lnTo>
                  <a:lnTo>
                    <a:pt x="2608" y="2053"/>
                  </a:lnTo>
                  <a:lnTo>
                    <a:pt x="2608" y="2053"/>
                  </a:lnTo>
                  <a:lnTo>
                    <a:pt x="2608" y="2053"/>
                  </a:lnTo>
                  <a:close/>
                  <a:moveTo>
                    <a:pt x="182" y="2048"/>
                  </a:moveTo>
                  <a:lnTo>
                    <a:pt x="182" y="2048"/>
                  </a:lnTo>
                  <a:lnTo>
                    <a:pt x="182" y="2051"/>
                  </a:lnTo>
                  <a:lnTo>
                    <a:pt x="185" y="2051"/>
                  </a:lnTo>
                  <a:lnTo>
                    <a:pt x="185" y="2048"/>
                  </a:lnTo>
                  <a:lnTo>
                    <a:pt x="185" y="2048"/>
                  </a:lnTo>
                  <a:lnTo>
                    <a:pt x="182" y="2048"/>
                  </a:lnTo>
                  <a:lnTo>
                    <a:pt x="182" y="2048"/>
                  </a:lnTo>
                  <a:close/>
                  <a:moveTo>
                    <a:pt x="312" y="1100"/>
                  </a:moveTo>
                  <a:lnTo>
                    <a:pt x="315" y="1100"/>
                  </a:lnTo>
                  <a:lnTo>
                    <a:pt x="315" y="1102"/>
                  </a:lnTo>
                  <a:lnTo>
                    <a:pt x="317" y="1102"/>
                  </a:lnTo>
                  <a:lnTo>
                    <a:pt x="317" y="1100"/>
                  </a:lnTo>
                  <a:lnTo>
                    <a:pt x="315" y="1097"/>
                  </a:lnTo>
                  <a:lnTo>
                    <a:pt x="315" y="1095"/>
                  </a:lnTo>
                  <a:lnTo>
                    <a:pt x="312" y="1093"/>
                  </a:lnTo>
                  <a:lnTo>
                    <a:pt x="312" y="1095"/>
                  </a:lnTo>
                  <a:lnTo>
                    <a:pt x="312" y="1095"/>
                  </a:lnTo>
                  <a:lnTo>
                    <a:pt x="312" y="1097"/>
                  </a:lnTo>
                  <a:lnTo>
                    <a:pt x="312" y="1097"/>
                  </a:lnTo>
                  <a:lnTo>
                    <a:pt x="312" y="1097"/>
                  </a:lnTo>
                  <a:lnTo>
                    <a:pt x="312" y="1097"/>
                  </a:lnTo>
                  <a:lnTo>
                    <a:pt x="312" y="1100"/>
                  </a:lnTo>
                  <a:lnTo>
                    <a:pt x="312" y="1100"/>
                  </a:lnTo>
                  <a:close/>
                  <a:moveTo>
                    <a:pt x="118" y="1989"/>
                  </a:moveTo>
                  <a:lnTo>
                    <a:pt x="121" y="1989"/>
                  </a:lnTo>
                  <a:lnTo>
                    <a:pt x="121" y="1989"/>
                  </a:lnTo>
                  <a:lnTo>
                    <a:pt x="121" y="1989"/>
                  </a:lnTo>
                  <a:lnTo>
                    <a:pt x="121" y="1987"/>
                  </a:lnTo>
                  <a:lnTo>
                    <a:pt x="121" y="1987"/>
                  </a:lnTo>
                  <a:lnTo>
                    <a:pt x="121" y="1987"/>
                  </a:lnTo>
                  <a:lnTo>
                    <a:pt x="121" y="1987"/>
                  </a:lnTo>
                  <a:lnTo>
                    <a:pt x="121" y="1987"/>
                  </a:lnTo>
                  <a:lnTo>
                    <a:pt x="121" y="1984"/>
                  </a:lnTo>
                  <a:lnTo>
                    <a:pt x="118" y="1984"/>
                  </a:lnTo>
                  <a:lnTo>
                    <a:pt x="118" y="1984"/>
                  </a:lnTo>
                  <a:lnTo>
                    <a:pt x="118" y="1984"/>
                  </a:lnTo>
                  <a:lnTo>
                    <a:pt x="118" y="1987"/>
                  </a:lnTo>
                  <a:lnTo>
                    <a:pt x="118" y="1987"/>
                  </a:lnTo>
                  <a:lnTo>
                    <a:pt x="118" y="1987"/>
                  </a:lnTo>
                  <a:lnTo>
                    <a:pt x="118" y="1987"/>
                  </a:lnTo>
                  <a:lnTo>
                    <a:pt x="118" y="1987"/>
                  </a:lnTo>
                  <a:lnTo>
                    <a:pt x="118" y="1987"/>
                  </a:lnTo>
                  <a:lnTo>
                    <a:pt x="118" y="1989"/>
                  </a:lnTo>
                  <a:lnTo>
                    <a:pt x="118" y="1989"/>
                  </a:lnTo>
                  <a:lnTo>
                    <a:pt x="118" y="1989"/>
                  </a:lnTo>
                  <a:close/>
                  <a:moveTo>
                    <a:pt x="192" y="1999"/>
                  </a:moveTo>
                  <a:lnTo>
                    <a:pt x="194" y="1999"/>
                  </a:lnTo>
                  <a:lnTo>
                    <a:pt x="194" y="1996"/>
                  </a:lnTo>
                  <a:lnTo>
                    <a:pt x="194" y="1994"/>
                  </a:lnTo>
                  <a:lnTo>
                    <a:pt x="192" y="1994"/>
                  </a:lnTo>
                  <a:lnTo>
                    <a:pt x="192" y="1994"/>
                  </a:lnTo>
                  <a:lnTo>
                    <a:pt x="189" y="1994"/>
                  </a:lnTo>
                  <a:lnTo>
                    <a:pt x="189" y="1996"/>
                  </a:lnTo>
                  <a:lnTo>
                    <a:pt x="192" y="1996"/>
                  </a:lnTo>
                  <a:lnTo>
                    <a:pt x="192" y="1996"/>
                  </a:lnTo>
                  <a:lnTo>
                    <a:pt x="192" y="1999"/>
                  </a:lnTo>
                  <a:close/>
                  <a:moveTo>
                    <a:pt x="189" y="1987"/>
                  </a:moveTo>
                  <a:lnTo>
                    <a:pt x="189" y="1987"/>
                  </a:lnTo>
                  <a:lnTo>
                    <a:pt x="189" y="1989"/>
                  </a:lnTo>
                  <a:lnTo>
                    <a:pt x="189" y="1989"/>
                  </a:lnTo>
                  <a:lnTo>
                    <a:pt x="187" y="1989"/>
                  </a:lnTo>
                  <a:lnTo>
                    <a:pt x="187" y="1991"/>
                  </a:lnTo>
                  <a:lnTo>
                    <a:pt x="187" y="1991"/>
                  </a:lnTo>
                  <a:lnTo>
                    <a:pt x="187" y="1994"/>
                  </a:lnTo>
                  <a:lnTo>
                    <a:pt x="187" y="1994"/>
                  </a:lnTo>
                  <a:lnTo>
                    <a:pt x="187" y="1994"/>
                  </a:lnTo>
                  <a:lnTo>
                    <a:pt x="192" y="1991"/>
                  </a:lnTo>
                  <a:lnTo>
                    <a:pt x="192" y="1991"/>
                  </a:lnTo>
                  <a:lnTo>
                    <a:pt x="194" y="1991"/>
                  </a:lnTo>
                  <a:lnTo>
                    <a:pt x="194" y="1989"/>
                  </a:lnTo>
                  <a:lnTo>
                    <a:pt x="194" y="1989"/>
                  </a:lnTo>
                  <a:lnTo>
                    <a:pt x="197" y="1987"/>
                  </a:lnTo>
                  <a:lnTo>
                    <a:pt x="197" y="1987"/>
                  </a:lnTo>
                  <a:lnTo>
                    <a:pt x="197" y="1987"/>
                  </a:lnTo>
                  <a:lnTo>
                    <a:pt x="197" y="1987"/>
                  </a:lnTo>
                  <a:lnTo>
                    <a:pt x="197" y="1987"/>
                  </a:lnTo>
                  <a:lnTo>
                    <a:pt x="197" y="1987"/>
                  </a:lnTo>
                  <a:lnTo>
                    <a:pt x="194" y="1987"/>
                  </a:lnTo>
                  <a:lnTo>
                    <a:pt x="194" y="1987"/>
                  </a:lnTo>
                  <a:lnTo>
                    <a:pt x="194" y="1987"/>
                  </a:lnTo>
                  <a:lnTo>
                    <a:pt x="194" y="1987"/>
                  </a:lnTo>
                  <a:lnTo>
                    <a:pt x="192" y="1984"/>
                  </a:lnTo>
                  <a:lnTo>
                    <a:pt x="192" y="1987"/>
                  </a:lnTo>
                  <a:lnTo>
                    <a:pt x="192" y="1984"/>
                  </a:lnTo>
                  <a:lnTo>
                    <a:pt x="192" y="1984"/>
                  </a:lnTo>
                  <a:lnTo>
                    <a:pt x="192" y="1984"/>
                  </a:lnTo>
                  <a:lnTo>
                    <a:pt x="189" y="1984"/>
                  </a:lnTo>
                  <a:lnTo>
                    <a:pt x="189" y="1987"/>
                  </a:lnTo>
                  <a:lnTo>
                    <a:pt x="189" y="1987"/>
                  </a:lnTo>
                  <a:lnTo>
                    <a:pt x="189" y="1987"/>
                  </a:lnTo>
                  <a:lnTo>
                    <a:pt x="189" y="1987"/>
                  </a:lnTo>
                  <a:lnTo>
                    <a:pt x="189" y="1987"/>
                  </a:lnTo>
                  <a:close/>
                  <a:moveTo>
                    <a:pt x="187" y="2029"/>
                  </a:moveTo>
                  <a:lnTo>
                    <a:pt x="187" y="2029"/>
                  </a:lnTo>
                  <a:lnTo>
                    <a:pt x="189" y="2029"/>
                  </a:lnTo>
                  <a:lnTo>
                    <a:pt x="189" y="2027"/>
                  </a:lnTo>
                  <a:lnTo>
                    <a:pt x="189" y="2027"/>
                  </a:lnTo>
                  <a:lnTo>
                    <a:pt x="187" y="2027"/>
                  </a:lnTo>
                  <a:lnTo>
                    <a:pt x="187" y="2027"/>
                  </a:lnTo>
                  <a:lnTo>
                    <a:pt x="187" y="2025"/>
                  </a:lnTo>
                  <a:lnTo>
                    <a:pt x="187" y="2025"/>
                  </a:lnTo>
                  <a:lnTo>
                    <a:pt x="187" y="2025"/>
                  </a:lnTo>
                  <a:lnTo>
                    <a:pt x="187" y="2025"/>
                  </a:lnTo>
                  <a:lnTo>
                    <a:pt x="189" y="2022"/>
                  </a:lnTo>
                  <a:lnTo>
                    <a:pt x="189" y="2022"/>
                  </a:lnTo>
                  <a:lnTo>
                    <a:pt x="189" y="2025"/>
                  </a:lnTo>
                  <a:lnTo>
                    <a:pt x="189" y="2025"/>
                  </a:lnTo>
                  <a:lnTo>
                    <a:pt x="189" y="2022"/>
                  </a:lnTo>
                  <a:lnTo>
                    <a:pt x="189" y="2022"/>
                  </a:lnTo>
                  <a:lnTo>
                    <a:pt x="189" y="2022"/>
                  </a:lnTo>
                  <a:lnTo>
                    <a:pt x="189" y="2025"/>
                  </a:lnTo>
                  <a:lnTo>
                    <a:pt x="192" y="2025"/>
                  </a:lnTo>
                  <a:lnTo>
                    <a:pt x="192" y="2027"/>
                  </a:lnTo>
                  <a:lnTo>
                    <a:pt x="192" y="2027"/>
                  </a:lnTo>
                  <a:lnTo>
                    <a:pt x="194" y="2027"/>
                  </a:lnTo>
                  <a:lnTo>
                    <a:pt x="194" y="2027"/>
                  </a:lnTo>
                  <a:lnTo>
                    <a:pt x="194" y="2027"/>
                  </a:lnTo>
                  <a:lnTo>
                    <a:pt x="194" y="2025"/>
                  </a:lnTo>
                  <a:lnTo>
                    <a:pt x="197" y="2025"/>
                  </a:lnTo>
                  <a:lnTo>
                    <a:pt x="197" y="2025"/>
                  </a:lnTo>
                  <a:lnTo>
                    <a:pt x="199" y="2025"/>
                  </a:lnTo>
                  <a:lnTo>
                    <a:pt x="199" y="2025"/>
                  </a:lnTo>
                  <a:lnTo>
                    <a:pt x="199" y="2025"/>
                  </a:lnTo>
                  <a:lnTo>
                    <a:pt x="199" y="2025"/>
                  </a:lnTo>
                  <a:lnTo>
                    <a:pt x="199" y="2025"/>
                  </a:lnTo>
                  <a:lnTo>
                    <a:pt x="199" y="2025"/>
                  </a:lnTo>
                  <a:lnTo>
                    <a:pt x="199" y="2025"/>
                  </a:lnTo>
                  <a:lnTo>
                    <a:pt x="199" y="2025"/>
                  </a:lnTo>
                  <a:lnTo>
                    <a:pt x="199" y="2025"/>
                  </a:lnTo>
                  <a:lnTo>
                    <a:pt x="199" y="2025"/>
                  </a:lnTo>
                  <a:lnTo>
                    <a:pt x="197" y="2025"/>
                  </a:lnTo>
                  <a:lnTo>
                    <a:pt x="197" y="2025"/>
                  </a:lnTo>
                  <a:lnTo>
                    <a:pt x="194" y="2027"/>
                  </a:lnTo>
                  <a:lnTo>
                    <a:pt x="194" y="2029"/>
                  </a:lnTo>
                  <a:lnTo>
                    <a:pt x="194" y="2029"/>
                  </a:lnTo>
                  <a:lnTo>
                    <a:pt x="194" y="2029"/>
                  </a:lnTo>
                  <a:lnTo>
                    <a:pt x="192" y="2029"/>
                  </a:lnTo>
                  <a:lnTo>
                    <a:pt x="192" y="2029"/>
                  </a:lnTo>
                  <a:lnTo>
                    <a:pt x="192" y="2029"/>
                  </a:lnTo>
                  <a:lnTo>
                    <a:pt x="192" y="2032"/>
                  </a:lnTo>
                  <a:lnTo>
                    <a:pt x="194" y="2032"/>
                  </a:lnTo>
                  <a:lnTo>
                    <a:pt x="194" y="2029"/>
                  </a:lnTo>
                  <a:lnTo>
                    <a:pt x="194" y="2029"/>
                  </a:lnTo>
                  <a:lnTo>
                    <a:pt x="194" y="2029"/>
                  </a:lnTo>
                  <a:lnTo>
                    <a:pt x="194" y="2032"/>
                  </a:lnTo>
                  <a:lnTo>
                    <a:pt x="194" y="2032"/>
                  </a:lnTo>
                  <a:lnTo>
                    <a:pt x="194" y="2032"/>
                  </a:lnTo>
                  <a:lnTo>
                    <a:pt x="197" y="2032"/>
                  </a:lnTo>
                  <a:lnTo>
                    <a:pt x="197" y="2032"/>
                  </a:lnTo>
                  <a:lnTo>
                    <a:pt x="197" y="2032"/>
                  </a:lnTo>
                  <a:lnTo>
                    <a:pt x="197" y="2032"/>
                  </a:lnTo>
                  <a:lnTo>
                    <a:pt x="197" y="2032"/>
                  </a:lnTo>
                  <a:lnTo>
                    <a:pt x="199" y="2029"/>
                  </a:lnTo>
                  <a:lnTo>
                    <a:pt x="199" y="2029"/>
                  </a:lnTo>
                  <a:lnTo>
                    <a:pt x="199" y="2029"/>
                  </a:lnTo>
                  <a:lnTo>
                    <a:pt x="201" y="2027"/>
                  </a:lnTo>
                  <a:lnTo>
                    <a:pt x="201" y="2027"/>
                  </a:lnTo>
                  <a:lnTo>
                    <a:pt x="204" y="2027"/>
                  </a:lnTo>
                  <a:lnTo>
                    <a:pt x="201" y="2025"/>
                  </a:lnTo>
                  <a:lnTo>
                    <a:pt x="201" y="2025"/>
                  </a:lnTo>
                  <a:lnTo>
                    <a:pt x="201" y="2022"/>
                  </a:lnTo>
                  <a:lnTo>
                    <a:pt x="201" y="2022"/>
                  </a:lnTo>
                  <a:lnTo>
                    <a:pt x="201" y="2020"/>
                  </a:lnTo>
                  <a:lnTo>
                    <a:pt x="199" y="2017"/>
                  </a:lnTo>
                  <a:lnTo>
                    <a:pt x="199" y="2017"/>
                  </a:lnTo>
                  <a:lnTo>
                    <a:pt x="197" y="2017"/>
                  </a:lnTo>
                  <a:lnTo>
                    <a:pt x="197" y="2020"/>
                  </a:lnTo>
                  <a:lnTo>
                    <a:pt x="194" y="2017"/>
                  </a:lnTo>
                  <a:lnTo>
                    <a:pt x="194" y="2020"/>
                  </a:lnTo>
                  <a:lnTo>
                    <a:pt x="192" y="2020"/>
                  </a:lnTo>
                  <a:lnTo>
                    <a:pt x="192" y="2020"/>
                  </a:lnTo>
                  <a:lnTo>
                    <a:pt x="192" y="2020"/>
                  </a:lnTo>
                  <a:lnTo>
                    <a:pt x="192" y="2020"/>
                  </a:lnTo>
                  <a:lnTo>
                    <a:pt x="189" y="2022"/>
                  </a:lnTo>
                  <a:lnTo>
                    <a:pt x="189" y="2022"/>
                  </a:lnTo>
                  <a:lnTo>
                    <a:pt x="189" y="2022"/>
                  </a:lnTo>
                  <a:lnTo>
                    <a:pt x="189" y="2022"/>
                  </a:lnTo>
                  <a:lnTo>
                    <a:pt x="189" y="2022"/>
                  </a:lnTo>
                  <a:lnTo>
                    <a:pt x="189" y="2022"/>
                  </a:lnTo>
                  <a:lnTo>
                    <a:pt x="189" y="2022"/>
                  </a:lnTo>
                  <a:lnTo>
                    <a:pt x="187" y="2022"/>
                  </a:lnTo>
                  <a:lnTo>
                    <a:pt x="187" y="2022"/>
                  </a:lnTo>
                  <a:lnTo>
                    <a:pt x="187" y="2022"/>
                  </a:lnTo>
                  <a:lnTo>
                    <a:pt x="187" y="2025"/>
                  </a:lnTo>
                  <a:lnTo>
                    <a:pt x="187" y="2025"/>
                  </a:lnTo>
                  <a:lnTo>
                    <a:pt x="187" y="2025"/>
                  </a:lnTo>
                  <a:lnTo>
                    <a:pt x="187" y="2025"/>
                  </a:lnTo>
                  <a:lnTo>
                    <a:pt x="187" y="2027"/>
                  </a:lnTo>
                  <a:lnTo>
                    <a:pt x="185" y="2027"/>
                  </a:lnTo>
                  <a:lnTo>
                    <a:pt x="185" y="2027"/>
                  </a:lnTo>
                  <a:lnTo>
                    <a:pt x="185" y="2029"/>
                  </a:lnTo>
                  <a:lnTo>
                    <a:pt x="187" y="2029"/>
                  </a:lnTo>
                  <a:lnTo>
                    <a:pt x="187" y="2029"/>
                  </a:lnTo>
                  <a:lnTo>
                    <a:pt x="187" y="2029"/>
                  </a:lnTo>
                  <a:lnTo>
                    <a:pt x="187" y="2029"/>
                  </a:lnTo>
                  <a:close/>
                  <a:moveTo>
                    <a:pt x="159" y="2006"/>
                  </a:moveTo>
                  <a:lnTo>
                    <a:pt x="159" y="2006"/>
                  </a:lnTo>
                  <a:lnTo>
                    <a:pt x="159" y="2006"/>
                  </a:lnTo>
                  <a:lnTo>
                    <a:pt x="156" y="2006"/>
                  </a:lnTo>
                  <a:lnTo>
                    <a:pt x="154" y="2006"/>
                  </a:lnTo>
                  <a:lnTo>
                    <a:pt x="152" y="2006"/>
                  </a:lnTo>
                  <a:lnTo>
                    <a:pt x="152" y="2008"/>
                  </a:lnTo>
                  <a:lnTo>
                    <a:pt x="147" y="2008"/>
                  </a:lnTo>
                  <a:lnTo>
                    <a:pt x="147" y="2008"/>
                  </a:lnTo>
                  <a:lnTo>
                    <a:pt x="144" y="2006"/>
                  </a:lnTo>
                  <a:lnTo>
                    <a:pt x="142" y="2006"/>
                  </a:lnTo>
                  <a:lnTo>
                    <a:pt x="142" y="2006"/>
                  </a:lnTo>
                  <a:lnTo>
                    <a:pt x="142" y="2006"/>
                  </a:lnTo>
                  <a:lnTo>
                    <a:pt x="142" y="2006"/>
                  </a:lnTo>
                  <a:lnTo>
                    <a:pt x="144" y="2006"/>
                  </a:lnTo>
                  <a:lnTo>
                    <a:pt x="144" y="2006"/>
                  </a:lnTo>
                  <a:lnTo>
                    <a:pt x="144" y="2008"/>
                  </a:lnTo>
                  <a:lnTo>
                    <a:pt x="142" y="2008"/>
                  </a:lnTo>
                  <a:lnTo>
                    <a:pt x="142" y="2010"/>
                  </a:lnTo>
                  <a:lnTo>
                    <a:pt x="142" y="2010"/>
                  </a:lnTo>
                  <a:lnTo>
                    <a:pt x="142" y="2013"/>
                  </a:lnTo>
                  <a:lnTo>
                    <a:pt x="142" y="2013"/>
                  </a:lnTo>
                  <a:lnTo>
                    <a:pt x="142" y="2013"/>
                  </a:lnTo>
                  <a:lnTo>
                    <a:pt x="142" y="2015"/>
                  </a:lnTo>
                  <a:lnTo>
                    <a:pt x="142" y="2015"/>
                  </a:lnTo>
                  <a:lnTo>
                    <a:pt x="140" y="2017"/>
                  </a:lnTo>
                  <a:lnTo>
                    <a:pt x="140" y="2017"/>
                  </a:lnTo>
                  <a:lnTo>
                    <a:pt x="140" y="2017"/>
                  </a:lnTo>
                  <a:lnTo>
                    <a:pt x="137" y="2017"/>
                  </a:lnTo>
                  <a:lnTo>
                    <a:pt x="137" y="2020"/>
                  </a:lnTo>
                  <a:lnTo>
                    <a:pt x="137" y="2020"/>
                  </a:lnTo>
                  <a:lnTo>
                    <a:pt x="137" y="2020"/>
                  </a:lnTo>
                  <a:lnTo>
                    <a:pt x="137" y="2022"/>
                  </a:lnTo>
                  <a:lnTo>
                    <a:pt x="137" y="2022"/>
                  </a:lnTo>
                  <a:lnTo>
                    <a:pt x="137" y="2022"/>
                  </a:lnTo>
                  <a:lnTo>
                    <a:pt x="137" y="2025"/>
                  </a:lnTo>
                  <a:lnTo>
                    <a:pt x="135" y="2025"/>
                  </a:lnTo>
                  <a:lnTo>
                    <a:pt x="135" y="2025"/>
                  </a:lnTo>
                  <a:lnTo>
                    <a:pt x="135" y="2025"/>
                  </a:lnTo>
                  <a:lnTo>
                    <a:pt x="135" y="2025"/>
                  </a:lnTo>
                  <a:lnTo>
                    <a:pt x="133" y="2022"/>
                  </a:lnTo>
                  <a:lnTo>
                    <a:pt x="133" y="2022"/>
                  </a:lnTo>
                  <a:lnTo>
                    <a:pt x="133" y="2025"/>
                  </a:lnTo>
                  <a:lnTo>
                    <a:pt x="133" y="2025"/>
                  </a:lnTo>
                  <a:lnTo>
                    <a:pt x="133" y="2025"/>
                  </a:lnTo>
                  <a:lnTo>
                    <a:pt x="133" y="2025"/>
                  </a:lnTo>
                  <a:lnTo>
                    <a:pt x="133" y="2025"/>
                  </a:lnTo>
                  <a:lnTo>
                    <a:pt x="133" y="2027"/>
                  </a:lnTo>
                  <a:lnTo>
                    <a:pt x="130" y="2027"/>
                  </a:lnTo>
                  <a:lnTo>
                    <a:pt x="130" y="2025"/>
                  </a:lnTo>
                  <a:lnTo>
                    <a:pt x="128" y="2025"/>
                  </a:lnTo>
                  <a:lnTo>
                    <a:pt x="128" y="2025"/>
                  </a:lnTo>
                  <a:lnTo>
                    <a:pt x="128" y="2027"/>
                  </a:lnTo>
                  <a:lnTo>
                    <a:pt x="126" y="2027"/>
                  </a:lnTo>
                  <a:lnTo>
                    <a:pt x="126" y="2027"/>
                  </a:lnTo>
                  <a:lnTo>
                    <a:pt x="126" y="2027"/>
                  </a:lnTo>
                  <a:lnTo>
                    <a:pt x="128" y="2025"/>
                  </a:lnTo>
                  <a:lnTo>
                    <a:pt x="128" y="2025"/>
                  </a:lnTo>
                  <a:lnTo>
                    <a:pt x="130" y="2025"/>
                  </a:lnTo>
                  <a:lnTo>
                    <a:pt x="130" y="2022"/>
                  </a:lnTo>
                  <a:lnTo>
                    <a:pt x="130" y="2022"/>
                  </a:lnTo>
                  <a:lnTo>
                    <a:pt x="128" y="2022"/>
                  </a:lnTo>
                  <a:lnTo>
                    <a:pt x="126" y="2022"/>
                  </a:lnTo>
                  <a:lnTo>
                    <a:pt x="126" y="2022"/>
                  </a:lnTo>
                  <a:lnTo>
                    <a:pt x="126" y="2022"/>
                  </a:lnTo>
                  <a:lnTo>
                    <a:pt x="126" y="2022"/>
                  </a:lnTo>
                  <a:lnTo>
                    <a:pt x="123" y="2022"/>
                  </a:lnTo>
                  <a:lnTo>
                    <a:pt x="123" y="2022"/>
                  </a:lnTo>
                  <a:lnTo>
                    <a:pt x="123" y="2022"/>
                  </a:lnTo>
                  <a:lnTo>
                    <a:pt x="123" y="2022"/>
                  </a:lnTo>
                  <a:lnTo>
                    <a:pt x="123" y="2022"/>
                  </a:lnTo>
                  <a:lnTo>
                    <a:pt x="123" y="2020"/>
                  </a:lnTo>
                  <a:lnTo>
                    <a:pt x="123" y="2020"/>
                  </a:lnTo>
                  <a:lnTo>
                    <a:pt x="123" y="2020"/>
                  </a:lnTo>
                  <a:lnTo>
                    <a:pt x="123" y="2020"/>
                  </a:lnTo>
                  <a:lnTo>
                    <a:pt x="121" y="2020"/>
                  </a:lnTo>
                  <a:lnTo>
                    <a:pt x="121" y="2020"/>
                  </a:lnTo>
                  <a:lnTo>
                    <a:pt x="121" y="2020"/>
                  </a:lnTo>
                  <a:lnTo>
                    <a:pt x="123" y="2017"/>
                  </a:lnTo>
                  <a:lnTo>
                    <a:pt x="123" y="2017"/>
                  </a:lnTo>
                  <a:lnTo>
                    <a:pt x="126" y="2020"/>
                  </a:lnTo>
                  <a:lnTo>
                    <a:pt x="126" y="2020"/>
                  </a:lnTo>
                  <a:lnTo>
                    <a:pt x="128" y="2020"/>
                  </a:lnTo>
                  <a:lnTo>
                    <a:pt x="128" y="2020"/>
                  </a:lnTo>
                  <a:lnTo>
                    <a:pt x="130" y="2020"/>
                  </a:lnTo>
                  <a:lnTo>
                    <a:pt x="130" y="2017"/>
                  </a:lnTo>
                  <a:lnTo>
                    <a:pt x="133" y="2017"/>
                  </a:lnTo>
                  <a:lnTo>
                    <a:pt x="135" y="2017"/>
                  </a:lnTo>
                  <a:lnTo>
                    <a:pt x="137" y="2017"/>
                  </a:lnTo>
                  <a:lnTo>
                    <a:pt x="137" y="2017"/>
                  </a:lnTo>
                  <a:lnTo>
                    <a:pt x="137" y="2017"/>
                  </a:lnTo>
                  <a:lnTo>
                    <a:pt x="137" y="2015"/>
                  </a:lnTo>
                  <a:lnTo>
                    <a:pt x="140" y="2015"/>
                  </a:lnTo>
                  <a:lnTo>
                    <a:pt x="140" y="2015"/>
                  </a:lnTo>
                  <a:lnTo>
                    <a:pt x="140" y="2015"/>
                  </a:lnTo>
                  <a:lnTo>
                    <a:pt x="142" y="2015"/>
                  </a:lnTo>
                  <a:lnTo>
                    <a:pt x="142" y="2013"/>
                  </a:lnTo>
                  <a:lnTo>
                    <a:pt x="142" y="2013"/>
                  </a:lnTo>
                  <a:lnTo>
                    <a:pt x="142" y="2010"/>
                  </a:lnTo>
                  <a:lnTo>
                    <a:pt x="142" y="2010"/>
                  </a:lnTo>
                  <a:lnTo>
                    <a:pt x="142" y="2010"/>
                  </a:lnTo>
                  <a:lnTo>
                    <a:pt x="142" y="2008"/>
                  </a:lnTo>
                  <a:lnTo>
                    <a:pt x="142" y="2008"/>
                  </a:lnTo>
                  <a:lnTo>
                    <a:pt x="142" y="2006"/>
                  </a:lnTo>
                  <a:lnTo>
                    <a:pt x="142" y="2006"/>
                  </a:lnTo>
                  <a:lnTo>
                    <a:pt x="142" y="2006"/>
                  </a:lnTo>
                  <a:lnTo>
                    <a:pt x="142" y="2006"/>
                  </a:lnTo>
                  <a:lnTo>
                    <a:pt x="140" y="2006"/>
                  </a:lnTo>
                  <a:lnTo>
                    <a:pt x="140" y="2006"/>
                  </a:lnTo>
                  <a:lnTo>
                    <a:pt x="140" y="2003"/>
                  </a:lnTo>
                  <a:lnTo>
                    <a:pt x="142" y="2003"/>
                  </a:lnTo>
                  <a:lnTo>
                    <a:pt x="142" y="2003"/>
                  </a:lnTo>
                  <a:lnTo>
                    <a:pt x="140" y="2001"/>
                  </a:lnTo>
                  <a:lnTo>
                    <a:pt x="140" y="2001"/>
                  </a:lnTo>
                  <a:lnTo>
                    <a:pt x="140" y="2001"/>
                  </a:lnTo>
                  <a:lnTo>
                    <a:pt x="137" y="1999"/>
                  </a:lnTo>
                  <a:lnTo>
                    <a:pt x="135" y="2001"/>
                  </a:lnTo>
                  <a:lnTo>
                    <a:pt x="135" y="2001"/>
                  </a:lnTo>
                  <a:lnTo>
                    <a:pt x="135" y="2001"/>
                  </a:lnTo>
                  <a:lnTo>
                    <a:pt x="130" y="2001"/>
                  </a:lnTo>
                  <a:lnTo>
                    <a:pt x="130" y="2001"/>
                  </a:lnTo>
                  <a:lnTo>
                    <a:pt x="130" y="2003"/>
                  </a:lnTo>
                  <a:lnTo>
                    <a:pt x="130" y="2003"/>
                  </a:lnTo>
                  <a:lnTo>
                    <a:pt x="130" y="2003"/>
                  </a:lnTo>
                  <a:lnTo>
                    <a:pt x="128" y="2003"/>
                  </a:lnTo>
                  <a:lnTo>
                    <a:pt x="128" y="2003"/>
                  </a:lnTo>
                  <a:lnTo>
                    <a:pt x="128" y="2003"/>
                  </a:lnTo>
                  <a:lnTo>
                    <a:pt x="128" y="2006"/>
                  </a:lnTo>
                  <a:lnTo>
                    <a:pt x="126" y="2006"/>
                  </a:lnTo>
                  <a:lnTo>
                    <a:pt x="126" y="2006"/>
                  </a:lnTo>
                  <a:lnTo>
                    <a:pt x="126" y="2006"/>
                  </a:lnTo>
                  <a:lnTo>
                    <a:pt x="126" y="2003"/>
                  </a:lnTo>
                  <a:lnTo>
                    <a:pt x="128" y="2003"/>
                  </a:lnTo>
                  <a:lnTo>
                    <a:pt x="128" y="2003"/>
                  </a:lnTo>
                  <a:lnTo>
                    <a:pt x="128" y="2003"/>
                  </a:lnTo>
                  <a:lnTo>
                    <a:pt x="130" y="2001"/>
                  </a:lnTo>
                  <a:lnTo>
                    <a:pt x="130" y="2001"/>
                  </a:lnTo>
                  <a:lnTo>
                    <a:pt x="130" y="2001"/>
                  </a:lnTo>
                  <a:lnTo>
                    <a:pt x="130" y="1999"/>
                  </a:lnTo>
                  <a:lnTo>
                    <a:pt x="130" y="1999"/>
                  </a:lnTo>
                  <a:lnTo>
                    <a:pt x="130" y="1996"/>
                  </a:lnTo>
                  <a:lnTo>
                    <a:pt x="130" y="1996"/>
                  </a:lnTo>
                  <a:lnTo>
                    <a:pt x="130" y="1994"/>
                  </a:lnTo>
                  <a:lnTo>
                    <a:pt x="128" y="1994"/>
                  </a:lnTo>
                  <a:lnTo>
                    <a:pt x="128" y="1994"/>
                  </a:lnTo>
                  <a:lnTo>
                    <a:pt x="126" y="1994"/>
                  </a:lnTo>
                  <a:lnTo>
                    <a:pt x="126" y="1994"/>
                  </a:lnTo>
                  <a:lnTo>
                    <a:pt x="123" y="1994"/>
                  </a:lnTo>
                  <a:lnTo>
                    <a:pt x="121" y="1991"/>
                  </a:lnTo>
                  <a:lnTo>
                    <a:pt x="121" y="1991"/>
                  </a:lnTo>
                  <a:lnTo>
                    <a:pt x="121" y="1991"/>
                  </a:lnTo>
                  <a:lnTo>
                    <a:pt x="121" y="1991"/>
                  </a:lnTo>
                  <a:lnTo>
                    <a:pt x="121" y="1991"/>
                  </a:lnTo>
                  <a:lnTo>
                    <a:pt x="121" y="1991"/>
                  </a:lnTo>
                  <a:lnTo>
                    <a:pt x="118" y="1991"/>
                  </a:lnTo>
                  <a:lnTo>
                    <a:pt x="118" y="1991"/>
                  </a:lnTo>
                  <a:lnTo>
                    <a:pt x="118" y="1989"/>
                  </a:lnTo>
                  <a:lnTo>
                    <a:pt x="118" y="1989"/>
                  </a:lnTo>
                  <a:lnTo>
                    <a:pt x="116" y="1989"/>
                  </a:lnTo>
                  <a:lnTo>
                    <a:pt x="118" y="1989"/>
                  </a:lnTo>
                  <a:lnTo>
                    <a:pt x="116" y="1991"/>
                  </a:lnTo>
                  <a:lnTo>
                    <a:pt x="116" y="1994"/>
                  </a:lnTo>
                  <a:lnTo>
                    <a:pt x="116" y="1994"/>
                  </a:lnTo>
                  <a:lnTo>
                    <a:pt x="116" y="1994"/>
                  </a:lnTo>
                  <a:lnTo>
                    <a:pt x="116" y="1996"/>
                  </a:lnTo>
                  <a:lnTo>
                    <a:pt x="116" y="1996"/>
                  </a:lnTo>
                  <a:lnTo>
                    <a:pt x="116" y="1996"/>
                  </a:lnTo>
                  <a:lnTo>
                    <a:pt x="116" y="1996"/>
                  </a:lnTo>
                  <a:lnTo>
                    <a:pt x="116" y="1996"/>
                  </a:lnTo>
                  <a:lnTo>
                    <a:pt x="116" y="1996"/>
                  </a:lnTo>
                  <a:lnTo>
                    <a:pt x="114" y="1999"/>
                  </a:lnTo>
                  <a:lnTo>
                    <a:pt x="114" y="1999"/>
                  </a:lnTo>
                  <a:lnTo>
                    <a:pt x="114" y="1999"/>
                  </a:lnTo>
                  <a:lnTo>
                    <a:pt x="114" y="1999"/>
                  </a:lnTo>
                  <a:lnTo>
                    <a:pt x="114" y="1999"/>
                  </a:lnTo>
                  <a:lnTo>
                    <a:pt x="114" y="1999"/>
                  </a:lnTo>
                  <a:lnTo>
                    <a:pt x="114" y="1999"/>
                  </a:lnTo>
                  <a:lnTo>
                    <a:pt x="114" y="1999"/>
                  </a:lnTo>
                  <a:lnTo>
                    <a:pt x="114" y="1999"/>
                  </a:lnTo>
                  <a:lnTo>
                    <a:pt x="111" y="1999"/>
                  </a:lnTo>
                  <a:lnTo>
                    <a:pt x="111" y="2001"/>
                  </a:lnTo>
                  <a:lnTo>
                    <a:pt x="111" y="2001"/>
                  </a:lnTo>
                  <a:lnTo>
                    <a:pt x="111" y="2001"/>
                  </a:lnTo>
                  <a:lnTo>
                    <a:pt x="111" y="2003"/>
                  </a:lnTo>
                  <a:lnTo>
                    <a:pt x="109" y="2003"/>
                  </a:lnTo>
                  <a:lnTo>
                    <a:pt x="109" y="2003"/>
                  </a:lnTo>
                  <a:lnTo>
                    <a:pt x="109" y="2006"/>
                  </a:lnTo>
                  <a:lnTo>
                    <a:pt x="111" y="2008"/>
                  </a:lnTo>
                  <a:lnTo>
                    <a:pt x="111" y="2008"/>
                  </a:lnTo>
                  <a:lnTo>
                    <a:pt x="109" y="2008"/>
                  </a:lnTo>
                  <a:lnTo>
                    <a:pt x="109" y="2008"/>
                  </a:lnTo>
                  <a:lnTo>
                    <a:pt x="109" y="2010"/>
                  </a:lnTo>
                  <a:lnTo>
                    <a:pt x="109" y="2010"/>
                  </a:lnTo>
                  <a:lnTo>
                    <a:pt x="111" y="2010"/>
                  </a:lnTo>
                  <a:lnTo>
                    <a:pt x="111" y="2010"/>
                  </a:lnTo>
                  <a:lnTo>
                    <a:pt x="111" y="2013"/>
                  </a:lnTo>
                  <a:lnTo>
                    <a:pt x="111" y="2013"/>
                  </a:lnTo>
                  <a:lnTo>
                    <a:pt x="111" y="2013"/>
                  </a:lnTo>
                  <a:lnTo>
                    <a:pt x="111" y="2010"/>
                  </a:lnTo>
                  <a:lnTo>
                    <a:pt x="111" y="2010"/>
                  </a:lnTo>
                  <a:lnTo>
                    <a:pt x="114" y="2010"/>
                  </a:lnTo>
                  <a:lnTo>
                    <a:pt x="114" y="2013"/>
                  </a:lnTo>
                  <a:lnTo>
                    <a:pt x="111" y="2013"/>
                  </a:lnTo>
                  <a:lnTo>
                    <a:pt x="111" y="2013"/>
                  </a:lnTo>
                  <a:lnTo>
                    <a:pt x="111" y="2015"/>
                  </a:lnTo>
                  <a:lnTo>
                    <a:pt x="111" y="2015"/>
                  </a:lnTo>
                  <a:lnTo>
                    <a:pt x="114" y="2015"/>
                  </a:lnTo>
                  <a:lnTo>
                    <a:pt x="114" y="2015"/>
                  </a:lnTo>
                  <a:lnTo>
                    <a:pt x="114" y="2015"/>
                  </a:lnTo>
                  <a:lnTo>
                    <a:pt x="114" y="2017"/>
                  </a:lnTo>
                  <a:lnTo>
                    <a:pt x="111" y="2015"/>
                  </a:lnTo>
                  <a:lnTo>
                    <a:pt x="111" y="2015"/>
                  </a:lnTo>
                  <a:lnTo>
                    <a:pt x="111" y="2015"/>
                  </a:lnTo>
                  <a:lnTo>
                    <a:pt x="111" y="2015"/>
                  </a:lnTo>
                  <a:lnTo>
                    <a:pt x="111" y="2015"/>
                  </a:lnTo>
                  <a:lnTo>
                    <a:pt x="111" y="2015"/>
                  </a:lnTo>
                  <a:lnTo>
                    <a:pt x="111" y="2017"/>
                  </a:lnTo>
                  <a:lnTo>
                    <a:pt x="114" y="2020"/>
                  </a:lnTo>
                  <a:lnTo>
                    <a:pt x="114" y="2022"/>
                  </a:lnTo>
                  <a:lnTo>
                    <a:pt x="114" y="2022"/>
                  </a:lnTo>
                  <a:lnTo>
                    <a:pt x="111" y="2020"/>
                  </a:lnTo>
                  <a:lnTo>
                    <a:pt x="111" y="2020"/>
                  </a:lnTo>
                  <a:lnTo>
                    <a:pt x="109" y="2020"/>
                  </a:lnTo>
                  <a:lnTo>
                    <a:pt x="109" y="2022"/>
                  </a:lnTo>
                  <a:lnTo>
                    <a:pt x="109" y="2022"/>
                  </a:lnTo>
                  <a:lnTo>
                    <a:pt x="111" y="2022"/>
                  </a:lnTo>
                  <a:lnTo>
                    <a:pt x="111" y="2022"/>
                  </a:lnTo>
                  <a:lnTo>
                    <a:pt x="111" y="2022"/>
                  </a:lnTo>
                  <a:lnTo>
                    <a:pt x="111" y="2025"/>
                  </a:lnTo>
                  <a:lnTo>
                    <a:pt x="111" y="2025"/>
                  </a:lnTo>
                  <a:lnTo>
                    <a:pt x="111" y="2025"/>
                  </a:lnTo>
                  <a:lnTo>
                    <a:pt x="111" y="2025"/>
                  </a:lnTo>
                  <a:lnTo>
                    <a:pt x="114" y="2027"/>
                  </a:lnTo>
                  <a:lnTo>
                    <a:pt x="114" y="2027"/>
                  </a:lnTo>
                  <a:lnTo>
                    <a:pt x="111" y="2027"/>
                  </a:lnTo>
                  <a:lnTo>
                    <a:pt x="111" y="2027"/>
                  </a:lnTo>
                  <a:lnTo>
                    <a:pt x="111" y="2029"/>
                  </a:lnTo>
                  <a:lnTo>
                    <a:pt x="111" y="2029"/>
                  </a:lnTo>
                  <a:lnTo>
                    <a:pt x="116" y="2027"/>
                  </a:lnTo>
                  <a:lnTo>
                    <a:pt x="116" y="2027"/>
                  </a:lnTo>
                  <a:lnTo>
                    <a:pt x="116" y="2027"/>
                  </a:lnTo>
                  <a:lnTo>
                    <a:pt x="116" y="2027"/>
                  </a:lnTo>
                  <a:lnTo>
                    <a:pt x="116" y="2027"/>
                  </a:lnTo>
                  <a:lnTo>
                    <a:pt x="116" y="2027"/>
                  </a:lnTo>
                  <a:lnTo>
                    <a:pt x="116" y="2027"/>
                  </a:lnTo>
                  <a:lnTo>
                    <a:pt x="116" y="2029"/>
                  </a:lnTo>
                  <a:lnTo>
                    <a:pt x="116" y="2029"/>
                  </a:lnTo>
                  <a:lnTo>
                    <a:pt x="116" y="2029"/>
                  </a:lnTo>
                  <a:lnTo>
                    <a:pt x="116" y="2029"/>
                  </a:lnTo>
                  <a:lnTo>
                    <a:pt x="116" y="2032"/>
                  </a:lnTo>
                  <a:lnTo>
                    <a:pt x="116" y="2032"/>
                  </a:lnTo>
                  <a:lnTo>
                    <a:pt x="116" y="2032"/>
                  </a:lnTo>
                  <a:lnTo>
                    <a:pt x="118" y="2029"/>
                  </a:lnTo>
                  <a:lnTo>
                    <a:pt x="118" y="2029"/>
                  </a:lnTo>
                  <a:lnTo>
                    <a:pt x="118" y="2032"/>
                  </a:lnTo>
                  <a:lnTo>
                    <a:pt x="118" y="2032"/>
                  </a:lnTo>
                  <a:lnTo>
                    <a:pt x="118" y="2032"/>
                  </a:lnTo>
                  <a:lnTo>
                    <a:pt x="121" y="2034"/>
                  </a:lnTo>
                  <a:lnTo>
                    <a:pt x="121" y="2034"/>
                  </a:lnTo>
                  <a:lnTo>
                    <a:pt x="121" y="2034"/>
                  </a:lnTo>
                  <a:lnTo>
                    <a:pt x="121" y="2034"/>
                  </a:lnTo>
                  <a:lnTo>
                    <a:pt x="121" y="2036"/>
                  </a:lnTo>
                  <a:lnTo>
                    <a:pt x="121" y="2036"/>
                  </a:lnTo>
                  <a:lnTo>
                    <a:pt x="123" y="2039"/>
                  </a:lnTo>
                  <a:lnTo>
                    <a:pt x="123" y="2041"/>
                  </a:lnTo>
                  <a:lnTo>
                    <a:pt x="123" y="2041"/>
                  </a:lnTo>
                  <a:lnTo>
                    <a:pt x="123" y="2041"/>
                  </a:lnTo>
                  <a:lnTo>
                    <a:pt x="123" y="2041"/>
                  </a:lnTo>
                  <a:lnTo>
                    <a:pt x="123" y="2041"/>
                  </a:lnTo>
                  <a:lnTo>
                    <a:pt x="123" y="2039"/>
                  </a:lnTo>
                  <a:lnTo>
                    <a:pt x="121" y="2039"/>
                  </a:lnTo>
                  <a:lnTo>
                    <a:pt x="121" y="2039"/>
                  </a:lnTo>
                  <a:lnTo>
                    <a:pt x="121" y="2036"/>
                  </a:lnTo>
                  <a:lnTo>
                    <a:pt x="121" y="2036"/>
                  </a:lnTo>
                  <a:lnTo>
                    <a:pt x="116" y="2036"/>
                  </a:lnTo>
                  <a:lnTo>
                    <a:pt x="116" y="2036"/>
                  </a:lnTo>
                  <a:lnTo>
                    <a:pt x="116" y="2034"/>
                  </a:lnTo>
                  <a:lnTo>
                    <a:pt x="116" y="2034"/>
                  </a:lnTo>
                  <a:lnTo>
                    <a:pt x="114" y="2034"/>
                  </a:lnTo>
                  <a:lnTo>
                    <a:pt x="114" y="2036"/>
                  </a:lnTo>
                  <a:lnTo>
                    <a:pt x="114" y="2036"/>
                  </a:lnTo>
                  <a:lnTo>
                    <a:pt x="118" y="2039"/>
                  </a:lnTo>
                  <a:lnTo>
                    <a:pt x="121" y="2039"/>
                  </a:lnTo>
                  <a:lnTo>
                    <a:pt x="118" y="2039"/>
                  </a:lnTo>
                  <a:lnTo>
                    <a:pt x="118" y="2039"/>
                  </a:lnTo>
                  <a:lnTo>
                    <a:pt x="118" y="2039"/>
                  </a:lnTo>
                  <a:lnTo>
                    <a:pt x="118" y="2039"/>
                  </a:lnTo>
                  <a:lnTo>
                    <a:pt x="116" y="2039"/>
                  </a:lnTo>
                  <a:lnTo>
                    <a:pt x="116" y="2039"/>
                  </a:lnTo>
                  <a:lnTo>
                    <a:pt x="116" y="2039"/>
                  </a:lnTo>
                  <a:lnTo>
                    <a:pt x="116" y="2039"/>
                  </a:lnTo>
                  <a:lnTo>
                    <a:pt x="116" y="2039"/>
                  </a:lnTo>
                  <a:lnTo>
                    <a:pt x="114" y="2039"/>
                  </a:lnTo>
                  <a:lnTo>
                    <a:pt x="114" y="2041"/>
                  </a:lnTo>
                  <a:lnTo>
                    <a:pt x="114" y="2041"/>
                  </a:lnTo>
                  <a:lnTo>
                    <a:pt x="114" y="2041"/>
                  </a:lnTo>
                  <a:lnTo>
                    <a:pt x="116" y="2041"/>
                  </a:lnTo>
                  <a:lnTo>
                    <a:pt x="116" y="2043"/>
                  </a:lnTo>
                  <a:lnTo>
                    <a:pt x="118" y="2043"/>
                  </a:lnTo>
                  <a:lnTo>
                    <a:pt x="118" y="2043"/>
                  </a:lnTo>
                  <a:lnTo>
                    <a:pt x="116" y="2043"/>
                  </a:lnTo>
                  <a:lnTo>
                    <a:pt x="116" y="2046"/>
                  </a:lnTo>
                  <a:lnTo>
                    <a:pt x="116" y="2046"/>
                  </a:lnTo>
                  <a:lnTo>
                    <a:pt x="118" y="2046"/>
                  </a:lnTo>
                  <a:lnTo>
                    <a:pt x="118" y="2046"/>
                  </a:lnTo>
                  <a:lnTo>
                    <a:pt x="118" y="2046"/>
                  </a:lnTo>
                  <a:lnTo>
                    <a:pt x="118" y="2046"/>
                  </a:lnTo>
                  <a:lnTo>
                    <a:pt x="118" y="2048"/>
                  </a:lnTo>
                  <a:lnTo>
                    <a:pt x="118" y="2048"/>
                  </a:lnTo>
                  <a:lnTo>
                    <a:pt x="118" y="2048"/>
                  </a:lnTo>
                  <a:lnTo>
                    <a:pt x="118" y="2048"/>
                  </a:lnTo>
                  <a:lnTo>
                    <a:pt x="121" y="2048"/>
                  </a:lnTo>
                  <a:lnTo>
                    <a:pt x="121" y="2048"/>
                  </a:lnTo>
                  <a:lnTo>
                    <a:pt x="121" y="2048"/>
                  </a:lnTo>
                  <a:lnTo>
                    <a:pt x="121" y="2048"/>
                  </a:lnTo>
                  <a:lnTo>
                    <a:pt x="118" y="2048"/>
                  </a:lnTo>
                  <a:lnTo>
                    <a:pt x="118" y="2048"/>
                  </a:lnTo>
                  <a:lnTo>
                    <a:pt x="118" y="2048"/>
                  </a:lnTo>
                  <a:lnTo>
                    <a:pt x="121" y="2051"/>
                  </a:lnTo>
                  <a:lnTo>
                    <a:pt x="121" y="2051"/>
                  </a:lnTo>
                  <a:lnTo>
                    <a:pt x="121" y="2051"/>
                  </a:lnTo>
                  <a:lnTo>
                    <a:pt x="123" y="2051"/>
                  </a:lnTo>
                  <a:lnTo>
                    <a:pt x="123" y="2051"/>
                  </a:lnTo>
                  <a:lnTo>
                    <a:pt x="123" y="2051"/>
                  </a:lnTo>
                  <a:lnTo>
                    <a:pt x="123" y="2051"/>
                  </a:lnTo>
                  <a:lnTo>
                    <a:pt x="123" y="2048"/>
                  </a:lnTo>
                  <a:lnTo>
                    <a:pt x="126" y="2048"/>
                  </a:lnTo>
                  <a:lnTo>
                    <a:pt x="126" y="2048"/>
                  </a:lnTo>
                  <a:lnTo>
                    <a:pt x="126" y="2048"/>
                  </a:lnTo>
                  <a:lnTo>
                    <a:pt x="126" y="2051"/>
                  </a:lnTo>
                  <a:lnTo>
                    <a:pt x="126" y="2051"/>
                  </a:lnTo>
                  <a:lnTo>
                    <a:pt x="128" y="2051"/>
                  </a:lnTo>
                  <a:lnTo>
                    <a:pt x="128" y="2051"/>
                  </a:lnTo>
                  <a:lnTo>
                    <a:pt x="128" y="2051"/>
                  </a:lnTo>
                  <a:lnTo>
                    <a:pt x="130" y="2051"/>
                  </a:lnTo>
                  <a:lnTo>
                    <a:pt x="130" y="2051"/>
                  </a:lnTo>
                  <a:lnTo>
                    <a:pt x="130" y="2051"/>
                  </a:lnTo>
                  <a:lnTo>
                    <a:pt x="128" y="2048"/>
                  </a:lnTo>
                  <a:lnTo>
                    <a:pt x="128" y="2048"/>
                  </a:lnTo>
                  <a:lnTo>
                    <a:pt x="126" y="2048"/>
                  </a:lnTo>
                  <a:lnTo>
                    <a:pt x="126" y="2048"/>
                  </a:lnTo>
                  <a:lnTo>
                    <a:pt x="128" y="2048"/>
                  </a:lnTo>
                  <a:lnTo>
                    <a:pt x="128" y="2048"/>
                  </a:lnTo>
                  <a:lnTo>
                    <a:pt x="128" y="2048"/>
                  </a:lnTo>
                  <a:lnTo>
                    <a:pt x="128" y="2048"/>
                  </a:lnTo>
                  <a:lnTo>
                    <a:pt x="128" y="2048"/>
                  </a:lnTo>
                  <a:lnTo>
                    <a:pt x="128" y="2048"/>
                  </a:lnTo>
                  <a:lnTo>
                    <a:pt x="130" y="2046"/>
                  </a:lnTo>
                  <a:lnTo>
                    <a:pt x="133" y="2048"/>
                  </a:lnTo>
                  <a:lnTo>
                    <a:pt x="135" y="2048"/>
                  </a:lnTo>
                  <a:lnTo>
                    <a:pt x="135" y="2048"/>
                  </a:lnTo>
                  <a:lnTo>
                    <a:pt x="137" y="2046"/>
                  </a:lnTo>
                  <a:lnTo>
                    <a:pt x="140" y="2043"/>
                  </a:lnTo>
                  <a:lnTo>
                    <a:pt x="140" y="2043"/>
                  </a:lnTo>
                  <a:lnTo>
                    <a:pt x="140" y="2043"/>
                  </a:lnTo>
                  <a:lnTo>
                    <a:pt x="140" y="2041"/>
                  </a:lnTo>
                  <a:lnTo>
                    <a:pt x="142" y="2039"/>
                  </a:lnTo>
                  <a:lnTo>
                    <a:pt x="142" y="2039"/>
                  </a:lnTo>
                  <a:lnTo>
                    <a:pt x="142" y="2036"/>
                  </a:lnTo>
                  <a:lnTo>
                    <a:pt x="142" y="2034"/>
                  </a:lnTo>
                  <a:lnTo>
                    <a:pt x="142" y="2034"/>
                  </a:lnTo>
                  <a:lnTo>
                    <a:pt x="142" y="2034"/>
                  </a:lnTo>
                  <a:lnTo>
                    <a:pt x="142" y="2034"/>
                  </a:lnTo>
                  <a:lnTo>
                    <a:pt x="142" y="2034"/>
                  </a:lnTo>
                  <a:lnTo>
                    <a:pt x="142" y="2032"/>
                  </a:lnTo>
                  <a:lnTo>
                    <a:pt x="142" y="2032"/>
                  </a:lnTo>
                  <a:lnTo>
                    <a:pt x="142" y="2032"/>
                  </a:lnTo>
                  <a:lnTo>
                    <a:pt x="144" y="2029"/>
                  </a:lnTo>
                  <a:lnTo>
                    <a:pt x="144" y="2029"/>
                  </a:lnTo>
                  <a:lnTo>
                    <a:pt x="144" y="2027"/>
                  </a:lnTo>
                  <a:lnTo>
                    <a:pt x="147" y="2025"/>
                  </a:lnTo>
                  <a:lnTo>
                    <a:pt x="147" y="2025"/>
                  </a:lnTo>
                  <a:lnTo>
                    <a:pt x="147" y="2025"/>
                  </a:lnTo>
                  <a:lnTo>
                    <a:pt x="147" y="2022"/>
                  </a:lnTo>
                  <a:lnTo>
                    <a:pt x="147" y="2022"/>
                  </a:lnTo>
                  <a:lnTo>
                    <a:pt x="149" y="2020"/>
                  </a:lnTo>
                  <a:lnTo>
                    <a:pt x="149" y="2020"/>
                  </a:lnTo>
                  <a:lnTo>
                    <a:pt x="152" y="2017"/>
                  </a:lnTo>
                  <a:lnTo>
                    <a:pt x="154" y="2015"/>
                  </a:lnTo>
                  <a:lnTo>
                    <a:pt x="156" y="2013"/>
                  </a:lnTo>
                  <a:lnTo>
                    <a:pt x="156" y="2013"/>
                  </a:lnTo>
                  <a:lnTo>
                    <a:pt x="159" y="2010"/>
                  </a:lnTo>
                  <a:lnTo>
                    <a:pt x="159" y="2008"/>
                  </a:lnTo>
                  <a:lnTo>
                    <a:pt x="159" y="2006"/>
                  </a:lnTo>
                  <a:lnTo>
                    <a:pt x="161" y="2006"/>
                  </a:lnTo>
                  <a:lnTo>
                    <a:pt x="161" y="2006"/>
                  </a:lnTo>
                  <a:lnTo>
                    <a:pt x="161" y="2003"/>
                  </a:lnTo>
                  <a:lnTo>
                    <a:pt x="161" y="2003"/>
                  </a:lnTo>
                  <a:lnTo>
                    <a:pt x="161" y="2003"/>
                  </a:lnTo>
                  <a:lnTo>
                    <a:pt x="161" y="2003"/>
                  </a:lnTo>
                  <a:lnTo>
                    <a:pt x="161" y="2003"/>
                  </a:lnTo>
                  <a:lnTo>
                    <a:pt x="159" y="2003"/>
                  </a:lnTo>
                  <a:lnTo>
                    <a:pt x="159" y="2006"/>
                  </a:lnTo>
                  <a:close/>
                  <a:moveTo>
                    <a:pt x="149" y="2110"/>
                  </a:moveTo>
                  <a:lnTo>
                    <a:pt x="149" y="2112"/>
                  </a:lnTo>
                  <a:lnTo>
                    <a:pt x="149" y="2110"/>
                  </a:lnTo>
                  <a:lnTo>
                    <a:pt x="147" y="2110"/>
                  </a:lnTo>
                  <a:lnTo>
                    <a:pt x="147" y="2110"/>
                  </a:lnTo>
                  <a:lnTo>
                    <a:pt x="147" y="2110"/>
                  </a:lnTo>
                  <a:lnTo>
                    <a:pt x="147" y="2110"/>
                  </a:lnTo>
                  <a:lnTo>
                    <a:pt x="147" y="2110"/>
                  </a:lnTo>
                  <a:lnTo>
                    <a:pt x="149" y="2110"/>
                  </a:lnTo>
                  <a:lnTo>
                    <a:pt x="149" y="2107"/>
                  </a:lnTo>
                  <a:lnTo>
                    <a:pt x="149" y="2107"/>
                  </a:lnTo>
                  <a:lnTo>
                    <a:pt x="149" y="2107"/>
                  </a:lnTo>
                  <a:lnTo>
                    <a:pt x="149" y="2105"/>
                  </a:lnTo>
                  <a:lnTo>
                    <a:pt x="149" y="2105"/>
                  </a:lnTo>
                  <a:lnTo>
                    <a:pt x="147" y="2105"/>
                  </a:lnTo>
                  <a:lnTo>
                    <a:pt x="147" y="2105"/>
                  </a:lnTo>
                  <a:lnTo>
                    <a:pt x="147" y="2105"/>
                  </a:lnTo>
                  <a:lnTo>
                    <a:pt x="144" y="2105"/>
                  </a:lnTo>
                  <a:lnTo>
                    <a:pt x="144" y="2105"/>
                  </a:lnTo>
                  <a:lnTo>
                    <a:pt x="144" y="2105"/>
                  </a:lnTo>
                  <a:lnTo>
                    <a:pt x="144" y="2105"/>
                  </a:lnTo>
                  <a:lnTo>
                    <a:pt x="144" y="2105"/>
                  </a:lnTo>
                  <a:lnTo>
                    <a:pt x="144" y="2107"/>
                  </a:lnTo>
                  <a:lnTo>
                    <a:pt x="144" y="2107"/>
                  </a:lnTo>
                  <a:lnTo>
                    <a:pt x="144" y="2107"/>
                  </a:lnTo>
                  <a:lnTo>
                    <a:pt x="142" y="2105"/>
                  </a:lnTo>
                  <a:lnTo>
                    <a:pt x="142" y="2105"/>
                  </a:lnTo>
                  <a:lnTo>
                    <a:pt x="142" y="2105"/>
                  </a:lnTo>
                  <a:lnTo>
                    <a:pt x="142" y="2103"/>
                  </a:lnTo>
                  <a:lnTo>
                    <a:pt x="142" y="2103"/>
                  </a:lnTo>
                  <a:lnTo>
                    <a:pt x="142" y="2103"/>
                  </a:lnTo>
                  <a:lnTo>
                    <a:pt x="142" y="2103"/>
                  </a:lnTo>
                  <a:lnTo>
                    <a:pt x="142" y="2103"/>
                  </a:lnTo>
                  <a:lnTo>
                    <a:pt x="142" y="2103"/>
                  </a:lnTo>
                  <a:lnTo>
                    <a:pt x="142" y="2103"/>
                  </a:lnTo>
                  <a:lnTo>
                    <a:pt x="144" y="2103"/>
                  </a:lnTo>
                  <a:lnTo>
                    <a:pt x="144" y="2103"/>
                  </a:lnTo>
                  <a:lnTo>
                    <a:pt x="144" y="2103"/>
                  </a:lnTo>
                  <a:lnTo>
                    <a:pt x="144" y="2103"/>
                  </a:lnTo>
                  <a:lnTo>
                    <a:pt x="144" y="2103"/>
                  </a:lnTo>
                  <a:lnTo>
                    <a:pt x="147" y="2103"/>
                  </a:lnTo>
                  <a:lnTo>
                    <a:pt x="144" y="2100"/>
                  </a:lnTo>
                  <a:lnTo>
                    <a:pt x="144" y="2100"/>
                  </a:lnTo>
                  <a:lnTo>
                    <a:pt x="144" y="2103"/>
                  </a:lnTo>
                  <a:lnTo>
                    <a:pt x="144" y="2100"/>
                  </a:lnTo>
                  <a:lnTo>
                    <a:pt x="144" y="2100"/>
                  </a:lnTo>
                  <a:lnTo>
                    <a:pt x="144" y="2100"/>
                  </a:lnTo>
                  <a:lnTo>
                    <a:pt x="147" y="2100"/>
                  </a:lnTo>
                  <a:lnTo>
                    <a:pt x="147" y="2098"/>
                  </a:lnTo>
                  <a:lnTo>
                    <a:pt x="147" y="2098"/>
                  </a:lnTo>
                  <a:lnTo>
                    <a:pt x="144" y="2098"/>
                  </a:lnTo>
                  <a:lnTo>
                    <a:pt x="144" y="2098"/>
                  </a:lnTo>
                  <a:lnTo>
                    <a:pt x="144" y="2098"/>
                  </a:lnTo>
                  <a:lnTo>
                    <a:pt x="142" y="2098"/>
                  </a:lnTo>
                  <a:lnTo>
                    <a:pt x="142" y="2100"/>
                  </a:lnTo>
                  <a:lnTo>
                    <a:pt x="142" y="2100"/>
                  </a:lnTo>
                  <a:lnTo>
                    <a:pt x="142" y="2100"/>
                  </a:lnTo>
                  <a:lnTo>
                    <a:pt x="142" y="2100"/>
                  </a:lnTo>
                  <a:lnTo>
                    <a:pt x="142" y="2100"/>
                  </a:lnTo>
                  <a:lnTo>
                    <a:pt x="142" y="2100"/>
                  </a:lnTo>
                  <a:lnTo>
                    <a:pt x="140" y="2100"/>
                  </a:lnTo>
                  <a:lnTo>
                    <a:pt x="142" y="2100"/>
                  </a:lnTo>
                  <a:lnTo>
                    <a:pt x="142" y="2100"/>
                  </a:lnTo>
                  <a:lnTo>
                    <a:pt x="140" y="2098"/>
                  </a:lnTo>
                  <a:lnTo>
                    <a:pt x="140" y="2098"/>
                  </a:lnTo>
                  <a:lnTo>
                    <a:pt x="140" y="2098"/>
                  </a:lnTo>
                  <a:lnTo>
                    <a:pt x="142" y="2095"/>
                  </a:lnTo>
                  <a:lnTo>
                    <a:pt x="142" y="2095"/>
                  </a:lnTo>
                  <a:lnTo>
                    <a:pt x="140" y="2093"/>
                  </a:lnTo>
                  <a:lnTo>
                    <a:pt x="140" y="2093"/>
                  </a:lnTo>
                  <a:lnTo>
                    <a:pt x="140" y="2093"/>
                  </a:lnTo>
                  <a:lnTo>
                    <a:pt x="140" y="2091"/>
                  </a:lnTo>
                  <a:lnTo>
                    <a:pt x="140" y="2091"/>
                  </a:lnTo>
                  <a:lnTo>
                    <a:pt x="140" y="2091"/>
                  </a:lnTo>
                  <a:lnTo>
                    <a:pt x="137" y="2091"/>
                  </a:lnTo>
                  <a:lnTo>
                    <a:pt x="137" y="2091"/>
                  </a:lnTo>
                  <a:lnTo>
                    <a:pt x="137" y="2091"/>
                  </a:lnTo>
                  <a:lnTo>
                    <a:pt x="137" y="2091"/>
                  </a:lnTo>
                  <a:lnTo>
                    <a:pt x="137" y="2091"/>
                  </a:lnTo>
                  <a:lnTo>
                    <a:pt x="137" y="2091"/>
                  </a:lnTo>
                  <a:lnTo>
                    <a:pt x="137" y="2091"/>
                  </a:lnTo>
                  <a:lnTo>
                    <a:pt x="137" y="2088"/>
                  </a:lnTo>
                  <a:lnTo>
                    <a:pt x="135" y="2088"/>
                  </a:lnTo>
                  <a:lnTo>
                    <a:pt x="135" y="2088"/>
                  </a:lnTo>
                  <a:lnTo>
                    <a:pt x="135" y="2088"/>
                  </a:lnTo>
                  <a:lnTo>
                    <a:pt x="135" y="2088"/>
                  </a:lnTo>
                  <a:lnTo>
                    <a:pt x="135" y="2088"/>
                  </a:lnTo>
                  <a:lnTo>
                    <a:pt x="137" y="2088"/>
                  </a:lnTo>
                  <a:lnTo>
                    <a:pt x="137" y="2088"/>
                  </a:lnTo>
                  <a:lnTo>
                    <a:pt x="137" y="2086"/>
                  </a:lnTo>
                  <a:lnTo>
                    <a:pt x="135" y="2086"/>
                  </a:lnTo>
                  <a:lnTo>
                    <a:pt x="135" y="2084"/>
                  </a:lnTo>
                  <a:lnTo>
                    <a:pt x="135" y="2084"/>
                  </a:lnTo>
                  <a:lnTo>
                    <a:pt x="135" y="2084"/>
                  </a:lnTo>
                  <a:lnTo>
                    <a:pt x="135" y="2084"/>
                  </a:lnTo>
                  <a:lnTo>
                    <a:pt x="135" y="2081"/>
                  </a:lnTo>
                  <a:lnTo>
                    <a:pt x="135" y="2079"/>
                  </a:lnTo>
                  <a:lnTo>
                    <a:pt x="135" y="2079"/>
                  </a:lnTo>
                  <a:lnTo>
                    <a:pt x="135" y="2079"/>
                  </a:lnTo>
                  <a:lnTo>
                    <a:pt x="133" y="2079"/>
                  </a:lnTo>
                  <a:lnTo>
                    <a:pt x="133" y="2077"/>
                  </a:lnTo>
                  <a:lnTo>
                    <a:pt x="135" y="2077"/>
                  </a:lnTo>
                  <a:lnTo>
                    <a:pt x="133" y="2077"/>
                  </a:lnTo>
                  <a:lnTo>
                    <a:pt x="133" y="2074"/>
                  </a:lnTo>
                  <a:lnTo>
                    <a:pt x="133" y="2074"/>
                  </a:lnTo>
                  <a:lnTo>
                    <a:pt x="133" y="2074"/>
                  </a:lnTo>
                  <a:lnTo>
                    <a:pt x="133" y="2074"/>
                  </a:lnTo>
                  <a:lnTo>
                    <a:pt x="135" y="2074"/>
                  </a:lnTo>
                  <a:lnTo>
                    <a:pt x="135" y="2077"/>
                  </a:lnTo>
                  <a:lnTo>
                    <a:pt x="135" y="2074"/>
                  </a:lnTo>
                  <a:lnTo>
                    <a:pt x="137" y="2074"/>
                  </a:lnTo>
                  <a:lnTo>
                    <a:pt x="137" y="2077"/>
                  </a:lnTo>
                  <a:lnTo>
                    <a:pt x="140" y="2077"/>
                  </a:lnTo>
                  <a:lnTo>
                    <a:pt x="140" y="2074"/>
                  </a:lnTo>
                  <a:lnTo>
                    <a:pt x="140" y="2074"/>
                  </a:lnTo>
                  <a:lnTo>
                    <a:pt x="137" y="2074"/>
                  </a:lnTo>
                  <a:lnTo>
                    <a:pt x="135" y="2074"/>
                  </a:lnTo>
                  <a:lnTo>
                    <a:pt x="133" y="2074"/>
                  </a:lnTo>
                  <a:lnTo>
                    <a:pt x="133" y="2072"/>
                  </a:lnTo>
                  <a:lnTo>
                    <a:pt x="133" y="2072"/>
                  </a:lnTo>
                  <a:lnTo>
                    <a:pt x="133" y="2072"/>
                  </a:lnTo>
                  <a:lnTo>
                    <a:pt x="133" y="2072"/>
                  </a:lnTo>
                  <a:lnTo>
                    <a:pt x="133" y="2072"/>
                  </a:lnTo>
                  <a:lnTo>
                    <a:pt x="133" y="2072"/>
                  </a:lnTo>
                  <a:lnTo>
                    <a:pt x="133" y="2072"/>
                  </a:lnTo>
                  <a:lnTo>
                    <a:pt x="133" y="2069"/>
                  </a:lnTo>
                  <a:lnTo>
                    <a:pt x="133" y="2069"/>
                  </a:lnTo>
                  <a:lnTo>
                    <a:pt x="135" y="2069"/>
                  </a:lnTo>
                  <a:lnTo>
                    <a:pt x="135" y="2069"/>
                  </a:lnTo>
                  <a:lnTo>
                    <a:pt x="135" y="2069"/>
                  </a:lnTo>
                  <a:lnTo>
                    <a:pt x="135" y="2069"/>
                  </a:lnTo>
                  <a:lnTo>
                    <a:pt x="133" y="2069"/>
                  </a:lnTo>
                  <a:lnTo>
                    <a:pt x="133" y="2067"/>
                  </a:lnTo>
                  <a:lnTo>
                    <a:pt x="133" y="2067"/>
                  </a:lnTo>
                  <a:lnTo>
                    <a:pt x="130" y="2067"/>
                  </a:lnTo>
                  <a:lnTo>
                    <a:pt x="130" y="2067"/>
                  </a:lnTo>
                  <a:lnTo>
                    <a:pt x="130" y="2067"/>
                  </a:lnTo>
                  <a:lnTo>
                    <a:pt x="133" y="2067"/>
                  </a:lnTo>
                  <a:lnTo>
                    <a:pt x="133" y="2067"/>
                  </a:lnTo>
                  <a:lnTo>
                    <a:pt x="133" y="2067"/>
                  </a:lnTo>
                  <a:lnTo>
                    <a:pt x="133" y="2067"/>
                  </a:lnTo>
                  <a:lnTo>
                    <a:pt x="133" y="2065"/>
                  </a:lnTo>
                  <a:lnTo>
                    <a:pt x="133" y="2065"/>
                  </a:lnTo>
                  <a:lnTo>
                    <a:pt x="133" y="2065"/>
                  </a:lnTo>
                  <a:lnTo>
                    <a:pt x="133" y="2065"/>
                  </a:lnTo>
                  <a:lnTo>
                    <a:pt x="133" y="2065"/>
                  </a:lnTo>
                  <a:lnTo>
                    <a:pt x="135" y="2065"/>
                  </a:lnTo>
                  <a:lnTo>
                    <a:pt x="135" y="2067"/>
                  </a:lnTo>
                  <a:lnTo>
                    <a:pt x="135" y="2067"/>
                  </a:lnTo>
                  <a:lnTo>
                    <a:pt x="135" y="2069"/>
                  </a:lnTo>
                  <a:lnTo>
                    <a:pt x="135" y="2069"/>
                  </a:lnTo>
                  <a:lnTo>
                    <a:pt x="135" y="2069"/>
                  </a:lnTo>
                  <a:lnTo>
                    <a:pt x="140" y="2072"/>
                  </a:lnTo>
                  <a:lnTo>
                    <a:pt x="140" y="2069"/>
                  </a:lnTo>
                  <a:lnTo>
                    <a:pt x="142" y="2069"/>
                  </a:lnTo>
                  <a:lnTo>
                    <a:pt x="142" y="2069"/>
                  </a:lnTo>
                  <a:lnTo>
                    <a:pt x="142" y="2069"/>
                  </a:lnTo>
                  <a:lnTo>
                    <a:pt x="142" y="2069"/>
                  </a:lnTo>
                  <a:lnTo>
                    <a:pt x="142" y="2069"/>
                  </a:lnTo>
                  <a:lnTo>
                    <a:pt x="142" y="2067"/>
                  </a:lnTo>
                  <a:lnTo>
                    <a:pt x="142" y="2067"/>
                  </a:lnTo>
                  <a:lnTo>
                    <a:pt x="142" y="2067"/>
                  </a:lnTo>
                  <a:lnTo>
                    <a:pt x="142" y="2067"/>
                  </a:lnTo>
                  <a:lnTo>
                    <a:pt x="144" y="2067"/>
                  </a:lnTo>
                  <a:lnTo>
                    <a:pt x="144" y="2067"/>
                  </a:lnTo>
                  <a:lnTo>
                    <a:pt x="144" y="2067"/>
                  </a:lnTo>
                  <a:lnTo>
                    <a:pt x="144" y="2067"/>
                  </a:lnTo>
                  <a:lnTo>
                    <a:pt x="144" y="2065"/>
                  </a:lnTo>
                  <a:lnTo>
                    <a:pt x="142" y="2065"/>
                  </a:lnTo>
                  <a:lnTo>
                    <a:pt x="142" y="2065"/>
                  </a:lnTo>
                  <a:lnTo>
                    <a:pt x="142" y="2065"/>
                  </a:lnTo>
                  <a:lnTo>
                    <a:pt x="140" y="2062"/>
                  </a:lnTo>
                  <a:lnTo>
                    <a:pt x="137" y="2060"/>
                  </a:lnTo>
                  <a:lnTo>
                    <a:pt x="137" y="2060"/>
                  </a:lnTo>
                  <a:lnTo>
                    <a:pt x="137" y="2060"/>
                  </a:lnTo>
                  <a:lnTo>
                    <a:pt x="135" y="2060"/>
                  </a:lnTo>
                  <a:lnTo>
                    <a:pt x="135" y="2062"/>
                  </a:lnTo>
                  <a:lnTo>
                    <a:pt x="135" y="2062"/>
                  </a:lnTo>
                  <a:lnTo>
                    <a:pt x="135" y="2062"/>
                  </a:lnTo>
                  <a:lnTo>
                    <a:pt x="133" y="2062"/>
                  </a:lnTo>
                  <a:lnTo>
                    <a:pt x="133" y="2062"/>
                  </a:lnTo>
                  <a:lnTo>
                    <a:pt x="133" y="2060"/>
                  </a:lnTo>
                  <a:lnTo>
                    <a:pt x="135" y="2060"/>
                  </a:lnTo>
                  <a:lnTo>
                    <a:pt x="135" y="2060"/>
                  </a:lnTo>
                  <a:lnTo>
                    <a:pt x="133" y="2058"/>
                  </a:lnTo>
                  <a:lnTo>
                    <a:pt x="133" y="2058"/>
                  </a:lnTo>
                  <a:lnTo>
                    <a:pt x="135" y="2060"/>
                  </a:lnTo>
                  <a:lnTo>
                    <a:pt x="137" y="2060"/>
                  </a:lnTo>
                  <a:lnTo>
                    <a:pt x="137" y="2060"/>
                  </a:lnTo>
                  <a:lnTo>
                    <a:pt x="137" y="2060"/>
                  </a:lnTo>
                  <a:lnTo>
                    <a:pt x="140" y="2060"/>
                  </a:lnTo>
                  <a:lnTo>
                    <a:pt x="140" y="2060"/>
                  </a:lnTo>
                  <a:lnTo>
                    <a:pt x="140" y="2060"/>
                  </a:lnTo>
                  <a:lnTo>
                    <a:pt x="142" y="2060"/>
                  </a:lnTo>
                  <a:lnTo>
                    <a:pt x="142" y="2062"/>
                  </a:lnTo>
                  <a:lnTo>
                    <a:pt x="144" y="2062"/>
                  </a:lnTo>
                  <a:lnTo>
                    <a:pt x="144" y="2062"/>
                  </a:lnTo>
                  <a:lnTo>
                    <a:pt x="144" y="2062"/>
                  </a:lnTo>
                  <a:lnTo>
                    <a:pt x="144" y="2062"/>
                  </a:lnTo>
                  <a:lnTo>
                    <a:pt x="144" y="2062"/>
                  </a:lnTo>
                  <a:lnTo>
                    <a:pt x="144" y="2062"/>
                  </a:lnTo>
                  <a:lnTo>
                    <a:pt x="144" y="2062"/>
                  </a:lnTo>
                  <a:lnTo>
                    <a:pt x="144" y="2062"/>
                  </a:lnTo>
                  <a:lnTo>
                    <a:pt x="144" y="2062"/>
                  </a:lnTo>
                  <a:lnTo>
                    <a:pt x="144" y="2060"/>
                  </a:lnTo>
                  <a:lnTo>
                    <a:pt x="144" y="2060"/>
                  </a:lnTo>
                  <a:lnTo>
                    <a:pt x="144" y="2058"/>
                  </a:lnTo>
                  <a:lnTo>
                    <a:pt x="144" y="2058"/>
                  </a:lnTo>
                  <a:lnTo>
                    <a:pt x="144" y="2058"/>
                  </a:lnTo>
                  <a:lnTo>
                    <a:pt x="144" y="2058"/>
                  </a:lnTo>
                  <a:lnTo>
                    <a:pt x="144" y="2058"/>
                  </a:lnTo>
                  <a:lnTo>
                    <a:pt x="144" y="2058"/>
                  </a:lnTo>
                  <a:lnTo>
                    <a:pt x="142" y="2055"/>
                  </a:lnTo>
                  <a:lnTo>
                    <a:pt x="142" y="2055"/>
                  </a:lnTo>
                  <a:lnTo>
                    <a:pt x="142" y="2055"/>
                  </a:lnTo>
                  <a:lnTo>
                    <a:pt x="142" y="2053"/>
                  </a:lnTo>
                  <a:lnTo>
                    <a:pt x="142" y="2053"/>
                  </a:lnTo>
                  <a:lnTo>
                    <a:pt x="142" y="2051"/>
                  </a:lnTo>
                  <a:lnTo>
                    <a:pt x="142" y="2051"/>
                  </a:lnTo>
                  <a:lnTo>
                    <a:pt x="142" y="2051"/>
                  </a:lnTo>
                  <a:lnTo>
                    <a:pt x="142" y="2051"/>
                  </a:lnTo>
                  <a:lnTo>
                    <a:pt x="140" y="2051"/>
                  </a:lnTo>
                  <a:lnTo>
                    <a:pt x="140" y="2051"/>
                  </a:lnTo>
                  <a:lnTo>
                    <a:pt x="137" y="2051"/>
                  </a:lnTo>
                  <a:lnTo>
                    <a:pt x="137" y="2051"/>
                  </a:lnTo>
                  <a:lnTo>
                    <a:pt x="137" y="2051"/>
                  </a:lnTo>
                  <a:lnTo>
                    <a:pt x="137" y="2051"/>
                  </a:lnTo>
                  <a:lnTo>
                    <a:pt x="135" y="2051"/>
                  </a:lnTo>
                  <a:lnTo>
                    <a:pt x="135" y="2051"/>
                  </a:lnTo>
                  <a:lnTo>
                    <a:pt x="135" y="2051"/>
                  </a:lnTo>
                  <a:lnTo>
                    <a:pt x="133" y="2051"/>
                  </a:lnTo>
                  <a:lnTo>
                    <a:pt x="133" y="2053"/>
                  </a:lnTo>
                  <a:lnTo>
                    <a:pt x="133" y="2053"/>
                  </a:lnTo>
                  <a:lnTo>
                    <a:pt x="126" y="2051"/>
                  </a:lnTo>
                  <a:lnTo>
                    <a:pt x="126" y="2051"/>
                  </a:lnTo>
                  <a:lnTo>
                    <a:pt x="123" y="2051"/>
                  </a:lnTo>
                  <a:lnTo>
                    <a:pt x="123" y="2051"/>
                  </a:lnTo>
                  <a:lnTo>
                    <a:pt x="123" y="2051"/>
                  </a:lnTo>
                  <a:lnTo>
                    <a:pt x="123" y="2051"/>
                  </a:lnTo>
                  <a:lnTo>
                    <a:pt x="121" y="2051"/>
                  </a:lnTo>
                  <a:lnTo>
                    <a:pt x="118" y="2051"/>
                  </a:lnTo>
                  <a:lnTo>
                    <a:pt x="118" y="2051"/>
                  </a:lnTo>
                  <a:lnTo>
                    <a:pt x="118" y="2048"/>
                  </a:lnTo>
                  <a:lnTo>
                    <a:pt x="116" y="2048"/>
                  </a:lnTo>
                  <a:lnTo>
                    <a:pt x="116" y="2048"/>
                  </a:lnTo>
                  <a:lnTo>
                    <a:pt x="116" y="2051"/>
                  </a:lnTo>
                  <a:lnTo>
                    <a:pt x="116" y="2051"/>
                  </a:lnTo>
                  <a:lnTo>
                    <a:pt x="116" y="2051"/>
                  </a:lnTo>
                  <a:lnTo>
                    <a:pt x="116" y="2051"/>
                  </a:lnTo>
                  <a:lnTo>
                    <a:pt x="116" y="2053"/>
                  </a:lnTo>
                  <a:lnTo>
                    <a:pt x="116" y="2053"/>
                  </a:lnTo>
                  <a:lnTo>
                    <a:pt x="116" y="2053"/>
                  </a:lnTo>
                  <a:lnTo>
                    <a:pt x="116" y="2053"/>
                  </a:lnTo>
                  <a:lnTo>
                    <a:pt x="116" y="2055"/>
                  </a:lnTo>
                  <a:lnTo>
                    <a:pt x="116" y="2055"/>
                  </a:lnTo>
                  <a:lnTo>
                    <a:pt x="116" y="2055"/>
                  </a:lnTo>
                  <a:lnTo>
                    <a:pt x="118" y="2055"/>
                  </a:lnTo>
                  <a:lnTo>
                    <a:pt x="118" y="2055"/>
                  </a:lnTo>
                  <a:lnTo>
                    <a:pt x="118" y="2055"/>
                  </a:lnTo>
                  <a:lnTo>
                    <a:pt x="118" y="2055"/>
                  </a:lnTo>
                  <a:lnTo>
                    <a:pt x="121" y="2055"/>
                  </a:lnTo>
                  <a:lnTo>
                    <a:pt x="121" y="2055"/>
                  </a:lnTo>
                  <a:lnTo>
                    <a:pt x="121" y="2055"/>
                  </a:lnTo>
                  <a:lnTo>
                    <a:pt x="121" y="2055"/>
                  </a:lnTo>
                  <a:lnTo>
                    <a:pt x="121" y="2058"/>
                  </a:lnTo>
                  <a:lnTo>
                    <a:pt x="123" y="2058"/>
                  </a:lnTo>
                  <a:lnTo>
                    <a:pt x="126" y="2058"/>
                  </a:lnTo>
                  <a:lnTo>
                    <a:pt x="126" y="2060"/>
                  </a:lnTo>
                  <a:lnTo>
                    <a:pt x="126" y="2060"/>
                  </a:lnTo>
                  <a:lnTo>
                    <a:pt x="128" y="2060"/>
                  </a:lnTo>
                  <a:lnTo>
                    <a:pt x="128" y="2060"/>
                  </a:lnTo>
                  <a:lnTo>
                    <a:pt x="128" y="2060"/>
                  </a:lnTo>
                  <a:lnTo>
                    <a:pt x="128" y="2062"/>
                  </a:lnTo>
                  <a:lnTo>
                    <a:pt x="126" y="2062"/>
                  </a:lnTo>
                  <a:lnTo>
                    <a:pt x="126" y="2062"/>
                  </a:lnTo>
                  <a:lnTo>
                    <a:pt x="126" y="2062"/>
                  </a:lnTo>
                  <a:lnTo>
                    <a:pt x="126" y="2062"/>
                  </a:lnTo>
                  <a:lnTo>
                    <a:pt x="126" y="2062"/>
                  </a:lnTo>
                  <a:lnTo>
                    <a:pt x="126" y="2062"/>
                  </a:lnTo>
                  <a:lnTo>
                    <a:pt x="126" y="2065"/>
                  </a:lnTo>
                  <a:lnTo>
                    <a:pt x="126" y="2062"/>
                  </a:lnTo>
                  <a:lnTo>
                    <a:pt x="126" y="2062"/>
                  </a:lnTo>
                  <a:lnTo>
                    <a:pt x="126" y="2062"/>
                  </a:lnTo>
                  <a:lnTo>
                    <a:pt x="126" y="2062"/>
                  </a:lnTo>
                  <a:lnTo>
                    <a:pt x="126" y="2062"/>
                  </a:lnTo>
                  <a:lnTo>
                    <a:pt x="126" y="2062"/>
                  </a:lnTo>
                  <a:lnTo>
                    <a:pt x="123" y="2062"/>
                  </a:lnTo>
                  <a:lnTo>
                    <a:pt x="123" y="2062"/>
                  </a:lnTo>
                  <a:lnTo>
                    <a:pt x="123" y="2062"/>
                  </a:lnTo>
                  <a:lnTo>
                    <a:pt x="123" y="2062"/>
                  </a:lnTo>
                  <a:lnTo>
                    <a:pt x="123" y="2060"/>
                  </a:lnTo>
                  <a:lnTo>
                    <a:pt x="121" y="2062"/>
                  </a:lnTo>
                  <a:lnTo>
                    <a:pt x="121" y="2062"/>
                  </a:lnTo>
                  <a:lnTo>
                    <a:pt x="121" y="2060"/>
                  </a:lnTo>
                  <a:lnTo>
                    <a:pt x="121" y="2060"/>
                  </a:lnTo>
                  <a:lnTo>
                    <a:pt x="121" y="2062"/>
                  </a:lnTo>
                  <a:lnTo>
                    <a:pt x="121" y="2062"/>
                  </a:lnTo>
                  <a:lnTo>
                    <a:pt x="121" y="2062"/>
                  </a:lnTo>
                  <a:lnTo>
                    <a:pt x="121" y="2062"/>
                  </a:lnTo>
                  <a:lnTo>
                    <a:pt x="121" y="2065"/>
                  </a:lnTo>
                  <a:lnTo>
                    <a:pt x="121" y="2065"/>
                  </a:lnTo>
                  <a:lnTo>
                    <a:pt x="123" y="2067"/>
                  </a:lnTo>
                  <a:lnTo>
                    <a:pt x="121" y="2067"/>
                  </a:lnTo>
                  <a:lnTo>
                    <a:pt x="121" y="2067"/>
                  </a:lnTo>
                  <a:lnTo>
                    <a:pt x="121" y="2069"/>
                  </a:lnTo>
                  <a:lnTo>
                    <a:pt x="121" y="2069"/>
                  </a:lnTo>
                  <a:lnTo>
                    <a:pt x="121" y="2069"/>
                  </a:lnTo>
                  <a:lnTo>
                    <a:pt x="123" y="2069"/>
                  </a:lnTo>
                  <a:lnTo>
                    <a:pt x="123" y="2069"/>
                  </a:lnTo>
                  <a:lnTo>
                    <a:pt x="123" y="2069"/>
                  </a:lnTo>
                  <a:lnTo>
                    <a:pt x="123" y="2072"/>
                  </a:lnTo>
                  <a:lnTo>
                    <a:pt x="123" y="2072"/>
                  </a:lnTo>
                  <a:lnTo>
                    <a:pt x="123" y="2072"/>
                  </a:lnTo>
                  <a:lnTo>
                    <a:pt x="123" y="2074"/>
                  </a:lnTo>
                  <a:lnTo>
                    <a:pt x="123" y="2074"/>
                  </a:lnTo>
                  <a:lnTo>
                    <a:pt x="126" y="2072"/>
                  </a:lnTo>
                  <a:lnTo>
                    <a:pt x="126" y="2072"/>
                  </a:lnTo>
                  <a:lnTo>
                    <a:pt x="126" y="2072"/>
                  </a:lnTo>
                  <a:lnTo>
                    <a:pt x="126" y="2069"/>
                  </a:lnTo>
                  <a:lnTo>
                    <a:pt x="126" y="2067"/>
                  </a:lnTo>
                  <a:lnTo>
                    <a:pt x="128" y="2069"/>
                  </a:lnTo>
                  <a:lnTo>
                    <a:pt x="128" y="2072"/>
                  </a:lnTo>
                  <a:lnTo>
                    <a:pt x="128" y="2072"/>
                  </a:lnTo>
                  <a:lnTo>
                    <a:pt x="130" y="2072"/>
                  </a:lnTo>
                  <a:lnTo>
                    <a:pt x="130" y="2074"/>
                  </a:lnTo>
                  <a:lnTo>
                    <a:pt x="130" y="2074"/>
                  </a:lnTo>
                  <a:lnTo>
                    <a:pt x="130" y="2074"/>
                  </a:lnTo>
                  <a:lnTo>
                    <a:pt x="130" y="2077"/>
                  </a:lnTo>
                  <a:lnTo>
                    <a:pt x="130" y="2077"/>
                  </a:lnTo>
                  <a:lnTo>
                    <a:pt x="130" y="2077"/>
                  </a:lnTo>
                  <a:lnTo>
                    <a:pt x="130" y="2077"/>
                  </a:lnTo>
                  <a:lnTo>
                    <a:pt x="130" y="2077"/>
                  </a:lnTo>
                  <a:lnTo>
                    <a:pt x="130" y="2077"/>
                  </a:lnTo>
                  <a:lnTo>
                    <a:pt x="128" y="2074"/>
                  </a:lnTo>
                  <a:lnTo>
                    <a:pt x="128" y="2072"/>
                  </a:lnTo>
                  <a:lnTo>
                    <a:pt x="128" y="2074"/>
                  </a:lnTo>
                  <a:lnTo>
                    <a:pt x="128" y="2074"/>
                  </a:lnTo>
                  <a:lnTo>
                    <a:pt x="128" y="2077"/>
                  </a:lnTo>
                  <a:lnTo>
                    <a:pt x="128" y="2077"/>
                  </a:lnTo>
                  <a:lnTo>
                    <a:pt x="128" y="2074"/>
                  </a:lnTo>
                  <a:lnTo>
                    <a:pt x="128" y="2074"/>
                  </a:lnTo>
                  <a:lnTo>
                    <a:pt x="126" y="2074"/>
                  </a:lnTo>
                  <a:lnTo>
                    <a:pt x="126" y="2074"/>
                  </a:lnTo>
                  <a:lnTo>
                    <a:pt x="126" y="2074"/>
                  </a:lnTo>
                  <a:lnTo>
                    <a:pt x="126" y="2079"/>
                  </a:lnTo>
                  <a:lnTo>
                    <a:pt x="128" y="2081"/>
                  </a:lnTo>
                  <a:lnTo>
                    <a:pt x="128" y="2081"/>
                  </a:lnTo>
                  <a:lnTo>
                    <a:pt x="128" y="2081"/>
                  </a:lnTo>
                  <a:lnTo>
                    <a:pt x="128" y="2081"/>
                  </a:lnTo>
                  <a:lnTo>
                    <a:pt x="128" y="2081"/>
                  </a:lnTo>
                  <a:lnTo>
                    <a:pt x="128" y="2081"/>
                  </a:lnTo>
                  <a:lnTo>
                    <a:pt x="128" y="2084"/>
                  </a:lnTo>
                  <a:lnTo>
                    <a:pt x="128" y="2084"/>
                  </a:lnTo>
                  <a:lnTo>
                    <a:pt x="128" y="2084"/>
                  </a:lnTo>
                  <a:lnTo>
                    <a:pt x="128" y="2084"/>
                  </a:lnTo>
                  <a:lnTo>
                    <a:pt x="133" y="2088"/>
                  </a:lnTo>
                  <a:lnTo>
                    <a:pt x="133" y="2091"/>
                  </a:lnTo>
                  <a:lnTo>
                    <a:pt x="133" y="2091"/>
                  </a:lnTo>
                  <a:lnTo>
                    <a:pt x="135" y="2093"/>
                  </a:lnTo>
                  <a:lnTo>
                    <a:pt x="135" y="2093"/>
                  </a:lnTo>
                  <a:lnTo>
                    <a:pt x="135" y="2093"/>
                  </a:lnTo>
                  <a:lnTo>
                    <a:pt x="135" y="2095"/>
                  </a:lnTo>
                  <a:lnTo>
                    <a:pt x="135" y="2095"/>
                  </a:lnTo>
                  <a:lnTo>
                    <a:pt x="135" y="2095"/>
                  </a:lnTo>
                  <a:lnTo>
                    <a:pt x="135" y="2095"/>
                  </a:lnTo>
                  <a:lnTo>
                    <a:pt x="137" y="2095"/>
                  </a:lnTo>
                  <a:lnTo>
                    <a:pt x="137" y="2095"/>
                  </a:lnTo>
                  <a:lnTo>
                    <a:pt x="137" y="2095"/>
                  </a:lnTo>
                  <a:lnTo>
                    <a:pt x="137" y="2098"/>
                  </a:lnTo>
                  <a:lnTo>
                    <a:pt x="137" y="2098"/>
                  </a:lnTo>
                  <a:lnTo>
                    <a:pt x="137" y="2098"/>
                  </a:lnTo>
                  <a:lnTo>
                    <a:pt x="137" y="2098"/>
                  </a:lnTo>
                  <a:lnTo>
                    <a:pt x="135" y="2098"/>
                  </a:lnTo>
                  <a:lnTo>
                    <a:pt x="135" y="2098"/>
                  </a:lnTo>
                  <a:lnTo>
                    <a:pt x="135" y="2098"/>
                  </a:lnTo>
                  <a:lnTo>
                    <a:pt x="135" y="2100"/>
                  </a:lnTo>
                  <a:lnTo>
                    <a:pt x="135" y="2100"/>
                  </a:lnTo>
                  <a:lnTo>
                    <a:pt x="135" y="2100"/>
                  </a:lnTo>
                  <a:lnTo>
                    <a:pt x="135" y="2100"/>
                  </a:lnTo>
                  <a:lnTo>
                    <a:pt x="137" y="2100"/>
                  </a:lnTo>
                  <a:lnTo>
                    <a:pt x="135" y="2100"/>
                  </a:lnTo>
                  <a:lnTo>
                    <a:pt x="135" y="2100"/>
                  </a:lnTo>
                  <a:lnTo>
                    <a:pt x="135" y="2100"/>
                  </a:lnTo>
                  <a:lnTo>
                    <a:pt x="135" y="2103"/>
                  </a:lnTo>
                  <a:lnTo>
                    <a:pt x="135" y="2103"/>
                  </a:lnTo>
                  <a:lnTo>
                    <a:pt x="137" y="2100"/>
                  </a:lnTo>
                  <a:lnTo>
                    <a:pt x="137" y="2103"/>
                  </a:lnTo>
                  <a:lnTo>
                    <a:pt x="137" y="2103"/>
                  </a:lnTo>
                  <a:lnTo>
                    <a:pt x="137" y="2103"/>
                  </a:lnTo>
                  <a:lnTo>
                    <a:pt x="137" y="2105"/>
                  </a:lnTo>
                  <a:lnTo>
                    <a:pt x="137" y="2105"/>
                  </a:lnTo>
                  <a:lnTo>
                    <a:pt x="137" y="2105"/>
                  </a:lnTo>
                  <a:lnTo>
                    <a:pt x="137" y="2107"/>
                  </a:lnTo>
                  <a:lnTo>
                    <a:pt x="137" y="2107"/>
                  </a:lnTo>
                  <a:lnTo>
                    <a:pt x="140" y="2110"/>
                  </a:lnTo>
                  <a:lnTo>
                    <a:pt x="140" y="2110"/>
                  </a:lnTo>
                  <a:lnTo>
                    <a:pt x="140" y="2107"/>
                  </a:lnTo>
                  <a:lnTo>
                    <a:pt x="140" y="2107"/>
                  </a:lnTo>
                  <a:lnTo>
                    <a:pt x="140" y="2110"/>
                  </a:lnTo>
                  <a:lnTo>
                    <a:pt x="142" y="2110"/>
                  </a:lnTo>
                  <a:lnTo>
                    <a:pt x="142" y="2112"/>
                  </a:lnTo>
                  <a:lnTo>
                    <a:pt x="142" y="2112"/>
                  </a:lnTo>
                  <a:lnTo>
                    <a:pt x="142" y="2112"/>
                  </a:lnTo>
                  <a:lnTo>
                    <a:pt x="142" y="2114"/>
                  </a:lnTo>
                  <a:lnTo>
                    <a:pt x="142" y="2114"/>
                  </a:lnTo>
                  <a:lnTo>
                    <a:pt x="142" y="2114"/>
                  </a:lnTo>
                  <a:lnTo>
                    <a:pt x="142" y="2112"/>
                  </a:lnTo>
                  <a:lnTo>
                    <a:pt x="142" y="2107"/>
                  </a:lnTo>
                  <a:lnTo>
                    <a:pt x="144" y="2110"/>
                  </a:lnTo>
                  <a:lnTo>
                    <a:pt x="144" y="2110"/>
                  </a:lnTo>
                  <a:lnTo>
                    <a:pt x="144" y="2112"/>
                  </a:lnTo>
                  <a:lnTo>
                    <a:pt x="144" y="2112"/>
                  </a:lnTo>
                  <a:lnTo>
                    <a:pt x="144" y="2114"/>
                  </a:lnTo>
                  <a:lnTo>
                    <a:pt x="144" y="2114"/>
                  </a:lnTo>
                  <a:lnTo>
                    <a:pt x="144" y="2114"/>
                  </a:lnTo>
                  <a:lnTo>
                    <a:pt x="144" y="2114"/>
                  </a:lnTo>
                  <a:lnTo>
                    <a:pt x="147" y="2112"/>
                  </a:lnTo>
                  <a:lnTo>
                    <a:pt x="147" y="2110"/>
                  </a:lnTo>
                  <a:lnTo>
                    <a:pt x="147" y="2112"/>
                  </a:lnTo>
                  <a:lnTo>
                    <a:pt x="147" y="2112"/>
                  </a:lnTo>
                  <a:lnTo>
                    <a:pt x="147" y="2112"/>
                  </a:lnTo>
                  <a:lnTo>
                    <a:pt x="147" y="2114"/>
                  </a:lnTo>
                  <a:lnTo>
                    <a:pt x="147" y="2114"/>
                  </a:lnTo>
                  <a:lnTo>
                    <a:pt x="149" y="2114"/>
                  </a:lnTo>
                  <a:lnTo>
                    <a:pt x="149" y="2114"/>
                  </a:lnTo>
                  <a:lnTo>
                    <a:pt x="149" y="2114"/>
                  </a:lnTo>
                  <a:lnTo>
                    <a:pt x="152" y="2112"/>
                  </a:lnTo>
                  <a:lnTo>
                    <a:pt x="152" y="2112"/>
                  </a:lnTo>
                  <a:lnTo>
                    <a:pt x="152" y="2112"/>
                  </a:lnTo>
                  <a:lnTo>
                    <a:pt x="152" y="2110"/>
                  </a:lnTo>
                  <a:lnTo>
                    <a:pt x="149" y="2110"/>
                  </a:lnTo>
                  <a:close/>
                  <a:moveTo>
                    <a:pt x="251" y="2145"/>
                  </a:moveTo>
                  <a:lnTo>
                    <a:pt x="251" y="2145"/>
                  </a:lnTo>
                  <a:lnTo>
                    <a:pt x="251" y="2145"/>
                  </a:lnTo>
                  <a:lnTo>
                    <a:pt x="251" y="2145"/>
                  </a:lnTo>
                  <a:lnTo>
                    <a:pt x="251" y="2148"/>
                  </a:lnTo>
                  <a:lnTo>
                    <a:pt x="249" y="2150"/>
                  </a:lnTo>
                  <a:lnTo>
                    <a:pt x="249" y="2152"/>
                  </a:lnTo>
                  <a:lnTo>
                    <a:pt x="249" y="2155"/>
                  </a:lnTo>
                  <a:lnTo>
                    <a:pt x="249" y="2155"/>
                  </a:lnTo>
                  <a:lnTo>
                    <a:pt x="251" y="2152"/>
                  </a:lnTo>
                  <a:lnTo>
                    <a:pt x="251" y="2152"/>
                  </a:lnTo>
                  <a:lnTo>
                    <a:pt x="253" y="2152"/>
                  </a:lnTo>
                  <a:lnTo>
                    <a:pt x="253" y="2152"/>
                  </a:lnTo>
                  <a:lnTo>
                    <a:pt x="256" y="2152"/>
                  </a:lnTo>
                  <a:lnTo>
                    <a:pt x="256" y="2152"/>
                  </a:lnTo>
                  <a:lnTo>
                    <a:pt x="256" y="2152"/>
                  </a:lnTo>
                  <a:lnTo>
                    <a:pt x="256" y="2150"/>
                  </a:lnTo>
                  <a:lnTo>
                    <a:pt x="256" y="2150"/>
                  </a:lnTo>
                  <a:lnTo>
                    <a:pt x="258" y="2145"/>
                  </a:lnTo>
                  <a:lnTo>
                    <a:pt x="260" y="2145"/>
                  </a:lnTo>
                  <a:lnTo>
                    <a:pt x="260" y="2145"/>
                  </a:lnTo>
                  <a:lnTo>
                    <a:pt x="260" y="2145"/>
                  </a:lnTo>
                  <a:lnTo>
                    <a:pt x="260" y="2145"/>
                  </a:lnTo>
                  <a:lnTo>
                    <a:pt x="263" y="2143"/>
                  </a:lnTo>
                  <a:lnTo>
                    <a:pt x="263" y="2143"/>
                  </a:lnTo>
                  <a:lnTo>
                    <a:pt x="263" y="2143"/>
                  </a:lnTo>
                  <a:lnTo>
                    <a:pt x="263" y="2143"/>
                  </a:lnTo>
                  <a:lnTo>
                    <a:pt x="265" y="2143"/>
                  </a:lnTo>
                  <a:lnTo>
                    <a:pt x="265" y="2143"/>
                  </a:lnTo>
                  <a:lnTo>
                    <a:pt x="268" y="2143"/>
                  </a:lnTo>
                  <a:lnTo>
                    <a:pt x="268" y="2140"/>
                  </a:lnTo>
                  <a:lnTo>
                    <a:pt x="268" y="2140"/>
                  </a:lnTo>
                  <a:lnTo>
                    <a:pt x="270" y="2143"/>
                  </a:lnTo>
                  <a:lnTo>
                    <a:pt x="270" y="2143"/>
                  </a:lnTo>
                  <a:lnTo>
                    <a:pt x="270" y="2143"/>
                  </a:lnTo>
                  <a:lnTo>
                    <a:pt x="270" y="2143"/>
                  </a:lnTo>
                  <a:lnTo>
                    <a:pt x="270" y="2140"/>
                  </a:lnTo>
                  <a:lnTo>
                    <a:pt x="272" y="2140"/>
                  </a:lnTo>
                  <a:lnTo>
                    <a:pt x="275" y="2140"/>
                  </a:lnTo>
                  <a:lnTo>
                    <a:pt x="277" y="2138"/>
                  </a:lnTo>
                  <a:lnTo>
                    <a:pt x="275" y="2138"/>
                  </a:lnTo>
                  <a:lnTo>
                    <a:pt x="275" y="2136"/>
                  </a:lnTo>
                  <a:lnTo>
                    <a:pt x="277" y="2136"/>
                  </a:lnTo>
                  <a:lnTo>
                    <a:pt x="277" y="2133"/>
                  </a:lnTo>
                  <a:lnTo>
                    <a:pt x="275" y="2133"/>
                  </a:lnTo>
                  <a:lnTo>
                    <a:pt x="275" y="2133"/>
                  </a:lnTo>
                  <a:lnTo>
                    <a:pt x="275" y="2133"/>
                  </a:lnTo>
                  <a:lnTo>
                    <a:pt x="275" y="2133"/>
                  </a:lnTo>
                  <a:lnTo>
                    <a:pt x="270" y="2133"/>
                  </a:lnTo>
                  <a:lnTo>
                    <a:pt x="270" y="2133"/>
                  </a:lnTo>
                  <a:lnTo>
                    <a:pt x="270" y="2136"/>
                  </a:lnTo>
                  <a:lnTo>
                    <a:pt x="268" y="2136"/>
                  </a:lnTo>
                  <a:lnTo>
                    <a:pt x="268" y="2136"/>
                  </a:lnTo>
                  <a:lnTo>
                    <a:pt x="268" y="2136"/>
                  </a:lnTo>
                  <a:lnTo>
                    <a:pt x="268" y="2138"/>
                  </a:lnTo>
                  <a:lnTo>
                    <a:pt x="265" y="2138"/>
                  </a:lnTo>
                  <a:lnTo>
                    <a:pt x="265" y="2138"/>
                  </a:lnTo>
                  <a:lnTo>
                    <a:pt x="265" y="2138"/>
                  </a:lnTo>
                  <a:lnTo>
                    <a:pt x="265" y="2138"/>
                  </a:lnTo>
                  <a:lnTo>
                    <a:pt x="263" y="2138"/>
                  </a:lnTo>
                  <a:lnTo>
                    <a:pt x="263" y="2138"/>
                  </a:lnTo>
                  <a:lnTo>
                    <a:pt x="260" y="2140"/>
                  </a:lnTo>
                  <a:lnTo>
                    <a:pt x="258" y="2138"/>
                  </a:lnTo>
                  <a:lnTo>
                    <a:pt x="258" y="2138"/>
                  </a:lnTo>
                  <a:lnTo>
                    <a:pt x="256" y="2140"/>
                  </a:lnTo>
                  <a:lnTo>
                    <a:pt x="256" y="2140"/>
                  </a:lnTo>
                  <a:lnTo>
                    <a:pt x="253" y="2140"/>
                  </a:lnTo>
                  <a:lnTo>
                    <a:pt x="253" y="2143"/>
                  </a:lnTo>
                  <a:lnTo>
                    <a:pt x="253" y="2143"/>
                  </a:lnTo>
                  <a:lnTo>
                    <a:pt x="253" y="2145"/>
                  </a:lnTo>
                  <a:lnTo>
                    <a:pt x="253" y="2145"/>
                  </a:lnTo>
                  <a:lnTo>
                    <a:pt x="251" y="2145"/>
                  </a:lnTo>
                  <a:lnTo>
                    <a:pt x="251" y="2145"/>
                  </a:lnTo>
                  <a:close/>
                  <a:moveTo>
                    <a:pt x="253" y="1043"/>
                  </a:moveTo>
                  <a:lnTo>
                    <a:pt x="253" y="1043"/>
                  </a:lnTo>
                  <a:lnTo>
                    <a:pt x="253" y="1043"/>
                  </a:lnTo>
                  <a:lnTo>
                    <a:pt x="253" y="1043"/>
                  </a:lnTo>
                  <a:lnTo>
                    <a:pt x="253" y="1043"/>
                  </a:lnTo>
                  <a:lnTo>
                    <a:pt x="253" y="1043"/>
                  </a:lnTo>
                  <a:lnTo>
                    <a:pt x="253" y="1045"/>
                  </a:lnTo>
                  <a:lnTo>
                    <a:pt x="253" y="1045"/>
                  </a:lnTo>
                  <a:lnTo>
                    <a:pt x="253" y="1045"/>
                  </a:lnTo>
                  <a:lnTo>
                    <a:pt x="256" y="1048"/>
                  </a:lnTo>
                  <a:lnTo>
                    <a:pt x="256" y="1048"/>
                  </a:lnTo>
                  <a:lnTo>
                    <a:pt x="256" y="1048"/>
                  </a:lnTo>
                  <a:lnTo>
                    <a:pt x="258" y="1045"/>
                  </a:lnTo>
                  <a:lnTo>
                    <a:pt x="258" y="1045"/>
                  </a:lnTo>
                  <a:lnTo>
                    <a:pt x="260" y="1045"/>
                  </a:lnTo>
                  <a:lnTo>
                    <a:pt x="260" y="1045"/>
                  </a:lnTo>
                  <a:lnTo>
                    <a:pt x="263" y="1045"/>
                  </a:lnTo>
                  <a:lnTo>
                    <a:pt x="263" y="1045"/>
                  </a:lnTo>
                  <a:lnTo>
                    <a:pt x="263" y="1043"/>
                  </a:lnTo>
                  <a:lnTo>
                    <a:pt x="260" y="1043"/>
                  </a:lnTo>
                  <a:lnTo>
                    <a:pt x="260" y="1043"/>
                  </a:lnTo>
                  <a:lnTo>
                    <a:pt x="258" y="1040"/>
                  </a:lnTo>
                  <a:lnTo>
                    <a:pt x="258" y="1040"/>
                  </a:lnTo>
                  <a:lnTo>
                    <a:pt x="258" y="1040"/>
                  </a:lnTo>
                  <a:lnTo>
                    <a:pt x="256" y="1040"/>
                  </a:lnTo>
                  <a:lnTo>
                    <a:pt x="253" y="1043"/>
                  </a:lnTo>
                  <a:lnTo>
                    <a:pt x="251" y="1043"/>
                  </a:lnTo>
                  <a:lnTo>
                    <a:pt x="251" y="1043"/>
                  </a:lnTo>
                  <a:lnTo>
                    <a:pt x="253" y="1043"/>
                  </a:lnTo>
                  <a:close/>
                  <a:moveTo>
                    <a:pt x="149" y="2117"/>
                  </a:moveTo>
                  <a:lnTo>
                    <a:pt x="149" y="2117"/>
                  </a:lnTo>
                  <a:lnTo>
                    <a:pt x="149" y="2117"/>
                  </a:lnTo>
                  <a:lnTo>
                    <a:pt x="149" y="2117"/>
                  </a:lnTo>
                  <a:lnTo>
                    <a:pt x="149" y="2117"/>
                  </a:lnTo>
                  <a:lnTo>
                    <a:pt x="149" y="2117"/>
                  </a:lnTo>
                  <a:lnTo>
                    <a:pt x="149" y="2117"/>
                  </a:lnTo>
                  <a:lnTo>
                    <a:pt x="149" y="2117"/>
                  </a:lnTo>
                  <a:lnTo>
                    <a:pt x="149" y="2114"/>
                  </a:lnTo>
                  <a:lnTo>
                    <a:pt x="149" y="2114"/>
                  </a:lnTo>
                  <a:lnTo>
                    <a:pt x="149" y="2114"/>
                  </a:lnTo>
                  <a:lnTo>
                    <a:pt x="147" y="2114"/>
                  </a:lnTo>
                  <a:lnTo>
                    <a:pt x="147" y="2114"/>
                  </a:lnTo>
                  <a:lnTo>
                    <a:pt x="147" y="2114"/>
                  </a:lnTo>
                  <a:lnTo>
                    <a:pt x="147" y="2114"/>
                  </a:lnTo>
                  <a:lnTo>
                    <a:pt x="147" y="2117"/>
                  </a:lnTo>
                  <a:lnTo>
                    <a:pt x="144" y="2117"/>
                  </a:lnTo>
                  <a:lnTo>
                    <a:pt x="144" y="2119"/>
                  </a:lnTo>
                  <a:lnTo>
                    <a:pt x="144" y="2119"/>
                  </a:lnTo>
                  <a:lnTo>
                    <a:pt x="144" y="2119"/>
                  </a:lnTo>
                  <a:lnTo>
                    <a:pt x="144" y="2122"/>
                  </a:lnTo>
                  <a:lnTo>
                    <a:pt x="147" y="2122"/>
                  </a:lnTo>
                  <a:lnTo>
                    <a:pt x="144" y="2122"/>
                  </a:lnTo>
                  <a:lnTo>
                    <a:pt x="144" y="2122"/>
                  </a:lnTo>
                  <a:lnTo>
                    <a:pt x="144" y="2122"/>
                  </a:lnTo>
                  <a:lnTo>
                    <a:pt x="144" y="2124"/>
                  </a:lnTo>
                  <a:lnTo>
                    <a:pt x="147" y="2126"/>
                  </a:lnTo>
                  <a:lnTo>
                    <a:pt x="147" y="2126"/>
                  </a:lnTo>
                  <a:lnTo>
                    <a:pt x="147" y="2126"/>
                  </a:lnTo>
                  <a:lnTo>
                    <a:pt x="147" y="2124"/>
                  </a:lnTo>
                  <a:lnTo>
                    <a:pt x="147" y="2124"/>
                  </a:lnTo>
                  <a:lnTo>
                    <a:pt x="147" y="2124"/>
                  </a:lnTo>
                  <a:lnTo>
                    <a:pt x="147" y="2124"/>
                  </a:lnTo>
                  <a:lnTo>
                    <a:pt x="147" y="2122"/>
                  </a:lnTo>
                  <a:lnTo>
                    <a:pt x="147" y="2122"/>
                  </a:lnTo>
                  <a:lnTo>
                    <a:pt x="147" y="2122"/>
                  </a:lnTo>
                  <a:lnTo>
                    <a:pt x="149" y="2124"/>
                  </a:lnTo>
                  <a:lnTo>
                    <a:pt x="149" y="2124"/>
                  </a:lnTo>
                  <a:lnTo>
                    <a:pt x="149" y="2122"/>
                  </a:lnTo>
                  <a:lnTo>
                    <a:pt x="147" y="2122"/>
                  </a:lnTo>
                  <a:lnTo>
                    <a:pt x="147" y="2119"/>
                  </a:lnTo>
                  <a:lnTo>
                    <a:pt x="147" y="2119"/>
                  </a:lnTo>
                  <a:lnTo>
                    <a:pt x="147" y="2119"/>
                  </a:lnTo>
                  <a:lnTo>
                    <a:pt x="147" y="2119"/>
                  </a:lnTo>
                  <a:lnTo>
                    <a:pt x="149" y="2119"/>
                  </a:lnTo>
                  <a:lnTo>
                    <a:pt x="149" y="2119"/>
                  </a:lnTo>
                  <a:lnTo>
                    <a:pt x="149" y="2119"/>
                  </a:lnTo>
                  <a:lnTo>
                    <a:pt x="152" y="2119"/>
                  </a:lnTo>
                  <a:lnTo>
                    <a:pt x="152" y="2119"/>
                  </a:lnTo>
                  <a:lnTo>
                    <a:pt x="152" y="2119"/>
                  </a:lnTo>
                  <a:lnTo>
                    <a:pt x="149" y="2117"/>
                  </a:lnTo>
                  <a:close/>
                  <a:moveTo>
                    <a:pt x="144" y="2081"/>
                  </a:moveTo>
                  <a:lnTo>
                    <a:pt x="144" y="2081"/>
                  </a:lnTo>
                  <a:lnTo>
                    <a:pt x="144" y="2081"/>
                  </a:lnTo>
                  <a:lnTo>
                    <a:pt x="144" y="2081"/>
                  </a:lnTo>
                  <a:lnTo>
                    <a:pt x="142" y="2081"/>
                  </a:lnTo>
                  <a:lnTo>
                    <a:pt x="142" y="2081"/>
                  </a:lnTo>
                  <a:lnTo>
                    <a:pt x="142" y="2081"/>
                  </a:lnTo>
                  <a:lnTo>
                    <a:pt x="142" y="2081"/>
                  </a:lnTo>
                  <a:lnTo>
                    <a:pt x="140" y="2081"/>
                  </a:lnTo>
                  <a:lnTo>
                    <a:pt x="140" y="2081"/>
                  </a:lnTo>
                  <a:lnTo>
                    <a:pt x="140" y="2081"/>
                  </a:lnTo>
                  <a:lnTo>
                    <a:pt x="137" y="2079"/>
                  </a:lnTo>
                  <a:lnTo>
                    <a:pt x="137" y="2079"/>
                  </a:lnTo>
                  <a:lnTo>
                    <a:pt x="137" y="2079"/>
                  </a:lnTo>
                  <a:lnTo>
                    <a:pt x="137" y="2079"/>
                  </a:lnTo>
                  <a:lnTo>
                    <a:pt x="140" y="2079"/>
                  </a:lnTo>
                  <a:lnTo>
                    <a:pt x="142" y="2079"/>
                  </a:lnTo>
                  <a:lnTo>
                    <a:pt x="140" y="2079"/>
                  </a:lnTo>
                  <a:lnTo>
                    <a:pt x="137" y="2079"/>
                  </a:lnTo>
                  <a:lnTo>
                    <a:pt x="137" y="2079"/>
                  </a:lnTo>
                  <a:lnTo>
                    <a:pt x="137" y="2079"/>
                  </a:lnTo>
                  <a:lnTo>
                    <a:pt x="137" y="2081"/>
                  </a:lnTo>
                  <a:lnTo>
                    <a:pt x="137" y="2084"/>
                  </a:lnTo>
                  <a:lnTo>
                    <a:pt x="137" y="2086"/>
                  </a:lnTo>
                  <a:lnTo>
                    <a:pt x="137" y="2086"/>
                  </a:lnTo>
                  <a:lnTo>
                    <a:pt x="140" y="2086"/>
                  </a:lnTo>
                  <a:lnTo>
                    <a:pt x="140" y="2086"/>
                  </a:lnTo>
                  <a:lnTo>
                    <a:pt x="140" y="2084"/>
                  </a:lnTo>
                  <a:lnTo>
                    <a:pt x="140" y="2084"/>
                  </a:lnTo>
                  <a:lnTo>
                    <a:pt x="140" y="2084"/>
                  </a:lnTo>
                  <a:lnTo>
                    <a:pt x="140" y="2084"/>
                  </a:lnTo>
                  <a:lnTo>
                    <a:pt x="140" y="2084"/>
                  </a:lnTo>
                  <a:lnTo>
                    <a:pt x="140" y="2084"/>
                  </a:lnTo>
                  <a:lnTo>
                    <a:pt x="140" y="2084"/>
                  </a:lnTo>
                  <a:lnTo>
                    <a:pt x="140" y="2084"/>
                  </a:lnTo>
                  <a:lnTo>
                    <a:pt x="142" y="2086"/>
                  </a:lnTo>
                  <a:lnTo>
                    <a:pt x="142" y="2086"/>
                  </a:lnTo>
                  <a:lnTo>
                    <a:pt x="142" y="2086"/>
                  </a:lnTo>
                  <a:lnTo>
                    <a:pt x="144" y="2086"/>
                  </a:lnTo>
                  <a:lnTo>
                    <a:pt x="144" y="2084"/>
                  </a:lnTo>
                  <a:lnTo>
                    <a:pt x="144" y="2084"/>
                  </a:lnTo>
                  <a:lnTo>
                    <a:pt x="144" y="2081"/>
                  </a:lnTo>
                  <a:close/>
                  <a:moveTo>
                    <a:pt x="121" y="2060"/>
                  </a:moveTo>
                  <a:lnTo>
                    <a:pt x="123" y="2060"/>
                  </a:lnTo>
                  <a:lnTo>
                    <a:pt x="126" y="2060"/>
                  </a:lnTo>
                  <a:lnTo>
                    <a:pt x="126" y="2060"/>
                  </a:lnTo>
                  <a:lnTo>
                    <a:pt x="123" y="2060"/>
                  </a:lnTo>
                  <a:lnTo>
                    <a:pt x="121" y="2058"/>
                  </a:lnTo>
                  <a:lnTo>
                    <a:pt x="121" y="2058"/>
                  </a:lnTo>
                  <a:lnTo>
                    <a:pt x="118" y="2058"/>
                  </a:lnTo>
                  <a:lnTo>
                    <a:pt x="121" y="2060"/>
                  </a:lnTo>
                  <a:lnTo>
                    <a:pt x="121" y="2060"/>
                  </a:lnTo>
                  <a:close/>
                  <a:moveTo>
                    <a:pt x="187" y="1984"/>
                  </a:moveTo>
                  <a:lnTo>
                    <a:pt x="187" y="1984"/>
                  </a:lnTo>
                  <a:lnTo>
                    <a:pt x="185" y="1984"/>
                  </a:lnTo>
                  <a:lnTo>
                    <a:pt x="185" y="1984"/>
                  </a:lnTo>
                  <a:lnTo>
                    <a:pt x="185" y="1987"/>
                  </a:lnTo>
                  <a:lnTo>
                    <a:pt x="185" y="1987"/>
                  </a:lnTo>
                  <a:lnTo>
                    <a:pt x="187" y="1984"/>
                  </a:lnTo>
                  <a:close/>
                  <a:moveTo>
                    <a:pt x="237" y="2069"/>
                  </a:moveTo>
                  <a:lnTo>
                    <a:pt x="237" y="2069"/>
                  </a:lnTo>
                  <a:lnTo>
                    <a:pt x="237" y="2067"/>
                  </a:lnTo>
                  <a:lnTo>
                    <a:pt x="234" y="2062"/>
                  </a:lnTo>
                  <a:lnTo>
                    <a:pt x="234" y="2062"/>
                  </a:lnTo>
                  <a:lnTo>
                    <a:pt x="234" y="2060"/>
                  </a:lnTo>
                  <a:lnTo>
                    <a:pt x="234" y="2060"/>
                  </a:lnTo>
                  <a:lnTo>
                    <a:pt x="234" y="2060"/>
                  </a:lnTo>
                  <a:lnTo>
                    <a:pt x="232" y="2060"/>
                  </a:lnTo>
                  <a:lnTo>
                    <a:pt x="232" y="2062"/>
                  </a:lnTo>
                  <a:lnTo>
                    <a:pt x="232" y="2065"/>
                  </a:lnTo>
                  <a:lnTo>
                    <a:pt x="230" y="2065"/>
                  </a:lnTo>
                  <a:lnTo>
                    <a:pt x="227" y="2067"/>
                  </a:lnTo>
                  <a:lnTo>
                    <a:pt x="227" y="2069"/>
                  </a:lnTo>
                  <a:lnTo>
                    <a:pt x="230" y="2072"/>
                  </a:lnTo>
                  <a:lnTo>
                    <a:pt x="230" y="2069"/>
                  </a:lnTo>
                  <a:lnTo>
                    <a:pt x="230" y="2069"/>
                  </a:lnTo>
                  <a:lnTo>
                    <a:pt x="232" y="2069"/>
                  </a:lnTo>
                  <a:lnTo>
                    <a:pt x="232" y="2072"/>
                  </a:lnTo>
                  <a:lnTo>
                    <a:pt x="234" y="2072"/>
                  </a:lnTo>
                  <a:lnTo>
                    <a:pt x="234" y="2072"/>
                  </a:lnTo>
                  <a:lnTo>
                    <a:pt x="234" y="2072"/>
                  </a:lnTo>
                  <a:lnTo>
                    <a:pt x="234" y="2072"/>
                  </a:lnTo>
                  <a:lnTo>
                    <a:pt x="234" y="2072"/>
                  </a:lnTo>
                  <a:lnTo>
                    <a:pt x="234" y="2069"/>
                  </a:lnTo>
                  <a:lnTo>
                    <a:pt x="234" y="2069"/>
                  </a:lnTo>
                  <a:lnTo>
                    <a:pt x="237" y="2069"/>
                  </a:lnTo>
                  <a:close/>
                  <a:moveTo>
                    <a:pt x="189" y="2008"/>
                  </a:moveTo>
                  <a:lnTo>
                    <a:pt x="187" y="2010"/>
                  </a:lnTo>
                  <a:lnTo>
                    <a:pt x="187" y="2010"/>
                  </a:lnTo>
                  <a:lnTo>
                    <a:pt x="187" y="2010"/>
                  </a:lnTo>
                  <a:lnTo>
                    <a:pt x="189" y="2013"/>
                  </a:lnTo>
                  <a:lnTo>
                    <a:pt x="189" y="2013"/>
                  </a:lnTo>
                  <a:lnTo>
                    <a:pt x="189" y="2013"/>
                  </a:lnTo>
                  <a:lnTo>
                    <a:pt x="189" y="2015"/>
                  </a:lnTo>
                  <a:lnTo>
                    <a:pt x="192" y="2015"/>
                  </a:lnTo>
                  <a:lnTo>
                    <a:pt x="192" y="2015"/>
                  </a:lnTo>
                  <a:lnTo>
                    <a:pt x="192" y="2013"/>
                  </a:lnTo>
                  <a:lnTo>
                    <a:pt x="192" y="2010"/>
                  </a:lnTo>
                  <a:lnTo>
                    <a:pt x="189" y="2008"/>
                  </a:lnTo>
                  <a:lnTo>
                    <a:pt x="189" y="2008"/>
                  </a:lnTo>
                  <a:lnTo>
                    <a:pt x="189" y="2008"/>
                  </a:lnTo>
                  <a:close/>
                  <a:moveTo>
                    <a:pt x="244" y="2105"/>
                  </a:moveTo>
                  <a:lnTo>
                    <a:pt x="244" y="2105"/>
                  </a:lnTo>
                  <a:lnTo>
                    <a:pt x="244" y="2105"/>
                  </a:lnTo>
                  <a:lnTo>
                    <a:pt x="242" y="2105"/>
                  </a:lnTo>
                  <a:lnTo>
                    <a:pt x="242" y="2107"/>
                  </a:lnTo>
                  <a:lnTo>
                    <a:pt x="242" y="2107"/>
                  </a:lnTo>
                  <a:lnTo>
                    <a:pt x="242" y="2110"/>
                  </a:lnTo>
                  <a:lnTo>
                    <a:pt x="242" y="2110"/>
                  </a:lnTo>
                  <a:lnTo>
                    <a:pt x="242" y="2110"/>
                  </a:lnTo>
                  <a:lnTo>
                    <a:pt x="242" y="2110"/>
                  </a:lnTo>
                  <a:lnTo>
                    <a:pt x="242" y="2112"/>
                  </a:lnTo>
                  <a:lnTo>
                    <a:pt x="239" y="2112"/>
                  </a:lnTo>
                  <a:lnTo>
                    <a:pt x="239" y="2112"/>
                  </a:lnTo>
                  <a:lnTo>
                    <a:pt x="239" y="2114"/>
                  </a:lnTo>
                  <a:lnTo>
                    <a:pt x="239" y="2114"/>
                  </a:lnTo>
                  <a:lnTo>
                    <a:pt x="239" y="2114"/>
                  </a:lnTo>
                  <a:lnTo>
                    <a:pt x="239" y="2119"/>
                  </a:lnTo>
                  <a:lnTo>
                    <a:pt x="239" y="2122"/>
                  </a:lnTo>
                  <a:lnTo>
                    <a:pt x="239" y="2122"/>
                  </a:lnTo>
                  <a:lnTo>
                    <a:pt x="239" y="2122"/>
                  </a:lnTo>
                  <a:lnTo>
                    <a:pt x="239" y="2124"/>
                  </a:lnTo>
                  <a:lnTo>
                    <a:pt x="237" y="2124"/>
                  </a:lnTo>
                  <a:lnTo>
                    <a:pt x="237" y="2124"/>
                  </a:lnTo>
                  <a:lnTo>
                    <a:pt x="237" y="2124"/>
                  </a:lnTo>
                  <a:lnTo>
                    <a:pt x="237" y="2126"/>
                  </a:lnTo>
                  <a:lnTo>
                    <a:pt x="237" y="2126"/>
                  </a:lnTo>
                  <a:lnTo>
                    <a:pt x="237" y="2126"/>
                  </a:lnTo>
                  <a:lnTo>
                    <a:pt x="239" y="2126"/>
                  </a:lnTo>
                  <a:lnTo>
                    <a:pt x="242" y="2124"/>
                  </a:lnTo>
                  <a:lnTo>
                    <a:pt x="242" y="2124"/>
                  </a:lnTo>
                  <a:lnTo>
                    <a:pt x="244" y="2124"/>
                  </a:lnTo>
                  <a:lnTo>
                    <a:pt x="244" y="2122"/>
                  </a:lnTo>
                  <a:lnTo>
                    <a:pt x="244" y="2122"/>
                  </a:lnTo>
                  <a:lnTo>
                    <a:pt x="244" y="2122"/>
                  </a:lnTo>
                  <a:lnTo>
                    <a:pt x="244" y="2122"/>
                  </a:lnTo>
                  <a:lnTo>
                    <a:pt x="244" y="2119"/>
                  </a:lnTo>
                  <a:lnTo>
                    <a:pt x="244" y="2119"/>
                  </a:lnTo>
                  <a:lnTo>
                    <a:pt x="244" y="2119"/>
                  </a:lnTo>
                  <a:lnTo>
                    <a:pt x="244" y="2117"/>
                  </a:lnTo>
                  <a:lnTo>
                    <a:pt x="244" y="2117"/>
                  </a:lnTo>
                  <a:lnTo>
                    <a:pt x="244" y="2117"/>
                  </a:lnTo>
                  <a:lnTo>
                    <a:pt x="244" y="2117"/>
                  </a:lnTo>
                  <a:lnTo>
                    <a:pt x="244" y="2112"/>
                  </a:lnTo>
                  <a:lnTo>
                    <a:pt x="244" y="2112"/>
                  </a:lnTo>
                  <a:lnTo>
                    <a:pt x="244" y="2112"/>
                  </a:lnTo>
                  <a:lnTo>
                    <a:pt x="244" y="2112"/>
                  </a:lnTo>
                  <a:lnTo>
                    <a:pt x="244" y="2110"/>
                  </a:lnTo>
                  <a:lnTo>
                    <a:pt x="244" y="2110"/>
                  </a:lnTo>
                  <a:lnTo>
                    <a:pt x="244" y="2107"/>
                  </a:lnTo>
                  <a:lnTo>
                    <a:pt x="244" y="2105"/>
                  </a:lnTo>
                  <a:close/>
                  <a:moveTo>
                    <a:pt x="227" y="2079"/>
                  </a:moveTo>
                  <a:lnTo>
                    <a:pt x="227" y="2081"/>
                  </a:lnTo>
                  <a:lnTo>
                    <a:pt x="227" y="2081"/>
                  </a:lnTo>
                  <a:lnTo>
                    <a:pt x="225" y="2084"/>
                  </a:lnTo>
                  <a:lnTo>
                    <a:pt x="225" y="2084"/>
                  </a:lnTo>
                  <a:lnTo>
                    <a:pt x="225" y="2084"/>
                  </a:lnTo>
                  <a:lnTo>
                    <a:pt x="225" y="2084"/>
                  </a:lnTo>
                  <a:lnTo>
                    <a:pt x="223" y="2084"/>
                  </a:lnTo>
                  <a:lnTo>
                    <a:pt x="223" y="2084"/>
                  </a:lnTo>
                  <a:lnTo>
                    <a:pt x="223" y="2084"/>
                  </a:lnTo>
                  <a:lnTo>
                    <a:pt x="223" y="2086"/>
                  </a:lnTo>
                  <a:lnTo>
                    <a:pt x="220" y="2086"/>
                  </a:lnTo>
                  <a:lnTo>
                    <a:pt x="220" y="2088"/>
                  </a:lnTo>
                  <a:lnTo>
                    <a:pt x="220" y="2091"/>
                  </a:lnTo>
                  <a:lnTo>
                    <a:pt x="220" y="2091"/>
                  </a:lnTo>
                  <a:lnTo>
                    <a:pt x="220" y="2091"/>
                  </a:lnTo>
                  <a:lnTo>
                    <a:pt x="223" y="2091"/>
                  </a:lnTo>
                  <a:lnTo>
                    <a:pt x="223" y="2091"/>
                  </a:lnTo>
                  <a:lnTo>
                    <a:pt x="223" y="2093"/>
                  </a:lnTo>
                  <a:lnTo>
                    <a:pt x="225" y="2093"/>
                  </a:lnTo>
                  <a:lnTo>
                    <a:pt x="227" y="2091"/>
                  </a:lnTo>
                  <a:lnTo>
                    <a:pt x="227" y="2091"/>
                  </a:lnTo>
                  <a:lnTo>
                    <a:pt x="227" y="2091"/>
                  </a:lnTo>
                  <a:lnTo>
                    <a:pt x="227" y="2088"/>
                  </a:lnTo>
                  <a:lnTo>
                    <a:pt x="227" y="2088"/>
                  </a:lnTo>
                  <a:lnTo>
                    <a:pt x="227" y="2088"/>
                  </a:lnTo>
                  <a:lnTo>
                    <a:pt x="230" y="2088"/>
                  </a:lnTo>
                  <a:lnTo>
                    <a:pt x="230" y="2088"/>
                  </a:lnTo>
                  <a:lnTo>
                    <a:pt x="230" y="2088"/>
                  </a:lnTo>
                  <a:lnTo>
                    <a:pt x="230" y="2088"/>
                  </a:lnTo>
                  <a:lnTo>
                    <a:pt x="232" y="2088"/>
                  </a:lnTo>
                  <a:lnTo>
                    <a:pt x="232" y="2088"/>
                  </a:lnTo>
                  <a:lnTo>
                    <a:pt x="232" y="2086"/>
                  </a:lnTo>
                  <a:lnTo>
                    <a:pt x="232" y="2086"/>
                  </a:lnTo>
                  <a:lnTo>
                    <a:pt x="232" y="2086"/>
                  </a:lnTo>
                  <a:lnTo>
                    <a:pt x="232" y="2086"/>
                  </a:lnTo>
                  <a:lnTo>
                    <a:pt x="230" y="2084"/>
                  </a:lnTo>
                  <a:lnTo>
                    <a:pt x="230" y="2084"/>
                  </a:lnTo>
                  <a:lnTo>
                    <a:pt x="230" y="2084"/>
                  </a:lnTo>
                  <a:lnTo>
                    <a:pt x="230" y="2084"/>
                  </a:lnTo>
                  <a:lnTo>
                    <a:pt x="230" y="2084"/>
                  </a:lnTo>
                  <a:lnTo>
                    <a:pt x="230" y="2084"/>
                  </a:lnTo>
                  <a:lnTo>
                    <a:pt x="230" y="2084"/>
                  </a:lnTo>
                  <a:lnTo>
                    <a:pt x="230" y="2084"/>
                  </a:lnTo>
                  <a:lnTo>
                    <a:pt x="230" y="2084"/>
                  </a:lnTo>
                  <a:lnTo>
                    <a:pt x="230" y="2081"/>
                  </a:lnTo>
                  <a:lnTo>
                    <a:pt x="230" y="2081"/>
                  </a:lnTo>
                  <a:lnTo>
                    <a:pt x="230" y="2081"/>
                  </a:lnTo>
                  <a:lnTo>
                    <a:pt x="230" y="2081"/>
                  </a:lnTo>
                  <a:lnTo>
                    <a:pt x="230" y="2084"/>
                  </a:lnTo>
                  <a:lnTo>
                    <a:pt x="232" y="2084"/>
                  </a:lnTo>
                  <a:lnTo>
                    <a:pt x="232" y="2084"/>
                  </a:lnTo>
                  <a:lnTo>
                    <a:pt x="232" y="2086"/>
                  </a:lnTo>
                  <a:lnTo>
                    <a:pt x="232" y="2086"/>
                  </a:lnTo>
                  <a:lnTo>
                    <a:pt x="232" y="2088"/>
                  </a:lnTo>
                  <a:lnTo>
                    <a:pt x="230" y="2088"/>
                  </a:lnTo>
                  <a:lnTo>
                    <a:pt x="230" y="2088"/>
                  </a:lnTo>
                  <a:lnTo>
                    <a:pt x="230" y="2091"/>
                  </a:lnTo>
                  <a:lnTo>
                    <a:pt x="227" y="2091"/>
                  </a:lnTo>
                  <a:lnTo>
                    <a:pt x="227" y="2093"/>
                  </a:lnTo>
                  <a:lnTo>
                    <a:pt x="225" y="2093"/>
                  </a:lnTo>
                  <a:lnTo>
                    <a:pt x="225" y="2093"/>
                  </a:lnTo>
                  <a:lnTo>
                    <a:pt x="223" y="2093"/>
                  </a:lnTo>
                  <a:lnTo>
                    <a:pt x="225" y="2095"/>
                  </a:lnTo>
                  <a:lnTo>
                    <a:pt x="225" y="2095"/>
                  </a:lnTo>
                  <a:lnTo>
                    <a:pt x="225" y="2095"/>
                  </a:lnTo>
                  <a:lnTo>
                    <a:pt x="223" y="2095"/>
                  </a:lnTo>
                  <a:lnTo>
                    <a:pt x="223" y="2093"/>
                  </a:lnTo>
                  <a:lnTo>
                    <a:pt x="223" y="2095"/>
                  </a:lnTo>
                  <a:lnTo>
                    <a:pt x="220" y="2095"/>
                  </a:lnTo>
                  <a:lnTo>
                    <a:pt x="220" y="2098"/>
                  </a:lnTo>
                  <a:lnTo>
                    <a:pt x="220" y="2098"/>
                  </a:lnTo>
                  <a:lnTo>
                    <a:pt x="223" y="2100"/>
                  </a:lnTo>
                  <a:lnTo>
                    <a:pt x="223" y="2100"/>
                  </a:lnTo>
                  <a:lnTo>
                    <a:pt x="223" y="2100"/>
                  </a:lnTo>
                  <a:lnTo>
                    <a:pt x="223" y="2100"/>
                  </a:lnTo>
                  <a:lnTo>
                    <a:pt x="223" y="2100"/>
                  </a:lnTo>
                  <a:lnTo>
                    <a:pt x="223" y="2103"/>
                  </a:lnTo>
                  <a:lnTo>
                    <a:pt x="223" y="2103"/>
                  </a:lnTo>
                  <a:lnTo>
                    <a:pt x="223" y="2103"/>
                  </a:lnTo>
                  <a:lnTo>
                    <a:pt x="223" y="2103"/>
                  </a:lnTo>
                  <a:lnTo>
                    <a:pt x="223" y="2103"/>
                  </a:lnTo>
                  <a:lnTo>
                    <a:pt x="225" y="2107"/>
                  </a:lnTo>
                  <a:lnTo>
                    <a:pt x="225" y="2107"/>
                  </a:lnTo>
                  <a:lnTo>
                    <a:pt x="227" y="2107"/>
                  </a:lnTo>
                  <a:lnTo>
                    <a:pt x="227" y="2107"/>
                  </a:lnTo>
                  <a:lnTo>
                    <a:pt x="230" y="2107"/>
                  </a:lnTo>
                  <a:lnTo>
                    <a:pt x="230" y="2107"/>
                  </a:lnTo>
                  <a:lnTo>
                    <a:pt x="230" y="2107"/>
                  </a:lnTo>
                  <a:lnTo>
                    <a:pt x="230" y="2107"/>
                  </a:lnTo>
                  <a:lnTo>
                    <a:pt x="230" y="2107"/>
                  </a:lnTo>
                  <a:lnTo>
                    <a:pt x="230" y="2107"/>
                  </a:lnTo>
                  <a:lnTo>
                    <a:pt x="230" y="2107"/>
                  </a:lnTo>
                  <a:lnTo>
                    <a:pt x="230" y="2107"/>
                  </a:lnTo>
                  <a:lnTo>
                    <a:pt x="230" y="2105"/>
                  </a:lnTo>
                  <a:lnTo>
                    <a:pt x="230" y="2105"/>
                  </a:lnTo>
                  <a:lnTo>
                    <a:pt x="232" y="2103"/>
                  </a:lnTo>
                  <a:lnTo>
                    <a:pt x="232" y="2100"/>
                  </a:lnTo>
                  <a:lnTo>
                    <a:pt x="232" y="2100"/>
                  </a:lnTo>
                  <a:lnTo>
                    <a:pt x="234" y="2100"/>
                  </a:lnTo>
                  <a:lnTo>
                    <a:pt x="234" y="2098"/>
                  </a:lnTo>
                  <a:lnTo>
                    <a:pt x="234" y="2098"/>
                  </a:lnTo>
                  <a:lnTo>
                    <a:pt x="234" y="2095"/>
                  </a:lnTo>
                  <a:lnTo>
                    <a:pt x="234" y="2095"/>
                  </a:lnTo>
                  <a:lnTo>
                    <a:pt x="234" y="2095"/>
                  </a:lnTo>
                  <a:lnTo>
                    <a:pt x="234" y="2095"/>
                  </a:lnTo>
                  <a:lnTo>
                    <a:pt x="234" y="2095"/>
                  </a:lnTo>
                  <a:lnTo>
                    <a:pt x="237" y="2095"/>
                  </a:lnTo>
                  <a:lnTo>
                    <a:pt x="237" y="2095"/>
                  </a:lnTo>
                  <a:lnTo>
                    <a:pt x="237" y="2095"/>
                  </a:lnTo>
                  <a:lnTo>
                    <a:pt x="237" y="2093"/>
                  </a:lnTo>
                  <a:lnTo>
                    <a:pt x="237" y="2093"/>
                  </a:lnTo>
                  <a:lnTo>
                    <a:pt x="237" y="2093"/>
                  </a:lnTo>
                  <a:lnTo>
                    <a:pt x="237" y="2093"/>
                  </a:lnTo>
                  <a:lnTo>
                    <a:pt x="239" y="2093"/>
                  </a:lnTo>
                  <a:lnTo>
                    <a:pt x="239" y="2093"/>
                  </a:lnTo>
                  <a:lnTo>
                    <a:pt x="237" y="2095"/>
                  </a:lnTo>
                  <a:lnTo>
                    <a:pt x="237" y="2095"/>
                  </a:lnTo>
                  <a:lnTo>
                    <a:pt x="237" y="2095"/>
                  </a:lnTo>
                  <a:lnTo>
                    <a:pt x="237" y="2098"/>
                  </a:lnTo>
                  <a:lnTo>
                    <a:pt x="234" y="2098"/>
                  </a:lnTo>
                  <a:lnTo>
                    <a:pt x="234" y="2100"/>
                  </a:lnTo>
                  <a:lnTo>
                    <a:pt x="234" y="2100"/>
                  </a:lnTo>
                  <a:lnTo>
                    <a:pt x="234" y="2100"/>
                  </a:lnTo>
                  <a:lnTo>
                    <a:pt x="234" y="2103"/>
                  </a:lnTo>
                  <a:lnTo>
                    <a:pt x="232" y="2103"/>
                  </a:lnTo>
                  <a:lnTo>
                    <a:pt x="232" y="2105"/>
                  </a:lnTo>
                  <a:lnTo>
                    <a:pt x="232" y="2105"/>
                  </a:lnTo>
                  <a:lnTo>
                    <a:pt x="232" y="2107"/>
                  </a:lnTo>
                  <a:lnTo>
                    <a:pt x="232" y="2107"/>
                  </a:lnTo>
                  <a:lnTo>
                    <a:pt x="232" y="2110"/>
                  </a:lnTo>
                  <a:lnTo>
                    <a:pt x="230" y="2110"/>
                  </a:lnTo>
                  <a:lnTo>
                    <a:pt x="230" y="2110"/>
                  </a:lnTo>
                  <a:lnTo>
                    <a:pt x="230" y="2112"/>
                  </a:lnTo>
                  <a:lnTo>
                    <a:pt x="230" y="2112"/>
                  </a:lnTo>
                  <a:lnTo>
                    <a:pt x="230" y="2112"/>
                  </a:lnTo>
                  <a:lnTo>
                    <a:pt x="232" y="2112"/>
                  </a:lnTo>
                  <a:lnTo>
                    <a:pt x="234" y="2112"/>
                  </a:lnTo>
                  <a:lnTo>
                    <a:pt x="234" y="2112"/>
                  </a:lnTo>
                  <a:lnTo>
                    <a:pt x="234" y="2112"/>
                  </a:lnTo>
                  <a:lnTo>
                    <a:pt x="237" y="2110"/>
                  </a:lnTo>
                  <a:lnTo>
                    <a:pt x="237" y="2110"/>
                  </a:lnTo>
                  <a:lnTo>
                    <a:pt x="237" y="2110"/>
                  </a:lnTo>
                  <a:lnTo>
                    <a:pt x="237" y="2110"/>
                  </a:lnTo>
                  <a:lnTo>
                    <a:pt x="234" y="2110"/>
                  </a:lnTo>
                  <a:lnTo>
                    <a:pt x="234" y="2110"/>
                  </a:lnTo>
                  <a:lnTo>
                    <a:pt x="237" y="2110"/>
                  </a:lnTo>
                  <a:lnTo>
                    <a:pt x="237" y="2107"/>
                  </a:lnTo>
                  <a:lnTo>
                    <a:pt x="237" y="2105"/>
                  </a:lnTo>
                  <a:lnTo>
                    <a:pt x="237" y="2107"/>
                  </a:lnTo>
                  <a:lnTo>
                    <a:pt x="237" y="2105"/>
                  </a:lnTo>
                  <a:lnTo>
                    <a:pt x="239" y="2100"/>
                  </a:lnTo>
                  <a:lnTo>
                    <a:pt x="242" y="2098"/>
                  </a:lnTo>
                  <a:lnTo>
                    <a:pt x="242" y="2095"/>
                  </a:lnTo>
                  <a:lnTo>
                    <a:pt x="242" y="2093"/>
                  </a:lnTo>
                  <a:lnTo>
                    <a:pt x="242" y="2091"/>
                  </a:lnTo>
                  <a:lnTo>
                    <a:pt x="242" y="2086"/>
                  </a:lnTo>
                  <a:lnTo>
                    <a:pt x="242" y="2086"/>
                  </a:lnTo>
                  <a:lnTo>
                    <a:pt x="242" y="2086"/>
                  </a:lnTo>
                  <a:lnTo>
                    <a:pt x="242" y="2084"/>
                  </a:lnTo>
                  <a:lnTo>
                    <a:pt x="242" y="2084"/>
                  </a:lnTo>
                  <a:lnTo>
                    <a:pt x="239" y="2084"/>
                  </a:lnTo>
                  <a:lnTo>
                    <a:pt x="239" y="2081"/>
                  </a:lnTo>
                  <a:lnTo>
                    <a:pt x="237" y="2079"/>
                  </a:lnTo>
                  <a:lnTo>
                    <a:pt x="234" y="2074"/>
                  </a:lnTo>
                  <a:lnTo>
                    <a:pt x="234" y="2074"/>
                  </a:lnTo>
                  <a:lnTo>
                    <a:pt x="232" y="2074"/>
                  </a:lnTo>
                  <a:lnTo>
                    <a:pt x="232" y="2072"/>
                  </a:lnTo>
                  <a:lnTo>
                    <a:pt x="230" y="2072"/>
                  </a:lnTo>
                  <a:lnTo>
                    <a:pt x="230" y="2072"/>
                  </a:lnTo>
                  <a:lnTo>
                    <a:pt x="230" y="2072"/>
                  </a:lnTo>
                  <a:lnTo>
                    <a:pt x="230" y="2072"/>
                  </a:lnTo>
                  <a:lnTo>
                    <a:pt x="230" y="2072"/>
                  </a:lnTo>
                  <a:lnTo>
                    <a:pt x="230" y="2074"/>
                  </a:lnTo>
                  <a:lnTo>
                    <a:pt x="230" y="2074"/>
                  </a:lnTo>
                  <a:lnTo>
                    <a:pt x="230" y="2074"/>
                  </a:lnTo>
                  <a:lnTo>
                    <a:pt x="230" y="2077"/>
                  </a:lnTo>
                  <a:lnTo>
                    <a:pt x="227" y="2077"/>
                  </a:lnTo>
                  <a:lnTo>
                    <a:pt x="227" y="2077"/>
                  </a:lnTo>
                  <a:lnTo>
                    <a:pt x="227" y="2079"/>
                  </a:lnTo>
                  <a:lnTo>
                    <a:pt x="227" y="2079"/>
                  </a:lnTo>
                  <a:close/>
                  <a:moveTo>
                    <a:pt x="251" y="2136"/>
                  </a:moveTo>
                  <a:lnTo>
                    <a:pt x="251" y="2133"/>
                  </a:lnTo>
                  <a:lnTo>
                    <a:pt x="249" y="2133"/>
                  </a:lnTo>
                  <a:lnTo>
                    <a:pt x="249" y="2133"/>
                  </a:lnTo>
                  <a:lnTo>
                    <a:pt x="246" y="2133"/>
                  </a:lnTo>
                  <a:lnTo>
                    <a:pt x="246" y="2133"/>
                  </a:lnTo>
                  <a:lnTo>
                    <a:pt x="244" y="2136"/>
                  </a:lnTo>
                  <a:lnTo>
                    <a:pt x="244" y="2136"/>
                  </a:lnTo>
                  <a:lnTo>
                    <a:pt x="244" y="2136"/>
                  </a:lnTo>
                  <a:lnTo>
                    <a:pt x="246" y="2136"/>
                  </a:lnTo>
                  <a:lnTo>
                    <a:pt x="246" y="2136"/>
                  </a:lnTo>
                  <a:lnTo>
                    <a:pt x="246" y="2136"/>
                  </a:lnTo>
                  <a:lnTo>
                    <a:pt x="246" y="2136"/>
                  </a:lnTo>
                  <a:lnTo>
                    <a:pt x="249" y="2136"/>
                  </a:lnTo>
                  <a:lnTo>
                    <a:pt x="249" y="2136"/>
                  </a:lnTo>
                  <a:lnTo>
                    <a:pt x="249" y="2138"/>
                  </a:lnTo>
                  <a:lnTo>
                    <a:pt x="249" y="2138"/>
                  </a:lnTo>
                  <a:lnTo>
                    <a:pt x="246" y="2138"/>
                  </a:lnTo>
                  <a:lnTo>
                    <a:pt x="246" y="2138"/>
                  </a:lnTo>
                  <a:lnTo>
                    <a:pt x="246" y="2138"/>
                  </a:lnTo>
                  <a:lnTo>
                    <a:pt x="246" y="2138"/>
                  </a:lnTo>
                  <a:lnTo>
                    <a:pt x="246" y="2140"/>
                  </a:lnTo>
                  <a:lnTo>
                    <a:pt x="246" y="2140"/>
                  </a:lnTo>
                  <a:lnTo>
                    <a:pt x="249" y="2140"/>
                  </a:lnTo>
                  <a:lnTo>
                    <a:pt x="249" y="2140"/>
                  </a:lnTo>
                  <a:lnTo>
                    <a:pt x="251" y="2140"/>
                  </a:lnTo>
                  <a:lnTo>
                    <a:pt x="251" y="2140"/>
                  </a:lnTo>
                  <a:lnTo>
                    <a:pt x="251" y="2140"/>
                  </a:lnTo>
                  <a:lnTo>
                    <a:pt x="251" y="2140"/>
                  </a:lnTo>
                  <a:lnTo>
                    <a:pt x="251" y="2138"/>
                  </a:lnTo>
                  <a:lnTo>
                    <a:pt x="251" y="2138"/>
                  </a:lnTo>
                  <a:lnTo>
                    <a:pt x="251" y="2138"/>
                  </a:lnTo>
                  <a:lnTo>
                    <a:pt x="251" y="2136"/>
                  </a:lnTo>
                  <a:close/>
                  <a:moveTo>
                    <a:pt x="244" y="2114"/>
                  </a:moveTo>
                  <a:lnTo>
                    <a:pt x="244" y="2114"/>
                  </a:lnTo>
                  <a:lnTo>
                    <a:pt x="244" y="2117"/>
                  </a:lnTo>
                  <a:lnTo>
                    <a:pt x="246" y="2114"/>
                  </a:lnTo>
                  <a:lnTo>
                    <a:pt x="246" y="2114"/>
                  </a:lnTo>
                  <a:lnTo>
                    <a:pt x="246" y="2112"/>
                  </a:lnTo>
                  <a:lnTo>
                    <a:pt x="249" y="2112"/>
                  </a:lnTo>
                  <a:lnTo>
                    <a:pt x="249" y="2112"/>
                  </a:lnTo>
                  <a:lnTo>
                    <a:pt x="249" y="2112"/>
                  </a:lnTo>
                  <a:lnTo>
                    <a:pt x="249" y="2112"/>
                  </a:lnTo>
                  <a:lnTo>
                    <a:pt x="249" y="2110"/>
                  </a:lnTo>
                  <a:lnTo>
                    <a:pt x="249" y="2110"/>
                  </a:lnTo>
                  <a:lnTo>
                    <a:pt x="249" y="2110"/>
                  </a:lnTo>
                  <a:lnTo>
                    <a:pt x="249" y="2107"/>
                  </a:lnTo>
                  <a:lnTo>
                    <a:pt x="251" y="2107"/>
                  </a:lnTo>
                  <a:lnTo>
                    <a:pt x="251" y="2107"/>
                  </a:lnTo>
                  <a:lnTo>
                    <a:pt x="251" y="2107"/>
                  </a:lnTo>
                  <a:lnTo>
                    <a:pt x="251" y="2105"/>
                  </a:lnTo>
                  <a:lnTo>
                    <a:pt x="251" y="2105"/>
                  </a:lnTo>
                  <a:lnTo>
                    <a:pt x="251" y="2105"/>
                  </a:lnTo>
                  <a:lnTo>
                    <a:pt x="251" y="2105"/>
                  </a:lnTo>
                  <a:lnTo>
                    <a:pt x="251" y="2105"/>
                  </a:lnTo>
                  <a:lnTo>
                    <a:pt x="249" y="2105"/>
                  </a:lnTo>
                  <a:lnTo>
                    <a:pt x="249" y="2107"/>
                  </a:lnTo>
                  <a:lnTo>
                    <a:pt x="249" y="2105"/>
                  </a:lnTo>
                  <a:lnTo>
                    <a:pt x="246" y="2105"/>
                  </a:lnTo>
                  <a:lnTo>
                    <a:pt x="246" y="2105"/>
                  </a:lnTo>
                  <a:lnTo>
                    <a:pt x="246" y="2107"/>
                  </a:lnTo>
                  <a:lnTo>
                    <a:pt x="246" y="2107"/>
                  </a:lnTo>
                  <a:lnTo>
                    <a:pt x="246" y="2107"/>
                  </a:lnTo>
                  <a:lnTo>
                    <a:pt x="246" y="2110"/>
                  </a:lnTo>
                  <a:lnTo>
                    <a:pt x="246" y="2110"/>
                  </a:lnTo>
                  <a:lnTo>
                    <a:pt x="246" y="2112"/>
                  </a:lnTo>
                  <a:lnTo>
                    <a:pt x="246" y="2112"/>
                  </a:lnTo>
                  <a:lnTo>
                    <a:pt x="246" y="2114"/>
                  </a:lnTo>
                  <a:lnTo>
                    <a:pt x="246" y="2114"/>
                  </a:lnTo>
                  <a:lnTo>
                    <a:pt x="246" y="2114"/>
                  </a:lnTo>
                  <a:lnTo>
                    <a:pt x="244" y="2114"/>
                  </a:lnTo>
                  <a:close/>
                  <a:moveTo>
                    <a:pt x="237" y="2058"/>
                  </a:moveTo>
                  <a:lnTo>
                    <a:pt x="239" y="2060"/>
                  </a:lnTo>
                  <a:lnTo>
                    <a:pt x="239" y="2058"/>
                  </a:lnTo>
                  <a:lnTo>
                    <a:pt x="239" y="2058"/>
                  </a:lnTo>
                  <a:lnTo>
                    <a:pt x="242" y="2055"/>
                  </a:lnTo>
                  <a:lnTo>
                    <a:pt x="242" y="2055"/>
                  </a:lnTo>
                  <a:lnTo>
                    <a:pt x="242" y="2053"/>
                  </a:lnTo>
                  <a:lnTo>
                    <a:pt x="244" y="2053"/>
                  </a:lnTo>
                  <a:lnTo>
                    <a:pt x="242" y="2053"/>
                  </a:lnTo>
                  <a:lnTo>
                    <a:pt x="242" y="2053"/>
                  </a:lnTo>
                  <a:lnTo>
                    <a:pt x="242" y="2053"/>
                  </a:lnTo>
                  <a:lnTo>
                    <a:pt x="242" y="2053"/>
                  </a:lnTo>
                  <a:lnTo>
                    <a:pt x="237" y="2051"/>
                  </a:lnTo>
                  <a:lnTo>
                    <a:pt x="237" y="2051"/>
                  </a:lnTo>
                  <a:lnTo>
                    <a:pt x="234" y="2051"/>
                  </a:lnTo>
                  <a:lnTo>
                    <a:pt x="234" y="2053"/>
                  </a:lnTo>
                  <a:lnTo>
                    <a:pt x="234" y="2053"/>
                  </a:lnTo>
                  <a:lnTo>
                    <a:pt x="232" y="2053"/>
                  </a:lnTo>
                  <a:lnTo>
                    <a:pt x="232" y="2053"/>
                  </a:lnTo>
                  <a:lnTo>
                    <a:pt x="232" y="2053"/>
                  </a:lnTo>
                  <a:lnTo>
                    <a:pt x="232" y="2055"/>
                  </a:lnTo>
                  <a:lnTo>
                    <a:pt x="230" y="2055"/>
                  </a:lnTo>
                  <a:lnTo>
                    <a:pt x="230" y="2060"/>
                  </a:lnTo>
                  <a:lnTo>
                    <a:pt x="230" y="2060"/>
                  </a:lnTo>
                  <a:lnTo>
                    <a:pt x="227" y="2062"/>
                  </a:lnTo>
                  <a:lnTo>
                    <a:pt x="227" y="2065"/>
                  </a:lnTo>
                  <a:lnTo>
                    <a:pt x="227" y="2067"/>
                  </a:lnTo>
                  <a:lnTo>
                    <a:pt x="227" y="2065"/>
                  </a:lnTo>
                  <a:lnTo>
                    <a:pt x="230" y="2065"/>
                  </a:lnTo>
                  <a:lnTo>
                    <a:pt x="230" y="2065"/>
                  </a:lnTo>
                  <a:lnTo>
                    <a:pt x="230" y="2065"/>
                  </a:lnTo>
                  <a:lnTo>
                    <a:pt x="230" y="2065"/>
                  </a:lnTo>
                  <a:lnTo>
                    <a:pt x="232" y="2062"/>
                  </a:lnTo>
                  <a:lnTo>
                    <a:pt x="232" y="2062"/>
                  </a:lnTo>
                  <a:lnTo>
                    <a:pt x="232" y="2060"/>
                  </a:lnTo>
                  <a:lnTo>
                    <a:pt x="232" y="2060"/>
                  </a:lnTo>
                  <a:lnTo>
                    <a:pt x="232" y="2060"/>
                  </a:lnTo>
                  <a:lnTo>
                    <a:pt x="237" y="2058"/>
                  </a:lnTo>
                  <a:lnTo>
                    <a:pt x="237" y="2058"/>
                  </a:lnTo>
                  <a:close/>
                  <a:moveTo>
                    <a:pt x="362" y="2365"/>
                  </a:moveTo>
                  <a:lnTo>
                    <a:pt x="362" y="2365"/>
                  </a:lnTo>
                  <a:lnTo>
                    <a:pt x="360" y="2363"/>
                  </a:lnTo>
                  <a:lnTo>
                    <a:pt x="360" y="2363"/>
                  </a:lnTo>
                  <a:lnTo>
                    <a:pt x="360" y="2363"/>
                  </a:lnTo>
                  <a:lnTo>
                    <a:pt x="360" y="2363"/>
                  </a:lnTo>
                  <a:lnTo>
                    <a:pt x="360" y="2363"/>
                  </a:lnTo>
                  <a:lnTo>
                    <a:pt x="360" y="2363"/>
                  </a:lnTo>
                  <a:lnTo>
                    <a:pt x="360" y="2363"/>
                  </a:lnTo>
                  <a:lnTo>
                    <a:pt x="360" y="2363"/>
                  </a:lnTo>
                  <a:lnTo>
                    <a:pt x="360" y="2365"/>
                  </a:lnTo>
                  <a:lnTo>
                    <a:pt x="360" y="2365"/>
                  </a:lnTo>
                  <a:lnTo>
                    <a:pt x="362" y="2365"/>
                  </a:lnTo>
                  <a:lnTo>
                    <a:pt x="362" y="2365"/>
                  </a:lnTo>
                  <a:lnTo>
                    <a:pt x="362" y="2365"/>
                  </a:lnTo>
                  <a:lnTo>
                    <a:pt x="362" y="2365"/>
                  </a:lnTo>
                  <a:lnTo>
                    <a:pt x="362" y="2365"/>
                  </a:lnTo>
                  <a:lnTo>
                    <a:pt x="362" y="2365"/>
                  </a:lnTo>
                  <a:close/>
                  <a:moveTo>
                    <a:pt x="223" y="2072"/>
                  </a:moveTo>
                  <a:lnTo>
                    <a:pt x="220" y="2074"/>
                  </a:lnTo>
                  <a:lnTo>
                    <a:pt x="220" y="2074"/>
                  </a:lnTo>
                  <a:lnTo>
                    <a:pt x="220" y="2077"/>
                  </a:lnTo>
                  <a:lnTo>
                    <a:pt x="218" y="2077"/>
                  </a:lnTo>
                  <a:lnTo>
                    <a:pt x="218" y="2079"/>
                  </a:lnTo>
                  <a:lnTo>
                    <a:pt x="218" y="2079"/>
                  </a:lnTo>
                  <a:lnTo>
                    <a:pt x="220" y="2079"/>
                  </a:lnTo>
                  <a:lnTo>
                    <a:pt x="220" y="2081"/>
                  </a:lnTo>
                  <a:lnTo>
                    <a:pt x="220" y="2081"/>
                  </a:lnTo>
                  <a:lnTo>
                    <a:pt x="220" y="2081"/>
                  </a:lnTo>
                  <a:lnTo>
                    <a:pt x="220" y="2081"/>
                  </a:lnTo>
                  <a:lnTo>
                    <a:pt x="220" y="2081"/>
                  </a:lnTo>
                  <a:lnTo>
                    <a:pt x="220" y="2081"/>
                  </a:lnTo>
                  <a:lnTo>
                    <a:pt x="223" y="2081"/>
                  </a:lnTo>
                  <a:lnTo>
                    <a:pt x="225" y="2081"/>
                  </a:lnTo>
                  <a:lnTo>
                    <a:pt x="225" y="2081"/>
                  </a:lnTo>
                  <a:lnTo>
                    <a:pt x="225" y="2079"/>
                  </a:lnTo>
                  <a:lnTo>
                    <a:pt x="225" y="2077"/>
                  </a:lnTo>
                  <a:lnTo>
                    <a:pt x="225" y="2077"/>
                  </a:lnTo>
                  <a:lnTo>
                    <a:pt x="225" y="2077"/>
                  </a:lnTo>
                  <a:lnTo>
                    <a:pt x="225" y="2074"/>
                  </a:lnTo>
                  <a:lnTo>
                    <a:pt x="225" y="2074"/>
                  </a:lnTo>
                  <a:lnTo>
                    <a:pt x="225" y="2074"/>
                  </a:lnTo>
                  <a:lnTo>
                    <a:pt x="225" y="2074"/>
                  </a:lnTo>
                  <a:lnTo>
                    <a:pt x="225" y="2072"/>
                  </a:lnTo>
                  <a:lnTo>
                    <a:pt x="225" y="2072"/>
                  </a:lnTo>
                  <a:lnTo>
                    <a:pt x="225" y="2072"/>
                  </a:lnTo>
                  <a:lnTo>
                    <a:pt x="225" y="2069"/>
                  </a:lnTo>
                  <a:lnTo>
                    <a:pt x="225" y="2069"/>
                  </a:lnTo>
                  <a:lnTo>
                    <a:pt x="225" y="2069"/>
                  </a:lnTo>
                  <a:lnTo>
                    <a:pt x="225" y="2069"/>
                  </a:lnTo>
                  <a:lnTo>
                    <a:pt x="225" y="2069"/>
                  </a:lnTo>
                  <a:lnTo>
                    <a:pt x="223" y="2069"/>
                  </a:lnTo>
                  <a:lnTo>
                    <a:pt x="223" y="2069"/>
                  </a:lnTo>
                  <a:lnTo>
                    <a:pt x="223" y="2069"/>
                  </a:lnTo>
                  <a:lnTo>
                    <a:pt x="223" y="2072"/>
                  </a:lnTo>
                  <a:lnTo>
                    <a:pt x="223" y="2072"/>
                  </a:lnTo>
                  <a:lnTo>
                    <a:pt x="223" y="2072"/>
                  </a:lnTo>
                  <a:close/>
                  <a:moveTo>
                    <a:pt x="194" y="2001"/>
                  </a:moveTo>
                  <a:lnTo>
                    <a:pt x="194" y="2001"/>
                  </a:lnTo>
                  <a:lnTo>
                    <a:pt x="194" y="2001"/>
                  </a:lnTo>
                  <a:lnTo>
                    <a:pt x="194" y="2001"/>
                  </a:lnTo>
                  <a:lnTo>
                    <a:pt x="194" y="1999"/>
                  </a:lnTo>
                  <a:lnTo>
                    <a:pt x="194" y="1999"/>
                  </a:lnTo>
                  <a:lnTo>
                    <a:pt x="194" y="1999"/>
                  </a:lnTo>
                  <a:lnTo>
                    <a:pt x="194" y="1999"/>
                  </a:lnTo>
                  <a:lnTo>
                    <a:pt x="194" y="1999"/>
                  </a:lnTo>
                  <a:lnTo>
                    <a:pt x="194" y="1999"/>
                  </a:lnTo>
                  <a:lnTo>
                    <a:pt x="194" y="1999"/>
                  </a:lnTo>
                  <a:lnTo>
                    <a:pt x="194" y="1999"/>
                  </a:lnTo>
                  <a:lnTo>
                    <a:pt x="194" y="1999"/>
                  </a:lnTo>
                  <a:lnTo>
                    <a:pt x="192" y="1999"/>
                  </a:lnTo>
                  <a:lnTo>
                    <a:pt x="192" y="1999"/>
                  </a:lnTo>
                  <a:lnTo>
                    <a:pt x="192" y="2001"/>
                  </a:lnTo>
                  <a:lnTo>
                    <a:pt x="192" y="2001"/>
                  </a:lnTo>
                  <a:lnTo>
                    <a:pt x="194" y="2001"/>
                  </a:lnTo>
                  <a:close/>
                  <a:moveTo>
                    <a:pt x="206" y="2015"/>
                  </a:moveTo>
                  <a:lnTo>
                    <a:pt x="206" y="2015"/>
                  </a:lnTo>
                  <a:lnTo>
                    <a:pt x="206" y="2015"/>
                  </a:lnTo>
                  <a:lnTo>
                    <a:pt x="204" y="2015"/>
                  </a:lnTo>
                  <a:lnTo>
                    <a:pt x="204" y="2015"/>
                  </a:lnTo>
                  <a:lnTo>
                    <a:pt x="204" y="2017"/>
                  </a:lnTo>
                  <a:lnTo>
                    <a:pt x="204" y="2017"/>
                  </a:lnTo>
                  <a:lnTo>
                    <a:pt x="204" y="2017"/>
                  </a:lnTo>
                  <a:lnTo>
                    <a:pt x="204" y="2017"/>
                  </a:lnTo>
                  <a:lnTo>
                    <a:pt x="206" y="2017"/>
                  </a:lnTo>
                  <a:lnTo>
                    <a:pt x="208" y="2017"/>
                  </a:lnTo>
                  <a:lnTo>
                    <a:pt x="208" y="2017"/>
                  </a:lnTo>
                  <a:lnTo>
                    <a:pt x="206" y="2015"/>
                  </a:lnTo>
                  <a:lnTo>
                    <a:pt x="206" y="2015"/>
                  </a:lnTo>
                  <a:lnTo>
                    <a:pt x="206" y="2015"/>
                  </a:lnTo>
                  <a:lnTo>
                    <a:pt x="206" y="2015"/>
                  </a:lnTo>
                  <a:close/>
                  <a:moveTo>
                    <a:pt x="201" y="2029"/>
                  </a:moveTo>
                  <a:lnTo>
                    <a:pt x="201" y="2029"/>
                  </a:lnTo>
                  <a:lnTo>
                    <a:pt x="199" y="2029"/>
                  </a:lnTo>
                  <a:lnTo>
                    <a:pt x="199" y="2032"/>
                  </a:lnTo>
                  <a:lnTo>
                    <a:pt x="199" y="2032"/>
                  </a:lnTo>
                  <a:lnTo>
                    <a:pt x="201" y="2034"/>
                  </a:lnTo>
                  <a:lnTo>
                    <a:pt x="201" y="2034"/>
                  </a:lnTo>
                  <a:lnTo>
                    <a:pt x="201" y="2036"/>
                  </a:lnTo>
                  <a:lnTo>
                    <a:pt x="201" y="2036"/>
                  </a:lnTo>
                  <a:lnTo>
                    <a:pt x="199" y="2036"/>
                  </a:lnTo>
                  <a:lnTo>
                    <a:pt x="199" y="2039"/>
                  </a:lnTo>
                  <a:lnTo>
                    <a:pt x="199" y="2039"/>
                  </a:lnTo>
                  <a:lnTo>
                    <a:pt x="199" y="2039"/>
                  </a:lnTo>
                  <a:lnTo>
                    <a:pt x="201" y="2039"/>
                  </a:lnTo>
                  <a:lnTo>
                    <a:pt x="204" y="2041"/>
                  </a:lnTo>
                  <a:lnTo>
                    <a:pt x="204" y="2041"/>
                  </a:lnTo>
                  <a:lnTo>
                    <a:pt x="201" y="2043"/>
                  </a:lnTo>
                  <a:lnTo>
                    <a:pt x="201" y="2046"/>
                  </a:lnTo>
                  <a:lnTo>
                    <a:pt x="201" y="2046"/>
                  </a:lnTo>
                  <a:lnTo>
                    <a:pt x="204" y="2046"/>
                  </a:lnTo>
                  <a:lnTo>
                    <a:pt x="204" y="2046"/>
                  </a:lnTo>
                  <a:lnTo>
                    <a:pt x="206" y="2046"/>
                  </a:lnTo>
                  <a:lnTo>
                    <a:pt x="206" y="2046"/>
                  </a:lnTo>
                  <a:lnTo>
                    <a:pt x="208" y="2046"/>
                  </a:lnTo>
                  <a:lnTo>
                    <a:pt x="208" y="2048"/>
                  </a:lnTo>
                  <a:lnTo>
                    <a:pt x="208" y="2048"/>
                  </a:lnTo>
                  <a:lnTo>
                    <a:pt x="208" y="2046"/>
                  </a:lnTo>
                  <a:lnTo>
                    <a:pt x="206" y="2046"/>
                  </a:lnTo>
                  <a:lnTo>
                    <a:pt x="204" y="2046"/>
                  </a:lnTo>
                  <a:lnTo>
                    <a:pt x="204" y="2048"/>
                  </a:lnTo>
                  <a:lnTo>
                    <a:pt x="201" y="2048"/>
                  </a:lnTo>
                  <a:lnTo>
                    <a:pt x="204" y="2048"/>
                  </a:lnTo>
                  <a:lnTo>
                    <a:pt x="204" y="2048"/>
                  </a:lnTo>
                  <a:lnTo>
                    <a:pt x="206" y="2048"/>
                  </a:lnTo>
                  <a:lnTo>
                    <a:pt x="206" y="2048"/>
                  </a:lnTo>
                  <a:lnTo>
                    <a:pt x="206" y="2048"/>
                  </a:lnTo>
                  <a:lnTo>
                    <a:pt x="206" y="2048"/>
                  </a:lnTo>
                  <a:lnTo>
                    <a:pt x="206" y="2048"/>
                  </a:lnTo>
                  <a:lnTo>
                    <a:pt x="206" y="2048"/>
                  </a:lnTo>
                  <a:lnTo>
                    <a:pt x="206" y="2048"/>
                  </a:lnTo>
                  <a:lnTo>
                    <a:pt x="206" y="2048"/>
                  </a:lnTo>
                  <a:lnTo>
                    <a:pt x="206" y="2048"/>
                  </a:lnTo>
                  <a:lnTo>
                    <a:pt x="208" y="2051"/>
                  </a:lnTo>
                  <a:lnTo>
                    <a:pt x="206" y="2051"/>
                  </a:lnTo>
                  <a:lnTo>
                    <a:pt x="206" y="2051"/>
                  </a:lnTo>
                  <a:lnTo>
                    <a:pt x="206" y="2051"/>
                  </a:lnTo>
                  <a:lnTo>
                    <a:pt x="206" y="2051"/>
                  </a:lnTo>
                  <a:lnTo>
                    <a:pt x="206" y="2051"/>
                  </a:lnTo>
                  <a:lnTo>
                    <a:pt x="208" y="2051"/>
                  </a:lnTo>
                  <a:lnTo>
                    <a:pt x="208" y="2053"/>
                  </a:lnTo>
                  <a:lnTo>
                    <a:pt x="206" y="2053"/>
                  </a:lnTo>
                  <a:lnTo>
                    <a:pt x="206" y="2055"/>
                  </a:lnTo>
                  <a:lnTo>
                    <a:pt x="206" y="2055"/>
                  </a:lnTo>
                  <a:lnTo>
                    <a:pt x="206" y="2055"/>
                  </a:lnTo>
                  <a:lnTo>
                    <a:pt x="206" y="2055"/>
                  </a:lnTo>
                  <a:lnTo>
                    <a:pt x="208" y="2055"/>
                  </a:lnTo>
                  <a:lnTo>
                    <a:pt x="208" y="2055"/>
                  </a:lnTo>
                  <a:lnTo>
                    <a:pt x="208" y="2058"/>
                  </a:lnTo>
                  <a:lnTo>
                    <a:pt x="208" y="2058"/>
                  </a:lnTo>
                  <a:lnTo>
                    <a:pt x="206" y="2060"/>
                  </a:lnTo>
                  <a:lnTo>
                    <a:pt x="206" y="2060"/>
                  </a:lnTo>
                  <a:lnTo>
                    <a:pt x="206" y="2060"/>
                  </a:lnTo>
                  <a:lnTo>
                    <a:pt x="208" y="2062"/>
                  </a:lnTo>
                  <a:lnTo>
                    <a:pt x="208" y="2062"/>
                  </a:lnTo>
                  <a:lnTo>
                    <a:pt x="208" y="2062"/>
                  </a:lnTo>
                  <a:lnTo>
                    <a:pt x="208" y="2062"/>
                  </a:lnTo>
                  <a:lnTo>
                    <a:pt x="208" y="2062"/>
                  </a:lnTo>
                  <a:lnTo>
                    <a:pt x="208" y="2062"/>
                  </a:lnTo>
                  <a:lnTo>
                    <a:pt x="208" y="2065"/>
                  </a:lnTo>
                  <a:lnTo>
                    <a:pt x="208" y="2065"/>
                  </a:lnTo>
                  <a:lnTo>
                    <a:pt x="211" y="2065"/>
                  </a:lnTo>
                  <a:lnTo>
                    <a:pt x="211" y="2065"/>
                  </a:lnTo>
                  <a:lnTo>
                    <a:pt x="211" y="2065"/>
                  </a:lnTo>
                  <a:lnTo>
                    <a:pt x="211" y="2065"/>
                  </a:lnTo>
                  <a:lnTo>
                    <a:pt x="211" y="2065"/>
                  </a:lnTo>
                  <a:lnTo>
                    <a:pt x="211" y="2065"/>
                  </a:lnTo>
                  <a:lnTo>
                    <a:pt x="211" y="2067"/>
                  </a:lnTo>
                  <a:lnTo>
                    <a:pt x="211" y="2067"/>
                  </a:lnTo>
                  <a:lnTo>
                    <a:pt x="211" y="2067"/>
                  </a:lnTo>
                  <a:lnTo>
                    <a:pt x="211" y="2067"/>
                  </a:lnTo>
                  <a:lnTo>
                    <a:pt x="211" y="2067"/>
                  </a:lnTo>
                  <a:lnTo>
                    <a:pt x="211" y="2069"/>
                  </a:lnTo>
                  <a:lnTo>
                    <a:pt x="213" y="2069"/>
                  </a:lnTo>
                  <a:lnTo>
                    <a:pt x="211" y="2072"/>
                  </a:lnTo>
                  <a:lnTo>
                    <a:pt x="213" y="2072"/>
                  </a:lnTo>
                  <a:lnTo>
                    <a:pt x="213" y="2072"/>
                  </a:lnTo>
                  <a:lnTo>
                    <a:pt x="213" y="2072"/>
                  </a:lnTo>
                  <a:lnTo>
                    <a:pt x="215" y="2072"/>
                  </a:lnTo>
                  <a:lnTo>
                    <a:pt x="215" y="2072"/>
                  </a:lnTo>
                  <a:lnTo>
                    <a:pt x="215" y="2072"/>
                  </a:lnTo>
                  <a:lnTo>
                    <a:pt x="215" y="2069"/>
                  </a:lnTo>
                  <a:lnTo>
                    <a:pt x="215" y="2069"/>
                  </a:lnTo>
                  <a:lnTo>
                    <a:pt x="215" y="2069"/>
                  </a:lnTo>
                  <a:lnTo>
                    <a:pt x="215" y="2067"/>
                  </a:lnTo>
                  <a:lnTo>
                    <a:pt x="215" y="2067"/>
                  </a:lnTo>
                  <a:lnTo>
                    <a:pt x="215" y="2069"/>
                  </a:lnTo>
                  <a:lnTo>
                    <a:pt x="218" y="2069"/>
                  </a:lnTo>
                  <a:lnTo>
                    <a:pt x="218" y="2067"/>
                  </a:lnTo>
                  <a:lnTo>
                    <a:pt x="218" y="2067"/>
                  </a:lnTo>
                  <a:lnTo>
                    <a:pt x="220" y="2067"/>
                  </a:lnTo>
                  <a:lnTo>
                    <a:pt x="220" y="2069"/>
                  </a:lnTo>
                  <a:lnTo>
                    <a:pt x="218" y="2069"/>
                  </a:lnTo>
                  <a:lnTo>
                    <a:pt x="220" y="2069"/>
                  </a:lnTo>
                  <a:lnTo>
                    <a:pt x="220" y="2072"/>
                  </a:lnTo>
                  <a:lnTo>
                    <a:pt x="220" y="2072"/>
                  </a:lnTo>
                  <a:lnTo>
                    <a:pt x="220" y="2069"/>
                  </a:lnTo>
                  <a:lnTo>
                    <a:pt x="220" y="2067"/>
                  </a:lnTo>
                  <a:lnTo>
                    <a:pt x="223" y="2067"/>
                  </a:lnTo>
                  <a:lnTo>
                    <a:pt x="220" y="2065"/>
                  </a:lnTo>
                  <a:lnTo>
                    <a:pt x="220" y="2065"/>
                  </a:lnTo>
                  <a:lnTo>
                    <a:pt x="220" y="2062"/>
                  </a:lnTo>
                  <a:lnTo>
                    <a:pt x="220" y="2062"/>
                  </a:lnTo>
                  <a:lnTo>
                    <a:pt x="220" y="2060"/>
                  </a:lnTo>
                  <a:lnTo>
                    <a:pt x="218" y="2060"/>
                  </a:lnTo>
                  <a:lnTo>
                    <a:pt x="218" y="2060"/>
                  </a:lnTo>
                  <a:lnTo>
                    <a:pt x="215" y="2058"/>
                  </a:lnTo>
                  <a:lnTo>
                    <a:pt x="215" y="2058"/>
                  </a:lnTo>
                  <a:lnTo>
                    <a:pt x="215" y="2058"/>
                  </a:lnTo>
                  <a:lnTo>
                    <a:pt x="215" y="2058"/>
                  </a:lnTo>
                  <a:lnTo>
                    <a:pt x="213" y="2058"/>
                  </a:lnTo>
                  <a:lnTo>
                    <a:pt x="215" y="2058"/>
                  </a:lnTo>
                  <a:lnTo>
                    <a:pt x="215" y="2058"/>
                  </a:lnTo>
                  <a:lnTo>
                    <a:pt x="215" y="2058"/>
                  </a:lnTo>
                  <a:lnTo>
                    <a:pt x="218" y="2058"/>
                  </a:lnTo>
                  <a:lnTo>
                    <a:pt x="218" y="2058"/>
                  </a:lnTo>
                  <a:lnTo>
                    <a:pt x="218" y="2058"/>
                  </a:lnTo>
                  <a:lnTo>
                    <a:pt x="218" y="2058"/>
                  </a:lnTo>
                  <a:lnTo>
                    <a:pt x="218" y="2058"/>
                  </a:lnTo>
                  <a:lnTo>
                    <a:pt x="215" y="2051"/>
                  </a:lnTo>
                  <a:lnTo>
                    <a:pt x="213" y="2046"/>
                  </a:lnTo>
                  <a:lnTo>
                    <a:pt x="213" y="2046"/>
                  </a:lnTo>
                  <a:lnTo>
                    <a:pt x="213" y="2046"/>
                  </a:lnTo>
                  <a:lnTo>
                    <a:pt x="211" y="2041"/>
                  </a:lnTo>
                  <a:lnTo>
                    <a:pt x="211" y="2041"/>
                  </a:lnTo>
                  <a:lnTo>
                    <a:pt x="211" y="2041"/>
                  </a:lnTo>
                  <a:lnTo>
                    <a:pt x="211" y="2041"/>
                  </a:lnTo>
                  <a:lnTo>
                    <a:pt x="211" y="2041"/>
                  </a:lnTo>
                  <a:lnTo>
                    <a:pt x="211" y="2039"/>
                  </a:lnTo>
                  <a:lnTo>
                    <a:pt x="208" y="2039"/>
                  </a:lnTo>
                  <a:lnTo>
                    <a:pt x="208" y="2036"/>
                  </a:lnTo>
                  <a:lnTo>
                    <a:pt x="206" y="2036"/>
                  </a:lnTo>
                  <a:lnTo>
                    <a:pt x="206" y="2034"/>
                  </a:lnTo>
                  <a:lnTo>
                    <a:pt x="206" y="2034"/>
                  </a:lnTo>
                  <a:lnTo>
                    <a:pt x="206" y="2034"/>
                  </a:lnTo>
                  <a:lnTo>
                    <a:pt x="206" y="2034"/>
                  </a:lnTo>
                  <a:lnTo>
                    <a:pt x="206" y="2034"/>
                  </a:lnTo>
                  <a:lnTo>
                    <a:pt x="206" y="2032"/>
                  </a:lnTo>
                  <a:lnTo>
                    <a:pt x="204" y="2032"/>
                  </a:lnTo>
                  <a:lnTo>
                    <a:pt x="204" y="2029"/>
                  </a:lnTo>
                  <a:lnTo>
                    <a:pt x="204" y="2029"/>
                  </a:lnTo>
                  <a:lnTo>
                    <a:pt x="201" y="2029"/>
                  </a:lnTo>
                  <a:close/>
                  <a:moveTo>
                    <a:pt x="137" y="2072"/>
                  </a:moveTo>
                  <a:lnTo>
                    <a:pt x="137" y="2072"/>
                  </a:lnTo>
                  <a:lnTo>
                    <a:pt x="135" y="2072"/>
                  </a:lnTo>
                  <a:lnTo>
                    <a:pt x="135" y="2072"/>
                  </a:lnTo>
                  <a:lnTo>
                    <a:pt x="135" y="2072"/>
                  </a:lnTo>
                  <a:lnTo>
                    <a:pt x="135" y="2072"/>
                  </a:lnTo>
                  <a:lnTo>
                    <a:pt x="135" y="2074"/>
                  </a:lnTo>
                  <a:lnTo>
                    <a:pt x="137" y="2074"/>
                  </a:lnTo>
                  <a:lnTo>
                    <a:pt x="137" y="2074"/>
                  </a:lnTo>
                  <a:lnTo>
                    <a:pt x="140" y="2074"/>
                  </a:lnTo>
                  <a:lnTo>
                    <a:pt x="140" y="2074"/>
                  </a:lnTo>
                  <a:lnTo>
                    <a:pt x="140" y="2074"/>
                  </a:lnTo>
                  <a:lnTo>
                    <a:pt x="140" y="2074"/>
                  </a:lnTo>
                  <a:lnTo>
                    <a:pt x="140" y="2072"/>
                  </a:lnTo>
                  <a:lnTo>
                    <a:pt x="140" y="2072"/>
                  </a:lnTo>
                  <a:lnTo>
                    <a:pt x="137" y="2072"/>
                  </a:lnTo>
                  <a:lnTo>
                    <a:pt x="137" y="2072"/>
                  </a:lnTo>
                  <a:lnTo>
                    <a:pt x="137" y="2072"/>
                  </a:lnTo>
                  <a:lnTo>
                    <a:pt x="137" y="2072"/>
                  </a:lnTo>
                  <a:lnTo>
                    <a:pt x="137" y="2072"/>
                  </a:lnTo>
                  <a:close/>
                  <a:moveTo>
                    <a:pt x="1082" y="468"/>
                  </a:moveTo>
                  <a:lnTo>
                    <a:pt x="1082" y="468"/>
                  </a:lnTo>
                  <a:lnTo>
                    <a:pt x="1084" y="470"/>
                  </a:lnTo>
                  <a:lnTo>
                    <a:pt x="1093" y="466"/>
                  </a:lnTo>
                  <a:lnTo>
                    <a:pt x="1096" y="468"/>
                  </a:lnTo>
                  <a:lnTo>
                    <a:pt x="1096" y="468"/>
                  </a:lnTo>
                  <a:lnTo>
                    <a:pt x="1098" y="470"/>
                  </a:lnTo>
                  <a:lnTo>
                    <a:pt x="1096" y="473"/>
                  </a:lnTo>
                  <a:lnTo>
                    <a:pt x="1093" y="477"/>
                  </a:lnTo>
                  <a:lnTo>
                    <a:pt x="1093" y="480"/>
                  </a:lnTo>
                  <a:lnTo>
                    <a:pt x="1093" y="480"/>
                  </a:lnTo>
                  <a:lnTo>
                    <a:pt x="1093" y="480"/>
                  </a:lnTo>
                  <a:lnTo>
                    <a:pt x="1093" y="480"/>
                  </a:lnTo>
                  <a:lnTo>
                    <a:pt x="1093" y="480"/>
                  </a:lnTo>
                  <a:lnTo>
                    <a:pt x="1091" y="485"/>
                  </a:lnTo>
                  <a:lnTo>
                    <a:pt x="1091" y="487"/>
                  </a:lnTo>
                  <a:lnTo>
                    <a:pt x="1091" y="489"/>
                  </a:lnTo>
                  <a:lnTo>
                    <a:pt x="1091" y="489"/>
                  </a:lnTo>
                  <a:lnTo>
                    <a:pt x="1093" y="489"/>
                  </a:lnTo>
                  <a:lnTo>
                    <a:pt x="1093" y="489"/>
                  </a:lnTo>
                  <a:lnTo>
                    <a:pt x="1096" y="485"/>
                  </a:lnTo>
                  <a:lnTo>
                    <a:pt x="1098" y="485"/>
                  </a:lnTo>
                  <a:lnTo>
                    <a:pt x="1098" y="482"/>
                  </a:lnTo>
                  <a:lnTo>
                    <a:pt x="1098" y="480"/>
                  </a:lnTo>
                  <a:lnTo>
                    <a:pt x="1101" y="477"/>
                  </a:lnTo>
                  <a:lnTo>
                    <a:pt x="1101" y="475"/>
                  </a:lnTo>
                  <a:lnTo>
                    <a:pt x="1101" y="475"/>
                  </a:lnTo>
                  <a:lnTo>
                    <a:pt x="1103" y="475"/>
                  </a:lnTo>
                  <a:lnTo>
                    <a:pt x="1103" y="475"/>
                  </a:lnTo>
                  <a:lnTo>
                    <a:pt x="1103" y="475"/>
                  </a:lnTo>
                  <a:lnTo>
                    <a:pt x="1103" y="473"/>
                  </a:lnTo>
                  <a:lnTo>
                    <a:pt x="1103" y="473"/>
                  </a:lnTo>
                  <a:lnTo>
                    <a:pt x="1105" y="473"/>
                  </a:lnTo>
                  <a:lnTo>
                    <a:pt x="1108" y="473"/>
                  </a:lnTo>
                  <a:lnTo>
                    <a:pt x="1108" y="473"/>
                  </a:lnTo>
                  <a:lnTo>
                    <a:pt x="1108" y="475"/>
                  </a:lnTo>
                  <a:lnTo>
                    <a:pt x="1108" y="475"/>
                  </a:lnTo>
                  <a:lnTo>
                    <a:pt x="1108" y="475"/>
                  </a:lnTo>
                  <a:lnTo>
                    <a:pt x="1108" y="477"/>
                  </a:lnTo>
                  <a:lnTo>
                    <a:pt x="1110" y="480"/>
                  </a:lnTo>
                  <a:lnTo>
                    <a:pt x="1112" y="480"/>
                  </a:lnTo>
                  <a:lnTo>
                    <a:pt x="1112" y="482"/>
                  </a:lnTo>
                  <a:lnTo>
                    <a:pt x="1110" y="482"/>
                  </a:lnTo>
                  <a:lnTo>
                    <a:pt x="1105" y="487"/>
                  </a:lnTo>
                  <a:lnTo>
                    <a:pt x="1105" y="492"/>
                  </a:lnTo>
                  <a:lnTo>
                    <a:pt x="1105" y="492"/>
                  </a:lnTo>
                  <a:lnTo>
                    <a:pt x="1105" y="492"/>
                  </a:lnTo>
                  <a:lnTo>
                    <a:pt x="1108" y="492"/>
                  </a:lnTo>
                  <a:lnTo>
                    <a:pt x="1105" y="492"/>
                  </a:lnTo>
                  <a:lnTo>
                    <a:pt x="1108" y="494"/>
                  </a:lnTo>
                  <a:lnTo>
                    <a:pt x="1108" y="494"/>
                  </a:lnTo>
                  <a:lnTo>
                    <a:pt x="1110" y="492"/>
                  </a:lnTo>
                  <a:lnTo>
                    <a:pt x="1110" y="492"/>
                  </a:lnTo>
                  <a:lnTo>
                    <a:pt x="1110" y="492"/>
                  </a:lnTo>
                  <a:lnTo>
                    <a:pt x="1110" y="489"/>
                  </a:lnTo>
                  <a:lnTo>
                    <a:pt x="1110" y="489"/>
                  </a:lnTo>
                  <a:lnTo>
                    <a:pt x="1110" y="489"/>
                  </a:lnTo>
                  <a:lnTo>
                    <a:pt x="1110" y="489"/>
                  </a:lnTo>
                  <a:lnTo>
                    <a:pt x="1112" y="489"/>
                  </a:lnTo>
                  <a:lnTo>
                    <a:pt x="1112" y="489"/>
                  </a:lnTo>
                  <a:lnTo>
                    <a:pt x="1112" y="489"/>
                  </a:lnTo>
                  <a:lnTo>
                    <a:pt x="1112" y="489"/>
                  </a:lnTo>
                  <a:lnTo>
                    <a:pt x="1112" y="489"/>
                  </a:lnTo>
                  <a:lnTo>
                    <a:pt x="1112" y="492"/>
                  </a:lnTo>
                  <a:lnTo>
                    <a:pt x="1112" y="494"/>
                  </a:lnTo>
                  <a:lnTo>
                    <a:pt x="1110" y="494"/>
                  </a:lnTo>
                  <a:lnTo>
                    <a:pt x="1112" y="494"/>
                  </a:lnTo>
                  <a:lnTo>
                    <a:pt x="1115" y="492"/>
                  </a:lnTo>
                  <a:lnTo>
                    <a:pt x="1115" y="492"/>
                  </a:lnTo>
                  <a:lnTo>
                    <a:pt x="1115" y="492"/>
                  </a:lnTo>
                  <a:lnTo>
                    <a:pt x="1115" y="494"/>
                  </a:lnTo>
                  <a:lnTo>
                    <a:pt x="1115" y="494"/>
                  </a:lnTo>
                  <a:lnTo>
                    <a:pt x="1115" y="494"/>
                  </a:lnTo>
                  <a:lnTo>
                    <a:pt x="1115" y="494"/>
                  </a:lnTo>
                  <a:lnTo>
                    <a:pt x="1117" y="492"/>
                  </a:lnTo>
                  <a:lnTo>
                    <a:pt x="1117" y="492"/>
                  </a:lnTo>
                  <a:lnTo>
                    <a:pt x="1117" y="492"/>
                  </a:lnTo>
                  <a:lnTo>
                    <a:pt x="1119" y="492"/>
                  </a:lnTo>
                  <a:lnTo>
                    <a:pt x="1119" y="494"/>
                  </a:lnTo>
                  <a:lnTo>
                    <a:pt x="1119" y="494"/>
                  </a:lnTo>
                  <a:lnTo>
                    <a:pt x="1119" y="496"/>
                  </a:lnTo>
                  <a:lnTo>
                    <a:pt x="1119" y="496"/>
                  </a:lnTo>
                  <a:lnTo>
                    <a:pt x="1119" y="496"/>
                  </a:lnTo>
                  <a:lnTo>
                    <a:pt x="1117" y="496"/>
                  </a:lnTo>
                  <a:lnTo>
                    <a:pt x="1117" y="496"/>
                  </a:lnTo>
                  <a:lnTo>
                    <a:pt x="1117" y="499"/>
                  </a:lnTo>
                  <a:lnTo>
                    <a:pt x="1117" y="499"/>
                  </a:lnTo>
                  <a:lnTo>
                    <a:pt x="1117" y="501"/>
                  </a:lnTo>
                  <a:lnTo>
                    <a:pt x="1110" y="501"/>
                  </a:lnTo>
                  <a:lnTo>
                    <a:pt x="1108" y="503"/>
                  </a:lnTo>
                  <a:lnTo>
                    <a:pt x="1108" y="506"/>
                  </a:lnTo>
                  <a:lnTo>
                    <a:pt x="1108" y="506"/>
                  </a:lnTo>
                  <a:lnTo>
                    <a:pt x="1112" y="506"/>
                  </a:lnTo>
                  <a:lnTo>
                    <a:pt x="1117" y="506"/>
                  </a:lnTo>
                  <a:lnTo>
                    <a:pt x="1117" y="506"/>
                  </a:lnTo>
                  <a:lnTo>
                    <a:pt x="1117" y="508"/>
                  </a:lnTo>
                  <a:lnTo>
                    <a:pt x="1117" y="508"/>
                  </a:lnTo>
                  <a:lnTo>
                    <a:pt x="1117" y="508"/>
                  </a:lnTo>
                  <a:lnTo>
                    <a:pt x="1117" y="508"/>
                  </a:lnTo>
                  <a:lnTo>
                    <a:pt x="1117" y="508"/>
                  </a:lnTo>
                  <a:lnTo>
                    <a:pt x="1119" y="508"/>
                  </a:lnTo>
                  <a:lnTo>
                    <a:pt x="1117" y="511"/>
                  </a:lnTo>
                  <a:lnTo>
                    <a:pt x="1117" y="511"/>
                  </a:lnTo>
                  <a:lnTo>
                    <a:pt x="1117" y="508"/>
                  </a:lnTo>
                  <a:lnTo>
                    <a:pt x="1117" y="511"/>
                  </a:lnTo>
                  <a:lnTo>
                    <a:pt x="1117" y="511"/>
                  </a:lnTo>
                  <a:lnTo>
                    <a:pt x="1117" y="511"/>
                  </a:lnTo>
                  <a:lnTo>
                    <a:pt x="1117" y="513"/>
                  </a:lnTo>
                  <a:lnTo>
                    <a:pt x="1117" y="513"/>
                  </a:lnTo>
                  <a:lnTo>
                    <a:pt x="1117" y="513"/>
                  </a:lnTo>
                  <a:lnTo>
                    <a:pt x="1117" y="515"/>
                  </a:lnTo>
                  <a:lnTo>
                    <a:pt x="1117" y="515"/>
                  </a:lnTo>
                  <a:lnTo>
                    <a:pt x="1115" y="518"/>
                  </a:lnTo>
                  <a:lnTo>
                    <a:pt x="1115" y="518"/>
                  </a:lnTo>
                  <a:lnTo>
                    <a:pt x="1112" y="515"/>
                  </a:lnTo>
                  <a:lnTo>
                    <a:pt x="1108" y="515"/>
                  </a:lnTo>
                  <a:lnTo>
                    <a:pt x="1101" y="511"/>
                  </a:lnTo>
                  <a:lnTo>
                    <a:pt x="1096" y="508"/>
                  </a:lnTo>
                  <a:lnTo>
                    <a:pt x="1093" y="508"/>
                  </a:lnTo>
                  <a:lnTo>
                    <a:pt x="1091" y="511"/>
                  </a:lnTo>
                  <a:lnTo>
                    <a:pt x="1091" y="513"/>
                  </a:lnTo>
                  <a:lnTo>
                    <a:pt x="1089" y="513"/>
                  </a:lnTo>
                  <a:lnTo>
                    <a:pt x="1089" y="515"/>
                  </a:lnTo>
                  <a:lnTo>
                    <a:pt x="1089" y="515"/>
                  </a:lnTo>
                  <a:lnTo>
                    <a:pt x="1089" y="515"/>
                  </a:lnTo>
                  <a:lnTo>
                    <a:pt x="1089" y="520"/>
                  </a:lnTo>
                  <a:lnTo>
                    <a:pt x="1089" y="520"/>
                  </a:lnTo>
                  <a:lnTo>
                    <a:pt x="1091" y="525"/>
                  </a:lnTo>
                  <a:lnTo>
                    <a:pt x="1091" y="527"/>
                  </a:lnTo>
                  <a:lnTo>
                    <a:pt x="1093" y="530"/>
                  </a:lnTo>
                  <a:lnTo>
                    <a:pt x="1093" y="530"/>
                  </a:lnTo>
                  <a:lnTo>
                    <a:pt x="1093" y="530"/>
                  </a:lnTo>
                  <a:lnTo>
                    <a:pt x="1093" y="530"/>
                  </a:lnTo>
                  <a:lnTo>
                    <a:pt x="1093" y="532"/>
                  </a:lnTo>
                  <a:lnTo>
                    <a:pt x="1098" y="537"/>
                  </a:lnTo>
                  <a:lnTo>
                    <a:pt x="1103" y="537"/>
                  </a:lnTo>
                  <a:lnTo>
                    <a:pt x="1108" y="539"/>
                  </a:lnTo>
                  <a:lnTo>
                    <a:pt x="1108" y="539"/>
                  </a:lnTo>
                  <a:lnTo>
                    <a:pt x="1108" y="537"/>
                  </a:lnTo>
                  <a:lnTo>
                    <a:pt x="1108" y="537"/>
                  </a:lnTo>
                  <a:lnTo>
                    <a:pt x="1110" y="534"/>
                  </a:lnTo>
                  <a:lnTo>
                    <a:pt x="1112" y="532"/>
                  </a:lnTo>
                  <a:lnTo>
                    <a:pt x="1115" y="532"/>
                  </a:lnTo>
                  <a:lnTo>
                    <a:pt x="1117" y="532"/>
                  </a:lnTo>
                  <a:lnTo>
                    <a:pt x="1117" y="532"/>
                  </a:lnTo>
                  <a:lnTo>
                    <a:pt x="1119" y="530"/>
                  </a:lnTo>
                  <a:lnTo>
                    <a:pt x="1124" y="530"/>
                  </a:lnTo>
                  <a:lnTo>
                    <a:pt x="1129" y="527"/>
                  </a:lnTo>
                  <a:lnTo>
                    <a:pt x="1131" y="530"/>
                  </a:lnTo>
                  <a:lnTo>
                    <a:pt x="1129" y="532"/>
                  </a:lnTo>
                  <a:lnTo>
                    <a:pt x="1127" y="534"/>
                  </a:lnTo>
                  <a:lnTo>
                    <a:pt x="1129" y="537"/>
                  </a:lnTo>
                  <a:lnTo>
                    <a:pt x="1129" y="537"/>
                  </a:lnTo>
                  <a:lnTo>
                    <a:pt x="1131" y="539"/>
                  </a:lnTo>
                  <a:lnTo>
                    <a:pt x="1134" y="539"/>
                  </a:lnTo>
                  <a:lnTo>
                    <a:pt x="1138" y="537"/>
                  </a:lnTo>
                  <a:lnTo>
                    <a:pt x="1145" y="539"/>
                  </a:lnTo>
                  <a:lnTo>
                    <a:pt x="1150" y="541"/>
                  </a:lnTo>
                  <a:lnTo>
                    <a:pt x="1155" y="546"/>
                  </a:lnTo>
                  <a:lnTo>
                    <a:pt x="1155" y="546"/>
                  </a:lnTo>
                  <a:lnTo>
                    <a:pt x="1160" y="544"/>
                  </a:lnTo>
                  <a:lnTo>
                    <a:pt x="1160" y="544"/>
                  </a:lnTo>
                  <a:lnTo>
                    <a:pt x="1160" y="544"/>
                  </a:lnTo>
                  <a:lnTo>
                    <a:pt x="1160" y="546"/>
                  </a:lnTo>
                  <a:lnTo>
                    <a:pt x="1160" y="546"/>
                  </a:lnTo>
                  <a:lnTo>
                    <a:pt x="1160" y="546"/>
                  </a:lnTo>
                  <a:lnTo>
                    <a:pt x="1160" y="548"/>
                  </a:lnTo>
                  <a:lnTo>
                    <a:pt x="1160" y="551"/>
                  </a:lnTo>
                  <a:lnTo>
                    <a:pt x="1160" y="551"/>
                  </a:lnTo>
                  <a:lnTo>
                    <a:pt x="1164" y="553"/>
                  </a:lnTo>
                  <a:lnTo>
                    <a:pt x="1164" y="556"/>
                  </a:lnTo>
                  <a:lnTo>
                    <a:pt x="1164" y="556"/>
                  </a:lnTo>
                  <a:lnTo>
                    <a:pt x="1164" y="558"/>
                  </a:lnTo>
                  <a:lnTo>
                    <a:pt x="1164" y="558"/>
                  </a:lnTo>
                  <a:lnTo>
                    <a:pt x="1164" y="558"/>
                  </a:lnTo>
                  <a:lnTo>
                    <a:pt x="1162" y="558"/>
                  </a:lnTo>
                  <a:lnTo>
                    <a:pt x="1162" y="560"/>
                  </a:lnTo>
                  <a:lnTo>
                    <a:pt x="1162" y="560"/>
                  </a:lnTo>
                  <a:lnTo>
                    <a:pt x="1164" y="563"/>
                  </a:lnTo>
                  <a:lnTo>
                    <a:pt x="1164" y="565"/>
                  </a:lnTo>
                  <a:lnTo>
                    <a:pt x="1167" y="570"/>
                  </a:lnTo>
                  <a:lnTo>
                    <a:pt x="1167" y="570"/>
                  </a:lnTo>
                  <a:lnTo>
                    <a:pt x="1167" y="572"/>
                  </a:lnTo>
                  <a:lnTo>
                    <a:pt x="1167" y="572"/>
                  </a:lnTo>
                  <a:lnTo>
                    <a:pt x="1167" y="574"/>
                  </a:lnTo>
                  <a:lnTo>
                    <a:pt x="1171" y="574"/>
                  </a:lnTo>
                  <a:lnTo>
                    <a:pt x="1174" y="577"/>
                  </a:lnTo>
                  <a:lnTo>
                    <a:pt x="1176" y="579"/>
                  </a:lnTo>
                  <a:lnTo>
                    <a:pt x="1179" y="582"/>
                  </a:lnTo>
                  <a:lnTo>
                    <a:pt x="1181" y="582"/>
                  </a:lnTo>
                  <a:lnTo>
                    <a:pt x="1181" y="579"/>
                  </a:lnTo>
                  <a:lnTo>
                    <a:pt x="1181" y="579"/>
                  </a:lnTo>
                  <a:lnTo>
                    <a:pt x="1181" y="579"/>
                  </a:lnTo>
                  <a:lnTo>
                    <a:pt x="1181" y="577"/>
                  </a:lnTo>
                  <a:lnTo>
                    <a:pt x="1188" y="577"/>
                  </a:lnTo>
                  <a:lnTo>
                    <a:pt x="1193" y="574"/>
                  </a:lnTo>
                  <a:lnTo>
                    <a:pt x="1193" y="574"/>
                  </a:lnTo>
                  <a:lnTo>
                    <a:pt x="1195" y="574"/>
                  </a:lnTo>
                  <a:lnTo>
                    <a:pt x="1195" y="572"/>
                  </a:lnTo>
                  <a:lnTo>
                    <a:pt x="1195" y="572"/>
                  </a:lnTo>
                  <a:lnTo>
                    <a:pt x="1195" y="572"/>
                  </a:lnTo>
                  <a:lnTo>
                    <a:pt x="1195" y="572"/>
                  </a:lnTo>
                  <a:lnTo>
                    <a:pt x="1195" y="570"/>
                  </a:lnTo>
                  <a:lnTo>
                    <a:pt x="1195" y="570"/>
                  </a:lnTo>
                  <a:lnTo>
                    <a:pt x="1195" y="570"/>
                  </a:lnTo>
                  <a:lnTo>
                    <a:pt x="1195" y="567"/>
                  </a:lnTo>
                  <a:lnTo>
                    <a:pt x="1195" y="567"/>
                  </a:lnTo>
                  <a:lnTo>
                    <a:pt x="1195" y="565"/>
                  </a:lnTo>
                  <a:lnTo>
                    <a:pt x="1195" y="565"/>
                  </a:lnTo>
                  <a:lnTo>
                    <a:pt x="1198" y="563"/>
                  </a:lnTo>
                  <a:lnTo>
                    <a:pt x="1198" y="563"/>
                  </a:lnTo>
                  <a:lnTo>
                    <a:pt x="1198" y="560"/>
                  </a:lnTo>
                  <a:lnTo>
                    <a:pt x="1198" y="560"/>
                  </a:lnTo>
                  <a:lnTo>
                    <a:pt x="1198" y="558"/>
                  </a:lnTo>
                  <a:lnTo>
                    <a:pt x="1198" y="558"/>
                  </a:lnTo>
                  <a:lnTo>
                    <a:pt x="1198" y="556"/>
                  </a:lnTo>
                  <a:lnTo>
                    <a:pt x="1198" y="556"/>
                  </a:lnTo>
                  <a:lnTo>
                    <a:pt x="1195" y="556"/>
                  </a:lnTo>
                  <a:lnTo>
                    <a:pt x="1190" y="546"/>
                  </a:lnTo>
                  <a:lnTo>
                    <a:pt x="1188" y="544"/>
                  </a:lnTo>
                  <a:lnTo>
                    <a:pt x="1188" y="544"/>
                  </a:lnTo>
                  <a:lnTo>
                    <a:pt x="1188" y="541"/>
                  </a:lnTo>
                  <a:lnTo>
                    <a:pt x="1188" y="539"/>
                  </a:lnTo>
                  <a:lnTo>
                    <a:pt x="1186" y="537"/>
                  </a:lnTo>
                  <a:lnTo>
                    <a:pt x="1186" y="537"/>
                  </a:lnTo>
                  <a:lnTo>
                    <a:pt x="1183" y="537"/>
                  </a:lnTo>
                  <a:lnTo>
                    <a:pt x="1181" y="534"/>
                  </a:lnTo>
                  <a:lnTo>
                    <a:pt x="1181" y="534"/>
                  </a:lnTo>
                  <a:lnTo>
                    <a:pt x="1183" y="530"/>
                  </a:lnTo>
                  <a:lnTo>
                    <a:pt x="1183" y="530"/>
                  </a:lnTo>
                  <a:lnTo>
                    <a:pt x="1183" y="527"/>
                  </a:lnTo>
                  <a:lnTo>
                    <a:pt x="1181" y="525"/>
                  </a:lnTo>
                  <a:lnTo>
                    <a:pt x="1181" y="522"/>
                  </a:lnTo>
                  <a:lnTo>
                    <a:pt x="1181" y="522"/>
                  </a:lnTo>
                  <a:lnTo>
                    <a:pt x="1183" y="520"/>
                  </a:lnTo>
                  <a:lnTo>
                    <a:pt x="1183" y="520"/>
                  </a:lnTo>
                  <a:lnTo>
                    <a:pt x="1183" y="518"/>
                  </a:lnTo>
                  <a:lnTo>
                    <a:pt x="1183" y="518"/>
                  </a:lnTo>
                  <a:lnTo>
                    <a:pt x="1183" y="518"/>
                  </a:lnTo>
                  <a:lnTo>
                    <a:pt x="1186" y="515"/>
                  </a:lnTo>
                  <a:lnTo>
                    <a:pt x="1186" y="515"/>
                  </a:lnTo>
                  <a:lnTo>
                    <a:pt x="1186" y="515"/>
                  </a:lnTo>
                  <a:lnTo>
                    <a:pt x="1186" y="513"/>
                  </a:lnTo>
                  <a:lnTo>
                    <a:pt x="1186" y="513"/>
                  </a:lnTo>
                  <a:lnTo>
                    <a:pt x="1183" y="513"/>
                  </a:lnTo>
                  <a:lnTo>
                    <a:pt x="1186" y="513"/>
                  </a:lnTo>
                  <a:lnTo>
                    <a:pt x="1186" y="513"/>
                  </a:lnTo>
                  <a:lnTo>
                    <a:pt x="1186" y="511"/>
                  </a:lnTo>
                  <a:lnTo>
                    <a:pt x="1186" y="508"/>
                  </a:lnTo>
                  <a:lnTo>
                    <a:pt x="1186" y="508"/>
                  </a:lnTo>
                  <a:lnTo>
                    <a:pt x="1186" y="508"/>
                  </a:lnTo>
                  <a:lnTo>
                    <a:pt x="1183" y="508"/>
                  </a:lnTo>
                  <a:lnTo>
                    <a:pt x="1183" y="508"/>
                  </a:lnTo>
                  <a:lnTo>
                    <a:pt x="1183" y="508"/>
                  </a:lnTo>
                  <a:lnTo>
                    <a:pt x="1183" y="508"/>
                  </a:lnTo>
                  <a:lnTo>
                    <a:pt x="1181" y="506"/>
                  </a:lnTo>
                  <a:lnTo>
                    <a:pt x="1181" y="506"/>
                  </a:lnTo>
                  <a:lnTo>
                    <a:pt x="1181" y="506"/>
                  </a:lnTo>
                  <a:lnTo>
                    <a:pt x="1179" y="506"/>
                  </a:lnTo>
                  <a:lnTo>
                    <a:pt x="1179" y="506"/>
                  </a:lnTo>
                  <a:lnTo>
                    <a:pt x="1176" y="506"/>
                  </a:lnTo>
                  <a:lnTo>
                    <a:pt x="1179" y="503"/>
                  </a:lnTo>
                  <a:lnTo>
                    <a:pt x="1179" y="501"/>
                  </a:lnTo>
                  <a:lnTo>
                    <a:pt x="1181" y="501"/>
                  </a:lnTo>
                  <a:lnTo>
                    <a:pt x="1179" y="496"/>
                  </a:lnTo>
                  <a:lnTo>
                    <a:pt x="1174" y="494"/>
                  </a:lnTo>
                  <a:lnTo>
                    <a:pt x="1174" y="492"/>
                  </a:lnTo>
                  <a:lnTo>
                    <a:pt x="1171" y="492"/>
                  </a:lnTo>
                  <a:lnTo>
                    <a:pt x="1171" y="489"/>
                  </a:lnTo>
                  <a:lnTo>
                    <a:pt x="1171" y="489"/>
                  </a:lnTo>
                  <a:lnTo>
                    <a:pt x="1171" y="489"/>
                  </a:lnTo>
                  <a:lnTo>
                    <a:pt x="1169" y="489"/>
                  </a:lnTo>
                  <a:lnTo>
                    <a:pt x="1167" y="492"/>
                  </a:lnTo>
                  <a:lnTo>
                    <a:pt x="1164" y="492"/>
                  </a:lnTo>
                  <a:lnTo>
                    <a:pt x="1164" y="492"/>
                  </a:lnTo>
                  <a:lnTo>
                    <a:pt x="1162" y="494"/>
                  </a:lnTo>
                  <a:lnTo>
                    <a:pt x="1160" y="492"/>
                  </a:lnTo>
                  <a:lnTo>
                    <a:pt x="1160" y="492"/>
                  </a:lnTo>
                  <a:lnTo>
                    <a:pt x="1160" y="489"/>
                  </a:lnTo>
                  <a:lnTo>
                    <a:pt x="1157" y="492"/>
                  </a:lnTo>
                  <a:lnTo>
                    <a:pt x="1157" y="489"/>
                  </a:lnTo>
                  <a:lnTo>
                    <a:pt x="1157" y="489"/>
                  </a:lnTo>
                  <a:lnTo>
                    <a:pt x="1157" y="487"/>
                  </a:lnTo>
                  <a:lnTo>
                    <a:pt x="1160" y="485"/>
                  </a:lnTo>
                  <a:lnTo>
                    <a:pt x="1160" y="480"/>
                  </a:lnTo>
                  <a:lnTo>
                    <a:pt x="1162" y="480"/>
                  </a:lnTo>
                  <a:lnTo>
                    <a:pt x="1160" y="477"/>
                  </a:lnTo>
                  <a:lnTo>
                    <a:pt x="1160" y="475"/>
                  </a:lnTo>
                  <a:lnTo>
                    <a:pt x="1157" y="475"/>
                  </a:lnTo>
                  <a:lnTo>
                    <a:pt x="1157" y="475"/>
                  </a:lnTo>
                  <a:lnTo>
                    <a:pt x="1157" y="475"/>
                  </a:lnTo>
                  <a:lnTo>
                    <a:pt x="1157" y="475"/>
                  </a:lnTo>
                  <a:lnTo>
                    <a:pt x="1157" y="477"/>
                  </a:lnTo>
                  <a:lnTo>
                    <a:pt x="1157" y="477"/>
                  </a:lnTo>
                  <a:lnTo>
                    <a:pt x="1155" y="475"/>
                  </a:lnTo>
                  <a:lnTo>
                    <a:pt x="1155" y="473"/>
                  </a:lnTo>
                  <a:lnTo>
                    <a:pt x="1155" y="473"/>
                  </a:lnTo>
                  <a:lnTo>
                    <a:pt x="1150" y="468"/>
                  </a:lnTo>
                  <a:lnTo>
                    <a:pt x="1150" y="466"/>
                  </a:lnTo>
                  <a:lnTo>
                    <a:pt x="1150" y="466"/>
                  </a:lnTo>
                  <a:lnTo>
                    <a:pt x="1150" y="466"/>
                  </a:lnTo>
                  <a:lnTo>
                    <a:pt x="1150" y="466"/>
                  </a:lnTo>
                  <a:lnTo>
                    <a:pt x="1150" y="466"/>
                  </a:lnTo>
                  <a:lnTo>
                    <a:pt x="1150" y="466"/>
                  </a:lnTo>
                  <a:lnTo>
                    <a:pt x="1145" y="463"/>
                  </a:lnTo>
                  <a:lnTo>
                    <a:pt x="1145" y="466"/>
                  </a:lnTo>
                  <a:lnTo>
                    <a:pt x="1141" y="468"/>
                  </a:lnTo>
                  <a:lnTo>
                    <a:pt x="1138" y="468"/>
                  </a:lnTo>
                  <a:lnTo>
                    <a:pt x="1138" y="470"/>
                  </a:lnTo>
                  <a:lnTo>
                    <a:pt x="1138" y="470"/>
                  </a:lnTo>
                  <a:lnTo>
                    <a:pt x="1136" y="470"/>
                  </a:lnTo>
                  <a:lnTo>
                    <a:pt x="1136" y="470"/>
                  </a:lnTo>
                  <a:lnTo>
                    <a:pt x="1136" y="470"/>
                  </a:lnTo>
                  <a:lnTo>
                    <a:pt x="1136" y="473"/>
                  </a:lnTo>
                  <a:lnTo>
                    <a:pt x="1136" y="475"/>
                  </a:lnTo>
                  <a:lnTo>
                    <a:pt x="1136" y="475"/>
                  </a:lnTo>
                  <a:lnTo>
                    <a:pt x="1136" y="475"/>
                  </a:lnTo>
                  <a:lnTo>
                    <a:pt x="1136" y="475"/>
                  </a:lnTo>
                  <a:lnTo>
                    <a:pt x="1136" y="475"/>
                  </a:lnTo>
                  <a:lnTo>
                    <a:pt x="1136" y="477"/>
                  </a:lnTo>
                  <a:lnTo>
                    <a:pt x="1136" y="477"/>
                  </a:lnTo>
                  <a:lnTo>
                    <a:pt x="1134" y="482"/>
                  </a:lnTo>
                  <a:lnTo>
                    <a:pt x="1134" y="482"/>
                  </a:lnTo>
                  <a:lnTo>
                    <a:pt x="1134" y="482"/>
                  </a:lnTo>
                  <a:lnTo>
                    <a:pt x="1134" y="482"/>
                  </a:lnTo>
                  <a:lnTo>
                    <a:pt x="1134" y="482"/>
                  </a:lnTo>
                  <a:lnTo>
                    <a:pt x="1134" y="482"/>
                  </a:lnTo>
                  <a:lnTo>
                    <a:pt x="1134" y="482"/>
                  </a:lnTo>
                  <a:lnTo>
                    <a:pt x="1134" y="482"/>
                  </a:lnTo>
                  <a:lnTo>
                    <a:pt x="1131" y="480"/>
                  </a:lnTo>
                  <a:lnTo>
                    <a:pt x="1134" y="477"/>
                  </a:lnTo>
                  <a:lnTo>
                    <a:pt x="1134" y="477"/>
                  </a:lnTo>
                  <a:lnTo>
                    <a:pt x="1134" y="477"/>
                  </a:lnTo>
                  <a:lnTo>
                    <a:pt x="1134" y="477"/>
                  </a:lnTo>
                  <a:lnTo>
                    <a:pt x="1134" y="477"/>
                  </a:lnTo>
                  <a:lnTo>
                    <a:pt x="1134" y="477"/>
                  </a:lnTo>
                  <a:lnTo>
                    <a:pt x="1134" y="477"/>
                  </a:lnTo>
                  <a:lnTo>
                    <a:pt x="1131" y="477"/>
                  </a:lnTo>
                  <a:lnTo>
                    <a:pt x="1131" y="477"/>
                  </a:lnTo>
                  <a:lnTo>
                    <a:pt x="1131" y="477"/>
                  </a:lnTo>
                  <a:lnTo>
                    <a:pt x="1131" y="477"/>
                  </a:lnTo>
                  <a:lnTo>
                    <a:pt x="1129" y="477"/>
                  </a:lnTo>
                  <a:lnTo>
                    <a:pt x="1131" y="475"/>
                  </a:lnTo>
                  <a:lnTo>
                    <a:pt x="1131" y="473"/>
                  </a:lnTo>
                  <a:lnTo>
                    <a:pt x="1131" y="470"/>
                  </a:lnTo>
                  <a:lnTo>
                    <a:pt x="1134" y="468"/>
                  </a:lnTo>
                  <a:lnTo>
                    <a:pt x="1134" y="466"/>
                  </a:lnTo>
                  <a:lnTo>
                    <a:pt x="1134" y="466"/>
                  </a:lnTo>
                  <a:lnTo>
                    <a:pt x="1134" y="463"/>
                  </a:lnTo>
                  <a:lnTo>
                    <a:pt x="1134" y="463"/>
                  </a:lnTo>
                  <a:lnTo>
                    <a:pt x="1131" y="463"/>
                  </a:lnTo>
                  <a:lnTo>
                    <a:pt x="1131" y="461"/>
                  </a:lnTo>
                  <a:lnTo>
                    <a:pt x="1131" y="461"/>
                  </a:lnTo>
                  <a:lnTo>
                    <a:pt x="1131" y="461"/>
                  </a:lnTo>
                  <a:lnTo>
                    <a:pt x="1131" y="461"/>
                  </a:lnTo>
                  <a:lnTo>
                    <a:pt x="1131" y="461"/>
                  </a:lnTo>
                  <a:lnTo>
                    <a:pt x="1131" y="459"/>
                  </a:lnTo>
                  <a:lnTo>
                    <a:pt x="1131" y="459"/>
                  </a:lnTo>
                  <a:lnTo>
                    <a:pt x="1129" y="459"/>
                  </a:lnTo>
                  <a:lnTo>
                    <a:pt x="1129" y="456"/>
                  </a:lnTo>
                  <a:lnTo>
                    <a:pt x="1129" y="456"/>
                  </a:lnTo>
                  <a:lnTo>
                    <a:pt x="1129" y="456"/>
                  </a:lnTo>
                  <a:lnTo>
                    <a:pt x="1129" y="456"/>
                  </a:lnTo>
                  <a:lnTo>
                    <a:pt x="1129" y="456"/>
                  </a:lnTo>
                  <a:lnTo>
                    <a:pt x="1129" y="454"/>
                  </a:lnTo>
                  <a:lnTo>
                    <a:pt x="1129" y="451"/>
                  </a:lnTo>
                  <a:lnTo>
                    <a:pt x="1129" y="451"/>
                  </a:lnTo>
                  <a:lnTo>
                    <a:pt x="1129" y="451"/>
                  </a:lnTo>
                  <a:lnTo>
                    <a:pt x="1129" y="451"/>
                  </a:lnTo>
                  <a:lnTo>
                    <a:pt x="1129" y="451"/>
                  </a:lnTo>
                  <a:lnTo>
                    <a:pt x="1129" y="449"/>
                  </a:lnTo>
                  <a:lnTo>
                    <a:pt x="1127" y="449"/>
                  </a:lnTo>
                  <a:lnTo>
                    <a:pt x="1127" y="449"/>
                  </a:lnTo>
                  <a:lnTo>
                    <a:pt x="1127" y="449"/>
                  </a:lnTo>
                  <a:lnTo>
                    <a:pt x="1127" y="447"/>
                  </a:lnTo>
                  <a:lnTo>
                    <a:pt x="1124" y="444"/>
                  </a:lnTo>
                  <a:lnTo>
                    <a:pt x="1122" y="444"/>
                  </a:lnTo>
                  <a:lnTo>
                    <a:pt x="1119" y="444"/>
                  </a:lnTo>
                  <a:lnTo>
                    <a:pt x="1115" y="440"/>
                  </a:lnTo>
                  <a:lnTo>
                    <a:pt x="1115" y="437"/>
                  </a:lnTo>
                  <a:lnTo>
                    <a:pt x="1108" y="440"/>
                  </a:lnTo>
                  <a:lnTo>
                    <a:pt x="1098" y="442"/>
                  </a:lnTo>
                  <a:lnTo>
                    <a:pt x="1091" y="444"/>
                  </a:lnTo>
                  <a:lnTo>
                    <a:pt x="1086" y="440"/>
                  </a:lnTo>
                  <a:lnTo>
                    <a:pt x="1084" y="440"/>
                  </a:lnTo>
                  <a:lnTo>
                    <a:pt x="1084" y="442"/>
                  </a:lnTo>
                  <a:lnTo>
                    <a:pt x="1084" y="442"/>
                  </a:lnTo>
                  <a:lnTo>
                    <a:pt x="1086" y="444"/>
                  </a:lnTo>
                  <a:lnTo>
                    <a:pt x="1086" y="444"/>
                  </a:lnTo>
                  <a:lnTo>
                    <a:pt x="1084" y="444"/>
                  </a:lnTo>
                  <a:lnTo>
                    <a:pt x="1084" y="447"/>
                  </a:lnTo>
                  <a:lnTo>
                    <a:pt x="1084" y="447"/>
                  </a:lnTo>
                  <a:lnTo>
                    <a:pt x="1082" y="449"/>
                  </a:lnTo>
                  <a:lnTo>
                    <a:pt x="1082" y="451"/>
                  </a:lnTo>
                  <a:lnTo>
                    <a:pt x="1082" y="454"/>
                  </a:lnTo>
                  <a:lnTo>
                    <a:pt x="1082" y="456"/>
                  </a:lnTo>
                  <a:lnTo>
                    <a:pt x="1082" y="456"/>
                  </a:lnTo>
                  <a:lnTo>
                    <a:pt x="1082" y="459"/>
                  </a:lnTo>
                  <a:lnTo>
                    <a:pt x="1082" y="461"/>
                  </a:lnTo>
                  <a:lnTo>
                    <a:pt x="1082" y="461"/>
                  </a:lnTo>
                  <a:lnTo>
                    <a:pt x="1082" y="461"/>
                  </a:lnTo>
                  <a:lnTo>
                    <a:pt x="1082" y="461"/>
                  </a:lnTo>
                  <a:lnTo>
                    <a:pt x="1082" y="463"/>
                  </a:lnTo>
                  <a:lnTo>
                    <a:pt x="1082" y="463"/>
                  </a:lnTo>
                  <a:lnTo>
                    <a:pt x="1082" y="466"/>
                  </a:lnTo>
                  <a:lnTo>
                    <a:pt x="1082" y="468"/>
                  </a:lnTo>
                  <a:close/>
                  <a:moveTo>
                    <a:pt x="1067" y="586"/>
                  </a:moveTo>
                  <a:lnTo>
                    <a:pt x="1070" y="589"/>
                  </a:lnTo>
                  <a:lnTo>
                    <a:pt x="1070" y="591"/>
                  </a:lnTo>
                  <a:lnTo>
                    <a:pt x="1070" y="591"/>
                  </a:lnTo>
                  <a:lnTo>
                    <a:pt x="1070" y="593"/>
                  </a:lnTo>
                  <a:lnTo>
                    <a:pt x="1070" y="596"/>
                  </a:lnTo>
                  <a:lnTo>
                    <a:pt x="1070" y="596"/>
                  </a:lnTo>
                  <a:lnTo>
                    <a:pt x="1070" y="598"/>
                  </a:lnTo>
                  <a:lnTo>
                    <a:pt x="1070" y="598"/>
                  </a:lnTo>
                  <a:lnTo>
                    <a:pt x="1070" y="598"/>
                  </a:lnTo>
                  <a:lnTo>
                    <a:pt x="1072" y="600"/>
                  </a:lnTo>
                  <a:lnTo>
                    <a:pt x="1072" y="600"/>
                  </a:lnTo>
                  <a:lnTo>
                    <a:pt x="1072" y="600"/>
                  </a:lnTo>
                  <a:lnTo>
                    <a:pt x="1072" y="600"/>
                  </a:lnTo>
                  <a:lnTo>
                    <a:pt x="1072" y="603"/>
                  </a:lnTo>
                  <a:lnTo>
                    <a:pt x="1072" y="603"/>
                  </a:lnTo>
                  <a:lnTo>
                    <a:pt x="1072" y="603"/>
                  </a:lnTo>
                  <a:lnTo>
                    <a:pt x="1072" y="603"/>
                  </a:lnTo>
                  <a:lnTo>
                    <a:pt x="1072" y="605"/>
                  </a:lnTo>
                  <a:lnTo>
                    <a:pt x="1072" y="605"/>
                  </a:lnTo>
                  <a:lnTo>
                    <a:pt x="1072" y="608"/>
                  </a:lnTo>
                  <a:lnTo>
                    <a:pt x="1072" y="608"/>
                  </a:lnTo>
                  <a:lnTo>
                    <a:pt x="1072" y="610"/>
                  </a:lnTo>
                  <a:lnTo>
                    <a:pt x="1072" y="610"/>
                  </a:lnTo>
                  <a:lnTo>
                    <a:pt x="1072" y="610"/>
                  </a:lnTo>
                  <a:lnTo>
                    <a:pt x="1072" y="612"/>
                  </a:lnTo>
                  <a:lnTo>
                    <a:pt x="1072" y="612"/>
                  </a:lnTo>
                  <a:lnTo>
                    <a:pt x="1072" y="612"/>
                  </a:lnTo>
                  <a:lnTo>
                    <a:pt x="1074" y="612"/>
                  </a:lnTo>
                  <a:lnTo>
                    <a:pt x="1074" y="612"/>
                  </a:lnTo>
                  <a:lnTo>
                    <a:pt x="1074" y="615"/>
                  </a:lnTo>
                  <a:lnTo>
                    <a:pt x="1074" y="615"/>
                  </a:lnTo>
                  <a:lnTo>
                    <a:pt x="1074" y="615"/>
                  </a:lnTo>
                  <a:lnTo>
                    <a:pt x="1074" y="615"/>
                  </a:lnTo>
                  <a:lnTo>
                    <a:pt x="1074" y="617"/>
                  </a:lnTo>
                  <a:lnTo>
                    <a:pt x="1074" y="617"/>
                  </a:lnTo>
                  <a:lnTo>
                    <a:pt x="1074" y="617"/>
                  </a:lnTo>
                  <a:lnTo>
                    <a:pt x="1074" y="619"/>
                  </a:lnTo>
                  <a:lnTo>
                    <a:pt x="1074" y="619"/>
                  </a:lnTo>
                  <a:lnTo>
                    <a:pt x="1077" y="622"/>
                  </a:lnTo>
                  <a:lnTo>
                    <a:pt x="1077" y="622"/>
                  </a:lnTo>
                  <a:lnTo>
                    <a:pt x="1077" y="622"/>
                  </a:lnTo>
                  <a:lnTo>
                    <a:pt x="1077" y="622"/>
                  </a:lnTo>
                  <a:lnTo>
                    <a:pt x="1077" y="622"/>
                  </a:lnTo>
                  <a:lnTo>
                    <a:pt x="1077" y="624"/>
                  </a:lnTo>
                  <a:lnTo>
                    <a:pt x="1077" y="624"/>
                  </a:lnTo>
                  <a:lnTo>
                    <a:pt x="1079" y="627"/>
                  </a:lnTo>
                  <a:lnTo>
                    <a:pt x="1077" y="627"/>
                  </a:lnTo>
                  <a:lnTo>
                    <a:pt x="1077" y="627"/>
                  </a:lnTo>
                  <a:lnTo>
                    <a:pt x="1077" y="627"/>
                  </a:lnTo>
                  <a:lnTo>
                    <a:pt x="1077" y="627"/>
                  </a:lnTo>
                  <a:lnTo>
                    <a:pt x="1077" y="627"/>
                  </a:lnTo>
                  <a:lnTo>
                    <a:pt x="1077" y="627"/>
                  </a:lnTo>
                  <a:lnTo>
                    <a:pt x="1079" y="627"/>
                  </a:lnTo>
                  <a:lnTo>
                    <a:pt x="1079" y="629"/>
                  </a:lnTo>
                  <a:lnTo>
                    <a:pt x="1079" y="629"/>
                  </a:lnTo>
                  <a:lnTo>
                    <a:pt x="1079" y="631"/>
                  </a:lnTo>
                  <a:lnTo>
                    <a:pt x="1079" y="631"/>
                  </a:lnTo>
                  <a:lnTo>
                    <a:pt x="1082" y="631"/>
                  </a:lnTo>
                  <a:lnTo>
                    <a:pt x="1082" y="631"/>
                  </a:lnTo>
                  <a:lnTo>
                    <a:pt x="1084" y="631"/>
                  </a:lnTo>
                  <a:lnTo>
                    <a:pt x="1084" y="631"/>
                  </a:lnTo>
                  <a:lnTo>
                    <a:pt x="1086" y="634"/>
                  </a:lnTo>
                  <a:lnTo>
                    <a:pt x="1086" y="636"/>
                  </a:lnTo>
                  <a:lnTo>
                    <a:pt x="1086" y="636"/>
                  </a:lnTo>
                  <a:lnTo>
                    <a:pt x="1089" y="636"/>
                  </a:lnTo>
                  <a:lnTo>
                    <a:pt x="1089" y="636"/>
                  </a:lnTo>
                  <a:lnTo>
                    <a:pt x="1091" y="634"/>
                  </a:lnTo>
                  <a:lnTo>
                    <a:pt x="1093" y="634"/>
                  </a:lnTo>
                  <a:lnTo>
                    <a:pt x="1093" y="634"/>
                  </a:lnTo>
                  <a:lnTo>
                    <a:pt x="1096" y="629"/>
                  </a:lnTo>
                  <a:lnTo>
                    <a:pt x="1096" y="627"/>
                  </a:lnTo>
                  <a:lnTo>
                    <a:pt x="1096" y="627"/>
                  </a:lnTo>
                  <a:lnTo>
                    <a:pt x="1096" y="624"/>
                  </a:lnTo>
                  <a:lnTo>
                    <a:pt x="1096" y="624"/>
                  </a:lnTo>
                  <a:lnTo>
                    <a:pt x="1096" y="622"/>
                  </a:lnTo>
                  <a:lnTo>
                    <a:pt x="1096" y="622"/>
                  </a:lnTo>
                  <a:lnTo>
                    <a:pt x="1093" y="622"/>
                  </a:lnTo>
                  <a:lnTo>
                    <a:pt x="1093" y="622"/>
                  </a:lnTo>
                  <a:lnTo>
                    <a:pt x="1096" y="619"/>
                  </a:lnTo>
                  <a:lnTo>
                    <a:pt x="1096" y="619"/>
                  </a:lnTo>
                  <a:lnTo>
                    <a:pt x="1096" y="619"/>
                  </a:lnTo>
                  <a:lnTo>
                    <a:pt x="1096" y="619"/>
                  </a:lnTo>
                  <a:lnTo>
                    <a:pt x="1093" y="619"/>
                  </a:lnTo>
                  <a:lnTo>
                    <a:pt x="1093" y="619"/>
                  </a:lnTo>
                  <a:lnTo>
                    <a:pt x="1093" y="617"/>
                  </a:lnTo>
                  <a:lnTo>
                    <a:pt x="1091" y="612"/>
                  </a:lnTo>
                  <a:lnTo>
                    <a:pt x="1091" y="612"/>
                  </a:lnTo>
                  <a:lnTo>
                    <a:pt x="1089" y="610"/>
                  </a:lnTo>
                  <a:lnTo>
                    <a:pt x="1089" y="610"/>
                  </a:lnTo>
                  <a:lnTo>
                    <a:pt x="1084" y="610"/>
                  </a:lnTo>
                  <a:lnTo>
                    <a:pt x="1084" y="610"/>
                  </a:lnTo>
                  <a:lnTo>
                    <a:pt x="1084" y="610"/>
                  </a:lnTo>
                  <a:lnTo>
                    <a:pt x="1084" y="610"/>
                  </a:lnTo>
                  <a:lnTo>
                    <a:pt x="1084" y="608"/>
                  </a:lnTo>
                  <a:lnTo>
                    <a:pt x="1084" y="608"/>
                  </a:lnTo>
                  <a:lnTo>
                    <a:pt x="1086" y="605"/>
                  </a:lnTo>
                  <a:lnTo>
                    <a:pt x="1086" y="605"/>
                  </a:lnTo>
                  <a:lnTo>
                    <a:pt x="1086" y="603"/>
                  </a:lnTo>
                  <a:lnTo>
                    <a:pt x="1086" y="600"/>
                  </a:lnTo>
                  <a:lnTo>
                    <a:pt x="1082" y="591"/>
                  </a:lnTo>
                  <a:lnTo>
                    <a:pt x="1077" y="584"/>
                  </a:lnTo>
                  <a:lnTo>
                    <a:pt x="1074" y="582"/>
                  </a:lnTo>
                  <a:lnTo>
                    <a:pt x="1074" y="582"/>
                  </a:lnTo>
                  <a:lnTo>
                    <a:pt x="1070" y="579"/>
                  </a:lnTo>
                  <a:lnTo>
                    <a:pt x="1067" y="582"/>
                  </a:lnTo>
                  <a:lnTo>
                    <a:pt x="1065" y="582"/>
                  </a:lnTo>
                  <a:lnTo>
                    <a:pt x="1065" y="584"/>
                  </a:lnTo>
                  <a:lnTo>
                    <a:pt x="1067" y="586"/>
                  </a:lnTo>
                  <a:close/>
                  <a:moveTo>
                    <a:pt x="1176" y="378"/>
                  </a:moveTo>
                  <a:lnTo>
                    <a:pt x="1176" y="380"/>
                  </a:lnTo>
                  <a:lnTo>
                    <a:pt x="1176" y="380"/>
                  </a:lnTo>
                  <a:lnTo>
                    <a:pt x="1176" y="380"/>
                  </a:lnTo>
                  <a:lnTo>
                    <a:pt x="1176" y="380"/>
                  </a:lnTo>
                  <a:lnTo>
                    <a:pt x="1176" y="383"/>
                  </a:lnTo>
                  <a:lnTo>
                    <a:pt x="1176" y="383"/>
                  </a:lnTo>
                  <a:lnTo>
                    <a:pt x="1176" y="383"/>
                  </a:lnTo>
                  <a:lnTo>
                    <a:pt x="1176" y="383"/>
                  </a:lnTo>
                  <a:lnTo>
                    <a:pt x="1176" y="385"/>
                  </a:lnTo>
                  <a:lnTo>
                    <a:pt x="1176" y="385"/>
                  </a:lnTo>
                  <a:lnTo>
                    <a:pt x="1176" y="388"/>
                  </a:lnTo>
                  <a:lnTo>
                    <a:pt x="1176" y="388"/>
                  </a:lnTo>
                  <a:lnTo>
                    <a:pt x="1176" y="388"/>
                  </a:lnTo>
                  <a:lnTo>
                    <a:pt x="1176" y="390"/>
                  </a:lnTo>
                  <a:lnTo>
                    <a:pt x="1176" y="392"/>
                  </a:lnTo>
                  <a:lnTo>
                    <a:pt x="1183" y="390"/>
                  </a:lnTo>
                  <a:lnTo>
                    <a:pt x="1186" y="390"/>
                  </a:lnTo>
                  <a:lnTo>
                    <a:pt x="1186" y="390"/>
                  </a:lnTo>
                  <a:lnTo>
                    <a:pt x="1190" y="395"/>
                  </a:lnTo>
                  <a:lnTo>
                    <a:pt x="1190" y="395"/>
                  </a:lnTo>
                  <a:lnTo>
                    <a:pt x="1190" y="395"/>
                  </a:lnTo>
                  <a:lnTo>
                    <a:pt x="1190" y="397"/>
                  </a:lnTo>
                  <a:lnTo>
                    <a:pt x="1190" y="397"/>
                  </a:lnTo>
                  <a:lnTo>
                    <a:pt x="1190" y="397"/>
                  </a:lnTo>
                  <a:lnTo>
                    <a:pt x="1190" y="399"/>
                  </a:lnTo>
                  <a:lnTo>
                    <a:pt x="1190" y="399"/>
                  </a:lnTo>
                  <a:lnTo>
                    <a:pt x="1190" y="399"/>
                  </a:lnTo>
                  <a:lnTo>
                    <a:pt x="1190" y="399"/>
                  </a:lnTo>
                  <a:lnTo>
                    <a:pt x="1190" y="402"/>
                  </a:lnTo>
                  <a:lnTo>
                    <a:pt x="1190" y="402"/>
                  </a:lnTo>
                  <a:lnTo>
                    <a:pt x="1195" y="404"/>
                  </a:lnTo>
                  <a:lnTo>
                    <a:pt x="1198" y="407"/>
                  </a:lnTo>
                  <a:lnTo>
                    <a:pt x="1198" y="409"/>
                  </a:lnTo>
                  <a:lnTo>
                    <a:pt x="1198" y="409"/>
                  </a:lnTo>
                  <a:lnTo>
                    <a:pt x="1198" y="411"/>
                  </a:lnTo>
                  <a:lnTo>
                    <a:pt x="1198" y="411"/>
                  </a:lnTo>
                  <a:lnTo>
                    <a:pt x="1198" y="411"/>
                  </a:lnTo>
                  <a:lnTo>
                    <a:pt x="1198" y="409"/>
                  </a:lnTo>
                  <a:lnTo>
                    <a:pt x="1200" y="407"/>
                  </a:lnTo>
                  <a:lnTo>
                    <a:pt x="1200" y="407"/>
                  </a:lnTo>
                  <a:lnTo>
                    <a:pt x="1200" y="407"/>
                  </a:lnTo>
                  <a:lnTo>
                    <a:pt x="1200" y="404"/>
                  </a:lnTo>
                  <a:lnTo>
                    <a:pt x="1200" y="404"/>
                  </a:lnTo>
                  <a:lnTo>
                    <a:pt x="1200" y="402"/>
                  </a:lnTo>
                  <a:lnTo>
                    <a:pt x="1200" y="402"/>
                  </a:lnTo>
                  <a:lnTo>
                    <a:pt x="1200" y="402"/>
                  </a:lnTo>
                  <a:lnTo>
                    <a:pt x="1200" y="399"/>
                  </a:lnTo>
                  <a:lnTo>
                    <a:pt x="1200" y="399"/>
                  </a:lnTo>
                  <a:lnTo>
                    <a:pt x="1200" y="397"/>
                  </a:lnTo>
                  <a:lnTo>
                    <a:pt x="1200" y="395"/>
                  </a:lnTo>
                  <a:lnTo>
                    <a:pt x="1200" y="392"/>
                  </a:lnTo>
                  <a:lnTo>
                    <a:pt x="1200" y="390"/>
                  </a:lnTo>
                  <a:lnTo>
                    <a:pt x="1200" y="390"/>
                  </a:lnTo>
                  <a:lnTo>
                    <a:pt x="1198" y="388"/>
                  </a:lnTo>
                  <a:lnTo>
                    <a:pt x="1198" y="388"/>
                  </a:lnTo>
                  <a:lnTo>
                    <a:pt x="1200" y="385"/>
                  </a:lnTo>
                  <a:lnTo>
                    <a:pt x="1200" y="385"/>
                  </a:lnTo>
                  <a:lnTo>
                    <a:pt x="1200" y="383"/>
                  </a:lnTo>
                  <a:lnTo>
                    <a:pt x="1200" y="383"/>
                  </a:lnTo>
                  <a:lnTo>
                    <a:pt x="1200" y="380"/>
                  </a:lnTo>
                  <a:lnTo>
                    <a:pt x="1198" y="380"/>
                  </a:lnTo>
                  <a:lnTo>
                    <a:pt x="1198" y="378"/>
                  </a:lnTo>
                  <a:lnTo>
                    <a:pt x="1198" y="378"/>
                  </a:lnTo>
                  <a:lnTo>
                    <a:pt x="1198" y="376"/>
                  </a:lnTo>
                  <a:lnTo>
                    <a:pt x="1198" y="373"/>
                  </a:lnTo>
                  <a:lnTo>
                    <a:pt x="1198" y="373"/>
                  </a:lnTo>
                  <a:lnTo>
                    <a:pt x="1198" y="373"/>
                  </a:lnTo>
                  <a:lnTo>
                    <a:pt x="1198" y="373"/>
                  </a:lnTo>
                  <a:lnTo>
                    <a:pt x="1198" y="371"/>
                  </a:lnTo>
                  <a:lnTo>
                    <a:pt x="1195" y="371"/>
                  </a:lnTo>
                  <a:lnTo>
                    <a:pt x="1193" y="369"/>
                  </a:lnTo>
                  <a:lnTo>
                    <a:pt x="1193" y="366"/>
                  </a:lnTo>
                  <a:lnTo>
                    <a:pt x="1188" y="369"/>
                  </a:lnTo>
                  <a:lnTo>
                    <a:pt x="1188" y="369"/>
                  </a:lnTo>
                  <a:lnTo>
                    <a:pt x="1186" y="366"/>
                  </a:lnTo>
                  <a:lnTo>
                    <a:pt x="1181" y="366"/>
                  </a:lnTo>
                  <a:lnTo>
                    <a:pt x="1176" y="371"/>
                  </a:lnTo>
                  <a:lnTo>
                    <a:pt x="1176" y="373"/>
                  </a:lnTo>
                  <a:lnTo>
                    <a:pt x="1176" y="371"/>
                  </a:lnTo>
                  <a:lnTo>
                    <a:pt x="1176" y="373"/>
                  </a:lnTo>
                  <a:lnTo>
                    <a:pt x="1176" y="373"/>
                  </a:lnTo>
                  <a:lnTo>
                    <a:pt x="1176" y="373"/>
                  </a:lnTo>
                  <a:lnTo>
                    <a:pt x="1176" y="373"/>
                  </a:lnTo>
                  <a:lnTo>
                    <a:pt x="1176" y="376"/>
                  </a:lnTo>
                  <a:lnTo>
                    <a:pt x="1176" y="376"/>
                  </a:lnTo>
                  <a:lnTo>
                    <a:pt x="1176" y="376"/>
                  </a:lnTo>
                  <a:lnTo>
                    <a:pt x="1176" y="378"/>
                  </a:lnTo>
                  <a:lnTo>
                    <a:pt x="1176" y="378"/>
                  </a:lnTo>
                  <a:close/>
                  <a:moveTo>
                    <a:pt x="935" y="586"/>
                  </a:moveTo>
                  <a:lnTo>
                    <a:pt x="935" y="586"/>
                  </a:lnTo>
                  <a:lnTo>
                    <a:pt x="935" y="589"/>
                  </a:lnTo>
                  <a:lnTo>
                    <a:pt x="935" y="589"/>
                  </a:lnTo>
                  <a:lnTo>
                    <a:pt x="937" y="589"/>
                  </a:lnTo>
                  <a:lnTo>
                    <a:pt x="937" y="591"/>
                  </a:lnTo>
                  <a:lnTo>
                    <a:pt x="937" y="591"/>
                  </a:lnTo>
                  <a:lnTo>
                    <a:pt x="937" y="593"/>
                  </a:lnTo>
                  <a:lnTo>
                    <a:pt x="937" y="593"/>
                  </a:lnTo>
                  <a:lnTo>
                    <a:pt x="937" y="593"/>
                  </a:lnTo>
                  <a:lnTo>
                    <a:pt x="940" y="596"/>
                  </a:lnTo>
                  <a:lnTo>
                    <a:pt x="942" y="596"/>
                  </a:lnTo>
                  <a:lnTo>
                    <a:pt x="942" y="596"/>
                  </a:lnTo>
                  <a:lnTo>
                    <a:pt x="944" y="596"/>
                  </a:lnTo>
                  <a:lnTo>
                    <a:pt x="944" y="596"/>
                  </a:lnTo>
                  <a:lnTo>
                    <a:pt x="944" y="600"/>
                  </a:lnTo>
                  <a:lnTo>
                    <a:pt x="944" y="600"/>
                  </a:lnTo>
                  <a:lnTo>
                    <a:pt x="944" y="603"/>
                  </a:lnTo>
                  <a:lnTo>
                    <a:pt x="947" y="603"/>
                  </a:lnTo>
                  <a:lnTo>
                    <a:pt x="951" y="608"/>
                  </a:lnTo>
                  <a:lnTo>
                    <a:pt x="954" y="608"/>
                  </a:lnTo>
                  <a:lnTo>
                    <a:pt x="956" y="605"/>
                  </a:lnTo>
                  <a:lnTo>
                    <a:pt x="966" y="603"/>
                  </a:lnTo>
                  <a:lnTo>
                    <a:pt x="968" y="600"/>
                  </a:lnTo>
                  <a:lnTo>
                    <a:pt x="968" y="600"/>
                  </a:lnTo>
                  <a:lnTo>
                    <a:pt x="970" y="600"/>
                  </a:lnTo>
                  <a:lnTo>
                    <a:pt x="975" y="603"/>
                  </a:lnTo>
                  <a:lnTo>
                    <a:pt x="977" y="603"/>
                  </a:lnTo>
                  <a:lnTo>
                    <a:pt x="977" y="600"/>
                  </a:lnTo>
                  <a:lnTo>
                    <a:pt x="977" y="600"/>
                  </a:lnTo>
                  <a:lnTo>
                    <a:pt x="977" y="600"/>
                  </a:lnTo>
                  <a:lnTo>
                    <a:pt x="980" y="600"/>
                  </a:lnTo>
                  <a:lnTo>
                    <a:pt x="982" y="600"/>
                  </a:lnTo>
                  <a:lnTo>
                    <a:pt x="989" y="596"/>
                  </a:lnTo>
                  <a:lnTo>
                    <a:pt x="989" y="593"/>
                  </a:lnTo>
                  <a:lnTo>
                    <a:pt x="992" y="593"/>
                  </a:lnTo>
                  <a:lnTo>
                    <a:pt x="992" y="591"/>
                  </a:lnTo>
                  <a:lnTo>
                    <a:pt x="992" y="591"/>
                  </a:lnTo>
                  <a:lnTo>
                    <a:pt x="992" y="589"/>
                  </a:lnTo>
                  <a:lnTo>
                    <a:pt x="992" y="589"/>
                  </a:lnTo>
                  <a:lnTo>
                    <a:pt x="989" y="589"/>
                  </a:lnTo>
                  <a:lnTo>
                    <a:pt x="989" y="589"/>
                  </a:lnTo>
                  <a:lnTo>
                    <a:pt x="992" y="586"/>
                  </a:lnTo>
                  <a:lnTo>
                    <a:pt x="992" y="586"/>
                  </a:lnTo>
                  <a:lnTo>
                    <a:pt x="992" y="586"/>
                  </a:lnTo>
                  <a:lnTo>
                    <a:pt x="992" y="586"/>
                  </a:lnTo>
                  <a:lnTo>
                    <a:pt x="994" y="584"/>
                  </a:lnTo>
                  <a:lnTo>
                    <a:pt x="992" y="584"/>
                  </a:lnTo>
                  <a:lnTo>
                    <a:pt x="992" y="584"/>
                  </a:lnTo>
                  <a:lnTo>
                    <a:pt x="992" y="584"/>
                  </a:lnTo>
                  <a:lnTo>
                    <a:pt x="992" y="584"/>
                  </a:lnTo>
                  <a:lnTo>
                    <a:pt x="992" y="584"/>
                  </a:lnTo>
                  <a:lnTo>
                    <a:pt x="992" y="582"/>
                  </a:lnTo>
                  <a:lnTo>
                    <a:pt x="992" y="582"/>
                  </a:lnTo>
                  <a:lnTo>
                    <a:pt x="992" y="582"/>
                  </a:lnTo>
                  <a:lnTo>
                    <a:pt x="992" y="579"/>
                  </a:lnTo>
                  <a:lnTo>
                    <a:pt x="992" y="579"/>
                  </a:lnTo>
                  <a:lnTo>
                    <a:pt x="992" y="579"/>
                  </a:lnTo>
                  <a:lnTo>
                    <a:pt x="994" y="577"/>
                  </a:lnTo>
                  <a:lnTo>
                    <a:pt x="992" y="577"/>
                  </a:lnTo>
                  <a:lnTo>
                    <a:pt x="992" y="574"/>
                  </a:lnTo>
                  <a:lnTo>
                    <a:pt x="994" y="574"/>
                  </a:lnTo>
                  <a:lnTo>
                    <a:pt x="994" y="574"/>
                  </a:lnTo>
                  <a:lnTo>
                    <a:pt x="992" y="572"/>
                  </a:lnTo>
                  <a:lnTo>
                    <a:pt x="992" y="572"/>
                  </a:lnTo>
                  <a:lnTo>
                    <a:pt x="989" y="572"/>
                  </a:lnTo>
                  <a:lnTo>
                    <a:pt x="987" y="572"/>
                  </a:lnTo>
                  <a:lnTo>
                    <a:pt x="982" y="572"/>
                  </a:lnTo>
                  <a:lnTo>
                    <a:pt x="982" y="572"/>
                  </a:lnTo>
                  <a:lnTo>
                    <a:pt x="980" y="570"/>
                  </a:lnTo>
                  <a:lnTo>
                    <a:pt x="980" y="567"/>
                  </a:lnTo>
                  <a:lnTo>
                    <a:pt x="980" y="565"/>
                  </a:lnTo>
                  <a:lnTo>
                    <a:pt x="980" y="563"/>
                  </a:lnTo>
                  <a:lnTo>
                    <a:pt x="987" y="563"/>
                  </a:lnTo>
                  <a:lnTo>
                    <a:pt x="992" y="563"/>
                  </a:lnTo>
                  <a:lnTo>
                    <a:pt x="994" y="560"/>
                  </a:lnTo>
                  <a:lnTo>
                    <a:pt x="996" y="560"/>
                  </a:lnTo>
                  <a:lnTo>
                    <a:pt x="1001" y="558"/>
                  </a:lnTo>
                  <a:lnTo>
                    <a:pt x="1001" y="558"/>
                  </a:lnTo>
                  <a:lnTo>
                    <a:pt x="1001" y="556"/>
                  </a:lnTo>
                  <a:lnTo>
                    <a:pt x="1003" y="556"/>
                  </a:lnTo>
                  <a:lnTo>
                    <a:pt x="1003" y="551"/>
                  </a:lnTo>
                  <a:lnTo>
                    <a:pt x="1003" y="551"/>
                  </a:lnTo>
                  <a:lnTo>
                    <a:pt x="1003" y="548"/>
                  </a:lnTo>
                  <a:lnTo>
                    <a:pt x="1003" y="546"/>
                  </a:lnTo>
                  <a:lnTo>
                    <a:pt x="996" y="546"/>
                  </a:lnTo>
                  <a:lnTo>
                    <a:pt x="992" y="544"/>
                  </a:lnTo>
                  <a:lnTo>
                    <a:pt x="985" y="544"/>
                  </a:lnTo>
                  <a:lnTo>
                    <a:pt x="982" y="546"/>
                  </a:lnTo>
                  <a:lnTo>
                    <a:pt x="982" y="546"/>
                  </a:lnTo>
                  <a:lnTo>
                    <a:pt x="980" y="546"/>
                  </a:lnTo>
                  <a:lnTo>
                    <a:pt x="980" y="546"/>
                  </a:lnTo>
                  <a:lnTo>
                    <a:pt x="980" y="544"/>
                  </a:lnTo>
                  <a:lnTo>
                    <a:pt x="980" y="544"/>
                  </a:lnTo>
                  <a:lnTo>
                    <a:pt x="980" y="544"/>
                  </a:lnTo>
                  <a:lnTo>
                    <a:pt x="980" y="544"/>
                  </a:lnTo>
                  <a:lnTo>
                    <a:pt x="975" y="544"/>
                  </a:lnTo>
                  <a:lnTo>
                    <a:pt x="975" y="544"/>
                  </a:lnTo>
                  <a:lnTo>
                    <a:pt x="973" y="546"/>
                  </a:lnTo>
                  <a:lnTo>
                    <a:pt x="970" y="546"/>
                  </a:lnTo>
                  <a:lnTo>
                    <a:pt x="968" y="546"/>
                  </a:lnTo>
                  <a:lnTo>
                    <a:pt x="966" y="548"/>
                  </a:lnTo>
                  <a:lnTo>
                    <a:pt x="966" y="548"/>
                  </a:lnTo>
                  <a:lnTo>
                    <a:pt x="966" y="548"/>
                  </a:lnTo>
                  <a:lnTo>
                    <a:pt x="966" y="548"/>
                  </a:lnTo>
                  <a:lnTo>
                    <a:pt x="966" y="546"/>
                  </a:lnTo>
                  <a:lnTo>
                    <a:pt x="966" y="546"/>
                  </a:lnTo>
                  <a:lnTo>
                    <a:pt x="963" y="546"/>
                  </a:lnTo>
                  <a:lnTo>
                    <a:pt x="961" y="548"/>
                  </a:lnTo>
                  <a:lnTo>
                    <a:pt x="959" y="548"/>
                  </a:lnTo>
                  <a:lnTo>
                    <a:pt x="959" y="548"/>
                  </a:lnTo>
                  <a:lnTo>
                    <a:pt x="956" y="548"/>
                  </a:lnTo>
                  <a:lnTo>
                    <a:pt x="956" y="548"/>
                  </a:lnTo>
                  <a:lnTo>
                    <a:pt x="949" y="551"/>
                  </a:lnTo>
                  <a:lnTo>
                    <a:pt x="944" y="553"/>
                  </a:lnTo>
                  <a:lnTo>
                    <a:pt x="944" y="553"/>
                  </a:lnTo>
                  <a:lnTo>
                    <a:pt x="942" y="553"/>
                  </a:lnTo>
                  <a:lnTo>
                    <a:pt x="942" y="556"/>
                  </a:lnTo>
                  <a:lnTo>
                    <a:pt x="942" y="556"/>
                  </a:lnTo>
                  <a:lnTo>
                    <a:pt x="942" y="556"/>
                  </a:lnTo>
                  <a:lnTo>
                    <a:pt x="942" y="558"/>
                  </a:lnTo>
                  <a:lnTo>
                    <a:pt x="942" y="558"/>
                  </a:lnTo>
                  <a:lnTo>
                    <a:pt x="940" y="556"/>
                  </a:lnTo>
                  <a:lnTo>
                    <a:pt x="940" y="556"/>
                  </a:lnTo>
                  <a:lnTo>
                    <a:pt x="940" y="556"/>
                  </a:lnTo>
                  <a:lnTo>
                    <a:pt x="940" y="556"/>
                  </a:lnTo>
                  <a:lnTo>
                    <a:pt x="937" y="556"/>
                  </a:lnTo>
                  <a:lnTo>
                    <a:pt x="937" y="558"/>
                  </a:lnTo>
                  <a:lnTo>
                    <a:pt x="935" y="560"/>
                  </a:lnTo>
                  <a:lnTo>
                    <a:pt x="935" y="560"/>
                  </a:lnTo>
                  <a:lnTo>
                    <a:pt x="935" y="565"/>
                  </a:lnTo>
                  <a:lnTo>
                    <a:pt x="935" y="567"/>
                  </a:lnTo>
                  <a:lnTo>
                    <a:pt x="935" y="567"/>
                  </a:lnTo>
                  <a:lnTo>
                    <a:pt x="937" y="570"/>
                  </a:lnTo>
                  <a:lnTo>
                    <a:pt x="935" y="570"/>
                  </a:lnTo>
                  <a:lnTo>
                    <a:pt x="935" y="570"/>
                  </a:lnTo>
                  <a:lnTo>
                    <a:pt x="935" y="572"/>
                  </a:lnTo>
                  <a:lnTo>
                    <a:pt x="935" y="572"/>
                  </a:lnTo>
                  <a:lnTo>
                    <a:pt x="935" y="572"/>
                  </a:lnTo>
                  <a:lnTo>
                    <a:pt x="935" y="574"/>
                  </a:lnTo>
                  <a:lnTo>
                    <a:pt x="935" y="574"/>
                  </a:lnTo>
                  <a:lnTo>
                    <a:pt x="935" y="574"/>
                  </a:lnTo>
                  <a:lnTo>
                    <a:pt x="935" y="577"/>
                  </a:lnTo>
                  <a:lnTo>
                    <a:pt x="935" y="577"/>
                  </a:lnTo>
                  <a:lnTo>
                    <a:pt x="935" y="577"/>
                  </a:lnTo>
                  <a:lnTo>
                    <a:pt x="935" y="577"/>
                  </a:lnTo>
                  <a:lnTo>
                    <a:pt x="935" y="577"/>
                  </a:lnTo>
                  <a:lnTo>
                    <a:pt x="937" y="579"/>
                  </a:lnTo>
                  <a:lnTo>
                    <a:pt x="937" y="579"/>
                  </a:lnTo>
                  <a:lnTo>
                    <a:pt x="937" y="582"/>
                  </a:lnTo>
                  <a:lnTo>
                    <a:pt x="935" y="582"/>
                  </a:lnTo>
                  <a:lnTo>
                    <a:pt x="932" y="584"/>
                  </a:lnTo>
                  <a:lnTo>
                    <a:pt x="935" y="584"/>
                  </a:lnTo>
                  <a:lnTo>
                    <a:pt x="935" y="586"/>
                  </a:lnTo>
                  <a:close/>
                  <a:moveTo>
                    <a:pt x="940" y="520"/>
                  </a:moveTo>
                  <a:lnTo>
                    <a:pt x="942" y="522"/>
                  </a:lnTo>
                  <a:lnTo>
                    <a:pt x="942" y="525"/>
                  </a:lnTo>
                  <a:lnTo>
                    <a:pt x="944" y="525"/>
                  </a:lnTo>
                  <a:lnTo>
                    <a:pt x="949" y="522"/>
                  </a:lnTo>
                  <a:lnTo>
                    <a:pt x="949" y="522"/>
                  </a:lnTo>
                  <a:lnTo>
                    <a:pt x="949" y="522"/>
                  </a:lnTo>
                  <a:lnTo>
                    <a:pt x="949" y="522"/>
                  </a:lnTo>
                  <a:lnTo>
                    <a:pt x="949" y="520"/>
                  </a:lnTo>
                  <a:lnTo>
                    <a:pt x="949" y="520"/>
                  </a:lnTo>
                  <a:lnTo>
                    <a:pt x="956" y="518"/>
                  </a:lnTo>
                  <a:lnTo>
                    <a:pt x="961" y="518"/>
                  </a:lnTo>
                  <a:lnTo>
                    <a:pt x="963" y="520"/>
                  </a:lnTo>
                  <a:lnTo>
                    <a:pt x="963" y="520"/>
                  </a:lnTo>
                  <a:lnTo>
                    <a:pt x="963" y="520"/>
                  </a:lnTo>
                  <a:lnTo>
                    <a:pt x="966" y="520"/>
                  </a:lnTo>
                  <a:lnTo>
                    <a:pt x="966" y="522"/>
                  </a:lnTo>
                  <a:lnTo>
                    <a:pt x="966" y="522"/>
                  </a:lnTo>
                  <a:lnTo>
                    <a:pt x="966" y="525"/>
                  </a:lnTo>
                  <a:lnTo>
                    <a:pt x="966" y="525"/>
                  </a:lnTo>
                  <a:lnTo>
                    <a:pt x="968" y="527"/>
                  </a:lnTo>
                  <a:lnTo>
                    <a:pt x="973" y="527"/>
                  </a:lnTo>
                  <a:lnTo>
                    <a:pt x="973" y="527"/>
                  </a:lnTo>
                  <a:lnTo>
                    <a:pt x="973" y="527"/>
                  </a:lnTo>
                  <a:lnTo>
                    <a:pt x="973" y="525"/>
                  </a:lnTo>
                  <a:lnTo>
                    <a:pt x="973" y="525"/>
                  </a:lnTo>
                  <a:lnTo>
                    <a:pt x="973" y="525"/>
                  </a:lnTo>
                  <a:lnTo>
                    <a:pt x="973" y="525"/>
                  </a:lnTo>
                  <a:lnTo>
                    <a:pt x="975" y="522"/>
                  </a:lnTo>
                  <a:lnTo>
                    <a:pt x="977" y="522"/>
                  </a:lnTo>
                  <a:lnTo>
                    <a:pt x="977" y="522"/>
                  </a:lnTo>
                  <a:lnTo>
                    <a:pt x="977" y="522"/>
                  </a:lnTo>
                  <a:lnTo>
                    <a:pt x="977" y="520"/>
                  </a:lnTo>
                  <a:lnTo>
                    <a:pt x="975" y="520"/>
                  </a:lnTo>
                  <a:lnTo>
                    <a:pt x="975" y="520"/>
                  </a:lnTo>
                  <a:lnTo>
                    <a:pt x="977" y="518"/>
                  </a:lnTo>
                  <a:lnTo>
                    <a:pt x="977" y="518"/>
                  </a:lnTo>
                  <a:lnTo>
                    <a:pt x="980" y="518"/>
                  </a:lnTo>
                  <a:lnTo>
                    <a:pt x="982" y="520"/>
                  </a:lnTo>
                  <a:lnTo>
                    <a:pt x="982" y="522"/>
                  </a:lnTo>
                  <a:lnTo>
                    <a:pt x="985" y="522"/>
                  </a:lnTo>
                  <a:lnTo>
                    <a:pt x="985" y="522"/>
                  </a:lnTo>
                  <a:lnTo>
                    <a:pt x="985" y="525"/>
                  </a:lnTo>
                  <a:lnTo>
                    <a:pt x="985" y="525"/>
                  </a:lnTo>
                  <a:lnTo>
                    <a:pt x="989" y="527"/>
                  </a:lnTo>
                  <a:lnTo>
                    <a:pt x="994" y="527"/>
                  </a:lnTo>
                  <a:lnTo>
                    <a:pt x="999" y="525"/>
                  </a:lnTo>
                  <a:lnTo>
                    <a:pt x="999" y="525"/>
                  </a:lnTo>
                  <a:lnTo>
                    <a:pt x="999" y="525"/>
                  </a:lnTo>
                  <a:lnTo>
                    <a:pt x="1001" y="527"/>
                  </a:lnTo>
                  <a:lnTo>
                    <a:pt x="1001" y="527"/>
                  </a:lnTo>
                  <a:lnTo>
                    <a:pt x="1008" y="527"/>
                  </a:lnTo>
                  <a:lnTo>
                    <a:pt x="1008" y="527"/>
                  </a:lnTo>
                  <a:lnTo>
                    <a:pt x="1011" y="527"/>
                  </a:lnTo>
                  <a:lnTo>
                    <a:pt x="1011" y="527"/>
                  </a:lnTo>
                  <a:lnTo>
                    <a:pt x="1011" y="527"/>
                  </a:lnTo>
                  <a:lnTo>
                    <a:pt x="1011" y="527"/>
                  </a:lnTo>
                  <a:lnTo>
                    <a:pt x="1011" y="525"/>
                  </a:lnTo>
                  <a:lnTo>
                    <a:pt x="1011" y="522"/>
                  </a:lnTo>
                  <a:lnTo>
                    <a:pt x="1011" y="520"/>
                  </a:lnTo>
                  <a:lnTo>
                    <a:pt x="1011" y="520"/>
                  </a:lnTo>
                  <a:lnTo>
                    <a:pt x="1013" y="518"/>
                  </a:lnTo>
                  <a:lnTo>
                    <a:pt x="1013" y="518"/>
                  </a:lnTo>
                  <a:lnTo>
                    <a:pt x="1013" y="515"/>
                  </a:lnTo>
                  <a:lnTo>
                    <a:pt x="1013" y="515"/>
                  </a:lnTo>
                  <a:lnTo>
                    <a:pt x="1013" y="513"/>
                  </a:lnTo>
                  <a:lnTo>
                    <a:pt x="1013" y="513"/>
                  </a:lnTo>
                  <a:lnTo>
                    <a:pt x="1013" y="513"/>
                  </a:lnTo>
                  <a:lnTo>
                    <a:pt x="1013" y="513"/>
                  </a:lnTo>
                  <a:lnTo>
                    <a:pt x="1013" y="511"/>
                  </a:lnTo>
                  <a:lnTo>
                    <a:pt x="1013" y="511"/>
                  </a:lnTo>
                  <a:lnTo>
                    <a:pt x="1013" y="511"/>
                  </a:lnTo>
                  <a:lnTo>
                    <a:pt x="1013" y="511"/>
                  </a:lnTo>
                  <a:lnTo>
                    <a:pt x="1013" y="511"/>
                  </a:lnTo>
                  <a:lnTo>
                    <a:pt x="1013" y="511"/>
                  </a:lnTo>
                  <a:lnTo>
                    <a:pt x="1013" y="508"/>
                  </a:lnTo>
                  <a:lnTo>
                    <a:pt x="1013" y="508"/>
                  </a:lnTo>
                  <a:lnTo>
                    <a:pt x="1013" y="508"/>
                  </a:lnTo>
                  <a:lnTo>
                    <a:pt x="1011" y="506"/>
                  </a:lnTo>
                  <a:lnTo>
                    <a:pt x="1011" y="503"/>
                  </a:lnTo>
                  <a:lnTo>
                    <a:pt x="1011" y="503"/>
                  </a:lnTo>
                  <a:lnTo>
                    <a:pt x="1011" y="503"/>
                  </a:lnTo>
                  <a:lnTo>
                    <a:pt x="1011" y="503"/>
                  </a:lnTo>
                  <a:lnTo>
                    <a:pt x="1011" y="503"/>
                  </a:lnTo>
                  <a:lnTo>
                    <a:pt x="1008" y="503"/>
                  </a:lnTo>
                  <a:lnTo>
                    <a:pt x="1008" y="501"/>
                  </a:lnTo>
                  <a:lnTo>
                    <a:pt x="1008" y="501"/>
                  </a:lnTo>
                  <a:lnTo>
                    <a:pt x="1006" y="499"/>
                  </a:lnTo>
                  <a:lnTo>
                    <a:pt x="1006" y="499"/>
                  </a:lnTo>
                  <a:lnTo>
                    <a:pt x="1003" y="499"/>
                  </a:lnTo>
                  <a:lnTo>
                    <a:pt x="1003" y="496"/>
                  </a:lnTo>
                  <a:lnTo>
                    <a:pt x="1003" y="496"/>
                  </a:lnTo>
                  <a:lnTo>
                    <a:pt x="1003" y="494"/>
                  </a:lnTo>
                  <a:lnTo>
                    <a:pt x="1003" y="494"/>
                  </a:lnTo>
                  <a:lnTo>
                    <a:pt x="1001" y="494"/>
                  </a:lnTo>
                  <a:lnTo>
                    <a:pt x="1001" y="492"/>
                  </a:lnTo>
                  <a:lnTo>
                    <a:pt x="999" y="492"/>
                  </a:lnTo>
                  <a:lnTo>
                    <a:pt x="999" y="489"/>
                  </a:lnTo>
                  <a:lnTo>
                    <a:pt x="996" y="487"/>
                  </a:lnTo>
                  <a:lnTo>
                    <a:pt x="996" y="487"/>
                  </a:lnTo>
                  <a:lnTo>
                    <a:pt x="996" y="485"/>
                  </a:lnTo>
                  <a:lnTo>
                    <a:pt x="989" y="487"/>
                  </a:lnTo>
                  <a:lnTo>
                    <a:pt x="989" y="487"/>
                  </a:lnTo>
                  <a:lnTo>
                    <a:pt x="989" y="485"/>
                  </a:lnTo>
                  <a:lnTo>
                    <a:pt x="989" y="485"/>
                  </a:lnTo>
                  <a:lnTo>
                    <a:pt x="989" y="487"/>
                  </a:lnTo>
                  <a:lnTo>
                    <a:pt x="989" y="487"/>
                  </a:lnTo>
                  <a:lnTo>
                    <a:pt x="987" y="487"/>
                  </a:lnTo>
                  <a:lnTo>
                    <a:pt x="985" y="489"/>
                  </a:lnTo>
                  <a:lnTo>
                    <a:pt x="982" y="492"/>
                  </a:lnTo>
                  <a:lnTo>
                    <a:pt x="982" y="489"/>
                  </a:lnTo>
                  <a:lnTo>
                    <a:pt x="980" y="492"/>
                  </a:lnTo>
                  <a:lnTo>
                    <a:pt x="980" y="494"/>
                  </a:lnTo>
                  <a:lnTo>
                    <a:pt x="977" y="494"/>
                  </a:lnTo>
                  <a:lnTo>
                    <a:pt x="977" y="494"/>
                  </a:lnTo>
                  <a:lnTo>
                    <a:pt x="977" y="496"/>
                  </a:lnTo>
                  <a:lnTo>
                    <a:pt x="977" y="499"/>
                  </a:lnTo>
                  <a:lnTo>
                    <a:pt x="968" y="501"/>
                  </a:lnTo>
                  <a:lnTo>
                    <a:pt x="968" y="501"/>
                  </a:lnTo>
                  <a:lnTo>
                    <a:pt x="966" y="501"/>
                  </a:lnTo>
                  <a:lnTo>
                    <a:pt x="963" y="501"/>
                  </a:lnTo>
                  <a:lnTo>
                    <a:pt x="959" y="501"/>
                  </a:lnTo>
                  <a:lnTo>
                    <a:pt x="956" y="503"/>
                  </a:lnTo>
                  <a:lnTo>
                    <a:pt x="954" y="506"/>
                  </a:lnTo>
                  <a:lnTo>
                    <a:pt x="951" y="506"/>
                  </a:lnTo>
                  <a:lnTo>
                    <a:pt x="944" y="511"/>
                  </a:lnTo>
                  <a:lnTo>
                    <a:pt x="944" y="511"/>
                  </a:lnTo>
                  <a:lnTo>
                    <a:pt x="944" y="513"/>
                  </a:lnTo>
                  <a:lnTo>
                    <a:pt x="942" y="513"/>
                  </a:lnTo>
                  <a:lnTo>
                    <a:pt x="942" y="513"/>
                  </a:lnTo>
                  <a:lnTo>
                    <a:pt x="942" y="513"/>
                  </a:lnTo>
                  <a:lnTo>
                    <a:pt x="942" y="513"/>
                  </a:lnTo>
                  <a:lnTo>
                    <a:pt x="942" y="515"/>
                  </a:lnTo>
                  <a:lnTo>
                    <a:pt x="942" y="515"/>
                  </a:lnTo>
                  <a:lnTo>
                    <a:pt x="940" y="518"/>
                  </a:lnTo>
                  <a:lnTo>
                    <a:pt x="940" y="520"/>
                  </a:lnTo>
                  <a:lnTo>
                    <a:pt x="940" y="520"/>
                  </a:lnTo>
                  <a:close/>
                  <a:moveTo>
                    <a:pt x="1207" y="520"/>
                  </a:moveTo>
                  <a:lnTo>
                    <a:pt x="1207" y="522"/>
                  </a:lnTo>
                  <a:lnTo>
                    <a:pt x="1207" y="522"/>
                  </a:lnTo>
                  <a:lnTo>
                    <a:pt x="1209" y="525"/>
                  </a:lnTo>
                  <a:lnTo>
                    <a:pt x="1212" y="525"/>
                  </a:lnTo>
                  <a:lnTo>
                    <a:pt x="1214" y="527"/>
                  </a:lnTo>
                  <a:lnTo>
                    <a:pt x="1214" y="527"/>
                  </a:lnTo>
                  <a:lnTo>
                    <a:pt x="1212" y="527"/>
                  </a:lnTo>
                  <a:lnTo>
                    <a:pt x="1212" y="527"/>
                  </a:lnTo>
                  <a:lnTo>
                    <a:pt x="1212" y="530"/>
                  </a:lnTo>
                  <a:lnTo>
                    <a:pt x="1212" y="530"/>
                  </a:lnTo>
                  <a:lnTo>
                    <a:pt x="1214" y="532"/>
                  </a:lnTo>
                  <a:lnTo>
                    <a:pt x="1214" y="532"/>
                  </a:lnTo>
                  <a:lnTo>
                    <a:pt x="1214" y="532"/>
                  </a:lnTo>
                  <a:lnTo>
                    <a:pt x="1214" y="532"/>
                  </a:lnTo>
                  <a:lnTo>
                    <a:pt x="1214" y="534"/>
                  </a:lnTo>
                  <a:lnTo>
                    <a:pt x="1214" y="534"/>
                  </a:lnTo>
                  <a:lnTo>
                    <a:pt x="1216" y="537"/>
                  </a:lnTo>
                  <a:lnTo>
                    <a:pt x="1216" y="537"/>
                  </a:lnTo>
                  <a:lnTo>
                    <a:pt x="1219" y="539"/>
                  </a:lnTo>
                  <a:lnTo>
                    <a:pt x="1219" y="541"/>
                  </a:lnTo>
                  <a:lnTo>
                    <a:pt x="1219" y="541"/>
                  </a:lnTo>
                  <a:lnTo>
                    <a:pt x="1216" y="541"/>
                  </a:lnTo>
                  <a:lnTo>
                    <a:pt x="1216" y="541"/>
                  </a:lnTo>
                  <a:lnTo>
                    <a:pt x="1216" y="541"/>
                  </a:lnTo>
                  <a:lnTo>
                    <a:pt x="1216" y="541"/>
                  </a:lnTo>
                  <a:lnTo>
                    <a:pt x="1216" y="541"/>
                  </a:lnTo>
                  <a:lnTo>
                    <a:pt x="1216" y="541"/>
                  </a:lnTo>
                  <a:lnTo>
                    <a:pt x="1216" y="541"/>
                  </a:lnTo>
                  <a:lnTo>
                    <a:pt x="1216" y="541"/>
                  </a:lnTo>
                  <a:lnTo>
                    <a:pt x="1216" y="541"/>
                  </a:lnTo>
                  <a:lnTo>
                    <a:pt x="1224" y="544"/>
                  </a:lnTo>
                  <a:lnTo>
                    <a:pt x="1226" y="544"/>
                  </a:lnTo>
                  <a:lnTo>
                    <a:pt x="1228" y="544"/>
                  </a:lnTo>
                  <a:lnTo>
                    <a:pt x="1228" y="546"/>
                  </a:lnTo>
                  <a:lnTo>
                    <a:pt x="1231" y="548"/>
                  </a:lnTo>
                  <a:lnTo>
                    <a:pt x="1233" y="548"/>
                  </a:lnTo>
                  <a:lnTo>
                    <a:pt x="1235" y="548"/>
                  </a:lnTo>
                  <a:lnTo>
                    <a:pt x="1235" y="548"/>
                  </a:lnTo>
                  <a:lnTo>
                    <a:pt x="1235" y="551"/>
                  </a:lnTo>
                  <a:lnTo>
                    <a:pt x="1235" y="551"/>
                  </a:lnTo>
                  <a:lnTo>
                    <a:pt x="1235" y="551"/>
                  </a:lnTo>
                  <a:lnTo>
                    <a:pt x="1235" y="551"/>
                  </a:lnTo>
                  <a:lnTo>
                    <a:pt x="1235" y="551"/>
                  </a:lnTo>
                  <a:lnTo>
                    <a:pt x="1235" y="551"/>
                  </a:lnTo>
                  <a:lnTo>
                    <a:pt x="1235" y="551"/>
                  </a:lnTo>
                  <a:lnTo>
                    <a:pt x="1235" y="551"/>
                  </a:lnTo>
                  <a:lnTo>
                    <a:pt x="1235" y="553"/>
                  </a:lnTo>
                  <a:lnTo>
                    <a:pt x="1233" y="553"/>
                  </a:lnTo>
                  <a:lnTo>
                    <a:pt x="1228" y="553"/>
                  </a:lnTo>
                  <a:lnTo>
                    <a:pt x="1221" y="553"/>
                  </a:lnTo>
                  <a:lnTo>
                    <a:pt x="1221" y="556"/>
                  </a:lnTo>
                  <a:lnTo>
                    <a:pt x="1221" y="556"/>
                  </a:lnTo>
                  <a:lnTo>
                    <a:pt x="1221" y="556"/>
                  </a:lnTo>
                  <a:lnTo>
                    <a:pt x="1221" y="556"/>
                  </a:lnTo>
                  <a:lnTo>
                    <a:pt x="1221" y="558"/>
                  </a:lnTo>
                  <a:lnTo>
                    <a:pt x="1219" y="558"/>
                  </a:lnTo>
                  <a:lnTo>
                    <a:pt x="1219" y="558"/>
                  </a:lnTo>
                  <a:lnTo>
                    <a:pt x="1219" y="558"/>
                  </a:lnTo>
                  <a:lnTo>
                    <a:pt x="1219" y="560"/>
                  </a:lnTo>
                  <a:lnTo>
                    <a:pt x="1221" y="560"/>
                  </a:lnTo>
                  <a:lnTo>
                    <a:pt x="1226" y="563"/>
                  </a:lnTo>
                  <a:lnTo>
                    <a:pt x="1226" y="565"/>
                  </a:lnTo>
                  <a:lnTo>
                    <a:pt x="1233" y="567"/>
                  </a:lnTo>
                  <a:lnTo>
                    <a:pt x="1233" y="570"/>
                  </a:lnTo>
                  <a:lnTo>
                    <a:pt x="1233" y="570"/>
                  </a:lnTo>
                  <a:lnTo>
                    <a:pt x="1231" y="572"/>
                  </a:lnTo>
                  <a:lnTo>
                    <a:pt x="1231" y="572"/>
                  </a:lnTo>
                  <a:lnTo>
                    <a:pt x="1231" y="572"/>
                  </a:lnTo>
                  <a:lnTo>
                    <a:pt x="1231" y="574"/>
                  </a:lnTo>
                  <a:lnTo>
                    <a:pt x="1231" y="574"/>
                  </a:lnTo>
                  <a:lnTo>
                    <a:pt x="1231" y="574"/>
                  </a:lnTo>
                  <a:lnTo>
                    <a:pt x="1231" y="574"/>
                  </a:lnTo>
                  <a:lnTo>
                    <a:pt x="1231" y="574"/>
                  </a:lnTo>
                  <a:lnTo>
                    <a:pt x="1231" y="577"/>
                  </a:lnTo>
                  <a:lnTo>
                    <a:pt x="1231" y="577"/>
                  </a:lnTo>
                  <a:lnTo>
                    <a:pt x="1231" y="577"/>
                  </a:lnTo>
                  <a:lnTo>
                    <a:pt x="1231" y="577"/>
                  </a:lnTo>
                  <a:lnTo>
                    <a:pt x="1231" y="577"/>
                  </a:lnTo>
                  <a:lnTo>
                    <a:pt x="1231" y="577"/>
                  </a:lnTo>
                  <a:lnTo>
                    <a:pt x="1231" y="579"/>
                  </a:lnTo>
                  <a:lnTo>
                    <a:pt x="1233" y="577"/>
                  </a:lnTo>
                  <a:lnTo>
                    <a:pt x="1235" y="579"/>
                  </a:lnTo>
                  <a:lnTo>
                    <a:pt x="1235" y="579"/>
                  </a:lnTo>
                  <a:lnTo>
                    <a:pt x="1235" y="579"/>
                  </a:lnTo>
                  <a:lnTo>
                    <a:pt x="1238" y="579"/>
                  </a:lnTo>
                  <a:lnTo>
                    <a:pt x="1238" y="579"/>
                  </a:lnTo>
                  <a:lnTo>
                    <a:pt x="1235" y="577"/>
                  </a:lnTo>
                  <a:lnTo>
                    <a:pt x="1235" y="577"/>
                  </a:lnTo>
                  <a:lnTo>
                    <a:pt x="1235" y="577"/>
                  </a:lnTo>
                  <a:lnTo>
                    <a:pt x="1238" y="577"/>
                  </a:lnTo>
                  <a:lnTo>
                    <a:pt x="1238" y="574"/>
                  </a:lnTo>
                  <a:lnTo>
                    <a:pt x="1240" y="574"/>
                  </a:lnTo>
                  <a:lnTo>
                    <a:pt x="1240" y="574"/>
                  </a:lnTo>
                  <a:lnTo>
                    <a:pt x="1242" y="574"/>
                  </a:lnTo>
                  <a:lnTo>
                    <a:pt x="1242" y="574"/>
                  </a:lnTo>
                  <a:lnTo>
                    <a:pt x="1242" y="574"/>
                  </a:lnTo>
                  <a:lnTo>
                    <a:pt x="1240" y="574"/>
                  </a:lnTo>
                  <a:lnTo>
                    <a:pt x="1242" y="572"/>
                  </a:lnTo>
                  <a:lnTo>
                    <a:pt x="1242" y="572"/>
                  </a:lnTo>
                  <a:lnTo>
                    <a:pt x="1242" y="572"/>
                  </a:lnTo>
                  <a:lnTo>
                    <a:pt x="1240" y="574"/>
                  </a:lnTo>
                  <a:lnTo>
                    <a:pt x="1238" y="574"/>
                  </a:lnTo>
                  <a:lnTo>
                    <a:pt x="1238" y="572"/>
                  </a:lnTo>
                  <a:lnTo>
                    <a:pt x="1238" y="572"/>
                  </a:lnTo>
                  <a:lnTo>
                    <a:pt x="1240" y="572"/>
                  </a:lnTo>
                  <a:lnTo>
                    <a:pt x="1240" y="572"/>
                  </a:lnTo>
                  <a:lnTo>
                    <a:pt x="1242" y="570"/>
                  </a:lnTo>
                  <a:lnTo>
                    <a:pt x="1242" y="570"/>
                  </a:lnTo>
                  <a:lnTo>
                    <a:pt x="1242" y="570"/>
                  </a:lnTo>
                  <a:lnTo>
                    <a:pt x="1245" y="570"/>
                  </a:lnTo>
                  <a:lnTo>
                    <a:pt x="1245" y="570"/>
                  </a:lnTo>
                  <a:lnTo>
                    <a:pt x="1245" y="570"/>
                  </a:lnTo>
                  <a:lnTo>
                    <a:pt x="1245" y="572"/>
                  </a:lnTo>
                  <a:lnTo>
                    <a:pt x="1245" y="572"/>
                  </a:lnTo>
                  <a:lnTo>
                    <a:pt x="1245" y="572"/>
                  </a:lnTo>
                  <a:lnTo>
                    <a:pt x="1245" y="572"/>
                  </a:lnTo>
                  <a:lnTo>
                    <a:pt x="1250" y="570"/>
                  </a:lnTo>
                  <a:lnTo>
                    <a:pt x="1254" y="570"/>
                  </a:lnTo>
                  <a:lnTo>
                    <a:pt x="1257" y="567"/>
                  </a:lnTo>
                  <a:lnTo>
                    <a:pt x="1259" y="565"/>
                  </a:lnTo>
                  <a:lnTo>
                    <a:pt x="1259" y="565"/>
                  </a:lnTo>
                  <a:lnTo>
                    <a:pt x="1261" y="565"/>
                  </a:lnTo>
                  <a:lnTo>
                    <a:pt x="1261" y="565"/>
                  </a:lnTo>
                  <a:lnTo>
                    <a:pt x="1261" y="563"/>
                  </a:lnTo>
                  <a:lnTo>
                    <a:pt x="1261" y="563"/>
                  </a:lnTo>
                  <a:lnTo>
                    <a:pt x="1264" y="563"/>
                  </a:lnTo>
                  <a:lnTo>
                    <a:pt x="1266" y="563"/>
                  </a:lnTo>
                  <a:lnTo>
                    <a:pt x="1266" y="563"/>
                  </a:lnTo>
                  <a:lnTo>
                    <a:pt x="1269" y="563"/>
                  </a:lnTo>
                  <a:lnTo>
                    <a:pt x="1269" y="563"/>
                  </a:lnTo>
                  <a:lnTo>
                    <a:pt x="1269" y="560"/>
                  </a:lnTo>
                  <a:lnTo>
                    <a:pt x="1269" y="558"/>
                  </a:lnTo>
                  <a:lnTo>
                    <a:pt x="1271" y="556"/>
                  </a:lnTo>
                  <a:lnTo>
                    <a:pt x="1271" y="556"/>
                  </a:lnTo>
                  <a:lnTo>
                    <a:pt x="1271" y="556"/>
                  </a:lnTo>
                  <a:lnTo>
                    <a:pt x="1271" y="556"/>
                  </a:lnTo>
                  <a:lnTo>
                    <a:pt x="1271" y="556"/>
                  </a:lnTo>
                  <a:lnTo>
                    <a:pt x="1271" y="556"/>
                  </a:lnTo>
                  <a:lnTo>
                    <a:pt x="1271" y="553"/>
                  </a:lnTo>
                  <a:lnTo>
                    <a:pt x="1271" y="553"/>
                  </a:lnTo>
                  <a:lnTo>
                    <a:pt x="1271" y="553"/>
                  </a:lnTo>
                  <a:lnTo>
                    <a:pt x="1271" y="551"/>
                  </a:lnTo>
                  <a:lnTo>
                    <a:pt x="1266" y="546"/>
                  </a:lnTo>
                  <a:lnTo>
                    <a:pt x="1266" y="544"/>
                  </a:lnTo>
                  <a:lnTo>
                    <a:pt x="1266" y="541"/>
                  </a:lnTo>
                  <a:lnTo>
                    <a:pt x="1261" y="541"/>
                  </a:lnTo>
                  <a:lnTo>
                    <a:pt x="1261" y="539"/>
                  </a:lnTo>
                  <a:lnTo>
                    <a:pt x="1261" y="539"/>
                  </a:lnTo>
                  <a:lnTo>
                    <a:pt x="1271" y="530"/>
                  </a:lnTo>
                  <a:lnTo>
                    <a:pt x="1271" y="530"/>
                  </a:lnTo>
                  <a:lnTo>
                    <a:pt x="1271" y="527"/>
                  </a:lnTo>
                  <a:lnTo>
                    <a:pt x="1271" y="525"/>
                  </a:lnTo>
                  <a:lnTo>
                    <a:pt x="1271" y="525"/>
                  </a:lnTo>
                  <a:lnTo>
                    <a:pt x="1269" y="525"/>
                  </a:lnTo>
                  <a:lnTo>
                    <a:pt x="1266" y="520"/>
                  </a:lnTo>
                  <a:lnTo>
                    <a:pt x="1264" y="518"/>
                  </a:lnTo>
                  <a:lnTo>
                    <a:pt x="1259" y="515"/>
                  </a:lnTo>
                  <a:lnTo>
                    <a:pt x="1254" y="513"/>
                  </a:lnTo>
                  <a:lnTo>
                    <a:pt x="1254" y="515"/>
                  </a:lnTo>
                  <a:lnTo>
                    <a:pt x="1252" y="518"/>
                  </a:lnTo>
                  <a:lnTo>
                    <a:pt x="1252" y="518"/>
                  </a:lnTo>
                  <a:lnTo>
                    <a:pt x="1245" y="513"/>
                  </a:lnTo>
                  <a:lnTo>
                    <a:pt x="1245" y="513"/>
                  </a:lnTo>
                  <a:lnTo>
                    <a:pt x="1245" y="513"/>
                  </a:lnTo>
                  <a:lnTo>
                    <a:pt x="1245" y="511"/>
                  </a:lnTo>
                  <a:lnTo>
                    <a:pt x="1245" y="511"/>
                  </a:lnTo>
                  <a:lnTo>
                    <a:pt x="1245" y="511"/>
                  </a:lnTo>
                  <a:lnTo>
                    <a:pt x="1245" y="508"/>
                  </a:lnTo>
                  <a:lnTo>
                    <a:pt x="1245" y="508"/>
                  </a:lnTo>
                  <a:lnTo>
                    <a:pt x="1245" y="508"/>
                  </a:lnTo>
                  <a:lnTo>
                    <a:pt x="1247" y="506"/>
                  </a:lnTo>
                  <a:lnTo>
                    <a:pt x="1247" y="506"/>
                  </a:lnTo>
                  <a:lnTo>
                    <a:pt x="1247" y="506"/>
                  </a:lnTo>
                  <a:lnTo>
                    <a:pt x="1245" y="506"/>
                  </a:lnTo>
                  <a:lnTo>
                    <a:pt x="1245" y="506"/>
                  </a:lnTo>
                  <a:lnTo>
                    <a:pt x="1245" y="506"/>
                  </a:lnTo>
                  <a:lnTo>
                    <a:pt x="1242" y="506"/>
                  </a:lnTo>
                  <a:lnTo>
                    <a:pt x="1242" y="506"/>
                  </a:lnTo>
                  <a:lnTo>
                    <a:pt x="1240" y="501"/>
                  </a:lnTo>
                  <a:lnTo>
                    <a:pt x="1238" y="499"/>
                  </a:lnTo>
                  <a:lnTo>
                    <a:pt x="1235" y="501"/>
                  </a:lnTo>
                  <a:lnTo>
                    <a:pt x="1233" y="499"/>
                  </a:lnTo>
                  <a:lnTo>
                    <a:pt x="1231" y="496"/>
                  </a:lnTo>
                  <a:lnTo>
                    <a:pt x="1226" y="492"/>
                  </a:lnTo>
                  <a:lnTo>
                    <a:pt x="1224" y="492"/>
                  </a:lnTo>
                  <a:lnTo>
                    <a:pt x="1216" y="489"/>
                  </a:lnTo>
                  <a:lnTo>
                    <a:pt x="1212" y="489"/>
                  </a:lnTo>
                  <a:lnTo>
                    <a:pt x="1207" y="494"/>
                  </a:lnTo>
                  <a:lnTo>
                    <a:pt x="1207" y="494"/>
                  </a:lnTo>
                  <a:lnTo>
                    <a:pt x="1207" y="494"/>
                  </a:lnTo>
                  <a:lnTo>
                    <a:pt x="1207" y="496"/>
                  </a:lnTo>
                  <a:lnTo>
                    <a:pt x="1207" y="496"/>
                  </a:lnTo>
                  <a:lnTo>
                    <a:pt x="1207" y="496"/>
                  </a:lnTo>
                  <a:lnTo>
                    <a:pt x="1207" y="496"/>
                  </a:lnTo>
                  <a:lnTo>
                    <a:pt x="1207" y="499"/>
                  </a:lnTo>
                  <a:lnTo>
                    <a:pt x="1207" y="499"/>
                  </a:lnTo>
                  <a:lnTo>
                    <a:pt x="1207" y="501"/>
                  </a:lnTo>
                  <a:lnTo>
                    <a:pt x="1207" y="501"/>
                  </a:lnTo>
                  <a:lnTo>
                    <a:pt x="1207" y="503"/>
                  </a:lnTo>
                  <a:lnTo>
                    <a:pt x="1207" y="503"/>
                  </a:lnTo>
                  <a:lnTo>
                    <a:pt x="1209" y="506"/>
                  </a:lnTo>
                  <a:lnTo>
                    <a:pt x="1209" y="506"/>
                  </a:lnTo>
                  <a:lnTo>
                    <a:pt x="1209" y="508"/>
                  </a:lnTo>
                  <a:lnTo>
                    <a:pt x="1209" y="508"/>
                  </a:lnTo>
                  <a:lnTo>
                    <a:pt x="1212" y="508"/>
                  </a:lnTo>
                  <a:lnTo>
                    <a:pt x="1212" y="508"/>
                  </a:lnTo>
                  <a:lnTo>
                    <a:pt x="1212" y="511"/>
                  </a:lnTo>
                  <a:lnTo>
                    <a:pt x="1214" y="511"/>
                  </a:lnTo>
                  <a:lnTo>
                    <a:pt x="1214" y="513"/>
                  </a:lnTo>
                  <a:lnTo>
                    <a:pt x="1212" y="513"/>
                  </a:lnTo>
                  <a:lnTo>
                    <a:pt x="1212" y="513"/>
                  </a:lnTo>
                  <a:lnTo>
                    <a:pt x="1214" y="513"/>
                  </a:lnTo>
                  <a:lnTo>
                    <a:pt x="1214" y="513"/>
                  </a:lnTo>
                  <a:lnTo>
                    <a:pt x="1212" y="513"/>
                  </a:lnTo>
                  <a:lnTo>
                    <a:pt x="1212" y="515"/>
                  </a:lnTo>
                  <a:lnTo>
                    <a:pt x="1209" y="515"/>
                  </a:lnTo>
                  <a:lnTo>
                    <a:pt x="1207" y="513"/>
                  </a:lnTo>
                  <a:lnTo>
                    <a:pt x="1207" y="513"/>
                  </a:lnTo>
                  <a:lnTo>
                    <a:pt x="1207" y="515"/>
                  </a:lnTo>
                  <a:lnTo>
                    <a:pt x="1207" y="515"/>
                  </a:lnTo>
                  <a:lnTo>
                    <a:pt x="1207" y="515"/>
                  </a:lnTo>
                  <a:lnTo>
                    <a:pt x="1207" y="515"/>
                  </a:lnTo>
                  <a:lnTo>
                    <a:pt x="1207" y="518"/>
                  </a:lnTo>
                  <a:lnTo>
                    <a:pt x="1207" y="518"/>
                  </a:lnTo>
                  <a:lnTo>
                    <a:pt x="1207" y="520"/>
                  </a:lnTo>
                  <a:close/>
                  <a:moveTo>
                    <a:pt x="1299" y="210"/>
                  </a:moveTo>
                  <a:lnTo>
                    <a:pt x="1302" y="213"/>
                  </a:lnTo>
                  <a:lnTo>
                    <a:pt x="1299" y="213"/>
                  </a:lnTo>
                  <a:lnTo>
                    <a:pt x="1299" y="213"/>
                  </a:lnTo>
                  <a:lnTo>
                    <a:pt x="1299" y="213"/>
                  </a:lnTo>
                  <a:lnTo>
                    <a:pt x="1302" y="215"/>
                  </a:lnTo>
                  <a:lnTo>
                    <a:pt x="1302" y="215"/>
                  </a:lnTo>
                  <a:lnTo>
                    <a:pt x="1302" y="215"/>
                  </a:lnTo>
                  <a:lnTo>
                    <a:pt x="1306" y="217"/>
                  </a:lnTo>
                  <a:lnTo>
                    <a:pt x="1306" y="217"/>
                  </a:lnTo>
                  <a:lnTo>
                    <a:pt x="1309" y="220"/>
                  </a:lnTo>
                  <a:lnTo>
                    <a:pt x="1309" y="222"/>
                  </a:lnTo>
                  <a:lnTo>
                    <a:pt x="1309" y="222"/>
                  </a:lnTo>
                  <a:lnTo>
                    <a:pt x="1306" y="224"/>
                  </a:lnTo>
                  <a:lnTo>
                    <a:pt x="1311" y="220"/>
                  </a:lnTo>
                  <a:lnTo>
                    <a:pt x="1313" y="220"/>
                  </a:lnTo>
                  <a:lnTo>
                    <a:pt x="1313" y="222"/>
                  </a:lnTo>
                  <a:lnTo>
                    <a:pt x="1313" y="222"/>
                  </a:lnTo>
                  <a:lnTo>
                    <a:pt x="1313" y="222"/>
                  </a:lnTo>
                  <a:lnTo>
                    <a:pt x="1313" y="220"/>
                  </a:lnTo>
                  <a:lnTo>
                    <a:pt x="1313" y="220"/>
                  </a:lnTo>
                  <a:lnTo>
                    <a:pt x="1313" y="220"/>
                  </a:lnTo>
                  <a:lnTo>
                    <a:pt x="1316" y="220"/>
                  </a:lnTo>
                  <a:lnTo>
                    <a:pt x="1313" y="215"/>
                  </a:lnTo>
                  <a:lnTo>
                    <a:pt x="1313" y="215"/>
                  </a:lnTo>
                  <a:lnTo>
                    <a:pt x="1313" y="213"/>
                  </a:lnTo>
                  <a:lnTo>
                    <a:pt x="1313" y="213"/>
                  </a:lnTo>
                  <a:lnTo>
                    <a:pt x="1316" y="213"/>
                  </a:lnTo>
                  <a:lnTo>
                    <a:pt x="1316" y="213"/>
                  </a:lnTo>
                  <a:lnTo>
                    <a:pt x="1316" y="210"/>
                  </a:lnTo>
                  <a:lnTo>
                    <a:pt x="1318" y="208"/>
                  </a:lnTo>
                  <a:lnTo>
                    <a:pt x="1318" y="208"/>
                  </a:lnTo>
                  <a:lnTo>
                    <a:pt x="1321" y="208"/>
                  </a:lnTo>
                  <a:lnTo>
                    <a:pt x="1323" y="208"/>
                  </a:lnTo>
                  <a:lnTo>
                    <a:pt x="1323" y="210"/>
                  </a:lnTo>
                  <a:lnTo>
                    <a:pt x="1325" y="210"/>
                  </a:lnTo>
                  <a:lnTo>
                    <a:pt x="1323" y="208"/>
                  </a:lnTo>
                  <a:lnTo>
                    <a:pt x="1323" y="208"/>
                  </a:lnTo>
                  <a:lnTo>
                    <a:pt x="1323" y="205"/>
                  </a:lnTo>
                  <a:lnTo>
                    <a:pt x="1323" y="203"/>
                  </a:lnTo>
                  <a:lnTo>
                    <a:pt x="1323" y="203"/>
                  </a:lnTo>
                  <a:lnTo>
                    <a:pt x="1325" y="205"/>
                  </a:lnTo>
                  <a:lnTo>
                    <a:pt x="1328" y="208"/>
                  </a:lnTo>
                  <a:lnTo>
                    <a:pt x="1328" y="208"/>
                  </a:lnTo>
                  <a:lnTo>
                    <a:pt x="1328" y="208"/>
                  </a:lnTo>
                  <a:lnTo>
                    <a:pt x="1328" y="210"/>
                  </a:lnTo>
                  <a:lnTo>
                    <a:pt x="1328" y="210"/>
                  </a:lnTo>
                  <a:lnTo>
                    <a:pt x="1328" y="210"/>
                  </a:lnTo>
                  <a:lnTo>
                    <a:pt x="1328" y="210"/>
                  </a:lnTo>
                  <a:lnTo>
                    <a:pt x="1328" y="213"/>
                  </a:lnTo>
                  <a:lnTo>
                    <a:pt x="1330" y="210"/>
                  </a:lnTo>
                  <a:lnTo>
                    <a:pt x="1335" y="210"/>
                  </a:lnTo>
                  <a:lnTo>
                    <a:pt x="1335" y="213"/>
                  </a:lnTo>
                  <a:lnTo>
                    <a:pt x="1330" y="215"/>
                  </a:lnTo>
                  <a:lnTo>
                    <a:pt x="1330" y="215"/>
                  </a:lnTo>
                  <a:lnTo>
                    <a:pt x="1330" y="217"/>
                  </a:lnTo>
                  <a:lnTo>
                    <a:pt x="1330" y="217"/>
                  </a:lnTo>
                  <a:lnTo>
                    <a:pt x="1330" y="217"/>
                  </a:lnTo>
                  <a:lnTo>
                    <a:pt x="1328" y="217"/>
                  </a:lnTo>
                  <a:lnTo>
                    <a:pt x="1323" y="224"/>
                  </a:lnTo>
                  <a:lnTo>
                    <a:pt x="1318" y="229"/>
                  </a:lnTo>
                  <a:lnTo>
                    <a:pt x="1318" y="231"/>
                  </a:lnTo>
                  <a:lnTo>
                    <a:pt x="1323" y="236"/>
                  </a:lnTo>
                  <a:lnTo>
                    <a:pt x="1323" y="236"/>
                  </a:lnTo>
                  <a:lnTo>
                    <a:pt x="1323" y="239"/>
                  </a:lnTo>
                  <a:lnTo>
                    <a:pt x="1325" y="239"/>
                  </a:lnTo>
                  <a:lnTo>
                    <a:pt x="1325" y="239"/>
                  </a:lnTo>
                  <a:lnTo>
                    <a:pt x="1328" y="236"/>
                  </a:lnTo>
                  <a:lnTo>
                    <a:pt x="1335" y="229"/>
                  </a:lnTo>
                  <a:lnTo>
                    <a:pt x="1337" y="224"/>
                  </a:lnTo>
                  <a:lnTo>
                    <a:pt x="1340" y="222"/>
                  </a:lnTo>
                  <a:lnTo>
                    <a:pt x="1344" y="220"/>
                  </a:lnTo>
                  <a:lnTo>
                    <a:pt x="1351" y="217"/>
                  </a:lnTo>
                  <a:lnTo>
                    <a:pt x="1351" y="215"/>
                  </a:lnTo>
                  <a:lnTo>
                    <a:pt x="1354" y="213"/>
                  </a:lnTo>
                  <a:lnTo>
                    <a:pt x="1354" y="213"/>
                  </a:lnTo>
                  <a:lnTo>
                    <a:pt x="1356" y="213"/>
                  </a:lnTo>
                  <a:lnTo>
                    <a:pt x="1356" y="215"/>
                  </a:lnTo>
                  <a:lnTo>
                    <a:pt x="1356" y="215"/>
                  </a:lnTo>
                  <a:lnTo>
                    <a:pt x="1358" y="215"/>
                  </a:lnTo>
                  <a:lnTo>
                    <a:pt x="1358" y="215"/>
                  </a:lnTo>
                  <a:lnTo>
                    <a:pt x="1366" y="217"/>
                  </a:lnTo>
                  <a:lnTo>
                    <a:pt x="1370" y="220"/>
                  </a:lnTo>
                  <a:lnTo>
                    <a:pt x="1370" y="220"/>
                  </a:lnTo>
                  <a:lnTo>
                    <a:pt x="1370" y="220"/>
                  </a:lnTo>
                  <a:lnTo>
                    <a:pt x="1370" y="220"/>
                  </a:lnTo>
                  <a:lnTo>
                    <a:pt x="1373" y="220"/>
                  </a:lnTo>
                  <a:lnTo>
                    <a:pt x="1373" y="220"/>
                  </a:lnTo>
                  <a:lnTo>
                    <a:pt x="1370" y="222"/>
                  </a:lnTo>
                  <a:lnTo>
                    <a:pt x="1368" y="220"/>
                  </a:lnTo>
                  <a:lnTo>
                    <a:pt x="1363" y="220"/>
                  </a:lnTo>
                  <a:lnTo>
                    <a:pt x="1363" y="220"/>
                  </a:lnTo>
                  <a:lnTo>
                    <a:pt x="1361" y="220"/>
                  </a:lnTo>
                  <a:lnTo>
                    <a:pt x="1361" y="220"/>
                  </a:lnTo>
                  <a:lnTo>
                    <a:pt x="1361" y="220"/>
                  </a:lnTo>
                  <a:lnTo>
                    <a:pt x="1361" y="220"/>
                  </a:lnTo>
                  <a:lnTo>
                    <a:pt x="1361" y="217"/>
                  </a:lnTo>
                  <a:lnTo>
                    <a:pt x="1361" y="217"/>
                  </a:lnTo>
                  <a:lnTo>
                    <a:pt x="1361" y="217"/>
                  </a:lnTo>
                  <a:lnTo>
                    <a:pt x="1361" y="217"/>
                  </a:lnTo>
                  <a:lnTo>
                    <a:pt x="1356" y="220"/>
                  </a:lnTo>
                  <a:lnTo>
                    <a:pt x="1354" y="220"/>
                  </a:lnTo>
                  <a:lnTo>
                    <a:pt x="1347" y="222"/>
                  </a:lnTo>
                  <a:lnTo>
                    <a:pt x="1347" y="224"/>
                  </a:lnTo>
                  <a:lnTo>
                    <a:pt x="1347" y="224"/>
                  </a:lnTo>
                  <a:lnTo>
                    <a:pt x="1347" y="224"/>
                  </a:lnTo>
                  <a:lnTo>
                    <a:pt x="1349" y="227"/>
                  </a:lnTo>
                  <a:lnTo>
                    <a:pt x="1349" y="227"/>
                  </a:lnTo>
                  <a:lnTo>
                    <a:pt x="1349" y="227"/>
                  </a:lnTo>
                  <a:lnTo>
                    <a:pt x="1347" y="227"/>
                  </a:lnTo>
                  <a:lnTo>
                    <a:pt x="1347" y="227"/>
                  </a:lnTo>
                  <a:lnTo>
                    <a:pt x="1342" y="231"/>
                  </a:lnTo>
                  <a:lnTo>
                    <a:pt x="1340" y="234"/>
                  </a:lnTo>
                  <a:lnTo>
                    <a:pt x="1337" y="239"/>
                  </a:lnTo>
                  <a:lnTo>
                    <a:pt x="1332" y="241"/>
                  </a:lnTo>
                  <a:lnTo>
                    <a:pt x="1332" y="241"/>
                  </a:lnTo>
                  <a:lnTo>
                    <a:pt x="1335" y="243"/>
                  </a:lnTo>
                  <a:lnTo>
                    <a:pt x="1340" y="246"/>
                  </a:lnTo>
                  <a:lnTo>
                    <a:pt x="1342" y="248"/>
                  </a:lnTo>
                  <a:lnTo>
                    <a:pt x="1347" y="246"/>
                  </a:lnTo>
                  <a:lnTo>
                    <a:pt x="1349" y="248"/>
                  </a:lnTo>
                  <a:lnTo>
                    <a:pt x="1344" y="250"/>
                  </a:lnTo>
                  <a:lnTo>
                    <a:pt x="1340" y="253"/>
                  </a:lnTo>
                  <a:lnTo>
                    <a:pt x="1340" y="253"/>
                  </a:lnTo>
                  <a:lnTo>
                    <a:pt x="1335" y="250"/>
                  </a:lnTo>
                  <a:lnTo>
                    <a:pt x="1335" y="250"/>
                  </a:lnTo>
                  <a:lnTo>
                    <a:pt x="1335" y="250"/>
                  </a:lnTo>
                  <a:lnTo>
                    <a:pt x="1332" y="250"/>
                  </a:lnTo>
                  <a:lnTo>
                    <a:pt x="1332" y="250"/>
                  </a:lnTo>
                  <a:lnTo>
                    <a:pt x="1328" y="255"/>
                  </a:lnTo>
                  <a:lnTo>
                    <a:pt x="1328" y="257"/>
                  </a:lnTo>
                  <a:lnTo>
                    <a:pt x="1328" y="257"/>
                  </a:lnTo>
                  <a:lnTo>
                    <a:pt x="1328" y="260"/>
                  </a:lnTo>
                  <a:lnTo>
                    <a:pt x="1328" y="262"/>
                  </a:lnTo>
                  <a:lnTo>
                    <a:pt x="1330" y="265"/>
                  </a:lnTo>
                  <a:lnTo>
                    <a:pt x="1330" y="267"/>
                  </a:lnTo>
                  <a:lnTo>
                    <a:pt x="1330" y="269"/>
                  </a:lnTo>
                  <a:lnTo>
                    <a:pt x="1332" y="269"/>
                  </a:lnTo>
                  <a:lnTo>
                    <a:pt x="1335" y="272"/>
                  </a:lnTo>
                  <a:lnTo>
                    <a:pt x="1335" y="272"/>
                  </a:lnTo>
                  <a:lnTo>
                    <a:pt x="1337" y="274"/>
                  </a:lnTo>
                  <a:lnTo>
                    <a:pt x="1344" y="272"/>
                  </a:lnTo>
                  <a:lnTo>
                    <a:pt x="1351" y="269"/>
                  </a:lnTo>
                  <a:lnTo>
                    <a:pt x="1361" y="267"/>
                  </a:lnTo>
                  <a:lnTo>
                    <a:pt x="1368" y="265"/>
                  </a:lnTo>
                  <a:lnTo>
                    <a:pt x="1375" y="265"/>
                  </a:lnTo>
                  <a:lnTo>
                    <a:pt x="1382" y="260"/>
                  </a:lnTo>
                  <a:lnTo>
                    <a:pt x="1387" y="257"/>
                  </a:lnTo>
                  <a:lnTo>
                    <a:pt x="1387" y="257"/>
                  </a:lnTo>
                  <a:lnTo>
                    <a:pt x="1392" y="253"/>
                  </a:lnTo>
                  <a:lnTo>
                    <a:pt x="1392" y="250"/>
                  </a:lnTo>
                  <a:lnTo>
                    <a:pt x="1396" y="243"/>
                  </a:lnTo>
                  <a:lnTo>
                    <a:pt x="1401" y="241"/>
                  </a:lnTo>
                  <a:lnTo>
                    <a:pt x="1406" y="236"/>
                  </a:lnTo>
                  <a:lnTo>
                    <a:pt x="1408" y="236"/>
                  </a:lnTo>
                  <a:lnTo>
                    <a:pt x="1408" y="236"/>
                  </a:lnTo>
                  <a:lnTo>
                    <a:pt x="1411" y="236"/>
                  </a:lnTo>
                  <a:lnTo>
                    <a:pt x="1411" y="236"/>
                  </a:lnTo>
                  <a:lnTo>
                    <a:pt x="1411" y="236"/>
                  </a:lnTo>
                  <a:lnTo>
                    <a:pt x="1413" y="236"/>
                  </a:lnTo>
                  <a:lnTo>
                    <a:pt x="1413" y="236"/>
                  </a:lnTo>
                  <a:lnTo>
                    <a:pt x="1413" y="236"/>
                  </a:lnTo>
                  <a:lnTo>
                    <a:pt x="1413" y="239"/>
                  </a:lnTo>
                  <a:lnTo>
                    <a:pt x="1411" y="241"/>
                  </a:lnTo>
                  <a:lnTo>
                    <a:pt x="1406" y="243"/>
                  </a:lnTo>
                  <a:lnTo>
                    <a:pt x="1401" y="248"/>
                  </a:lnTo>
                  <a:lnTo>
                    <a:pt x="1401" y="250"/>
                  </a:lnTo>
                  <a:lnTo>
                    <a:pt x="1399" y="250"/>
                  </a:lnTo>
                  <a:lnTo>
                    <a:pt x="1399" y="253"/>
                  </a:lnTo>
                  <a:lnTo>
                    <a:pt x="1396" y="255"/>
                  </a:lnTo>
                  <a:lnTo>
                    <a:pt x="1396" y="255"/>
                  </a:lnTo>
                  <a:lnTo>
                    <a:pt x="1396" y="257"/>
                  </a:lnTo>
                  <a:lnTo>
                    <a:pt x="1396" y="257"/>
                  </a:lnTo>
                  <a:lnTo>
                    <a:pt x="1399" y="260"/>
                  </a:lnTo>
                  <a:lnTo>
                    <a:pt x="1399" y="260"/>
                  </a:lnTo>
                  <a:lnTo>
                    <a:pt x="1399" y="260"/>
                  </a:lnTo>
                  <a:lnTo>
                    <a:pt x="1396" y="260"/>
                  </a:lnTo>
                  <a:lnTo>
                    <a:pt x="1392" y="262"/>
                  </a:lnTo>
                  <a:lnTo>
                    <a:pt x="1389" y="267"/>
                  </a:lnTo>
                  <a:lnTo>
                    <a:pt x="1387" y="269"/>
                  </a:lnTo>
                  <a:lnTo>
                    <a:pt x="1380" y="269"/>
                  </a:lnTo>
                  <a:lnTo>
                    <a:pt x="1380" y="272"/>
                  </a:lnTo>
                  <a:lnTo>
                    <a:pt x="1373" y="274"/>
                  </a:lnTo>
                  <a:lnTo>
                    <a:pt x="1368" y="272"/>
                  </a:lnTo>
                  <a:lnTo>
                    <a:pt x="1363" y="272"/>
                  </a:lnTo>
                  <a:lnTo>
                    <a:pt x="1358" y="272"/>
                  </a:lnTo>
                  <a:lnTo>
                    <a:pt x="1354" y="274"/>
                  </a:lnTo>
                  <a:lnTo>
                    <a:pt x="1351" y="279"/>
                  </a:lnTo>
                  <a:lnTo>
                    <a:pt x="1347" y="279"/>
                  </a:lnTo>
                  <a:lnTo>
                    <a:pt x="1347" y="281"/>
                  </a:lnTo>
                  <a:lnTo>
                    <a:pt x="1344" y="281"/>
                  </a:lnTo>
                  <a:lnTo>
                    <a:pt x="1344" y="281"/>
                  </a:lnTo>
                  <a:lnTo>
                    <a:pt x="1344" y="283"/>
                  </a:lnTo>
                  <a:lnTo>
                    <a:pt x="1344" y="283"/>
                  </a:lnTo>
                  <a:lnTo>
                    <a:pt x="1344" y="286"/>
                  </a:lnTo>
                  <a:lnTo>
                    <a:pt x="1349" y="288"/>
                  </a:lnTo>
                  <a:lnTo>
                    <a:pt x="1354" y="293"/>
                  </a:lnTo>
                  <a:lnTo>
                    <a:pt x="1358" y="295"/>
                  </a:lnTo>
                  <a:lnTo>
                    <a:pt x="1363" y="300"/>
                  </a:lnTo>
                  <a:lnTo>
                    <a:pt x="1368" y="302"/>
                  </a:lnTo>
                  <a:lnTo>
                    <a:pt x="1370" y="305"/>
                  </a:lnTo>
                  <a:lnTo>
                    <a:pt x="1375" y="307"/>
                  </a:lnTo>
                  <a:lnTo>
                    <a:pt x="1377" y="307"/>
                  </a:lnTo>
                  <a:lnTo>
                    <a:pt x="1382" y="307"/>
                  </a:lnTo>
                  <a:lnTo>
                    <a:pt x="1382" y="302"/>
                  </a:lnTo>
                  <a:lnTo>
                    <a:pt x="1384" y="300"/>
                  </a:lnTo>
                  <a:lnTo>
                    <a:pt x="1382" y="298"/>
                  </a:lnTo>
                  <a:lnTo>
                    <a:pt x="1384" y="298"/>
                  </a:lnTo>
                  <a:lnTo>
                    <a:pt x="1389" y="286"/>
                  </a:lnTo>
                  <a:lnTo>
                    <a:pt x="1389" y="286"/>
                  </a:lnTo>
                  <a:lnTo>
                    <a:pt x="1389" y="281"/>
                  </a:lnTo>
                  <a:lnTo>
                    <a:pt x="1392" y="281"/>
                  </a:lnTo>
                  <a:lnTo>
                    <a:pt x="1392" y="279"/>
                  </a:lnTo>
                  <a:lnTo>
                    <a:pt x="1392" y="276"/>
                  </a:lnTo>
                  <a:lnTo>
                    <a:pt x="1396" y="269"/>
                  </a:lnTo>
                  <a:lnTo>
                    <a:pt x="1399" y="265"/>
                  </a:lnTo>
                  <a:lnTo>
                    <a:pt x="1403" y="262"/>
                  </a:lnTo>
                  <a:lnTo>
                    <a:pt x="1406" y="260"/>
                  </a:lnTo>
                  <a:lnTo>
                    <a:pt x="1408" y="262"/>
                  </a:lnTo>
                  <a:lnTo>
                    <a:pt x="1408" y="260"/>
                  </a:lnTo>
                  <a:lnTo>
                    <a:pt x="1415" y="257"/>
                  </a:lnTo>
                  <a:lnTo>
                    <a:pt x="1422" y="255"/>
                  </a:lnTo>
                  <a:lnTo>
                    <a:pt x="1422" y="255"/>
                  </a:lnTo>
                  <a:lnTo>
                    <a:pt x="1429" y="253"/>
                  </a:lnTo>
                  <a:lnTo>
                    <a:pt x="1437" y="248"/>
                  </a:lnTo>
                  <a:lnTo>
                    <a:pt x="1444" y="246"/>
                  </a:lnTo>
                  <a:lnTo>
                    <a:pt x="1451" y="241"/>
                  </a:lnTo>
                  <a:lnTo>
                    <a:pt x="1451" y="243"/>
                  </a:lnTo>
                  <a:lnTo>
                    <a:pt x="1448" y="243"/>
                  </a:lnTo>
                  <a:lnTo>
                    <a:pt x="1446" y="246"/>
                  </a:lnTo>
                  <a:lnTo>
                    <a:pt x="1446" y="248"/>
                  </a:lnTo>
                  <a:lnTo>
                    <a:pt x="1439" y="250"/>
                  </a:lnTo>
                  <a:lnTo>
                    <a:pt x="1432" y="255"/>
                  </a:lnTo>
                  <a:lnTo>
                    <a:pt x="1425" y="257"/>
                  </a:lnTo>
                  <a:lnTo>
                    <a:pt x="1425" y="260"/>
                  </a:lnTo>
                  <a:lnTo>
                    <a:pt x="1418" y="260"/>
                  </a:lnTo>
                  <a:lnTo>
                    <a:pt x="1413" y="262"/>
                  </a:lnTo>
                  <a:lnTo>
                    <a:pt x="1413" y="262"/>
                  </a:lnTo>
                  <a:lnTo>
                    <a:pt x="1413" y="262"/>
                  </a:lnTo>
                  <a:lnTo>
                    <a:pt x="1413" y="262"/>
                  </a:lnTo>
                  <a:lnTo>
                    <a:pt x="1413" y="262"/>
                  </a:lnTo>
                  <a:lnTo>
                    <a:pt x="1413" y="262"/>
                  </a:lnTo>
                  <a:lnTo>
                    <a:pt x="1413" y="262"/>
                  </a:lnTo>
                  <a:lnTo>
                    <a:pt x="1408" y="265"/>
                  </a:lnTo>
                  <a:lnTo>
                    <a:pt x="1408" y="265"/>
                  </a:lnTo>
                  <a:lnTo>
                    <a:pt x="1408" y="265"/>
                  </a:lnTo>
                  <a:lnTo>
                    <a:pt x="1406" y="267"/>
                  </a:lnTo>
                  <a:lnTo>
                    <a:pt x="1406" y="267"/>
                  </a:lnTo>
                  <a:lnTo>
                    <a:pt x="1406" y="269"/>
                  </a:lnTo>
                  <a:lnTo>
                    <a:pt x="1403" y="269"/>
                  </a:lnTo>
                  <a:lnTo>
                    <a:pt x="1401" y="274"/>
                  </a:lnTo>
                  <a:lnTo>
                    <a:pt x="1396" y="286"/>
                  </a:lnTo>
                  <a:lnTo>
                    <a:pt x="1392" y="298"/>
                  </a:lnTo>
                  <a:lnTo>
                    <a:pt x="1389" y="305"/>
                  </a:lnTo>
                  <a:lnTo>
                    <a:pt x="1389" y="310"/>
                  </a:lnTo>
                  <a:lnTo>
                    <a:pt x="1396" y="312"/>
                  </a:lnTo>
                  <a:lnTo>
                    <a:pt x="1401" y="314"/>
                  </a:lnTo>
                  <a:lnTo>
                    <a:pt x="1401" y="314"/>
                  </a:lnTo>
                  <a:lnTo>
                    <a:pt x="1406" y="307"/>
                  </a:lnTo>
                  <a:lnTo>
                    <a:pt x="1408" y="305"/>
                  </a:lnTo>
                  <a:lnTo>
                    <a:pt x="1408" y="307"/>
                  </a:lnTo>
                  <a:lnTo>
                    <a:pt x="1406" y="310"/>
                  </a:lnTo>
                  <a:lnTo>
                    <a:pt x="1406" y="312"/>
                  </a:lnTo>
                  <a:lnTo>
                    <a:pt x="1406" y="314"/>
                  </a:lnTo>
                  <a:lnTo>
                    <a:pt x="1408" y="312"/>
                  </a:lnTo>
                  <a:lnTo>
                    <a:pt x="1411" y="314"/>
                  </a:lnTo>
                  <a:lnTo>
                    <a:pt x="1418" y="314"/>
                  </a:lnTo>
                  <a:lnTo>
                    <a:pt x="1420" y="312"/>
                  </a:lnTo>
                  <a:lnTo>
                    <a:pt x="1425" y="312"/>
                  </a:lnTo>
                  <a:lnTo>
                    <a:pt x="1429" y="312"/>
                  </a:lnTo>
                  <a:lnTo>
                    <a:pt x="1434" y="310"/>
                  </a:lnTo>
                  <a:lnTo>
                    <a:pt x="1437" y="310"/>
                  </a:lnTo>
                  <a:lnTo>
                    <a:pt x="1437" y="307"/>
                  </a:lnTo>
                  <a:lnTo>
                    <a:pt x="1437" y="307"/>
                  </a:lnTo>
                  <a:lnTo>
                    <a:pt x="1437" y="305"/>
                  </a:lnTo>
                  <a:lnTo>
                    <a:pt x="1437" y="300"/>
                  </a:lnTo>
                  <a:lnTo>
                    <a:pt x="1437" y="300"/>
                  </a:lnTo>
                  <a:lnTo>
                    <a:pt x="1437" y="298"/>
                  </a:lnTo>
                  <a:lnTo>
                    <a:pt x="1437" y="295"/>
                  </a:lnTo>
                  <a:lnTo>
                    <a:pt x="1437" y="295"/>
                  </a:lnTo>
                  <a:lnTo>
                    <a:pt x="1437" y="293"/>
                  </a:lnTo>
                  <a:lnTo>
                    <a:pt x="1434" y="293"/>
                  </a:lnTo>
                  <a:lnTo>
                    <a:pt x="1434" y="291"/>
                  </a:lnTo>
                  <a:lnTo>
                    <a:pt x="1434" y="288"/>
                  </a:lnTo>
                  <a:lnTo>
                    <a:pt x="1434" y="288"/>
                  </a:lnTo>
                  <a:lnTo>
                    <a:pt x="1434" y="288"/>
                  </a:lnTo>
                  <a:lnTo>
                    <a:pt x="1434" y="288"/>
                  </a:lnTo>
                  <a:lnTo>
                    <a:pt x="1437" y="288"/>
                  </a:lnTo>
                  <a:lnTo>
                    <a:pt x="1437" y="288"/>
                  </a:lnTo>
                  <a:lnTo>
                    <a:pt x="1437" y="286"/>
                  </a:lnTo>
                  <a:lnTo>
                    <a:pt x="1437" y="283"/>
                  </a:lnTo>
                  <a:lnTo>
                    <a:pt x="1439" y="283"/>
                  </a:lnTo>
                  <a:lnTo>
                    <a:pt x="1441" y="281"/>
                  </a:lnTo>
                  <a:lnTo>
                    <a:pt x="1441" y="281"/>
                  </a:lnTo>
                  <a:lnTo>
                    <a:pt x="1441" y="279"/>
                  </a:lnTo>
                  <a:lnTo>
                    <a:pt x="1441" y="276"/>
                  </a:lnTo>
                  <a:lnTo>
                    <a:pt x="1444" y="279"/>
                  </a:lnTo>
                  <a:lnTo>
                    <a:pt x="1444" y="279"/>
                  </a:lnTo>
                  <a:lnTo>
                    <a:pt x="1441" y="286"/>
                  </a:lnTo>
                  <a:lnTo>
                    <a:pt x="1439" y="286"/>
                  </a:lnTo>
                  <a:lnTo>
                    <a:pt x="1439" y="288"/>
                  </a:lnTo>
                  <a:lnTo>
                    <a:pt x="1439" y="291"/>
                  </a:lnTo>
                  <a:lnTo>
                    <a:pt x="1439" y="291"/>
                  </a:lnTo>
                  <a:lnTo>
                    <a:pt x="1439" y="291"/>
                  </a:lnTo>
                  <a:lnTo>
                    <a:pt x="1439" y="293"/>
                  </a:lnTo>
                  <a:lnTo>
                    <a:pt x="1441" y="293"/>
                  </a:lnTo>
                  <a:lnTo>
                    <a:pt x="1444" y="293"/>
                  </a:lnTo>
                  <a:lnTo>
                    <a:pt x="1448" y="288"/>
                  </a:lnTo>
                  <a:lnTo>
                    <a:pt x="1453" y="286"/>
                  </a:lnTo>
                  <a:lnTo>
                    <a:pt x="1453" y="286"/>
                  </a:lnTo>
                  <a:lnTo>
                    <a:pt x="1455" y="286"/>
                  </a:lnTo>
                  <a:lnTo>
                    <a:pt x="1455" y="283"/>
                  </a:lnTo>
                  <a:lnTo>
                    <a:pt x="1455" y="283"/>
                  </a:lnTo>
                  <a:lnTo>
                    <a:pt x="1455" y="283"/>
                  </a:lnTo>
                  <a:lnTo>
                    <a:pt x="1455" y="283"/>
                  </a:lnTo>
                  <a:lnTo>
                    <a:pt x="1455" y="281"/>
                  </a:lnTo>
                  <a:lnTo>
                    <a:pt x="1460" y="279"/>
                  </a:lnTo>
                  <a:lnTo>
                    <a:pt x="1460" y="276"/>
                  </a:lnTo>
                  <a:lnTo>
                    <a:pt x="1463" y="274"/>
                  </a:lnTo>
                  <a:lnTo>
                    <a:pt x="1465" y="276"/>
                  </a:lnTo>
                  <a:lnTo>
                    <a:pt x="1465" y="276"/>
                  </a:lnTo>
                  <a:lnTo>
                    <a:pt x="1465" y="276"/>
                  </a:lnTo>
                  <a:lnTo>
                    <a:pt x="1463" y="283"/>
                  </a:lnTo>
                  <a:lnTo>
                    <a:pt x="1463" y="283"/>
                  </a:lnTo>
                  <a:lnTo>
                    <a:pt x="1460" y="286"/>
                  </a:lnTo>
                  <a:lnTo>
                    <a:pt x="1455" y="288"/>
                  </a:lnTo>
                  <a:lnTo>
                    <a:pt x="1451" y="293"/>
                  </a:lnTo>
                  <a:lnTo>
                    <a:pt x="1451" y="295"/>
                  </a:lnTo>
                  <a:lnTo>
                    <a:pt x="1448" y="295"/>
                  </a:lnTo>
                  <a:lnTo>
                    <a:pt x="1448" y="295"/>
                  </a:lnTo>
                  <a:lnTo>
                    <a:pt x="1448" y="295"/>
                  </a:lnTo>
                  <a:lnTo>
                    <a:pt x="1446" y="298"/>
                  </a:lnTo>
                  <a:lnTo>
                    <a:pt x="1446" y="300"/>
                  </a:lnTo>
                  <a:lnTo>
                    <a:pt x="1446" y="302"/>
                  </a:lnTo>
                  <a:lnTo>
                    <a:pt x="1448" y="305"/>
                  </a:lnTo>
                  <a:lnTo>
                    <a:pt x="1448" y="307"/>
                  </a:lnTo>
                  <a:lnTo>
                    <a:pt x="1451" y="307"/>
                  </a:lnTo>
                  <a:lnTo>
                    <a:pt x="1455" y="305"/>
                  </a:lnTo>
                  <a:lnTo>
                    <a:pt x="1460" y="302"/>
                  </a:lnTo>
                  <a:lnTo>
                    <a:pt x="1460" y="302"/>
                  </a:lnTo>
                  <a:lnTo>
                    <a:pt x="1460" y="302"/>
                  </a:lnTo>
                  <a:lnTo>
                    <a:pt x="1465" y="300"/>
                  </a:lnTo>
                  <a:lnTo>
                    <a:pt x="1467" y="298"/>
                  </a:lnTo>
                  <a:lnTo>
                    <a:pt x="1472" y="295"/>
                  </a:lnTo>
                  <a:lnTo>
                    <a:pt x="1477" y="293"/>
                  </a:lnTo>
                  <a:lnTo>
                    <a:pt x="1481" y="288"/>
                  </a:lnTo>
                  <a:lnTo>
                    <a:pt x="1486" y="283"/>
                  </a:lnTo>
                  <a:lnTo>
                    <a:pt x="1489" y="281"/>
                  </a:lnTo>
                  <a:lnTo>
                    <a:pt x="1491" y="279"/>
                  </a:lnTo>
                  <a:lnTo>
                    <a:pt x="1493" y="276"/>
                  </a:lnTo>
                  <a:lnTo>
                    <a:pt x="1493" y="274"/>
                  </a:lnTo>
                  <a:lnTo>
                    <a:pt x="1498" y="269"/>
                  </a:lnTo>
                  <a:lnTo>
                    <a:pt x="1500" y="265"/>
                  </a:lnTo>
                  <a:lnTo>
                    <a:pt x="1500" y="265"/>
                  </a:lnTo>
                  <a:lnTo>
                    <a:pt x="1500" y="262"/>
                  </a:lnTo>
                  <a:lnTo>
                    <a:pt x="1500" y="260"/>
                  </a:lnTo>
                  <a:lnTo>
                    <a:pt x="1500" y="260"/>
                  </a:lnTo>
                  <a:lnTo>
                    <a:pt x="1503" y="260"/>
                  </a:lnTo>
                  <a:lnTo>
                    <a:pt x="1503" y="257"/>
                  </a:lnTo>
                  <a:lnTo>
                    <a:pt x="1503" y="255"/>
                  </a:lnTo>
                  <a:lnTo>
                    <a:pt x="1503" y="255"/>
                  </a:lnTo>
                  <a:lnTo>
                    <a:pt x="1503" y="253"/>
                  </a:lnTo>
                  <a:lnTo>
                    <a:pt x="1503" y="253"/>
                  </a:lnTo>
                  <a:lnTo>
                    <a:pt x="1500" y="253"/>
                  </a:lnTo>
                  <a:lnTo>
                    <a:pt x="1500" y="253"/>
                  </a:lnTo>
                  <a:lnTo>
                    <a:pt x="1500" y="253"/>
                  </a:lnTo>
                  <a:lnTo>
                    <a:pt x="1500" y="253"/>
                  </a:lnTo>
                  <a:lnTo>
                    <a:pt x="1500" y="250"/>
                  </a:lnTo>
                  <a:lnTo>
                    <a:pt x="1500" y="250"/>
                  </a:lnTo>
                  <a:lnTo>
                    <a:pt x="1500" y="246"/>
                  </a:lnTo>
                  <a:lnTo>
                    <a:pt x="1500" y="246"/>
                  </a:lnTo>
                  <a:lnTo>
                    <a:pt x="1503" y="243"/>
                  </a:lnTo>
                  <a:lnTo>
                    <a:pt x="1503" y="243"/>
                  </a:lnTo>
                  <a:lnTo>
                    <a:pt x="1503" y="241"/>
                  </a:lnTo>
                  <a:lnTo>
                    <a:pt x="1500" y="241"/>
                  </a:lnTo>
                  <a:lnTo>
                    <a:pt x="1496" y="234"/>
                  </a:lnTo>
                  <a:lnTo>
                    <a:pt x="1493" y="231"/>
                  </a:lnTo>
                  <a:lnTo>
                    <a:pt x="1498" y="236"/>
                  </a:lnTo>
                  <a:lnTo>
                    <a:pt x="1503" y="241"/>
                  </a:lnTo>
                  <a:lnTo>
                    <a:pt x="1508" y="239"/>
                  </a:lnTo>
                  <a:lnTo>
                    <a:pt x="1508" y="239"/>
                  </a:lnTo>
                  <a:lnTo>
                    <a:pt x="1508" y="239"/>
                  </a:lnTo>
                  <a:lnTo>
                    <a:pt x="1508" y="239"/>
                  </a:lnTo>
                  <a:lnTo>
                    <a:pt x="1505" y="236"/>
                  </a:lnTo>
                  <a:lnTo>
                    <a:pt x="1505" y="234"/>
                  </a:lnTo>
                  <a:lnTo>
                    <a:pt x="1505" y="231"/>
                  </a:lnTo>
                  <a:lnTo>
                    <a:pt x="1505" y="231"/>
                  </a:lnTo>
                  <a:lnTo>
                    <a:pt x="1508" y="229"/>
                  </a:lnTo>
                  <a:lnTo>
                    <a:pt x="1508" y="227"/>
                  </a:lnTo>
                  <a:lnTo>
                    <a:pt x="1512" y="217"/>
                  </a:lnTo>
                  <a:lnTo>
                    <a:pt x="1515" y="215"/>
                  </a:lnTo>
                  <a:lnTo>
                    <a:pt x="1517" y="213"/>
                  </a:lnTo>
                  <a:lnTo>
                    <a:pt x="1522" y="205"/>
                  </a:lnTo>
                  <a:lnTo>
                    <a:pt x="1529" y="198"/>
                  </a:lnTo>
                  <a:lnTo>
                    <a:pt x="1529" y="198"/>
                  </a:lnTo>
                  <a:lnTo>
                    <a:pt x="1531" y="201"/>
                  </a:lnTo>
                  <a:lnTo>
                    <a:pt x="1531" y="201"/>
                  </a:lnTo>
                  <a:lnTo>
                    <a:pt x="1529" y="205"/>
                  </a:lnTo>
                  <a:lnTo>
                    <a:pt x="1526" y="208"/>
                  </a:lnTo>
                  <a:lnTo>
                    <a:pt x="1524" y="208"/>
                  </a:lnTo>
                  <a:lnTo>
                    <a:pt x="1524" y="213"/>
                  </a:lnTo>
                  <a:lnTo>
                    <a:pt x="1519" y="215"/>
                  </a:lnTo>
                  <a:lnTo>
                    <a:pt x="1519" y="217"/>
                  </a:lnTo>
                  <a:lnTo>
                    <a:pt x="1517" y="220"/>
                  </a:lnTo>
                  <a:lnTo>
                    <a:pt x="1515" y="224"/>
                  </a:lnTo>
                  <a:lnTo>
                    <a:pt x="1515" y="227"/>
                  </a:lnTo>
                  <a:lnTo>
                    <a:pt x="1515" y="229"/>
                  </a:lnTo>
                  <a:lnTo>
                    <a:pt x="1512" y="231"/>
                  </a:lnTo>
                  <a:lnTo>
                    <a:pt x="1512" y="231"/>
                  </a:lnTo>
                  <a:lnTo>
                    <a:pt x="1510" y="231"/>
                  </a:lnTo>
                  <a:lnTo>
                    <a:pt x="1510" y="234"/>
                  </a:lnTo>
                  <a:lnTo>
                    <a:pt x="1512" y="234"/>
                  </a:lnTo>
                  <a:lnTo>
                    <a:pt x="1512" y="236"/>
                  </a:lnTo>
                  <a:lnTo>
                    <a:pt x="1512" y="239"/>
                  </a:lnTo>
                  <a:lnTo>
                    <a:pt x="1508" y="250"/>
                  </a:lnTo>
                  <a:lnTo>
                    <a:pt x="1508" y="250"/>
                  </a:lnTo>
                  <a:lnTo>
                    <a:pt x="1508" y="253"/>
                  </a:lnTo>
                  <a:lnTo>
                    <a:pt x="1508" y="253"/>
                  </a:lnTo>
                  <a:lnTo>
                    <a:pt x="1508" y="253"/>
                  </a:lnTo>
                  <a:lnTo>
                    <a:pt x="1508" y="255"/>
                  </a:lnTo>
                  <a:lnTo>
                    <a:pt x="1508" y="257"/>
                  </a:lnTo>
                  <a:lnTo>
                    <a:pt x="1508" y="260"/>
                  </a:lnTo>
                  <a:lnTo>
                    <a:pt x="1508" y="260"/>
                  </a:lnTo>
                  <a:lnTo>
                    <a:pt x="1508" y="262"/>
                  </a:lnTo>
                  <a:lnTo>
                    <a:pt x="1510" y="265"/>
                  </a:lnTo>
                  <a:lnTo>
                    <a:pt x="1510" y="265"/>
                  </a:lnTo>
                  <a:lnTo>
                    <a:pt x="1510" y="265"/>
                  </a:lnTo>
                  <a:lnTo>
                    <a:pt x="1515" y="262"/>
                  </a:lnTo>
                  <a:lnTo>
                    <a:pt x="1522" y="260"/>
                  </a:lnTo>
                  <a:lnTo>
                    <a:pt x="1522" y="257"/>
                  </a:lnTo>
                  <a:lnTo>
                    <a:pt x="1526" y="255"/>
                  </a:lnTo>
                  <a:lnTo>
                    <a:pt x="1531" y="255"/>
                  </a:lnTo>
                  <a:lnTo>
                    <a:pt x="1538" y="255"/>
                  </a:lnTo>
                  <a:lnTo>
                    <a:pt x="1541" y="253"/>
                  </a:lnTo>
                  <a:lnTo>
                    <a:pt x="1543" y="253"/>
                  </a:lnTo>
                  <a:lnTo>
                    <a:pt x="1545" y="255"/>
                  </a:lnTo>
                  <a:lnTo>
                    <a:pt x="1545" y="257"/>
                  </a:lnTo>
                  <a:lnTo>
                    <a:pt x="1545" y="257"/>
                  </a:lnTo>
                  <a:lnTo>
                    <a:pt x="1541" y="260"/>
                  </a:lnTo>
                  <a:lnTo>
                    <a:pt x="1538" y="262"/>
                  </a:lnTo>
                  <a:lnTo>
                    <a:pt x="1531" y="262"/>
                  </a:lnTo>
                  <a:lnTo>
                    <a:pt x="1529" y="265"/>
                  </a:lnTo>
                  <a:lnTo>
                    <a:pt x="1522" y="267"/>
                  </a:lnTo>
                  <a:lnTo>
                    <a:pt x="1522" y="269"/>
                  </a:lnTo>
                  <a:lnTo>
                    <a:pt x="1519" y="269"/>
                  </a:lnTo>
                  <a:lnTo>
                    <a:pt x="1517" y="272"/>
                  </a:lnTo>
                  <a:lnTo>
                    <a:pt x="1515" y="274"/>
                  </a:lnTo>
                  <a:lnTo>
                    <a:pt x="1512" y="276"/>
                  </a:lnTo>
                  <a:lnTo>
                    <a:pt x="1510" y="279"/>
                  </a:lnTo>
                  <a:lnTo>
                    <a:pt x="1505" y="281"/>
                  </a:lnTo>
                  <a:lnTo>
                    <a:pt x="1503" y="286"/>
                  </a:lnTo>
                  <a:lnTo>
                    <a:pt x="1498" y="291"/>
                  </a:lnTo>
                  <a:lnTo>
                    <a:pt x="1498" y="291"/>
                  </a:lnTo>
                  <a:lnTo>
                    <a:pt x="1498" y="291"/>
                  </a:lnTo>
                  <a:lnTo>
                    <a:pt x="1503" y="291"/>
                  </a:lnTo>
                  <a:lnTo>
                    <a:pt x="1508" y="291"/>
                  </a:lnTo>
                  <a:lnTo>
                    <a:pt x="1515" y="288"/>
                  </a:lnTo>
                  <a:lnTo>
                    <a:pt x="1522" y="288"/>
                  </a:lnTo>
                  <a:lnTo>
                    <a:pt x="1529" y="286"/>
                  </a:lnTo>
                  <a:lnTo>
                    <a:pt x="1529" y="288"/>
                  </a:lnTo>
                  <a:lnTo>
                    <a:pt x="1529" y="288"/>
                  </a:lnTo>
                  <a:lnTo>
                    <a:pt x="1529" y="288"/>
                  </a:lnTo>
                  <a:lnTo>
                    <a:pt x="1529" y="288"/>
                  </a:lnTo>
                  <a:lnTo>
                    <a:pt x="1529" y="288"/>
                  </a:lnTo>
                  <a:lnTo>
                    <a:pt x="1529" y="288"/>
                  </a:lnTo>
                  <a:lnTo>
                    <a:pt x="1529" y="288"/>
                  </a:lnTo>
                  <a:lnTo>
                    <a:pt x="1529" y="288"/>
                  </a:lnTo>
                  <a:lnTo>
                    <a:pt x="1529" y="291"/>
                  </a:lnTo>
                  <a:lnTo>
                    <a:pt x="1526" y="291"/>
                  </a:lnTo>
                  <a:lnTo>
                    <a:pt x="1522" y="291"/>
                  </a:lnTo>
                  <a:lnTo>
                    <a:pt x="1517" y="291"/>
                  </a:lnTo>
                  <a:lnTo>
                    <a:pt x="1517" y="293"/>
                  </a:lnTo>
                  <a:lnTo>
                    <a:pt x="1515" y="293"/>
                  </a:lnTo>
                  <a:lnTo>
                    <a:pt x="1512" y="295"/>
                  </a:lnTo>
                  <a:lnTo>
                    <a:pt x="1508" y="295"/>
                  </a:lnTo>
                  <a:lnTo>
                    <a:pt x="1505" y="298"/>
                  </a:lnTo>
                  <a:lnTo>
                    <a:pt x="1500" y="298"/>
                  </a:lnTo>
                  <a:lnTo>
                    <a:pt x="1498" y="300"/>
                  </a:lnTo>
                  <a:lnTo>
                    <a:pt x="1493" y="302"/>
                  </a:lnTo>
                  <a:lnTo>
                    <a:pt x="1493" y="302"/>
                  </a:lnTo>
                  <a:lnTo>
                    <a:pt x="1493" y="305"/>
                  </a:lnTo>
                  <a:lnTo>
                    <a:pt x="1493" y="305"/>
                  </a:lnTo>
                  <a:lnTo>
                    <a:pt x="1493" y="307"/>
                  </a:lnTo>
                  <a:lnTo>
                    <a:pt x="1486" y="310"/>
                  </a:lnTo>
                  <a:lnTo>
                    <a:pt x="1481" y="312"/>
                  </a:lnTo>
                  <a:lnTo>
                    <a:pt x="1474" y="314"/>
                  </a:lnTo>
                  <a:lnTo>
                    <a:pt x="1470" y="317"/>
                  </a:lnTo>
                  <a:lnTo>
                    <a:pt x="1465" y="319"/>
                  </a:lnTo>
                  <a:lnTo>
                    <a:pt x="1460" y="321"/>
                  </a:lnTo>
                  <a:lnTo>
                    <a:pt x="1455" y="324"/>
                  </a:lnTo>
                  <a:lnTo>
                    <a:pt x="1451" y="326"/>
                  </a:lnTo>
                  <a:lnTo>
                    <a:pt x="1451" y="328"/>
                  </a:lnTo>
                  <a:lnTo>
                    <a:pt x="1451" y="328"/>
                  </a:lnTo>
                  <a:lnTo>
                    <a:pt x="1453" y="331"/>
                  </a:lnTo>
                  <a:lnTo>
                    <a:pt x="1455" y="336"/>
                  </a:lnTo>
                  <a:lnTo>
                    <a:pt x="1465" y="345"/>
                  </a:lnTo>
                  <a:lnTo>
                    <a:pt x="1472" y="354"/>
                  </a:lnTo>
                  <a:lnTo>
                    <a:pt x="1474" y="354"/>
                  </a:lnTo>
                  <a:lnTo>
                    <a:pt x="1474" y="357"/>
                  </a:lnTo>
                  <a:lnTo>
                    <a:pt x="1479" y="357"/>
                  </a:lnTo>
                  <a:lnTo>
                    <a:pt x="1484" y="359"/>
                  </a:lnTo>
                  <a:lnTo>
                    <a:pt x="1486" y="359"/>
                  </a:lnTo>
                  <a:lnTo>
                    <a:pt x="1484" y="362"/>
                  </a:lnTo>
                  <a:lnTo>
                    <a:pt x="1484" y="362"/>
                  </a:lnTo>
                  <a:lnTo>
                    <a:pt x="1481" y="364"/>
                  </a:lnTo>
                  <a:lnTo>
                    <a:pt x="1481" y="364"/>
                  </a:lnTo>
                  <a:lnTo>
                    <a:pt x="1481" y="364"/>
                  </a:lnTo>
                  <a:lnTo>
                    <a:pt x="1481" y="364"/>
                  </a:lnTo>
                  <a:lnTo>
                    <a:pt x="1484" y="366"/>
                  </a:lnTo>
                  <a:lnTo>
                    <a:pt x="1484" y="366"/>
                  </a:lnTo>
                  <a:lnTo>
                    <a:pt x="1484" y="371"/>
                  </a:lnTo>
                  <a:lnTo>
                    <a:pt x="1484" y="373"/>
                  </a:lnTo>
                  <a:lnTo>
                    <a:pt x="1484" y="373"/>
                  </a:lnTo>
                  <a:lnTo>
                    <a:pt x="1484" y="376"/>
                  </a:lnTo>
                  <a:lnTo>
                    <a:pt x="1486" y="376"/>
                  </a:lnTo>
                  <a:lnTo>
                    <a:pt x="1486" y="378"/>
                  </a:lnTo>
                  <a:lnTo>
                    <a:pt x="1486" y="378"/>
                  </a:lnTo>
                  <a:lnTo>
                    <a:pt x="1486" y="380"/>
                  </a:lnTo>
                  <a:lnTo>
                    <a:pt x="1486" y="380"/>
                  </a:lnTo>
                  <a:lnTo>
                    <a:pt x="1486" y="380"/>
                  </a:lnTo>
                  <a:lnTo>
                    <a:pt x="1491" y="380"/>
                  </a:lnTo>
                  <a:lnTo>
                    <a:pt x="1498" y="385"/>
                  </a:lnTo>
                  <a:lnTo>
                    <a:pt x="1505" y="380"/>
                  </a:lnTo>
                  <a:lnTo>
                    <a:pt x="1505" y="380"/>
                  </a:lnTo>
                  <a:lnTo>
                    <a:pt x="1512" y="378"/>
                  </a:lnTo>
                  <a:lnTo>
                    <a:pt x="1517" y="376"/>
                  </a:lnTo>
                  <a:lnTo>
                    <a:pt x="1515" y="383"/>
                  </a:lnTo>
                  <a:lnTo>
                    <a:pt x="1515" y="383"/>
                  </a:lnTo>
                  <a:lnTo>
                    <a:pt x="1512" y="383"/>
                  </a:lnTo>
                  <a:lnTo>
                    <a:pt x="1508" y="385"/>
                  </a:lnTo>
                  <a:lnTo>
                    <a:pt x="1503" y="388"/>
                  </a:lnTo>
                  <a:lnTo>
                    <a:pt x="1503" y="390"/>
                  </a:lnTo>
                  <a:lnTo>
                    <a:pt x="1503" y="390"/>
                  </a:lnTo>
                  <a:lnTo>
                    <a:pt x="1505" y="390"/>
                  </a:lnTo>
                  <a:lnTo>
                    <a:pt x="1505" y="390"/>
                  </a:lnTo>
                  <a:lnTo>
                    <a:pt x="1505" y="392"/>
                  </a:lnTo>
                  <a:lnTo>
                    <a:pt x="1498" y="390"/>
                  </a:lnTo>
                  <a:lnTo>
                    <a:pt x="1491" y="388"/>
                  </a:lnTo>
                  <a:lnTo>
                    <a:pt x="1489" y="388"/>
                  </a:lnTo>
                  <a:lnTo>
                    <a:pt x="1489" y="392"/>
                  </a:lnTo>
                  <a:lnTo>
                    <a:pt x="1486" y="392"/>
                  </a:lnTo>
                  <a:lnTo>
                    <a:pt x="1484" y="390"/>
                  </a:lnTo>
                  <a:lnTo>
                    <a:pt x="1484" y="390"/>
                  </a:lnTo>
                  <a:lnTo>
                    <a:pt x="1484" y="390"/>
                  </a:lnTo>
                  <a:lnTo>
                    <a:pt x="1486" y="390"/>
                  </a:lnTo>
                  <a:lnTo>
                    <a:pt x="1486" y="390"/>
                  </a:lnTo>
                  <a:lnTo>
                    <a:pt x="1486" y="390"/>
                  </a:lnTo>
                  <a:lnTo>
                    <a:pt x="1486" y="390"/>
                  </a:lnTo>
                  <a:lnTo>
                    <a:pt x="1486" y="390"/>
                  </a:lnTo>
                  <a:lnTo>
                    <a:pt x="1486" y="390"/>
                  </a:lnTo>
                  <a:lnTo>
                    <a:pt x="1486" y="388"/>
                  </a:lnTo>
                  <a:lnTo>
                    <a:pt x="1486" y="385"/>
                  </a:lnTo>
                  <a:lnTo>
                    <a:pt x="1484" y="383"/>
                  </a:lnTo>
                  <a:lnTo>
                    <a:pt x="1481" y="383"/>
                  </a:lnTo>
                  <a:lnTo>
                    <a:pt x="1481" y="383"/>
                  </a:lnTo>
                  <a:lnTo>
                    <a:pt x="1479" y="380"/>
                  </a:lnTo>
                  <a:lnTo>
                    <a:pt x="1479" y="380"/>
                  </a:lnTo>
                  <a:lnTo>
                    <a:pt x="1479" y="378"/>
                  </a:lnTo>
                  <a:lnTo>
                    <a:pt x="1479" y="378"/>
                  </a:lnTo>
                  <a:lnTo>
                    <a:pt x="1479" y="378"/>
                  </a:lnTo>
                  <a:lnTo>
                    <a:pt x="1477" y="376"/>
                  </a:lnTo>
                  <a:lnTo>
                    <a:pt x="1477" y="371"/>
                  </a:lnTo>
                  <a:lnTo>
                    <a:pt x="1474" y="371"/>
                  </a:lnTo>
                  <a:lnTo>
                    <a:pt x="1474" y="369"/>
                  </a:lnTo>
                  <a:lnTo>
                    <a:pt x="1470" y="364"/>
                  </a:lnTo>
                  <a:lnTo>
                    <a:pt x="1465" y="357"/>
                  </a:lnTo>
                  <a:lnTo>
                    <a:pt x="1455" y="352"/>
                  </a:lnTo>
                  <a:lnTo>
                    <a:pt x="1451" y="345"/>
                  </a:lnTo>
                  <a:lnTo>
                    <a:pt x="1441" y="336"/>
                  </a:lnTo>
                  <a:lnTo>
                    <a:pt x="1437" y="336"/>
                  </a:lnTo>
                  <a:lnTo>
                    <a:pt x="1432" y="336"/>
                  </a:lnTo>
                  <a:lnTo>
                    <a:pt x="1427" y="336"/>
                  </a:lnTo>
                  <a:lnTo>
                    <a:pt x="1422" y="338"/>
                  </a:lnTo>
                  <a:lnTo>
                    <a:pt x="1418" y="338"/>
                  </a:lnTo>
                  <a:lnTo>
                    <a:pt x="1411" y="336"/>
                  </a:lnTo>
                  <a:lnTo>
                    <a:pt x="1406" y="333"/>
                  </a:lnTo>
                  <a:lnTo>
                    <a:pt x="1403" y="333"/>
                  </a:lnTo>
                  <a:lnTo>
                    <a:pt x="1399" y="336"/>
                  </a:lnTo>
                  <a:lnTo>
                    <a:pt x="1399" y="336"/>
                  </a:lnTo>
                  <a:lnTo>
                    <a:pt x="1396" y="336"/>
                  </a:lnTo>
                  <a:lnTo>
                    <a:pt x="1396" y="338"/>
                  </a:lnTo>
                  <a:lnTo>
                    <a:pt x="1396" y="338"/>
                  </a:lnTo>
                  <a:lnTo>
                    <a:pt x="1396" y="338"/>
                  </a:lnTo>
                  <a:lnTo>
                    <a:pt x="1396" y="338"/>
                  </a:lnTo>
                  <a:lnTo>
                    <a:pt x="1399" y="338"/>
                  </a:lnTo>
                  <a:lnTo>
                    <a:pt x="1399" y="340"/>
                  </a:lnTo>
                  <a:lnTo>
                    <a:pt x="1399" y="343"/>
                  </a:lnTo>
                  <a:lnTo>
                    <a:pt x="1399" y="343"/>
                  </a:lnTo>
                  <a:lnTo>
                    <a:pt x="1399" y="343"/>
                  </a:lnTo>
                  <a:lnTo>
                    <a:pt x="1399" y="343"/>
                  </a:lnTo>
                  <a:lnTo>
                    <a:pt x="1399" y="345"/>
                  </a:lnTo>
                  <a:lnTo>
                    <a:pt x="1399" y="345"/>
                  </a:lnTo>
                  <a:lnTo>
                    <a:pt x="1399" y="345"/>
                  </a:lnTo>
                  <a:lnTo>
                    <a:pt x="1399" y="347"/>
                  </a:lnTo>
                  <a:lnTo>
                    <a:pt x="1396" y="347"/>
                  </a:lnTo>
                  <a:lnTo>
                    <a:pt x="1396" y="352"/>
                  </a:lnTo>
                  <a:lnTo>
                    <a:pt x="1396" y="354"/>
                  </a:lnTo>
                  <a:lnTo>
                    <a:pt x="1396" y="357"/>
                  </a:lnTo>
                  <a:lnTo>
                    <a:pt x="1399" y="357"/>
                  </a:lnTo>
                  <a:lnTo>
                    <a:pt x="1399" y="359"/>
                  </a:lnTo>
                  <a:lnTo>
                    <a:pt x="1399" y="359"/>
                  </a:lnTo>
                  <a:lnTo>
                    <a:pt x="1399" y="362"/>
                  </a:lnTo>
                  <a:lnTo>
                    <a:pt x="1399" y="362"/>
                  </a:lnTo>
                  <a:lnTo>
                    <a:pt x="1399" y="362"/>
                  </a:lnTo>
                  <a:lnTo>
                    <a:pt x="1399" y="362"/>
                  </a:lnTo>
                  <a:lnTo>
                    <a:pt x="1401" y="364"/>
                  </a:lnTo>
                  <a:lnTo>
                    <a:pt x="1401" y="366"/>
                  </a:lnTo>
                  <a:lnTo>
                    <a:pt x="1411" y="366"/>
                  </a:lnTo>
                  <a:lnTo>
                    <a:pt x="1411" y="366"/>
                  </a:lnTo>
                  <a:lnTo>
                    <a:pt x="1418" y="366"/>
                  </a:lnTo>
                  <a:lnTo>
                    <a:pt x="1420" y="371"/>
                  </a:lnTo>
                  <a:lnTo>
                    <a:pt x="1422" y="371"/>
                  </a:lnTo>
                  <a:lnTo>
                    <a:pt x="1422" y="373"/>
                  </a:lnTo>
                  <a:lnTo>
                    <a:pt x="1422" y="373"/>
                  </a:lnTo>
                  <a:lnTo>
                    <a:pt x="1420" y="373"/>
                  </a:lnTo>
                  <a:lnTo>
                    <a:pt x="1418" y="371"/>
                  </a:lnTo>
                  <a:lnTo>
                    <a:pt x="1413" y="371"/>
                  </a:lnTo>
                  <a:lnTo>
                    <a:pt x="1411" y="369"/>
                  </a:lnTo>
                  <a:lnTo>
                    <a:pt x="1403" y="369"/>
                  </a:lnTo>
                  <a:lnTo>
                    <a:pt x="1403" y="369"/>
                  </a:lnTo>
                  <a:lnTo>
                    <a:pt x="1403" y="371"/>
                  </a:lnTo>
                  <a:lnTo>
                    <a:pt x="1403" y="371"/>
                  </a:lnTo>
                  <a:lnTo>
                    <a:pt x="1403" y="373"/>
                  </a:lnTo>
                  <a:lnTo>
                    <a:pt x="1403" y="376"/>
                  </a:lnTo>
                  <a:lnTo>
                    <a:pt x="1403" y="376"/>
                  </a:lnTo>
                  <a:lnTo>
                    <a:pt x="1403" y="378"/>
                  </a:lnTo>
                  <a:lnTo>
                    <a:pt x="1403" y="378"/>
                  </a:lnTo>
                  <a:lnTo>
                    <a:pt x="1403" y="380"/>
                  </a:lnTo>
                  <a:lnTo>
                    <a:pt x="1403" y="380"/>
                  </a:lnTo>
                  <a:lnTo>
                    <a:pt x="1406" y="383"/>
                  </a:lnTo>
                  <a:lnTo>
                    <a:pt x="1406" y="383"/>
                  </a:lnTo>
                  <a:lnTo>
                    <a:pt x="1403" y="383"/>
                  </a:lnTo>
                  <a:lnTo>
                    <a:pt x="1403" y="383"/>
                  </a:lnTo>
                  <a:lnTo>
                    <a:pt x="1403" y="383"/>
                  </a:lnTo>
                  <a:lnTo>
                    <a:pt x="1403" y="385"/>
                  </a:lnTo>
                  <a:lnTo>
                    <a:pt x="1403" y="388"/>
                  </a:lnTo>
                  <a:lnTo>
                    <a:pt x="1403" y="388"/>
                  </a:lnTo>
                  <a:lnTo>
                    <a:pt x="1403" y="388"/>
                  </a:lnTo>
                  <a:lnTo>
                    <a:pt x="1406" y="390"/>
                  </a:lnTo>
                  <a:lnTo>
                    <a:pt x="1411" y="390"/>
                  </a:lnTo>
                  <a:lnTo>
                    <a:pt x="1415" y="392"/>
                  </a:lnTo>
                  <a:lnTo>
                    <a:pt x="1420" y="392"/>
                  </a:lnTo>
                  <a:lnTo>
                    <a:pt x="1425" y="395"/>
                  </a:lnTo>
                  <a:lnTo>
                    <a:pt x="1427" y="397"/>
                  </a:lnTo>
                  <a:lnTo>
                    <a:pt x="1429" y="399"/>
                  </a:lnTo>
                  <a:lnTo>
                    <a:pt x="1429" y="399"/>
                  </a:lnTo>
                  <a:lnTo>
                    <a:pt x="1429" y="402"/>
                  </a:lnTo>
                  <a:lnTo>
                    <a:pt x="1432" y="402"/>
                  </a:lnTo>
                  <a:lnTo>
                    <a:pt x="1432" y="404"/>
                  </a:lnTo>
                  <a:lnTo>
                    <a:pt x="1432" y="404"/>
                  </a:lnTo>
                  <a:lnTo>
                    <a:pt x="1432" y="404"/>
                  </a:lnTo>
                  <a:lnTo>
                    <a:pt x="1432" y="404"/>
                  </a:lnTo>
                  <a:lnTo>
                    <a:pt x="1432" y="407"/>
                  </a:lnTo>
                  <a:lnTo>
                    <a:pt x="1432" y="407"/>
                  </a:lnTo>
                  <a:lnTo>
                    <a:pt x="1432" y="407"/>
                  </a:lnTo>
                  <a:lnTo>
                    <a:pt x="1434" y="407"/>
                  </a:lnTo>
                  <a:lnTo>
                    <a:pt x="1434" y="409"/>
                  </a:lnTo>
                  <a:lnTo>
                    <a:pt x="1434" y="409"/>
                  </a:lnTo>
                  <a:lnTo>
                    <a:pt x="1434" y="411"/>
                  </a:lnTo>
                  <a:lnTo>
                    <a:pt x="1439" y="414"/>
                  </a:lnTo>
                  <a:lnTo>
                    <a:pt x="1439" y="414"/>
                  </a:lnTo>
                  <a:lnTo>
                    <a:pt x="1441" y="416"/>
                  </a:lnTo>
                  <a:lnTo>
                    <a:pt x="1441" y="416"/>
                  </a:lnTo>
                  <a:lnTo>
                    <a:pt x="1441" y="416"/>
                  </a:lnTo>
                  <a:lnTo>
                    <a:pt x="1441" y="418"/>
                  </a:lnTo>
                  <a:lnTo>
                    <a:pt x="1441" y="418"/>
                  </a:lnTo>
                  <a:lnTo>
                    <a:pt x="1444" y="418"/>
                  </a:lnTo>
                  <a:lnTo>
                    <a:pt x="1444" y="421"/>
                  </a:lnTo>
                  <a:lnTo>
                    <a:pt x="1444" y="421"/>
                  </a:lnTo>
                  <a:lnTo>
                    <a:pt x="1444" y="421"/>
                  </a:lnTo>
                  <a:lnTo>
                    <a:pt x="1444" y="423"/>
                  </a:lnTo>
                  <a:lnTo>
                    <a:pt x="1444" y="425"/>
                  </a:lnTo>
                  <a:lnTo>
                    <a:pt x="1444" y="425"/>
                  </a:lnTo>
                  <a:lnTo>
                    <a:pt x="1444" y="425"/>
                  </a:lnTo>
                  <a:lnTo>
                    <a:pt x="1444" y="428"/>
                  </a:lnTo>
                  <a:lnTo>
                    <a:pt x="1444" y="428"/>
                  </a:lnTo>
                  <a:lnTo>
                    <a:pt x="1444" y="428"/>
                  </a:lnTo>
                  <a:lnTo>
                    <a:pt x="1446" y="428"/>
                  </a:lnTo>
                  <a:lnTo>
                    <a:pt x="1446" y="430"/>
                  </a:lnTo>
                  <a:lnTo>
                    <a:pt x="1446" y="430"/>
                  </a:lnTo>
                  <a:lnTo>
                    <a:pt x="1446" y="430"/>
                  </a:lnTo>
                  <a:lnTo>
                    <a:pt x="1446" y="430"/>
                  </a:lnTo>
                  <a:lnTo>
                    <a:pt x="1446" y="433"/>
                  </a:lnTo>
                  <a:lnTo>
                    <a:pt x="1446" y="433"/>
                  </a:lnTo>
                  <a:lnTo>
                    <a:pt x="1448" y="435"/>
                  </a:lnTo>
                  <a:lnTo>
                    <a:pt x="1448" y="435"/>
                  </a:lnTo>
                  <a:lnTo>
                    <a:pt x="1451" y="437"/>
                  </a:lnTo>
                  <a:lnTo>
                    <a:pt x="1451" y="435"/>
                  </a:lnTo>
                  <a:lnTo>
                    <a:pt x="1453" y="433"/>
                  </a:lnTo>
                  <a:lnTo>
                    <a:pt x="1453" y="433"/>
                  </a:lnTo>
                  <a:lnTo>
                    <a:pt x="1453" y="435"/>
                  </a:lnTo>
                  <a:lnTo>
                    <a:pt x="1453" y="437"/>
                  </a:lnTo>
                  <a:lnTo>
                    <a:pt x="1453" y="437"/>
                  </a:lnTo>
                  <a:lnTo>
                    <a:pt x="1453" y="437"/>
                  </a:lnTo>
                  <a:lnTo>
                    <a:pt x="1453" y="440"/>
                  </a:lnTo>
                  <a:lnTo>
                    <a:pt x="1453" y="440"/>
                  </a:lnTo>
                  <a:lnTo>
                    <a:pt x="1453" y="440"/>
                  </a:lnTo>
                  <a:lnTo>
                    <a:pt x="1453" y="440"/>
                  </a:lnTo>
                  <a:lnTo>
                    <a:pt x="1453" y="440"/>
                  </a:lnTo>
                  <a:lnTo>
                    <a:pt x="1453" y="440"/>
                  </a:lnTo>
                  <a:lnTo>
                    <a:pt x="1453" y="440"/>
                  </a:lnTo>
                  <a:lnTo>
                    <a:pt x="1453" y="440"/>
                  </a:lnTo>
                  <a:lnTo>
                    <a:pt x="1455" y="442"/>
                  </a:lnTo>
                  <a:lnTo>
                    <a:pt x="1455" y="442"/>
                  </a:lnTo>
                  <a:lnTo>
                    <a:pt x="1458" y="444"/>
                  </a:lnTo>
                  <a:lnTo>
                    <a:pt x="1460" y="444"/>
                  </a:lnTo>
                  <a:lnTo>
                    <a:pt x="1460" y="444"/>
                  </a:lnTo>
                  <a:lnTo>
                    <a:pt x="1460" y="444"/>
                  </a:lnTo>
                  <a:lnTo>
                    <a:pt x="1460" y="444"/>
                  </a:lnTo>
                  <a:lnTo>
                    <a:pt x="1463" y="447"/>
                  </a:lnTo>
                  <a:lnTo>
                    <a:pt x="1463" y="447"/>
                  </a:lnTo>
                  <a:lnTo>
                    <a:pt x="1465" y="444"/>
                  </a:lnTo>
                  <a:lnTo>
                    <a:pt x="1465" y="447"/>
                  </a:lnTo>
                  <a:lnTo>
                    <a:pt x="1465" y="447"/>
                  </a:lnTo>
                  <a:lnTo>
                    <a:pt x="1465" y="449"/>
                  </a:lnTo>
                  <a:lnTo>
                    <a:pt x="1460" y="449"/>
                  </a:lnTo>
                  <a:lnTo>
                    <a:pt x="1455" y="449"/>
                  </a:lnTo>
                  <a:lnTo>
                    <a:pt x="1455" y="447"/>
                  </a:lnTo>
                  <a:lnTo>
                    <a:pt x="1455" y="447"/>
                  </a:lnTo>
                  <a:lnTo>
                    <a:pt x="1455" y="447"/>
                  </a:lnTo>
                  <a:lnTo>
                    <a:pt x="1455" y="447"/>
                  </a:lnTo>
                  <a:lnTo>
                    <a:pt x="1455" y="447"/>
                  </a:lnTo>
                  <a:lnTo>
                    <a:pt x="1453" y="447"/>
                  </a:lnTo>
                  <a:lnTo>
                    <a:pt x="1453" y="444"/>
                  </a:lnTo>
                  <a:lnTo>
                    <a:pt x="1453" y="444"/>
                  </a:lnTo>
                  <a:lnTo>
                    <a:pt x="1453" y="444"/>
                  </a:lnTo>
                  <a:lnTo>
                    <a:pt x="1453" y="444"/>
                  </a:lnTo>
                  <a:lnTo>
                    <a:pt x="1453" y="444"/>
                  </a:lnTo>
                  <a:lnTo>
                    <a:pt x="1453" y="444"/>
                  </a:lnTo>
                  <a:lnTo>
                    <a:pt x="1451" y="442"/>
                  </a:lnTo>
                  <a:lnTo>
                    <a:pt x="1448" y="442"/>
                  </a:lnTo>
                  <a:lnTo>
                    <a:pt x="1446" y="440"/>
                  </a:lnTo>
                  <a:lnTo>
                    <a:pt x="1446" y="440"/>
                  </a:lnTo>
                  <a:lnTo>
                    <a:pt x="1444" y="444"/>
                  </a:lnTo>
                  <a:lnTo>
                    <a:pt x="1441" y="447"/>
                  </a:lnTo>
                  <a:lnTo>
                    <a:pt x="1441" y="447"/>
                  </a:lnTo>
                  <a:lnTo>
                    <a:pt x="1441" y="447"/>
                  </a:lnTo>
                  <a:lnTo>
                    <a:pt x="1441" y="449"/>
                  </a:lnTo>
                  <a:lnTo>
                    <a:pt x="1441" y="451"/>
                  </a:lnTo>
                  <a:lnTo>
                    <a:pt x="1446" y="451"/>
                  </a:lnTo>
                  <a:lnTo>
                    <a:pt x="1451" y="456"/>
                  </a:lnTo>
                  <a:lnTo>
                    <a:pt x="1455" y="456"/>
                  </a:lnTo>
                  <a:lnTo>
                    <a:pt x="1463" y="459"/>
                  </a:lnTo>
                  <a:lnTo>
                    <a:pt x="1467" y="456"/>
                  </a:lnTo>
                  <a:lnTo>
                    <a:pt x="1474" y="456"/>
                  </a:lnTo>
                  <a:lnTo>
                    <a:pt x="1481" y="459"/>
                  </a:lnTo>
                  <a:lnTo>
                    <a:pt x="1481" y="459"/>
                  </a:lnTo>
                  <a:lnTo>
                    <a:pt x="1481" y="459"/>
                  </a:lnTo>
                  <a:lnTo>
                    <a:pt x="1489" y="456"/>
                  </a:lnTo>
                  <a:lnTo>
                    <a:pt x="1489" y="454"/>
                  </a:lnTo>
                  <a:lnTo>
                    <a:pt x="1491" y="451"/>
                  </a:lnTo>
                  <a:lnTo>
                    <a:pt x="1491" y="449"/>
                  </a:lnTo>
                  <a:lnTo>
                    <a:pt x="1491" y="449"/>
                  </a:lnTo>
                  <a:lnTo>
                    <a:pt x="1491" y="449"/>
                  </a:lnTo>
                  <a:lnTo>
                    <a:pt x="1491" y="447"/>
                  </a:lnTo>
                  <a:lnTo>
                    <a:pt x="1491" y="444"/>
                  </a:lnTo>
                  <a:lnTo>
                    <a:pt x="1496" y="440"/>
                  </a:lnTo>
                  <a:lnTo>
                    <a:pt x="1496" y="440"/>
                  </a:lnTo>
                  <a:lnTo>
                    <a:pt x="1496" y="440"/>
                  </a:lnTo>
                  <a:lnTo>
                    <a:pt x="1498" y="440"/>
                  </a:lnTo>
                  <a:lnTo>
                    <a:pt x="1498" y="442"/>
                  </a:lnTo>
                  <a:lnTo>
                    <a:pt x="1496" y="447"/>
                  </a:lnTo>
                  <a:lnTo>
                    <a:pt x="1496" y="447"/>
                  </a:lnTo>
                  <a:lnTo>
                    <a:pt x="1496" y="447"/>
                  </a:lnTo>
                  <a:lnTo>
                    <a:pt x="1496" y="447"/>
                  </a:lnTo>
                  <a:lnTo>
                    <a:pt x="1496" y="449"/>
                  </a:lnTo>
                  <a:lnTo>
                    <a:pt x="1496" y="451"/>
                  </a:lnTo>
                  <a:lnTo>
                    <a:pt x="1496" y="454"/>
                  </a:lnTo>
                  <a:lnTo>
                    <a:pt x="1496" y="454"/>
                  </a:lnTo>
                  <a:lnTo>
                    <a:pt x="1496" y="456"/>
                  </a:lnTo>
                  <a:lnTo>
                    <a:pt x="1498" y="456"/>
                  </a:lnTo>
                  <a:lnTo>
                    <a:pt x="1498" y="459"/>
                  </a:lnTo>
                  <a:lnTo>
                    <a:pt x="1498" y="459"/>
                  </a:lnTo>
                  <a:lnTo>
                    <a:pt x="1496" y="459"/>
                  </a:lnTo>
                  <a:lnTo>
                    <a:pt x="1498" y="461"/>
                  </a:lnTo>
                  <a:lnTo>
                    <a:pt x="1496" y="461"/>
                  </a:lnTo>
                  <a:lnTo>
                    <a:pt x="1496" y="461"/>
                  </a:lnTo>
                  <a:lnTo>
                    <a:pt x="1496" y="459"/>
                  </a:lnTo>
                  <a:lnTo>
                    <a:pt x="1496" y="459"/>
                  </a:lnTo>
                  <a:lnTo>
                    <a:pt x="1491" y="459"/>
                  </a:lnTo>
                  <a:lnTo>
                    <a:pt x="1486" y="461"/>
                  </a:lnTo>
                  <a:lnTo>
                    <a:pt x="1486" y="463"/>
                  </a:lnTo>
                  <a:lnTo>
                    <a:pt x="1486" y="463"/>
                  </a:lnTo>
                  <a:lnTo>
                    <a:pt x="1481" y="463"/>
                  </a:lnTo>
                  <a:lnTo>
                    <a:pt x="1474" y="463"/>
                  </a:lnTo>
                  <a:lnTo>
                    <a:pt x="1472" y="463"/>
                  </a:lnTo>
                  <a:lnTo>
                    <a:pt x="1470" y="466"/>
                  </a:lnTo>
                  <a:lnTo>
                    <a:pt x="1470" y="466"/>
                  </a:lnTo>
                  <a:lnTo>
                    <a:pt x="1472" y="468"/>
                  </a:lnTo>
                  <a:lnTo>
                    <a:pt x="1472" y="468"/>
                  </a:lnTo>
                  <a:lnTo>
                    <a:pt x="1472" y="468"/>
                  </a:lnTo>
                  <a:lnTo>
                    <a:pt x="1474" y="468"/>
                  </a:lnTo>
                  <a:lnTo>
                    <a:pt x="1474" y="468"/>
                  </a:lnTo>
                  <a:lnTo>
                    <a:pt x="1474" y="470"/>
                  </a:lnTo>
                  <a:lnTo>
                    <a:pt x="1477" y="470"/>
                  </a:lnTo>
                  <a:lnTo>
                    <a:pt x="1477" y="470"/>
                  </a:lnTo>
                  <a:lnTo>
                    <a:pt x="1477" y="470"/>
                  </a:lnTo>
                  <a:lnTo>
                    <a:pt x="1479" y="473"/>
                  </a:lnTo>
                  <a:lnTo>
                    <a:pt x="1479" y="473"/>
                  </a:lnTo>
                  <a:lnTo>
                    <a:pt x="1489" y="470"/>
                  </a:lnTo>
                  <a:lnTo>
                    <a:pt x="1489" y="470"/>
                  </a:lnTo>
                  <a:lnTo>
                    <a:pt x="1491" y="473"/>
                  </a:lnTo>
                  <a:lnTo>
                    <a:pt x="1489" y="473"/>
                  </a:lnTo>
                  <a:lnTo>
                    <a:pt x="1486" y="473"/>
                  </a:lnTo>
                  <a:lnTo>
                    <a:pt x="1486" y="473"/>
                  </a:lnTo>
                  <a:lnTo>
                    <a:pt x="1486" y="475"/>
                  </a:lnTo>
                  <a:lnTo>
                    <a:pt x="1484" y="475"/>
                  </a:lnTo>
                  <a:lnTo>
                    <a:pt x="1486" y="477"/>
                  </a:lnTo>
                  <a:lnTo>
                    <a:pt x="1491" y="482"/>
                  </a:lnTo>
                  <a:lnTo>
                    <a:pt x="1491" y="485"/>
                  </a:lnTo>
                  <a:lnTo>
                    <a:pt x="1491" y="485"/>
                  </a:lnTo>
                  <a:lnTo>
                    <a:pt x="1491" y="485"/>
                  </a:lnTo>
                  <a:lnTo>
                    <a:pt x="1491" y="485"/>
                  </a:lnTo>
                  <a:lnTo>
                    <a:pt x="1491" y="487"/>
                  </a:lnTo>
                  <a:lnTo>
                    <a:pt x="1489" y="487"/>
                  </a:lnTo>
                  <a:lnTo>
                    <a:pt x="1489" y="485"/>
                  </a:lnTo>
                  <a:lnTo>
                    <a:pt x="1486" y="485"/>
                  </a:lnTo>
                  <a:lnTo>
                    <a:pt x="1486" y="485"/>
                  </a:lnTo>
                  <a:lnTo>
                    <a:pt x="1484" y="482"/>
                  </a:lnTo>
                  <a:lnTo>
                    <a:pt x="1484" y="482"/>
                  </a:lnTo>
                  <a:lnTo>
                    <a:pt x="1484" y="482"/>
                  </a:lnTo>
                  <a:lnTo>
                    <a:pt x="1484" y="482"/>
                  </a:lnTo>
                  <a:lnTo>
                    <a:pt x="1484" y="480"/>
                  </a:lnTo>
                  <a:lnTo>
                    <a:pt x="1484" y="480"/>
                  </a:lnTo>
                  <a:lnTo>
                    <a:pt x="1481" y="480"/>
                  </a:lnTo>
                  <a:lnTo>
                    <a:pt x="1484" y="480"/>
                  </a:lnTo>
                  <a:lnTo>
                    <a:pt x="1481" y="480"/>
                  </a:lnTo>
                  <a:lnTo>
                    <a:pt x="1481" y="477"/>
                  </a:lnTo>
                  <a:lnTo>
                    <a:pt x="1481" y="477"/>
                  </a:lnTo>
                  <a:lnTo>
                    <a:pt x="1474" y="475"/>
                  </a:lnTo>
                  <a:lnTo>
                    <a:pt x="1472" y="473"/>
                  </a:lnTo>
                  <a:lnTo>
                    <a:pt x="1470" y="470"/>
                  </a:lnTo>
                  <a:lnTo>
                    <a:pt x="1465" y="470"/>
                  </a:lnTo>
                  <a:lnTo>
                    <a:pt x="1463" y="466"/>
                  </a:lnTo>
                  <a:lnTo>
                    <a:pt x="1453" y="466"/>
                  </a:lnTo>
                  <a:lnTo>
                    <a:pt x="1446" y="466"/>
                  </a:lnTo>
                  <a:lnTo>
                    <a:pt x="1439" y="463"/>
                  </a:lnTo>
                  <a:lnTo>
                    <a:pt x="1437" y="463"/>
                  </a:lnTo>
                  <a:lnTo>
                    <a:pt x="1437" y="463"/>
                  </a:lnTo>
                  <a:lnTo>
                    <a:pt x="1434" y="463"/>
                  </a:lnTo>
                  <a:lnTo>
                    <a:pt x="1434" y="466"/>
                  </a:lnTo>
                  <a:lnTo>
                    <a:pt x="1432" y="468"/>
                  </a:lnTo>
                  <a:lnTo>
                    <a:pt x="1427" y="473"/>
                  </a:lnTo>
                  <a:lnTo>
                    <a:pt x="1422" y="473"/>
                  </a:lnTo>
                  <a:lnTo>
                    <a:pt x="1415" y="475"/>
                  </a:lnTo>
                  <a:lnTo>
                    <a:pt x="1413" y="475"/>
                  </a:lnTo>
                  <a:lnTo>
                    <a:pt x="1413" y="475"/>
                  </a:lnTo>
                  <a:lnTo>
                    <a:pt x="1413" y="475"/>
                  </a:lnTo>
                  <a:lnTo>
                    <a:pt x="1408" y="485"/>
                  </a:lnTo>
                  <a:lnTo>
                    <a:pt x="1408" y="487"/>
                  </a:lnTo>
                  <a:lnTo>
                    <a:pt x="1408" y="489"/>
                  </a:lnTo>
                  <a:lnTo>
                    <a:pt x="1408" y="492"/>
                  </a:lnTo>
                  <a:lnTo>
                    <a:pt x="1406" y="496"/>
                  </a:lnTo>
                  <a:lnTo>
                    <a:pt x="1406" y="496"/>
                  </a:lnTo>
                  <a:lnTo>
                    <a:pt x="1406" y="499"/>
                  </a:lnTo>
                  <a:lnTo>
                    <a:pt x="1408" y="499"/>
                  </a:lnTo>
                  <a:lnTo>
                    <a:pt x="1411" y="496"/>
                  </a:lnTo>
                  <a:lnTo>
                    <a:pt x="1411" y="499"/>
                  </a:lnTo>
                  <a:lnTo>
                    <a:pt x="1411" y="499"/>
                  </a:lnTo>
                  <a:lnTo>
                    <a:pt x="1411" y="499"/>
                  </a:lnTo>
                  <a:lnTo>
                    <a:pt x="1411" y="499"/>
                  </a:lnTo>
                  <a:lnTo>
                    <a:pt x="1406" y="501"/>
                  </a:lnTo>
                  <a:lnTo>
                    <a:pt x="1401" y="511"/>
                  </a:lnTo>
                  <a:lnTo>
                    <a:pt x="1401" y="511"/>
                  </a:lnTo>
                  <a:lnTo>
                    <a:pt x="1401" y="513"/>
                  </a:lnTo>
                  <a:lnTo>
                    <a:pt x="1401" y="515"/>
                  </a:lnTo>
                  <a:lnTo>
                    <a:pt x="1401" y="515"/>
                  </a:lnTo>
                  <a:lnTo>
                    <a:pt x="1401" y="518"/>
                  </a:lnTo>
                  <a:lnTo>
                    <a:pt x="1401" y="520"/>
                  </a:lnTo>
                  <a:lnTo>
                    <a:pt x="1401" y="522"/>
                  </a:lnTo>
                  <a:lnTo>
                    <a:pt x="1403" y="522"/>
                  </a:lnTo>
                  <a:lnTo>
                    <a:pt x="1403" y="525"/>
                  </a:lnTo>
                  <a:lnTo>
                    <a:pt x="1403" y="525"/>
                  </a:lnTo>
                  <a:lnTo>
                    <a:pt x="1403" y="527"/>
                  </a:lnTo>
                  <a:lnTo>
                    <a:pt x="1403" y="530"/>
                  </a:lnTo>
                  <a:lnTo>
                    <a:pt x="1403" y="530"/>
                  </a:lnTo>
                  <a:lnTo>
                    <a:pt x="1403" y="530"/>
                  </a:lnTo>
                  <a:lnTo>
                    <a:pt x="1406" y="530"/>
                  </a:lnTo>
                  <a:lnTo>
                    <a:pt x="1406" y="527"/>
                  </a:lnTo>
                  <a:lnTo>
                    <a:pt x="1408" y="530"/>
                  </a:lnTo>
                  <a:lnTo>
                    <a:pt x="1411" y="530"/>
                  </a:lnTo>
                  <a:lnTo>
                    <a:pt x="1411" y="530"/>
                  </a:lnTo>
                  <a:lnTo>
                    <a:pt x="1403" y="532"/>
                  </a:lnTo>
                  <a:lnTo>
                    <a:pt x="1403" y="534"/>
                  </a:lnTo>
                  <a:lnTo>
                    <a:pt x="1403" y="537"/>
                  </a:lnTo>
                  <a:lnTo>
                    <a:pt x="1403" y="537"/>
                  </a:lnTo>
                  <a:lnTo>
                    <a:pt x="1403" y="539"/>
                  </a:lnTo>
                  <a:lnTo>
                    <a:pt x="1411" y="537"/>
                  </a:lnTo>
                  <a:lnTo>
                    <a:pt x="1418" y="537"/>
                  </a:lnTo>
                  <a:lnTo>
                    <a:pt x="1418" y="537"/>
                  </a:lnTo>
                  <a:lnTo>
                    <a:pt x="1420" y="532"/>
                  </a:lnTo>
                  <a:lnTo>
                    <a:pt x="1420" y="530"/>
                  </a:lnTo>
                  <a:lnTo>
                    <a:pt x="1420" y="527"/>
                  </a:lnTo>
                  <a:lnTo>
                    <a:pt x="1422" y="527"/>
                  </a:lnTo>
                  <a:lnTo>
                    <a:pt x="1422" y="530"/>
                  </a:lnTo>
                  <a:lnTo>
                    <a:pt x="1425" y="530"/>
                  </a:lnTo>
                  <a:lnTo>
                    <a:pt x="1425" y="530"/>
                  </a:lnTo>
                  <a:lnTo>
                    <a:pt x="1425" y="530"/>
                  </a:lnTo>
                  <a:lnTo>
                    <a:pt x="1427" y="525"/>
                  </a:lnTo>
                  <a:lnTo>
                    <a:pt x="1427" y="525"/>
                  </a:lnTo>
                  <a:lnTo>
                    <a:pt x="1427" y="522"/>
                  </a:lnTo>
                  <a:lnTo>
                    <a:pt x="1427" y="522"/>
                  </a:lnTo>
                  <a:lnTo>
                    <a:pt x="1427" y="520"/>
                  </a:lnTo>
                  <a:lnTo>
                    <a:pt x="1427" y="520"/>
                  </a:lnTo>
                  <a:lnTo>
                    <a:pt x="1427" y="520"/>
                  </a:lnTo>
                  <a:lnTo>
                    <a:pt x="1429" y="518"/>
                  </a:lnTo>
                  <a:lnTo>
                    <a:pt x="1429" y="518"/>
                  </a:lnTo>
                  <a:lnTo>
                    <a:pt x="1429" y="518"/>
                  </a:lnTo>
                  <a:lnTo>
                    <a:pt x="1429" y="518"/>
                  </a:lnTo>
                  <a:lnTo>
                    <a:pt x="1429" y="518"/>
                  </a:lnTo>
                  <a:lnTo>
                    <a:pt x="1429" y="515"/>
                  </a:lnTo>
                  <a:lnTo>
                    <a:pt x="1429" y="515"/>
                  </a:lnTo>
                  <a:lnTo>
                    <a:pt x="1429" y="515"/>
                  </a:lnTo>
                  <a:lnTo>
                    <a:pt x="1429" y="513"/>
                  </a:lnTo>
                  <a:lnTo>
                    <a:pt x="1429" y="513"/>
                  </a:lnTo>
                  <a:lnTo>
                    <a:pt x="1429" y="513"/>
                  </a:lnTo>
                  <a:lnTo>
                    <a:pt x="1429" y="513"/>
                  </a:lnTo>
                  <a:lnTo>
                    <a:pt x="1429" y="513"/>
                  </a:lnTo>
                  <a:lnTo>
                    <a:pt x="1429" y="513"/>
                  </a:lnTo>
                  <a:lnTo>
                    <a:pt x="1432" y="513"/>
                  </a:lnTo>
                  <a:lnTo>
                    <a:pt x="1432" y="513"/>
                  </a:lnTo>
                  <a:lnTo>
                    <a:pt x="1432" y="513"/>
                  </a:lnTo>
                  <a:lnTo>
                    <a:pt x="1432" y="513"/>
                  </a:lnTo>
                  <a:lnTo>
                    <a:pt x="1432" y="515"/>
                  </a:lnTo>
                  <a:lnTo>
                    <a:pt x="1432" y="518"/>
                  </a:lnTo>
                  <a:lnTo>
                    <a:pt x="1432" y="518"/>
                  </a:lnTo>
                  <a:lnTo>
                    <a:pt x="1432" y="520"/>
                  </a:lnTo>
                  <a:lnTo>
                    <a:pt x="1432" y="520"/>
                  </a:lnTo>
                  <a:lnTo>
                    <a:pt x="1432" y="520"/>
                  </a:lnTo>
                  <a:lnTo>
                    <a:pt x="1432" y="520"/>
                  </a:lnTo>
                  <a:lnTo>
                    <a:pt x="1432" y="520"/>
                  </a:lnTo>
                  <a:lnTo>
                    <a:pt x="1432" y="522"/>
                  </a:lnTo>
                  <a:lnTo>
                    <a:pt x="1432" y="522"/>
                  </a:lnTo>
                  <a:lnTo>
                    <a:pt x="1432" y="525"/>
                  </a:lnTo>
                  <a:lnTo>
                    <a:pt x="1432" y="525"/>
                  </a:lnTo>
                  <a:lnTo>
                    <a:pt x="1429" y="527"/>
                  </a:lnTo>
                  <a:lnTo>
                    <a:pt x="1429" y="530"/>
                  </a:lnTo>
                  <a:lnTo>
                    <a:pt x="1429" y="532"/>
                  </a:lnTo>
                  <a:lnTo>
                    <a:pt x="1427" y="532"/>
                  </a:lnTo>
                  <a:lnTo>
                    <a:pt x="1427" y="532"/>
                  </a:lnTo>
                  <a:lnTo>
                    <a:pt x="1427" y="532"/>
                  </a:lnTo>
                  <a:lnTo>
                    <a:pt x="1427" y="534"/>
                  </a:lnTo>
                  <a:lnTo>
                    <a:pt x="1427" y="534"/>
                  </a:lnTo>
                  <a:lnTo>
                    <a:pt x="1427" y="534"/>
                  </a:lnTo>
                  <a:lnTo>
                    <a:pt x="1427" y="534"/>
                  </a:lnTo>
                  <a:lnTo>
                    <a:pt x="1427" y="537"/>
                  </a:lnTo>
                  <a:lnTo>
                    <a:pt x="1427" y="537"/>
                  </a:lnTo>
                  <a:lnTo>
                    <a:pt x="1427" y="539"/>
                  </a:lnTo>
                  <a:lnTo>
                    <a:pt x="1427" y="541"/>
                  </a:lnTo>
                  <a:lnTo>
                    <a:pt x="1427" y="541"/>
                  </a:lnTo>
                  <a:lnTo>
                    <a:pt x="1427" y="541"/>
                  </a:lnTo>
                  <a:lnTo>
                    <a:pt x="1434" y="537"/>
                  </a:lnTo>
                  <a:lnTo>
                    <a:pt x="1441" y="534"/>
                  </a:lnTo>
                  <a:lnTo>
                    <a:pt x="1439" y="534"/>
                  </a:lnTo>
                  <a:lnTo>
                    <a:pt x="1439" y="534"/>
                  </a:lnTo>
                  <a:lnTo>
                    <a:pt x="1439" y="534"/>
                  </a:lnTo>
                  <a:lnTo>
                    <a:pt x="1439" y="537"/>
                  </a:lnTo>
                  <a:lnTo>
                    <a:pt x="1441" y="534"/>
                  </a:lnTo>
                  <a:lnTo>
                    <a:pt x="1441" y="532"/>
                  </a:lnTo>
                  <a:lnTo>
                    <a:pt x="1441" y="532"/>
                  </a:lnTo>
                  <a:lnTo>
                    <a:pt x="1441" y="530"/>
                  </a:lnTo>
                  <a:lnTo>
                    <a:pt x="1444" y="527"/>
                  </a:lnTo>
                  <a:lnTo>
                    <a:pt x="1444" y="525"/>
                  </a:lnTo>
                  <a:lnTo>
                    <a:pt x="1446" y="520"/>
                  </a:lnTo>
                  <a:lnTo>
                    <a:pt x="1446" y="518"/>
                  </a:lnTo>
                  <a:lnTo>
                    <a:pt x="1446" y="518"/>
                  </a:lnTo>
                  <a:lnTo>
                    <a:pt x="1446" y="518"/>
                  </a:lnTo>
                  <a:lnTo>
                    <a:pt x="1446" y="518"/>
                  </a:lnTo>
                  <a:lnTo>
                    <a:pt x="1446" y="518"/>
                  </a:lnTo>
                  <a:lnTo>
                    <a:pt x="1446" y="518"/>
                  </a:lnTo>
                  <a:lnTo>
                    <a:pt x="1446" y="515"/>
                  </a:lnTo>
                  <a:lnTo>
                    <a:pt x="1446" y="515"/>
                  </a:lnTo>
                  <a:lnTo>
                    <a:pt x="1446" y="513"/>
                  </a:lnTo>
                  <a:lnTo>
                    <a:pt x="1446" y="513"/>
                  </a:lnTo>
                  <a:lnTo>
                    <a:pt x="1446" y="513"/>
                  </a:lnTo>
                  <a:lnTo>
                    <a:pt x="1446" y="511"/>
                  </a:lnTo>
                  <a:lnTo>
                    <a:pt x="1446" y="508"/>
                  </a:lnTo>
                  <a:lnTo>
                    <a:pt x="1446" y="508"/>
                  </a:lnTo>
                  <a:lnTo>
                    <a:pt x="1446" y="508"/>
                  </a:lnTo>
                  <a:lnTo>
                    <a:pt x="1446" y="508"/>
                  </a:lnTo>
                  <a:lnTo>
                    <a:pt x="1446" y="508"/>
                  </a:lnTo>
                  <a:lnTo>
                    <a:pt x="1446" y="506"/>
                  </a:lnTo>
                  <a:lnTo>
                    <a:pt x="1446" y="506"/>
                  </a:lnTo>
                  <a:lnTo>
                    <a:pt x="1446" y="506"/>
                  </a:lnTo>
                  <a:lnTo>
                    <a:pt x="1446" y="506"/>
                  </a:lnTo>
                  <a:lnTo>
                    <a:pt x="1446" y="503"/>
                  </a:lnTo>
                  <a:lnTo>
                    <a:pt x="1446" y="503"/>
                  </a:lnTo>
                  <a:lnTo>
                    <a:pt x="1446" y="503"/>
                  </a:lnTo>
                  <a:lnTo>
                    <a:pt x="1446" y="501"/>
                  </a:lnTo>
                  <a:lnTo>
                    <a:pt x="1446" y="499"/>
                  </a:lnTo>
                  <a:lnTo>
                    <a:pt x="1446" y="499"/>
                  </a:lnTo>
                  <a:lnTo>
                    <a:pt x="1446" y="496"/>
                  </a:lnTo>
                  <a:lnTo>
                    <a:pt x="1448" y="494"/>
                  </a:lnTo>
                  <a:lnTo>
                    <a:pt x="1448" y="492"/>
                  </a:lnTo>
                  <a:lnTo>
                    <a:pt x="1448" y="489"/>
                  </a:lnTo>
                  <a:lnTo>
                    <a:pt x="1451" y="492"/>
                  </a:lnTo>
                  <a:lnTo>
                    <a:pt x="1451" y="492"/>
                  </a:lnTo>
                  <a:lnTo>
                    <a:pt x="1448" y="492"/>
                  </a:lnTo>
                  <a:lnTo>
                    <a:pt x="1448" y="496"/>
                  </a:lnTo>
                  <a:lnTo>
                    <a:pt x="1448" y="499"/>
                  </a:lnTo>
                  <a:lnTo>
                    <a:pt x="1448" y="501"/>
                  </a:lnTo>
                  <a:lnTo>
                    <a:pt x="1448" y="501"/>
                  </a:lnTo>
                  <a:lnTo>
                    <a:pt x="1448" y="501"/>
                  </a:lnTo>
                  <a:lnTo>
                    <a:pt x="1448" y="503"/>
                  </a:lnTo>
                  <a:lnTo>
                    <a:pt x="1448" y="506"/>
                  </a:lnTo>
                  <a:lnTo>
                    <a:pt x="1448" y="508"/>
                  </a:lnTo>
                  <a:lnTo>
                    <a:pt x="1448" y="508"/>
                  </a:lnTo>
                  <a:lnTo>
                    <a:pt x="1448" y="511"/>
                  </a:lnTo>
                  <a:lnTo>
                    <a:pt x="1448" y="511"/>
                  </a:lnTo>
                  <a:lnTo>
                    <a:pt x="1448" y="511"/>
                  </a:lnTo>
                  <a:lnTo>
                    <a:pt x="1448" y="511"/>
                  </a:lnTo>
                  <a:lnTo>
                    <a:pt x="1448" y="511"/>
                  </a:lnTo>
                  <a:lnTo>
                    <a:pt x="1448" y="511"/>
                  </a:lnTo>
                  <a:lnTo>
                    <a:pt x="1451" y="513"/>
                  </a:lnTo>
                  <a:lnTo>
                    <a:pt x="1451" y="513"/>
                  </a:lnTo>
                  <a:lnTo>
                    <a:pt x="1451" y="513"/>
                  </a:lnTo>
                  <a:lnTo>
                    <a:pt x="1451" y="513"/>
                  </a:lnTo>
                  <a:lnTo>
                    <a:pt x="1453" y="511"/>
                  </a:lnTo>
                  <a:lnTo>
                    <a:pt x="1453" y="511"/>
                  </a:lnTo>
                  <a:lnTo>
                    <a:pt x="1453" y="511"/>
                  </a:lnTo>
                  <a:lnTo>
                    <a:pt x="1453" y="511"/>
                  </a:lnTo>
                  <a:lnTo>
                    <a:pt x="1453" y="511"/>
                  </a:lnTo>
                  <a:lnTo>
                    <a:pt x="1453" y="511"/>
                  </a:lnTo>
                  <a:lnTo>
                    <a:pt x="1453" y="513"/>
                  </a:lnTo>
                  <a:lnTo>
                    <a:pt x="1451" y="515"/>
                  </a:lnTo>
                  <a:lnTo>
                    <a:pt x="1448" y="515"/>
                  </a:lnTo>
                  <a:lnTo>
                    <a:pt x="1448" y="518"/>
                  </a:lnTo>
                  <a:lnTo>
                    <a:pt x="1448" y="520"/>
                  </a:lnTo>
                  <a:lnTo>
                    <a:pt x="1448" y="520"/>
                  </a:lnTo>
                  <a:lnTo>
                    <a:pt x="1448" y="522"/>
                  </a:lnTo>
                  <a:lnTo>
                    <a:pt x="1448" y="525"/>
                  </a:lnTo>
                  <a:lnTo>
                    <a:pt x="1448" y="525"/>
                  </a:lnTo>
                  <a:lnTo>
                    <a:pt x="1451" y="525"/>
                  </a:lnTo>
                  <a:lnTo>
                    <a:pt x="1453" y="525"/>
                  </a:lnTo>
                  <a:lnTo>
                    <a:pt x="1458" y="522"/>
                  </a:lnTo>
                  <a:lnTo>
                    <a:pt x="1463" y="525"/>
                  </a:lnTo>
                  <a:lnTo>
                    <a:pt x="1465" y="525"/>
                  </a:lnTo>
                  <a:lnTo>
                    <a:pt x="1465" y="525"/>
                  </a:lnTo>
                  <a:lnTo>
                    <a:pt x="1463" y="527"/>
                  </a:lnTo>
                  <a:lnTo>
                    <a:pt x="1458" y="525"/>
                  </a:lnTo>
                  <a:lnTo>
                    <a:pt x="1455" y="525"/>
                  </a:lnTo>
                  <a:lnTo>
                    <a:pt x="1451" y="530"/>
                  </a:lnTo>
                  <a:lnTo>
                    <a:pt x="1448" y="527"/>
                  </a:lnTo>
                  <a:lnTo>
                    <a:pt x="1448" y="530"/>
                  </a:lnTo>
                  <a:lnTo>
                    <a:pt x="1448" y="530"/>
                  </a:lnTo>
                  <a:lnTo>
                    <a:pt x="1448" y="530"/>
                  </a:lnTo>
                  <a:lnTo>
                    <a:pt x="1448" y="530"/>
                  </a:lnTo>
                  <a:lnTo>
                    <a:pt x="1448" y="530"/>
                  </a:lnTo>
                  <a:lnTo>
                    <a:pt x="1448" y="532"/>
                  </a:lnTo>
                  <a:lnTo>
                    <a:pt x="1448" y="534"/>
                  </a:lnTo>
                  <a:lnTo>
                    <a:pt x="1453" y="539"/>
                  </a:lnTo>
                  <a:lnTo>
                    <a:pt x="1455" y="537"/>
                  </a:lnTo>
                  <a:lnTo>
                    <a:pt x="1458" y="537"/>
                  </a:lnTo>
                  <a:lnTo>
                    <a:pt x="1463" y="534"/>
                  </a:lnTo>
                  <a:lnTo>
                    <a:pt x="1463" y="537"/>
                  </a:lnTo>
                  <a:lnTo>
                    <a:pt x="1458" y="537"/>
                  </a:lnTo>
                  <a:lnTo>
                    <a:pt x="1458" y="537"/>
                  </a:lnTo>
                  <a:lnTo>
                    <a:pt x="1455" y="539"/>
                  </a:lnTo>
                  <a:lnTo>
                    <a:pt x="1455" y="539"/>
                  </a:lnTo>
                  <a:lnTo>
                    <a:pt x="1451" y="539"/>
                  </a:lnTo>
                  <a:lnTo>
                    <a:pt x="1448" y="539"/>
                  </a:lnTo>
                  <a:lnTo>
                    <a:pt x="1448" y="539"/>
                  </a:lnTo>
                  <a:lnTo>
                    <a:pt x="1444" y="544"/>
                  </a:lnTo>
                  <a:lnTo>
                    <a:pt x="1439" y="548"/>
                  </a:lnTo>
                  <a:lnTo>
                    <a:pt x="1439" y="551"/>
                  </a:lnTo>
                  <a:lnTo>
                    <a:pt x="1439" y="553"/>
                  </a:lnTo>
                  <a:lnTo>
                    <a:pt x="1444" y="553"/>
                  </a:lnTo>
                  <a:lnTo>
                    <a:pt x="1441" y="553"/>
                  </a:lnTo>
                  <a:lnTo>
                    <a:pt x="1441" y="553"/>
                  </a:lnTo>
                  <a:lnTo>
                    <a:pt x="1441" y="553"/>
                  </a:lnTo>
                  <a:lnTo>
                    <a:pt x="1444" y="556"/>
                  </a:lnTo>
                  <a:lnTo>
                    <a:pt x="1444" y="556"/>
                  </a:lnTo>
                  <a:lnTo>
                    <a:pt x="1444" y="556"/>
                  </a:lnTo>
                  <a:lnTo>
                    <a:pt x="1446" y="553"/>
                  </a:lnTo>
                  <a:lnTo>
                    <a:pt x="1446" y="551"/>
                  </a:lnTo>
                  <a:lnTo>
                    <a:pt x="1453" y="551"/>
                  </a:lnTo>
                  <a:lnTo>
                    <a:pt x="1460" y="548"/>
                  </a:lnTo>
                  <a:lnTo>
                    <a:pt x="1465" y="551"/>
                  </a:lnTo>
                  <a:lnTo>
                    <a:pt x="1463" y="551"/>
                  </a:lnTo>
                  <a:lnTo>
                    <a:pt x="1458" y="551"/>
                  </a:lnTo>
                  <a:lnTo>
                    <a:pt x="1453" y="558"/>
                  </a:lnTo>
                  <a:lnTo>
                    <a:pt x="1453" y="558"/>
                  </a:lnTo>
                  <a:lnTo>
                    <a:pt x="1453" y="556"/>
                  </a:lnTo>
                  <a:lnTo>
                    <a:pt x="1455" y="553"/>
                  </a:lnTo>
                  <a:lnTo>
                    <a:pt x="1455" y="553"/>
                  </a:lnTo>
                  <a:lnTo>
                    <a:pt x="1453" y="551"/>
                  </a:lnTo>
                  <a:lnTo>
                    <a:pt x="1453" y="553"/>
                  </a:lnTo>
                  <a:lnTo>
                    <a:pt x="1453" y="553"/>
                  </a:lnTo>
                  <a:lnTo>
                    <a:pt x="1451" y="553"/>
                  </a:lnTo>
                  <a:lnTo>
                    <a:pt x="1448" y="553"/>
                  </a:lnTo>
                  <a:lnTo>
                    <a:pt x="1446" y="553"/>
                  </a:lnTo>
                  <a:lnTo>
                    <a:pt x="1446" y="556"/>
                  </a:lnTo>
                  <a:lnTo>
                    <a:pt x="1446" y="558"/>
                  </a:lnTo>
                  <a:lnTo>
                    <a:pt x="1446" y="558"/>
                  </a:lnTo>
                  <a:lnTo>
                    <a:pt x="1446" y="560"/>
                  </a:lnTo>
                  <a:lnTo>
                    <a:pt x="1446" y="560"/>
                  </a:lnTo>
                  <a:lnTo>
                    <a:pt x="1446" y="560"/>
                  </a:lnTo>
                  <a:lnTo>
                    <a:pt x="1448" y="560"/>
                  </a:lnTo>
                  <a:lnTo>
                    <a:pt x="1451" y="560"/>
                  </a:lnTo>
                  <a:lnTo>
                    <a:pt x="1451" y="560"/>
                  </a:lnTo>
                  <a:lnTo>
                    <a:pt x="1451" y="558"/>
                  </a:lnTo>
                  <a:lnTo>
                    <a:pt x="1453" y="558"/>
                  </a:lnTo>
                  <a:lnTo>
                    <a:pt x="1453" y="558"/>
                  </a:lnTo>
                  <a:lnTo>
                    <a:pt x="1453" y="558"/>
                  </a:lnTo>
                  <a:lnTo>
                    <a:pt x="1453" y="558"/>
                  </a:lnTo>
                  <a:lnTo>
                    <a:pt x="1451" y="560"/>
                  </a:lnTo>
                  <a:lnTo>
                    <a:pt x="1451" y="560"/>
                  </a:lnTo>
                  <a:lnTo>
                    <a:pt x="1448" y="560"/>
                  </a:lnTo>
                  <a:lnTo>
                    <a:pt x="1448" y="563"/>
                  </a:lnTo>
                  <a:lnTo>
                    <a:pt x="1448" y="563"/>
                  </a:lnTo>
                  <a:lnTo>
                    <a:pt x="1448" y="565"/>
                  </a:lnTo>
                  <a:lnTo>
                    <a:pt x="1446" y="567"/>
                  </a:lnTo>
                  <a:lnTo>
                    <a:pt x="1448" y="567"/>
                  </a:lnTo>
                  <a:lnTo>
                    <a:pt x="1448" y="570"/>
                  </a:lnTo>
                  <a:lnTo>
                    <a:pt x="1448" y="570"/>
                  </a:lnTo>
                  <a:lnTo>
                    <a:pt x="1448" y="572"/>
                  </a:lnTo>
                  <a:lnTo>
                    <a:pt x="1448" y="572"/>
                  </a:lnTo>
                  <a:lnTo>
                    <a:pt x="1448" y="574"/>
                  </a:lnTo>
                  <a:lnTo>
                    <a:pt x="1455" y="577"/>
                  </a:lnTo>
                  <a:lnTo>
                    <a:pt x="1455" y="577"/>
                  </a:lnTo>
                  <a:lnTo>
                    <a:pt x="1455" y="577"/>
                  </a:lnTo>
                  <a:lnTo>
                    <a:pt x="1460" y="574"/>
                  </a:lnTo>
                  <a:lnTo>
                    <a:pt x="1460" y="572"/>
                  </a:lnTo>
                  <a:lnTo>
                    <a:pt x="1463" y="570"/>
                  </a:lnTo>
                  <a:lnTo>
                    <a:pt x="1463" y="567"/>
                  </a:lnTo>
                  <a:lnTo>
                    <a:pt x="1463" y="567"/>
                  </a:lnTo>
                  <a:lnTo>
                    <a:pt x="1463" y="567"/>
                  </a:lnTo>
                  <a:lnTo>
                    <a:pt x="1463" y="567"/>
                  </a:lnTo>
                  <a:lnTo>
                    <a:pt x="1463" y="565"/>
                  </a:lnTo>
                  <a:lnTo>
                    <a:pt x="1463" y="565"/>
                  </a:lnTo>
                  <a:lnTo>
                    <a:pt x="1463" y="563"/>
                  </a:lnTo>
                  <a:lnTo>
                    <a:pt x="1463" y="563"/>
                  </a:lnTo>
                  <a:lnTo>
                    <a:pt x="1463" y="563"/>
                  </a:lnTo>
                  <a:lnTo>
                    <a:pt x="1463" y="563"/>
                  </a:lnTo>
                  <a:lnTo>
                    <a:pt x="1463" y="563"/>
                  </a:lnTo>
                  <a:lnTo>
                    <a:pt x="1463" y="563"/>
                  </a:lnTo>
                  <a:lnTo>
                    <a:pt x="1463" y="563"/>
                  </a:lnTo>
                  <a:lnTo>
                    <a:pt x="1463" y="563"/>
                  </a:lnTo>
                  <a:lnTo>
                    <a:pt x="1463" y="563"/>
                  </a:lnTo>
                  <a:lnTo>
                    <a:pt x="1463" y="563"/>
                  </a:lnTo>
                  <a:lnTo>
                    <a:pt x="1463" y="563"/>
                  </a:lnTo>
                  <a:lnTo>
                    <a:pt x="1463" y="563"/>
                  </a:lnTo>
                  <a:lnTo>
                    <a:pt x="1463" y="565"/>
                  </a:lnTo>
                  <a:lnTo>
                    <a:pt x="1463" y="565"/>
                  </a:lnTo>
                  <a:lnTo>
                    <a:pt x="1465" y="565"/>
                  </a:lnTo>
                  <a:lnTo>
                    <a:pt x="1465" y="565"/>
                  </a:lnTo>
                  <a:lnTo>
                    <a:pt x="1463" y="570"/>
                  </a:lnTo>
                  <a:lnTo>
                    <a:pt x="1463" y="570"/>
                  </a:lnTo>
                  <a:lnTo>
                    <a:pt x="1463" y="572"/>
                  </a:lnTo>
                  <a:lnTo>
                    <a:pt x="1463" y="574"/>
                  </a:lnTo>
                  <a:lnTo>
                    <a:pt x="1460" y="574"/>
                  </a:lnTo>
                  <a:lnTo>
                    <a:pt x="1458" y="579"/>
                  </a:lnTo>
                  <a:lnTo>
                    <a:pt x="1458" y="579"/>
                  </a:lnTo>
                  <a:lnTo>
                    <a:pt x="1458" y="579"/>
                  </a:lnTo>
                  <a:lnTo>
                    <a:pt x="1458" y="582"/>
                  </a:lnTo>
                  <a:lnTo>
                    <a:pt x="1458" y="582"/>
                  </a:lnTo>
                  <a:lnTo>
                    <a:pt x="1458" y="582"/>
                  </a:lnTo>
                  <a:lnTo>
                    <a:pt x="1460" y="584"/>
                  </a:lnTo>
                  <a:lnTo>
                    <a:pt x="1460" y="584"/>
                  </a:lnTo>
                  <a:lnTo>
                    <a:pt x="1467" y="582"/>
                  </a:lnTo>
                  <a:lnTo>
                    <a:pt x="1472" y="584"/>
                  </a:lnTo>
                  <a:lnTo>
                    <a:pt x="1477" y="582"/>
                  </a:lnTo>
                  <a:lnTo>
                    <a:pt x="1477" y="582"/>
                  </a:lnTo>
                  <a:lnTo>
                    <a:pt x="1477" y="584"/>
                  </a:lnTo>
                  <a:lnTo>
                    <a:pt x="1477" y="584"/>
                  </a:lnTo>
                  <a:lnTo>
                    <a:pt x="1477" y="584"/>
                  </a:lnTo>
                  <a:lnTo>
                    <a:pt x="1479" y="579"/>
                  </a:lnTo>
                  <a:lnTo>
                    <a:pt x="1484" y="572"/>
                  </a:lnTo>
                  <a:lnTo>
                    <a:pt x="1484" y="572"/>
                  </a:lnTo>
                  <a:lnTo>
                    <a:pt x="1484" y="567"/>
                  </a:lnTo>
                  <a:lnTo>
                    <a:pt x="1486" y="565"/>
                  </a:lnTo>
                  <a:lnTo>
                    <a:pt x="1486" y="563"/>
                  </a:lnTo>
                  <a:lnTo>
                    <a:pt x="1486" y="563"/>
                  </a:lnTo>
                  <a:lnTo>
                    <a:pt x="1486" y="558"/>
                  </a:lnTo>
                  <a:lnTo>
                    <a:pt x="1486" y="556"/>
                  </a:lnTo>
                  <a:lnTo>
                    <a:pt x="1489" y="556"/>
                  </a:lnTo>
                  <a:lnTo>
                    <a:pt x="1489" y="553"/>
                  </a:lnTo>
                  <a:lnTo>
                    <a:pt x="1489" y="553"/>
                  </a:lnTo>
                  <a:lnTo>
                    <a:pt x="1489" y="553"/>
                  </a:lnTo>
                  <a:lnTo>
                    <a:pt x="1489" y="551"/>
                  </a:lnTo>
                  <a:lnTo>
                    <a:pt x="1489" y="551"/>
                  </a:lnTo>
                  <a:lnTo>
                    <a:pt x="1489" y="551"/>
                  </a:lnTo>
                  <a:lnTo>
                    <a:pt x="1489" y="548"/>
                  </a:lnTo>
                  <a:lnTo>
                    <a:pt x="1489" y="548"/>
                  </a:lnTo>
                  <a:lnTo>
                    <a:pt x="1491" y="544"/>
                  </a:lnTo>
                  <a:lnTo>
                    <a:pt x="1491" y="544"/>
                  </a:lnTo>
                  <a:lnTo>
                    <a:pt x="1491" y="541"/>
                  </a:lnTo>
                  <a:lnTo>
                    <a:pt x="1491" y="541"/>
                  </a:lnTo>
                  <a:lnTo>
                    <a:pt x="1491" y="539"/>
                  </a:lnTo>
                  <a:lnTo>
                    <a:pt x="1491" y="537"/>
                  </a:lnTo>
                  <a:lnTo>
                    <a:pt x="1491" y="534"/>
                  </a:lnTo>
                  <a:lnTo>
                    <a:pt x="1491" y="532"/>
                  </a:lnTo>
                  <a:lnTo>
                    <a:pt x="1493" y="530"/>
                  </a:lnTo>
                  <a:lnTo>
                    <a:pt x="1498" y="530"/>
                  </a:lnTo>
                  <a:lnTo>
                    <a:pt x="1498" y="530"/>
                  </a:lnTo>
                  <a:lnTo>
                    <a:pt x="1498" y="532"/>
                  </a:lnTo>
                  <a:lnTo>
                    <a:pt x="1498" y="532"/>
                  </a:lnTo>
                  <a:lnTo>
                    <a:pt x="1498" y="532"/>
                  </a:lnTo>
                  <a:lnTo>
                    <a:pt x="1496" y="532"/>
                  </a:lnTo>
                  <a:lnTo>
                    <a:pt x="1493" y="534"/>
                  </a:lnTo>
                  <a:lnTo>
                    <a:pt x="1493" y="534"/>
                  </a:lnTo>
                  <a:lnTo>
                    <a:pt x="1493" y="537"/>
                  </a:lnTo>
                  <a:lnTo>
                    <a:pt x="1496" y="537"/>
                  </a:lnTo>
                  <a:lnTo>
                    <a:pt x="1496" y="539"/>
                  </a:lnTo>
                  <a:lnTo>
                    <a:pt x="1496" y="539"/>
                  </a:lnTo>
                  <a:lnTo>
                    <a:pt x="1493" y="539"/>
                  </a:lnTo>
                  <a:lnTo>
                    <a:pt x="1496" y="539"/>
                  </a:lnTo>
                  <a:lnTo>
                    <a:pt x="1496" y="539"/>
                  </a:lnTo>
                  <a:lnTo>
                    <a:pt x="1496" y="541"/>
                  </a:lnTo>
                  <a:lnTo>
                    <a:pt x="1496" y="541"/>
                  </a:lnTo>
                  <a:lnTo>
                    <a:pt x="1496" y="541"/>
                  </a:lnTo>
                  <a:lnTo>
                    <a:pt x="1496" y="541"/>
                  </a:lnTo>
                  <a:lnTo>
                    <a:pt x="1496" y="544"/>
                  </a:lnTo>
                  <a:lnTo>
                    <a:pt x="1493" y="546"/>
                  </a:lnTo>
                  <a:lnTo>
                    <a:pt x="1493" y="546"/>
                  </a:lnTo>
                  <a:lnTo>
                    <a:pt x="1493" y="546"/>
                  </a:lnTo>
                  <a:lnTo>
                    <a:pt x="1496" y="548"/>
                  </a:lnTo>
                  <a:lnTo>
                    <a:pt x="1496" y="548"/>
                  </a:lnTo>
                  <a:lnTo>
                    <a:pt x="1493" y="551"/>
                  </a:lnTo>
                  <a:lnTo>
                    <a:pt x="1493" y="553"/>
                  </a:lnTo>
                  <a:lnTo>
                    <a:pt x="1493" y="556"/>
                  </a:lnTo>
                  <a:lnTo>
                    <a:pt x="1493" y="556"/>
                  </a:lnTo>
                  <a:lnTo>
                    <a:pt x="1493" y="556"/>
                  </a:lnTo>
                  <a:lnTo>
                    <a:pt x="1493" y="560"/>
                  </a:lnTo>
                  <a:lnTo>
                    <a:pt x="1491" y="563"/>
                  </a:lnTo>
                  <a:lnTo>
                    <a:pt x="1491" y="563"/>
                  </a:lnTo>
                  <a:lnTo>
                    <a:pt x="1491" y="563"/>
                  </a:lnTo>
                  <a:lnTo>
                    <a:pt x="1491" y="565"/>
                  </a:lnTo>
                  <a:lnTo>
                    <a:pt x="1491" y="565"/>
                  </a:lnTo>
                  <a:lnTo>
                    <a:pt x="1491" y="565"/>
                  </a:lnTo>
                  <a:lnTo>
                    <a:pt x="1491" y="567"/>
                  </a:lnTo>
                  <a:lnTo>
                    <a:pt x="1486" y="577"/>
                  </a:lnTo>
                  <a:lnTo>
                    <a:pt x="1486" y="577"/>
                  </a:lnTo>
                  <a:lnTo>
                    <a:pt x="1486" y="577"/>
                  </a:lnTo>
                  <a:lnTo>
                    <a:pt x="1486" y="579"/>
                  </a:lnTo>
                  <a:lnTo>
                    <a:pt x="1486" y="582"/>
                  </a:lnTo>
                  <a:lnTo>
                    <a:pt x="1486" y="582"/>
                  </a:lnTo>
                  <a:lnTo>
                    <a:pt x="1486" y="582"/>
                  </a:lnTo>
                  <a:lnTo>
                    <a:pt x="1484" y="582"/>
                  </a:lnTo>
                  <a:lnTo>
                    <a:pt x="1484" y="584"/>
                  </a:lnTo>
                  <a:lnTo>
                    <a:pt x="1481" y="584"/>
                  </a:lnTo>
                  <a:lnTo>
                    <a:pt x="1479" y="586"/>
                  </a:lnTo>
                  <a:lnTo>
                    <a:pt x="1479" y="586"/>
                  </a:lnTo>
                  <a:lnTo>
                    <a:pt x="1479" y="589"/>
                  </a:lnTo>
                  <a:lnTo>
                    <a:pt x="1486" y="591"/>
                  </a:lnTo>
                  <a:lnTo>
                    <a:pt x="1486" y="591"/>
                  </a:lnTo>
                  <a:lnTo>
                    <a:pt x="1486" y="593"/>
                  </a:lnTo>
                  <a:lnTo>
                    <a:pt x="1486" y="596"/>
                  </a:lnTo>
                  <a:lnTo>
                    <a:pt x="1481" y="593"/>
                  </a:lnTo>
                  <a:lnTo>
                    <a:pt x="1474" y="591"/>
                  </a:lnTo>
                  <a:lnTo>
                    <a:pt x="1470" y="593"/>
                  </a:lnTo>
                  <a:lnTo>
                    <a:pt x="1467" y="593"/>
                  </a:lnTo>
                  <a:lnTo>
                    <a:pt x="1465" y="593"/>
                  </a:lnTo>
                  <a:lnTo>
                    <a:pt x="1465" y="596"/>
                  </a:lnTo>
                  <a:lnTo>
                    <a:pt x="1465" y="596"/>
                  </a:lnTo>
                  <a:lnTo>
                    <a:pt x="1465" y="596"/>
                  </a:lnTo>
                  <a:lnTo>
                    <a:pt x="1465" y="596"/>
                  </a:lnTo>
                  <a:lnTo>
                    <a:pt x="1465" y="598"/>
                  </a:lnTo>
                  <a:lnTo>
                    <a:pt x="1467" y="598"/>
                  </a:lnTo>
                  <a:lnTo>
                    <a:pt x="1467" y="600"/>
                  </a:lnTo>
                  <a:lnTo>
                    <a:pt x="1467" y="603"/>
                  </a:lnTo>
                  <a:lnTo>
                    <a:pt x="1463" y="600"/>
                  </a:lnTo>
                  <a:lnTo>
                    <a:pt x="1458" y="596"/>
                  </a:lnTo>
                  <a:lnTo>
                    <a:pt x="1458" y="596"/>
                  </a:lnTo>
                  <a:lnTo>
                    <a:pt x="1451" y="596"/>
                  </a:lnTo>
                  <a:lnTo>
                    <a:pt x="1448" y="596"/>
                  </a:lnTo>
                  <a:lnTo>
                    <a:pt x="1448" y="593"/>
                  </a:lnTo>
                  <a:lnTo>
                    <a:pt x="1448" y="593"/>
                  </a:lnTo>
                  <a:lnTo>
                    <a:pt x="1448" y="593"/>
                  </a:lnTo>
                  <a:lnTo>
                    <a:pt x="1448" y="593"/>
                  </a:lnTo>
                  <a:lnTo>
                    <a:pt x="1446" y="593"/>
                  </a:lnTo>
                  <a:lnTo>
                    <a:pt x="1446" y="591"/>
                  </a:lnTo>
                  <a:lnTo>
                    <a:pt x="1446" y="591"/>
                  </a:lnTo>
                  <a:lnTo>
                    <a:pt x="1448" y="591"/>
                  </a:lnTo>
                  <a:lnTo>
                    <a:pt x="1448" y="591"/>
                  </a:lnTo>
                  <a:lnTo>
                    <a:pt x="1448" y="591"/>
                  </a:lnTo>
                  <a:lnTo>
                    <a:pt x="1448" y="591"/>
                  </a:lnTo>
                  <a:lnTo>
                    <a:pt x="1448" y="589"/>
                  </a:lnTo>
                  <a:lnTo>
                    <a:pt x="1446" y="589"/>
                  </a:lnTo>
                  <a:lnTo>
                    <a:pt x="1446" y="589"/>
                  </a:lnTo>
                  <a:lnTo>
                    <a:pt x="1446" y="589"/>
                  </a:lnTo>
                  <a:lnTo>
                    <a:pt x="1446" y="591"/>
                  </a:lnTo>
                  <a:lnTo>
                    <a:pt x="1446" y="591"/>
                  </a:lnTo>
                  <a:lnTo>
                    <a:pt x="1446" y="591"/>
                  </a:lnTo>
                  <a:lnTo>
                    <a:pt x="1446" y="591"/>
                  </a:lnTo>
                  <a:lnTo>
                    <a:pt x="1446" y="591"/>
                  </a:lnTo>
                  <a:lnTo>
                    <a:pt x="1444" y="593"/>
                  </a:lnTo>
                  <a:lnTo>
                    <a:pt x="1441" y="596"/>
                  </a:lnTo>
                  <a:lnTo>
                    <a:pt x="1444" y="591"/>
                  </a:lnTo>
                  <a:lnTo>
                    <a:pt x="1444" y="591"/>
                  </a:lnTo>
                  <a:lnTo>
                    <a:pt x="1444" y="589"/>
                  </a:lnTo>
                  <a:lnTo>
                    <a:pt x="1441" y="589"/>
                  </a:lnTo>
                  <a:lnTo>
                    <a:pt x="1441" y="586"/>
                  </a:lnTo>
                  <a:lnTo>
                    <a:pt x="1441" y="586"/>
                  </a:lnTo>
                  <a:lnTo>
                    <a:pt x="1439" y="582"/>
                  </a:lnTo>
                  <a:lnTo>
                    <a:pt x="1439" y="582"/>
                  </a:lnTo>
                  <a:lnTo>
                    <a:pt x="1439" y="582"/>
                  </a:lnTo>
                  <a:lnTo>
                    <a:pt x="1439" y="582"/>
                  </a:lnTo>
                  <a:lnTo>
                    <a:pt x="1439" y="579"/>
                  </a:lnTo>
                  <a:lnTo>
                    <a:pt x="1439" y="579"/>
                  </a:lnTo>
                  <a:lnTo>
                    <a:pt x="1439" y="579"/>
                  </a:lnTo>
                  <a:lnTo>
                    <a:pt x="1439" y="577"/>
                  </a:lnTo>
                  <a:lnTo>
                    <a:pt x="1439" y="577"/>
                  </a:lnTo>
                  <a:lnTo>
                    <a:pt x="1437" y="574"/>
                  </a:lnTo>
                  <a:lnTo>
                    <a:pt x="1437" y="572"/>
                  </a:lnTo>
                  <a:lnTo>
                    <a:pt x="1437" y="570"/>
                  </a:lnTo>
                  <a:lnTo>
                    <a:pt x="1434" y="570"/>
                  </a:lnTo>
                  <a:lnTo>
                    <a:pt x="1432" y="565"/>
                  </a:lnTo>
                  <a:lnTo>
                    <a:pt x="1427" y="560"/>
                  </a:lnTo>
                  <a:lnTo>
                    <a:pt x="1422" y="560"/>
                  </a:lnTo>
                  <a:lnTo>
                    <a:pt x="1418" y="558"/>
                  </a:lnTo>
                  <a:lnTo>
                    <a:pt x="1413" y="558"/>
                  </a:lnTo>
                  <a:lnTo>
                    <a:pt x="1403" y="560"/>
                  </a:lnTo>
                  <a:lnTo>
                    <a:pt x="1396" y="565"/>
                  </a:lnTo>
                  <a:lnTo>
                    <a:pt x="1396" y="565"/>
                  </a:lnTo>
                  <a:lnTo>
                    <a:pt x="1396" y="565"/>
                  </a:lnTo>
                  <a:lnTo>
                    <a:pt x="1394" y="563"/>
                  </a:lnTo>
                  <a:lnTo>
                    <a:pt x="1394" y="563"/>
                  </a:lnTo>
                  <a:lnTo>
                    <a:pt x="1394" y="563"/>
                  </a:lnTo>
                  <a:lnTo>
                    <a:pt x="1394" y="563"/>
                  </a:lnTo>
                  <a:lnTo>
                    <a:pt x="1394" y="563"/>
                  </a:lnTo>
                  <a:lnTo>
                    <a:pt x="1394" y="563"/>
                  </a:lnTo>
                  <a:lnTo>
                    <a:pt x="1394" y="563"/>
                  </a:lnTo>
                  <a:lnTo>
                    <a:pt x="1396" y="565"/>
                  </a:lnTo>
                  <a:lnTo>
                    <a:pt x="1396" y="567"/>
                  </a:lnTo>
                  <a:lnTo>
                    <a:pt x="1396" y="567"/>
                  </a:lnTo>
                  <a:lnTo>
                    <a:pt x="1394" y="567"/>
                  </a:lnTo>
                  <a:lnTo>
                    <a:pt x="1396" y="570"/>
                  </a:lnTo>
                  <a:lnTo>
                    <a:pt x="1394" y="570"/>
                  </a:lnTo>
                  <a:lnTo>
                    <a:pt x="1394" y="570"/>
                  </a:lnTo>
                  <a:lnTo>
                    <a:pt x="1394" y="572"/>
                  </a:lnTo>
                  <a:lnTo>
                    <a:pt x="1394" y="572"/>
                  </a:lnTo>
                  <a:lnTo>
                    <a:pt x="1394" y="570"/>
                  </a:lnTo>
                  <a:lnTo>
                    <a:pt x="1396" y="572"/>
                  </a:lnTo>
                  <a:lnTo>
                    <a:pt x="1396" y="572"/>
                  </a:lnTo>
                  <a:lnTo>
                    <a:pt x="1396" y="572"/>
                  </a:lnTo>
                  <a:lnTo>
                    <a:pt x="1396" y="574"/>
                  </a:lnTo>
                  <a:lnTo>
                    <a:pt x="1396" y="574"/>
                  </a:lnTo>
                  <a:lnTo>
                    <a:pt x="1396" y="574"/>
                  </a:lnTo>
                  <a:lnTo>
                    <a:pt x="1396" y="577"/>
                  </a:lnTo>
                  <a:lnTo>
                    <a:pt x="1396" y="579"/>
                  </a:lnTo>
                  <a:lnTo>
                    <a:pt x="1396" y="579"/>
                  </a:lnTo>
                  <a:lnTo>
                    <a:pt x="1396" y="582"/>
                  </a:lnTo>
                  <a:lnTo>
                    <a:pt x="1396" y="582"/>
                  </a:lnTo>
                  <a:lnTo>
                    <a:pt x="1399" y="584"/>
                  </a:lnTo>
                  <a:lnTo>
                    <a:pt x="1401" y="586"/>
                  </a:lnTo>
                  <a:lnTo>
                    <a:pt x="1403" y="586"/>
                  </a:lnTo>
                  <a:lnTo>
                    <a:pt x="1403" y="586"/>
                  </a:lnTo>
                  <a:lnTo>
                    <a:pt x="1403" y="586"/>
                  </a:lnTo>
                  <a:lnTo>
                    <a:pt x="1403" y="586"/>
                  </a:lnTo>
                  <a:lnTo>
                    <a:pt x="1403" y="586"/>
                  </a:lnTo>
                  <a:lnTo>
                    <a:pt x="1403" y="586"/>
                  </a:lnTo>
                  <a:lnTo>
                    <a:pt x="1403" y="586"/>
                  </a:lnTo>
                  <a:lnTo>
                    <a:pt x="1403" y="586"/>
                  </a:lnTo>
                  <a:lnTo>
                    <a:pt x="1403" y="589"/>
                  </a:lnTo>
                  <a:lnTo>
                    <a:pt x="1403" y="589"/>
                  </a:lnTo>
                  <a:lnTo>
                    <a:pt x="1403" y="589"/>
                  </a:lnTo>
                  <a:lnTo>
                    <a:pt x="1406" y="589"/>
                  </a:lnTo>
                  <a:lnTo>
                    <a:pt x="1406" y="589"/>
                  </a:lnTo>
                  <a:lnTo>
                    <a:pt x="1406" y="589"/>
                  </a:lnTo>
                  <a:lnTo>
                    <a:pt x="1406" y="591"/>
                  </a:lnTo>
                  <a:lnTo>
                    <a:pt x="1406" y="591"/>
                  </a:lnTo>
                  <a:lnTo>
                    <a:pt x="1408" y="591"/>
                  </a:lnTo>
                  <a:lnTo>
                    <a:pt x="1408" y="593"/>
                  </a:lnTo>
                  <a:lnTo>
                    <a:pt x="1408" y="593"/>
                  </a:lnTo>
                  <a:lnTo>
                    <a:pt x="1408" y="596"/>
                  </a:lnTo>
                  <a:lnTo>
                    <a:pt x="1406" y="596"/>
                  </a:lnTo>
                  <a:lnTo>
                    <a:pt x="1406" y="598"/>
                  </a:lnTo>
                  <a:lnTo>
                    <a:pt x="1406" y="600"/>
                  </a:lnTo>
                  <a:lnTo>
                    <a:pt x="1406" y="600"/>
                  </a:lnTo>
                  <a:lnTo>
                    <a:pt x="1406" y="600"/>
                  </a:lnTo>
                  <a:lnTo>
                    <a:pt x="1408" y="600"/>
                  </a:lnTo>
                  <a:lnTo>
                    <a:pt x="1408" y="603"/>
                  </a:lnTo>
                  <a:lnTo>
                    <a:pt x="1408" y="605"/>
                  </a:lnTo>
                  <a:lnTo>
                    <a:pt x="1415" y="605"/>
                  </a:lnTo>
                  <a:lnTo>
                    <a:pt x="1418" y="603"/>
                  </a:lnTo>
                  <a:lnTo>
                    <a:pt x="1422" y="603"/>
                  </a:lnTo>
                  <a:lnTo>
                    <a:pt x="1425" y="603"/>
                  </a:lnTo>
                  <a:lnTo>
                    <a:pt x="1422" y="605"/>
                  </a:lnTo>
                  <a:lnTo>
                    <a:pt x="1420" y="603"/>
                  </a:lnTo>
                  <a:lnTo>
                    <a:pt x="1420" y="605"/>
                  </a:lnTo>
                  <a:lnTo>
                    <a:pt x="1418" y="608"/>
                  </a:lnTo>
                  <a:lnTo>
                    <a:pt x="1418" y="608"/>
                  </a:lnTo>
                  <a:lnTo>
                    <a:pt x="1418" y="610"/>
                  </a:lnTo>
                  <a:lnTo>
                    <a:pt x="1418" y="610"/>
                  </a:lnTo>
                  <a:lnTo>
                    <a:pt x="1422" y="610"/>
                  </a:lnTo>
                  <a:lnTo>
                    <a:pt x="1422" y="610"/>
                  </a:lnTo>
                  <a:lnTo>
                    <a:pt x="1422" y="610"/>
                  </a:lnTo>
                  <a:lnTo>
                    <a:pt x="1422" y="612"/>
                  </a:lnTo>
                  <a:lnTo>
                    <a:pt x="1422" y="612"/>
                  </a:lnTo>
                  <a:lnTo>
                    <a:pt x="1420" y="612"/>
                  </a:lnTo>
                  <a:lnTo>
                    <a:pt x="1420" y="615"/>
                  </a:lnTo>
                  <a:lnTo>
                    <a:pt x="1418" y="615"/>
                  </a:lnTo>
                  <a:lnTo>
                    <a:pt x="1418" y="617"/>
                  </a:lnTo>
                  <a:lnTo>
                    <a:pt x="1418" y="617"/>
                  </a:lnTo>
                  <a:lnTo>
                    <a:pt x="1420" y="617"/>
                  </a:lnTo>
                  <a:lnTo>
                    <a:pt x="1420" y="617"/>
                  </a:lnTo>
                  <a:lnTo>
                    <a:pt x="1420" y="617"/>
                  </a:lnTo>
                  <a:lnTo>
                    <a:pt x="1420" y="615"/>
                  </a:lnTo>
                  <a:lnTo>
                    <a:pt x="1425" y="617"/>
                  </a:lnTo>
                  <a:lnTo>
                    <a:pt x="1425" y="617"/>
                  </a:lnTo>
                  <a:lnTo>
                    <a:pt x="1425" y="617"/>
                  </a:lnTo>
                  <a:lnTo>
                    <a:pt x="1429" y="617"/>
                  </a:lnTo>
                  <a:lnTo>
                    <a:pt x="1429" y="617"/>
                  </a:lnTo>
                  <a:lnTo>
                    <a:pt x="1425" y="619"/>
                  </a:lnTo>
                  <a:lnTo>
                    <a:pt x="1425" y="619"/>
                  </a:lnTo>
                  <a:lnTo>
                    <a:pt x="1425" y="619"/>
                  </a:lnTo>
                  <a:lnTo>
                    <a:pt x="1427" y="622"/>
                  </a:lnTo>
                  <a:lnTo>
                    <a:pt x="1427" y="622"/>
                  </a:lnTo>
                  <a:lnTo>
                    <a:pt x="1425" y="622"/>
                  </a:lnTo>
                  <a:lnTo>
                    <a:pt x="1425" y="622"/>
                  </a:lnTo>
                  <a:lnTo>
                    <a:pt x="1425" y="619"/>
                  </a:lnTo>
                  <a:lnTo>
                    <a:pt x="1422" y="619"/>
                  </a:lnTo>
                  <a:lnTo>
                    <a:pt x="1422" y="619"/>
                  </a:lnTo>
                  <a:lnTo>
                    <a:pt x="1422" y="619"/>
                  </a:lnTo>
                  <a:lnTo>
                    <a:pt x="1422" y="619"/>
                  </a:lnTo>
                  <a:lnTo>
                    <a:pt x="1422" y="619"/>
                  </a:lnTo>
                  <a:lnTo>
                    <a:pt x="1420" y="617"/>
                  </a:lnTo>
                  <a:lnTo>
                    <a:pt x="1415" y="619"/>
                  </a:lnTo>
                  <a:lnTo>
                    <a:pt x="1415" y="619"/>
                  </a:lnTo>
                  <a:lnTo>
                    <a:pt x="1415" y="622"/>
                  </a:lnTo>
                  <a:lnTo>
                    <a:pt x="1415" y="624"/>
                  </a:lnTo>
                  <a:lnTo>
                    <a:pt x="1418" y="624"/>
                  </a:lnTo>
                  <a:lnTo>
                    <a:pt x="1415" y="624"/>
                  </a:lnTo>
                  <a:lnTo>
                    <a:pt x="1415" y="624"/>
                  </a:lnTo>
                  <a:lnTo>
                    <a:pt x="1413" y="627"/>
                  </a:lnTo>
                  <a:lnTo>
                    <a:pt x="1413" y="627"/>
                  </a:lnTo>
                  <a:lnTo>
                    <a:pt x="1411" y="624"/>
                  </a:lnTo>
                  <a:lnTo>
                    <a:pt x="1411" y="624"/>
                  </a:lnTo>
                  <a:lnTo>
                    <a:pt x="1411" y="624"/>
                  </a:lnTo>
                  <a:lnTo>
                    <a:pt x="1408" y="624"/>
                  </a:lnTo>
                  <a:lnTo>
                    <a:pt x="1406" y="624"/>
                  </a:lnTo>
                  <a:lnTo>
                    <a:pt x="1401" y="627"/>
                  </a:lnTo>
                  <a:lnTo>
                    <a:pt x="1401" y="627"/>
                  </a:lnTo>
                  <a:lnTo>
                    <a:pt x="1401" y="627"/>
                  </a:lnTo>
                  <a:lnTo>
                    <a:pt x="1401" y="627"/>
                  </a:lnTo>
                  <a:lnTo>
                    <a:pt x="1401" y="627"/>
                  </a:lnTo>
                  <a:lnTo>
                    <a:pt x="1401" y="624"/>
                  </a:lnTo>
                  <a:lnTo>
                    <a:pt x="1399" y="624"/>
                  </a:lnTo>
                  <a:lnTo>
                    <a:pt x="1396" y="627"/>
                  </a:lnTo>
                  <a:lnTo>
                    <a:pt x="1396" y="627"/>
                  </a:lnTo>
                  <a:lnTo>
                    <a:pt x="1394" y="629"/>
                  </a:lnTo>
                  <a:lnTo>
                    <a:pt x="1396" y="629"/>
                  </a:lnTo>
                  <a:lnTo>
                    <a:pt x="1396" y="627"/>
                  </a:lnTo>
                  <a:lnTo>
                    <a:pt x="1396" y="629"/>
                  </a:lnTo>
                  <a:lnTo>
                    <a:pt x="1396" y="631"/>
                  </a:lnTo>
                  <a:lnTo>
                    <a:pt x="1396" y="631"/>
                  </a:lnTo>
                  <a:lnTo>
                    <a:pt x="1394" y="631"/>
                  </a:lnTo>
                  <a:lnTo>
                    <a:pt x="1394" y="634"/>
                  </a:lnTo>
                  <a:lnTo>
                    <a:pt x="1392" y="636"/>
                  </a:lnTo>
                  <a:lnTo>
                    <a:pt x="1387" y="638"/>
                  </a:lnTo>
                  <a:lnTo>
                    <a:pt x="1387" y="638"/>
                  </a:lnTo>
                  <a:lnTo>
                    <a:pt x="1387" y="641"/>
                  </a:lnTo>
                  <a:lnTo>
                    <a:pt x="1387" y="641"/>
                  </a:lnTo>
                  <a:lnTo>
                    <a:pt x="1380" y="648"/>
                  </a:lnTo>
                  <a:lnTo>
                    <a:pt x="1377" y="650"/>
                  </a:lnTo>
                  <a:lnTo>
                    <a:pt x="1377" y="653"/>
                  </a:lnTo>
                  <a:lnTo>
                    <a:pt x="1377" y="653"/>
                  </a:lnTo>
                  <a:lnTo>
                    <a:pt x="1380" y="655"/>
                  </a:lnTo>
                  <a:lnTo>
                    <a:pt x="1380" y="655"/>
                  </a:lnTo>
                  <a:lnTo>
                    <a:pt x="1380" y="655"/>
                  </a:lnTo>
                  <a:lnTo>
                    <a:pt x="1380" y="657"/>
                  </a:lnTo>
                  <a:lnTo>
                    <a:pt x="1380" y="657"/>
                  </a:lnTo>
                  <a:lnTo>
                    <a:pt x="1380" y="660"/>
                  </a:lnTo>
                  <a:lnTo>
                    <a:pt x="1380" y="660"/>
                  </a:lnTo>
                  <a:lnTo>
                    <a:pt x="1382" y="660"/>
                  </a:lnTo>
                  <a:lnTo>
                    <a:pt x="1382" y="660"/>
                  </a:lnTo>
                  <a:lnTo>
                    <a:pt x="1382" y="660"/>
                  </a:lnTo>
                  <a:lnTo>
                    <a:pt x="1382" y="660"/>
                  </a:lnTo>
                  <a:lnTo>
                    <a:pt x="1382" y="660"/>
                  </a:lnTo>
                  <a:lnTo>
                    <a:pt x="1382" y="660"/>
                  </a:lnTo>
                  <a:lnTo>
                    <a:pt x="1380" y="662"/>
                  </a:lnTo>
                  <a:lnTo>
                    <a:pt x="1380" y="662"/>
                  </a:lnTo>
                  <a:lnTo>
                    <a:pt x="1380" y="662"/>
                  </a:lnTo>
                  <a:lnTo>
                    <a:pt x="1382" y="664"/>
                  </a:lnTo>
                  <a:lnTo>
                    <a:pt x="1382" y="664"/>
                  </a:lnTo>
                  <a:lnTo>
                    <a:pt x="1382" y="667"/>
                  </a:lnTo>
                  <a:lnTo>
                    <a:pt x="1380" y="667"/>
                  </a:lnTo>
                  <a:lnTo>
                    <a:pt x="1377" y="669"/>
                  </a:lnTo>
                  <a:lnTo>
                    <a:pt x="1377" y="671"/>
                  </a:lnTo>
                  <a:lnTo>
                    <a:pt x="1377" y="671"/>
                  </a:lnTo>
                  <a:lnTo>
                    <a:pt x="1377" y="671"/>
                  </a:lnTo>
                  <a:lnTo>
                    <a:pt x="1377" y="671"/>
                  </a:lnTo>
                  <a:lnTo>
                    <a:pt x="1377" y="674"/>
                  </a:lnTo>
                  <a:lnTo>
                    <a:pt x="1377" y="674"/>
                  </a:lnTo>
                  <a:lnTo>
                    <a:pt x="1377" y="674"/>
                  </a:lnTo>
                  <a:lnTo>
                    <a:pt x="1377" y="674"/>
                  </a:lnTo>
                  <a:lnTo>
                    <a:pt x="1377" y="674"/>
                  </a:lnTo>
                  <a:lnTo>
                    <a:pt x="1380" y="676"/>
                  </a:lnTo>
                  <a:lnTo>
                    <a:pt x="1380" y="676"/>
                  </a:lnTo>
                  <a:lnTo>
                    <a:pt x="1380" y="676"/>
                  </a:lnTo>
                  <a:lnTo>
                    <a:pt x="1380" y="674"/>
                  </a:lnTo>
                  <a:lnTo>
                    <a:pt x="1382" y="674"/>
                  </a:lnTo>
                  <a:lnTo>
                    <a:pt x="1382" y="674"/>
                  </a:lnTo>
                  <a:lnTo>
                    <a:pt x="1382" y="676"/>
                  </a:lnTo>
                  <a:lnTo>
                    <a:pt x="1382" y="676"/>
                  </a:lnTo>
                  <a:lnTo>
                    <a:pt x="1382" y="676"/>
                  </a:lnTo>
                  <a:lnTo>
                    <a:pt x="1382" y="679"/>
                  </a:lnTo>
                  <a:lnTo>
                    <a:pt x="1382" y="679"/>
                  </a:lnTo>
                  <a:lnTo>
                    <a:pt x="1382" y="681"/>
                  </a:lnTo>
                  <a:lnTo>
                    <a:pt x="1382" y="681"/>
                  </a:lnTo>
                  <a:lnTo>
                    <a:pt x="1387" y="683"/>
                  </a:lnTo>
                  <a:lnTo>
                    <a:pt x="1387" y="683"/>
                  </a:lnTo>
                  <a:lnTo>
                    <a:pt x="1387" y="686"/>
                  </a:lnTo>
                  <a:lnTo>
                    <a:pt x="1387" y="686"/>
                  </a:lnTo>
                  <a:lnTo>
                    <a:pt x="1389" y="686"/>
                  </a:lnTo>
                  <a:lnTo>
                    <a:pt x="1389" y="686"/>
                  </a:lnTo>
                  <a:lnTo>
                    <a:pt x="1389" y="686"/>
                  </a:lnTo>
                  <a:lnTo>
                    <a:pt x="1389" y="683"/>
                  </a:lnTo>
                  <a:lnTo>
                    <a:pt x="1389" y="683"/>
                  </a:lnTo>
                  <a:lnTo>
                    <a:pt x="1392" y="683"/>
                  </a:lnTo>
                  <a:lnTo>
                    <a:pt x="1392" y="686"/>
                  </a:lnTo>
                  <a:lnTo>
                    <a:pt x="1392" y="686"/>
                  </a:lnTo>
                  <a:lnTo>
                    <a:pt x="1392" y="686"/>
                  </a:lnTo>
                  <a:lnTo>
                    <a:pt x="1394" y="686"/>
                  </a:lnTo>
                  <a:lnTo>
                    <a:pt x="1394" y="686"/>
                  </a:lnTo>
                  <a:lnTo>
                    <a:pt x="1394" y="686"/>
                  </a:lnTo>
                  <a:lnTo>
                    <a:pt x="1394" y="686"/>
                  </a:lnTo>
                  <a:lnTo>
                    <a:pt x="1394" y="683"/>
                  </a:lnTo>
                  <a:lnTo>
                    <a:pt x="1394" y="683"/>
                  </a:lnTo>
                  <a:lnTo>
                    <a:pt x="1396" y="681"/>
                  </a:lnTo>
                  <a:lnTo>
                    <a:pt x="1394" y="681"/>
                  </a:lnTo>
                  <a:lnTo>
                    <a:pt x="1394" y="681"/>
                  </a:lnTo>
                  <a:lnTo>
                    <a:pt x="1394" y="679"/>
                  </a:lnTo>
                  <a:lnTo>
                    <a:pt x="1394" y="676"/>
                  </a:lnTo>
                  <a:lnTo>
                    <a:pt x="1394" y="676"/>
                  </a:lnTo>
                  <a:lnTo>
                    <a:pt x="1394" y="674"/>
                  </a:lnTo>
                  <a:lnTo>
                    <a:pt x="1394" y="674"/>
                  </a:lnTo>
                  <a:lnTo>
                    <a:pt x="1396" y="671"/>
                  </a:lnTo>
                  <a:lnTo>
                    <a:pt x="1394" y="671"/>
                  </a:lnTo>
                  <a:lnTo>
                    <a:pt x="1394" y="671"/>
                  </a:lnTo>
                  <a:lnTo>
                    <a:pt x="1394" y="671"/>
                  </a:lnTo>
                  <a:lnTo>
                    <a:pt x="1396" y="669"/>
                  </a:lnTo>
                  <a:lnTo>
                    <a:pt x="1396" y="671"/>
                  </a:lnTo>
                  <a:lnTo>
                    <a:pt x="1396" y="671"/>
                  </a:lnTo>
                  <a:lnTo>
                    <a:pt x="1396" y="674"/>
                  </a:lnTo>
                  <a:lnTo>
                    <a:pt x="1396" y="674"/>
                  </a:lnTo>
                  <a:lnTo>
                    <a:pt x="1396" y="674"/>
                  </a:lnTo>
                  <a:lnTo>
                    <a:pt x="1396" y="676"/>
                  </a:lnTo>
                  <a:lnTo>
                    <a:pt x="1396" y="676"/>
                  </a:lnTo>
                  <a:lnTo>
                    <a:pt x="1399" y="679"/>
                  </a:lnTo>
                  <a:lnTo>
                    <a:pt x="1399" y="679"/>
                  </a:lnTo>
                  <a:lnTo>
                    <a:pt x="1399" y="679"/>
                  </a:lnTo>
                  <a:lnTo>
                    <a:pt x="1399" y="681"/>
                  </a:lnTo>
                  <a:lnTo>
                    <a:pt x="1399" y="681"/>
                  </a:lnTo>
                  <a:lnTo>
                    <a:pt x="1396" y="683"/>
                  </a:lnTo>
                  <a:lnTo>
                    <a:pt x="1396" y="686"/>
                  </a:lnTo>
                  <a:lnTo>
                    <a:pt x="1396" y="686"/>
                  </a:lnTo>
                  <a:lnTo>
                    <a:pt x="1399" y="686"/>
                  </a:lnTo>
                  <a:lnTo>
                    <a:pt x="1399" y="686"/>
                  </a:lnTo>
                  <a:lnTo>
                    <a:pt x="1399" y="686"/>
                  </a:lnTo>
                  <a:lnTo>
                    <a:pt x="1399" y="686"/>
                  </a:lnTo>
                  <a:lnTo>
                    <a:pt x="1399" y="686"/>
                  </a:lnTo>
                  <a:lnTo>
                    <a:pt x="1399" y="683"/>
                  </a:lnTo>
                  <a:lnTo>
                    <a:pt x="1399" y="681"/>
                  </a:lnTo>
                  <a:lnTo>
                    <a:pt x="1401" y="679"/>
                  </a:lnTo>
                  <a:lnTo>
                    <a:pt x="1401" y="676"/>
                  </a:lnTo>
                  <a:lnTo>
                    <a:pt x="1401" y="676"/>
                  </a:lnTo>
                  <a:lnTo>
                    <a:pt x="1399" y="674"/>
                  </a:lnTo>
                  <a:lnTo>
                    <a:pt x="1401" y="674"/>
                  </a:lnTo>
                  <a:lnTo>
                    <a:pt x="1399" y="671"/>
                  </a:lnTo>
                  <a:lnTo>
                    <a:pt x="1399" y="671"/>
                  </a:lnTo>
                  <a:lnTo>
                    <a:pt x="1396" y="671"/>
                  </a:lnTo>
                  <a:lnTo>
                    <a:pt x="1396" y="669"/>
                  </a:lnTo>
                  <a:lnTo>
                    <a:pt x="1399" y="667"/>
                  </a:lnTo>
                  <a:lnTo>
                    <a:pt x="1396" y="667"/>
                  </a:lnTo>
                  <a:lnTo>
                    <a:pt x="1399" y="667"/>
                  </a:lnTo>
                  <a:lnTo>
                    <a:pt x="1396" y="662"/>
                  </a:lnTo>
                  <a:lnTo>
                    <a:pt x="1394" y="662"/>
                  </a:lnTo>
                  <a:lnTo>
                    <a:pt x="1394" y="660"/>
                  </a:lnTo>
                  <a:lnTo>
                    <a:pt x="1396" y="657"/>
                  </a:lnTo>
                  <a:lnTo>
                    <a:pt x="1396" y="655"/>
                  </a:lnTo>
                  <a:lnTo>
                    <a:pt x="1396" y="653"/>
                  </a:lnTo>
                  <a:lnTo>
                    <a:pt x="1396" y="653"/>
                  </a:lnTo>
                  <a:lnTo>
                    <a:pt x="1396" y="653"/>
                  </a:lnTo>
                  <a:lnTo>
                    <a:pt x="1396" y="650"/>
                  </a:lnTo>
                  <a:lnTo>
                    <a:pt x="1399" y="653"/>
                  </a:lnTo>
                  <a:lnTo>
                    <a:pt x="1399" y="653"/>
                  </a:lnTo>
                  <a:lnTo>
                    <a:pt x="1399" y="655"/>
                  </a:lnTo>
                  <a:lnTo>
                    <a:pt x="1399" y="655"/>
                  </a:lnTo>
                  <a:lnTo>
                    <a:pt x="1396" y="657"/>
                  </a:lnTo>
                  <a:lnTo>
                    <a:pt x="1399" y="660"/>
                  </a:lnTo>
                  <a:lnTo>
                    <a:pt x="1399" y="662"/>
                  </a:lnTo>
                  <a:lnTo>
                    <a:pt x="1399" y="662"/>
                  </a:lnTo>
                  <a:lnTo>
                    <a:pt x="1399" y="664"/>
                  </a:lnTo>
                  <a:lnTo>
                    <a:pt x="1399" y="667"/>
                  </a:lnTo>
                  <a:lnTo>
                    <a:pt x="1399" y="667"/>
                  </a:lnTo>
                  <a:lnTo>
                    <a:pt x="1399" y="667"/>
                  </a:lnTo>
                  <a:lnTo>
                    <a:pt x="1399" y="669"/>
                  </a:lnTo>
                  <a:lnTo>
                    <a:pt x="1399" y="669"/>
                  </a:lnTo>
                  <a:lnTo>
                    <a:pt x="1401" y="669"/>
                  </a:lnTo>
                  <a:lnTo>
                    <a:pt x="1401" y="669"/>
                  </a:lnTo>
                  <a:lnTo>
                    <a:pt x="1401" y="669"/>
                  </a:lnTo>
                  <a:lnTo>
                    <a:pt x="1401" y="671"/>
                  </a:lnTo>
                  <a:lnTo>
                    <a:pt x="1401" y="671"/>
                  </a:lnTo>
                  <a:lnTo>
                    <a:pt x="1401" y="674"/>
                  </a:lnTo>
                  <a:lnTo>
                    <a:pt x="1401" y="674"/>
                  </a:lnTo>
                  <a:lnTo>
                    <a:pt x="1401" y="674"/>
                  </a:lnTo>
                  <a:lnTo>
                    <a:pt x="1403" y="676"/>
                  </a:lnTo>
                  <a:lnTo>
                    <a:pt x="1403" y="676"/>
                  </a:lnTo>
                  <a:lnTo>
                    <a:pt x="1403" y="679"/>
                  </a:lnTo>
                  <a:lnTo>
                    <a:pt x="1403" y="679"/>
                  </a:lnTo>
                  <a:lnTo>
                    <a:pt x="1403" y="679"/>
                  </a:lnTo>
                  <a:lnTo>
                    <a:pt x="1401" y="681"/>
                  </a:lnTo>
                  <a:lnTo>
                    <a:pt x="1403" y="681"/>
                  </a:lnTo>
                  <a:lnTo>
                    <a:pt x="1403" y="681"/>
                  </a:lnTo>
                  <a:lnTo>
                    <a:pt x="1403" y="681"/>
                  </a:lnTo>
                  <a:lnTo>
                    <a:pt x="1403" y="683"/>
                  </a:lnTo>
                  <a:lnTo>
                    <a:pt x="1403" y="683"/>
                  </a:lnTo>
                  <a:lnTo>
                    <a:pt x="1403" y="683"/>
                  </a:lnTo>
                  <a:lnTo>
                    <a:pt x="1403" y="683"/>
                  </a:lnTo>
                  <a:lnTo>
                    <a:pt x="1403" y="683"/>
                  </a:lnTo>
                  <a:lnTo>
                    <a:pt x="1403" y="686"/>
                  </a:lnTo>
                  <a:lnTo>
                    <a:pt x="1403" y="686"/>
                  </a:lnTo>
                  <a:lnTo>
                    <a:pt x="1403" y="686"/>
                  </a:lnTo>
                  <a:lnTo>
                    <a:pt x="1413" y="688"/>
                  </a:lnTo>
                  <a:lnTo>
                    <a:pt x="1413" y="688"/>
                  </a:lnTo>
                  <a:lnTo>
                    <a:pt x="1413" y="688"/>
                  </a:lnTo>
                  <a:lnTo>
                    <a:pt x="1413" y="686"/>
                  </a:lnTo>
                  <a:lnTo>
                    <a:pt x="1413" y="686"/>
                  </a:lnTo>
                  <a:lnTo>
                    <a:pt x="1413" y="686"/>
                  </a:lnTo>
                  <a:lnTo>
                    <a:pt x="1413" y="683"/>
                  </a:lnTo>
                  <a:lnTo>
                    <a:pt x="1413" y="683"/>
                  </a:lnTo>
                  <a:lnTo>
                    <a:pt x="1415" y="683"/>
                  </a:lnTo>
                  <a:lnTo>
                    <a:pt x="1415" y="683"/>
                  </a:lnTo>
                  <a:lnTo>
                    <a:pt x="1415" y="683"/>
                  </a:lnTo>
                  <a:lnTo>
                    <a:pt x="1415" y="688"/>
                  </a:lnTo>
                  <a:lnTo>
                    <a:pt x="1418" y="690"/>
                  </a:lnTo>
                  <a:lnTo>
                    <a:pt x="1418" y="690"/>
                  </a:lnTo>
                  <a:lnTo>
                    <a:pt x="1420" y="688"/>
                  </a:lnTo>
                  <a:lnTo>
                    <a:pt x="1420" y="688"/>
                  </a:lnTo>
                  <a:lnTo>
                    <a:pt x="1420" y="688"/>
                  </a:lnTo>
                  <a:lnTo>
                    <a:pt x="1420" y="686"/>
                  </a:lnTo>
                  <a:lnTo>
                    <a:pt x="1420" y="686"/>
                  </a:lnTo>
                  <a:lnTo>
                    <a:pt x="1420" y="686"/>
                  </a:lnTo>
                  <a:lnTo>
                    <a:pt x="1422" y="688"/>
                  </a:lnTo>
                  <a:lnTo>
                    <a:pt x="1422" y="688"/>
                  </a:lnTo>
                  <a:lnTo>
                    <a:pt x="1422" y="688"/>
                  </a:lnTo>
                  <a:lnTo>
                    <a:pt x="1422" y="686"/>
                  </a:lnTo>
                  <a:lnTo>
                    <a:pt x="1422" y="686"/>
                  </a:lnTo>
                  <a:lnTo>
                    <a:pt x="1420" y="686"/>
                  </a:lnTo>
                  <a:lnTo>
                    <a:pt x="1422" y="683"/>
                  </a:lnTo>
                  <a:lnTo>
                    <a:pt x="1422" y="683"/>
                  </a:lnTo>
                  <a:lnTo>
                    <a:pt x="1422" y="683"/>
                  </a:lnTo>
                  <a:lnTo>
                    <a:pt x="1422" y="683"/>
                  </a:lnTo>
                  <a:lnTo>
                    <a:pt x="1422" y="683"/>
                  </a:lnTo>
                  <a:lnTo>
                    <a:pt x="1422" y="681"/>
                  </a:lnTo>
                  <a:lnTo>
                    <a:pt x="1420" y="681"/>
                  </a:lnTo>
                  <a:lnTo>
                    <a:pt x="1420" y="681"/>
                  </a:lnTo>
                  <a:lnTo>
                    <a:pt x="1420" y="679"/>
                  </a:lnTo>
                  <a:lnTo>
                    <a:pt x="1420" y="676"/>
                  </a:lnTo>
                  <a:lnTo>
                    <a:pt x="1420" y="676"/>
                  </a:lnTo>
                  <a:lnTo>
                    <a:pt x="1420" y="674"/>
                  </a:lnTo>
                  <a:lnTo>
                    <a:pt x="1418" y="674"/>
                  </a:lnTo>
                  <a:lnTo>
                    <a:pt x="1418" y="674"/>
                  </a:lnTo>
                  <a:lnTo>
                    <a:pt x="1418" y="671"/>
                  </a:lnTo>
                  <a:lnTo>
                    <a:pt x="1418" y="671"/>
                  </a:lnTo>
                  <a:lnTo>
                    <a:pt x="1418" y="671"/>
                  </a:lnTo>
                  <a:lnTo>
                    <a:pt x="1418" y="669"/>
                  </a:lnTo>
                  <a:lnTo>
                    <a:pt x="1418" y="669"/>
                  </a:lnTo>
                  <a:lnTo>
                    <a:pt x="1418" y="669"/>
                  </a:lnTo>
                  <a:lnTo>
                    <a:pt x="1418" y="667"/>
                  </a:lnTo>
                  <a:lnTo>
                    <a:pt x="1418" y="667"/>
                  </a:lnTo>
                  <a:lnTo>
                    <a:pt x="1418" y="667"/>
                  </a:lnTo>
                  <a:lnTo>
                    <a:pt x="1418" y="667"/>
                  </a:lnTo>
                  <a:lnTo>
                    <a:pt x="1420" y="667"/>
                  </a:lnTo>
                  <a:lnTo>
                    <a:pt x="1420" y="669"/>
                  </a:lnTo>
                  <a:lnTo>
                    <a:pt x="1420" y="669"/>
                  </a:lnTo>
                  <a:lnTo>
                    <a:pt x="1420" y="671"/>
                  </a:lnTo>
                  <a:lnTo>
                    <a:pt x="1420" y="671"/>
                  </a:lnTo>
                  <a:lnTo>
                    <a:pt x="1420" y="671"/>
                  </a:lnTo>
                  <a:lnTo>
                    <a:pt x="1420" y="674"/>
                  </a:lnTo>
                  <a:lnTo>
                    <a:pt x="1420" y="674"/>
                  </a:lnTo>
                  <a:lnTo>
                    <a:pt x="1422" y="674"/>
                  </a:lnTo>
                  <a:lnTo>
                    <a:pt x="1422" y="676"/>
                  </a:lnTo>
                  <a:lnTo>
                    <a:pt x="1422" y="676"/>
                  </a:lnTo>
                  <a:lnTo>
                    <a:pt x="1422" y="679"/>
                  </a:lnTo>
                  <a:lnTo>
                    <a:pt x="1422" y="679"/>
                  </a:lnTo>
                  <a:lnTo>
                    <a:pt x="1427" y="679"/>
                  </a:lnTo>
                  <a:lnTo>
                    <a:pt x="1427" y="681"/>
                  </a:lnTo>
                  <a:lnTo>
                    <a:pt x="1427" y="681"/>
                  </a:lnTo>
                  <a:lnTo>
                    <a:pt x="1427" y="683"/>
                  </a:lnTo>
                  <a:lnTo>
                    <a:pt x="1427" y="683"/>
                  </a:lnTo>
                  <a:lnTo>
                    <a:pt x="1427" y="683"/>
                  </a:lnTo>
                  <a:lnTo>
                    <a:pt x="1429" y="686"/>
                  </a:lnTo>
                  <a:lnTo>
                    <a:pt x="1434" y="686"/>
                  </a:lnTo>
                  <a:lnTo>
                    <a:pt x="1434" y="686"/>
                  </a:lnTo>
                  <a:lnTo>
                    <a:pt x="1437" y="686"/>
                  </a:lnTo>
                  <a:lnTo>
                    <a:pt x="1437" y="686"/>
                  </a:lnTo>
                  <a:lnTo>
                    <a:pt x="1437" y="686"/>
                  </a:lnTo>
                  <a:lnTo>
                    <a:pt x="1437" y="686"/>
                  </a:lnTo>
                  <a:lnTo>
                    <a:pt x="1437" y="686"/>
                  </a:lnTo>
                  <a:lnTo>
                    <a:pt x="1437" y="681"/>
                  </a:lnTo>
                  <a:lnTo>
                    <a:pt x="1437" y="679"/>
                  </a:lnTo>
                  <a:lnTo>
                    <a:pt x="1437" y="676"/>
                  </a:lnTo>
                  <a:lnTo>
                    <a:pt x="1437" y="676"/>
                  </a:lnTo>
                  <a:lnTo>
                    <a:pt x="1437" y="676"/>
                  </a:lnTo>
                  <a:lnTo>
                    <a:pt x="1437" y="676"/>
                  </a:lnTo>
                  <a:lnTo>
                    <a:pt x="1437" y="676"/>
                  </a:lnTo>
                  <a:lnTo>
                    <a:pt x="1441" y="671"/>
                  </a:lnTo>
                  <a:lnTo>
                    <a:pt x="1441" y="671"/>
                  </a:lnTo>
                  <a:lnTo>
                    <a:pt x="1441" y="671"/>
                  </a:lnTo>
                  <a:lnTo>
                    <a:pt x="1434" y="662"/>
                  </a:lnTo>
                  <a:lnTo>
                    <a:pt x="1437" y="662"/>
                  </a:lnTo>
                  <a:lnTo>
                    <a:pt x="1437" y="664"/>
                  </a:lnTo>
                  <a:lnTo>
                    <a:pt x="1439" y="667"/>
                  </a:lnTo>
                  <a:lnTo>
                    <a:pt x="1444" y="669"/>
                  </a:lnTo>
                  <a:lnTo>
                    <a:pt x="1444" y="671"/>
                  </a:lnTo>
                  <a:lnTo>
                    <a:pt x="1444" y="671"/>
                  </a:lnTo>
                  <a:lnTo>
                    <a:pt x="1441" y="674"/>
                  </a:lnTo>
                  <a:lnTo>
                    <a:pt x="1441" y="676"/>
                  </a:lnTo>
                  <a:lnTo>
                    <a:pt x="1441" y="676"/>
                  </a:lnTo>
                  <a:lnTo>
                    <a:pt x="1441" y="679"/>
                  </a:lnTo>
                  <a:lnTo>
                    <a:pt x="1441" y="679"/>
                  </a:lnTo>
                  <a:lnTo>
                    <a:pt x="1441" y="681"/>
                  </a:lnTo>
                  <a:lnTo>
                    <a:pt x="1441" y="681"/>
                  </a:lnTo>
                  <a:lnTo>
                    <a:pt x="1441" y="681"/>
                  </a:lnTo>
                  <a:lnTo>
                    <a:pt x="1441" y="681"/>
                  </a:lnTo>
                  <a:lnTo>
                    <a:pt x="1441" y="681"/>
                  </a:lnTo>
                  <a:lnTo>
                    <a:pt x="1441" y="681"/>
                  </a:lnTo>
                  <a:lnTo>
                    <a:pt x="1444" y="683"/>
                  </a:lnTo>
                  <a:lnTo>
                    <a:pt x="1444" y="683"/>
                  </a:lnTo>
                  <a:lnTo>
                    <a:pt x="1446" y="683"/>
                  </a:lnTo>
                  <a:lnTo>
                    <a:pt x="1448" y="683"/>
                  </a:lnTo>
                  <a:lnTo>
                    <a:pt x="1451" y="683"/>
                  </a:lnTo>
                  <a:lnTo>
                    <a:pt x="1453" y="683"/>
                  </a:lnTo>
                  <a:lnTo>
                    <a:pt x="1455" y="683"/>
                  </a:lnTo>
                  <a:lnTo>
                    <a:pt x="1458" y="686"/>
                  </a:lnTo>
                  <a:lnTo>
                    <a:pt x="1458" y="686"/>
                  </a:lnTo>
                  <a:lnTo>
                    <a:pt x="1460" y="686"/>
                  </a:lnTo>
                  <a:lnTo>
                    <a:pt x="1460" y="686"/>
                  </a:lnTo>
                  <a:lnTo>
                    <a:pt x="1463" y="686"/>
                  </a:lnTo>
                  <a:lnTo>
                    <a:pt x="1465" y="686"/>
                  </a:lnTo>
                  <a:lnTo>
                    <a:pt x="1465" y="686"/>
                  </a:lnTo>
                  <a:lnTo>
                    <a:pt x="1465" y="686"/>
                  </a:lnTo>
                  <a:lnTo>
                    <a:pt x="1465" y="688"/>
                  </a:lnTo>
                  <a:lnTo>
                    <a:pt x="1465" y="688"/>
                  </a:lnTo>
                  <a:lnTo>
                    <a:pt x="1465" y="688"/>
                  </a:lnTo>
                  <a:lnTo>
                    <a:pt x="1467" y="688"/>
                  </a:lnTo>
                  <a:lnTo>
                    <a:pt x="1474" y="686"/>
                  </a:lnTo>
                  <a:lnTo>
                    <a:pt x="1481" y="683"/>
                  </a:lnTo>
                  <a:lnTo>
                    <a:pt x="1481" y="683"/>
                  </a:lnTo>
                  <a:lnTo>
                    <a:pt x="1481" y="683"/>
                  </a:lnTo>
                  <a:lnTo>
                    <a:pt x="1481" y="681"/>
                  </a:lnTo>
                  <a:lnTo>
                    <a:pt x="1474" y="679"/>
                  </a:lnTo>
                  <a:lnTo>
                    <a:pt x="1470" y="676"/>
                  </a:lnTo>
                  <a:lnTo>
                    <a:pt x="1470" y="676"/>
                  </a:lnTo>
                  <a:lnTo>
                    <a:pt x="1470" y="674"/>
                  </a:lnTo>
                  <a:lnTo>
                    <a:pt x="1467" y="674"/>
                  </a:lnTo>
                  <a:lnTo>
                    <a:pt x="1467" y="674"/>
                  </a:lnTo>
                  <a:lnTo>
                    <a:pt x="1467" y="674"/>
                  </a:lnTo>
                  <a:lnTo>
                    <a:pt x="1467" y="671"/>
                  </a:lnTo>
                  <a:lnTo>
                    <a:pt x="1467" y="671"/>
                  </a:lnTo>
                  <a:lnTo>
                    <a:pt x="1467" y="669"/>
                  </a:lnTo>
                  <a:lnTo>
                    <a:pt x="1467" y="669"/>
                  </a:lnTo>
                  <a:lnTo>
                    <a:pt x="1467" y="669"/>
                  </a:lnTo>
                  <a:lnTo>
                    <a:pt x="1467" y="667"/>
                  </a:lnTo>
                  <a:lnTo>
                    <a:pt x="1467" y="664"/>
                  </a:lnTo>
                  <a:lnTo>
                    <a:pt x="1467" y="664"/>
                  </a:lnTo>
                  <a:lnTo>
                    <a:pt x="1467" y="662"/>
                  </a:lnTo>
                  <a:lnTo>
                    <a:pt x="1467" y="662"/>
                  </a:lnTo>
                  <a:lnTo>
                    <a:pt x="1470" y="664"/>
                  </a:lnTo>
                  <a:lnTo>
                    <a:pt x="1470" y="667"/>
                  </a:lnTo>
                  <a:lnTo>
                    <a:pt x="1472" y="669"/>
                  </a:lnTo>
                  <a:lnTo>
                    <a:pt x="1472" y="671"/>
                  </a:lnTo>
                  <a:lnTo>
                    <a:pt x="1474" y="674"/>
                  </a:lnTo>
                  <a:lnTo>
                    <a:pt x="1474" y="674"/>
                  </a:lnTo>
                  <a:lnTo>
                    <a:pt x="1477" y="674"/>
                  </a:lnTo>
                  <a:lnTo>
                    <a:pt x="1484" y="671"/>
                  </a:lnTo>
                  <a:lnTo>
                    <a:pt x="1484" y="671"/>
                  </a:lnTo>
                  <a:lnTo>
                    <a:pt x="1484" y="671"/>
                  </a:lnTo>
                  <a:lnTo>
                    <a:pt x="1484" y="671"/>
                  </a:lnTo>
                  <a:lnTo>
                    <a:pt x="1484" y="669"/>
                  </a:lnTo>
                  <a:lnTo>
                    <a:pt x="1484" y="669"/>
                  </a:lnTo>
                  <a:lnTo>
                    <a:pt x="1484" y="669"/>
                  </a:lnTo>
                  <a:lnTo>
                    <a:pt x="1484" y="667"/>
                  </a:lnTo>
                  <a:lnTo>
                    <a:pt x="1481" y="667"/>
                  </a:lnTo>
                  <a:lnTo>
                    <a:pt x="1481" y="664"/>
                  </a:lnTo>
                  <a:lnTo>
                    <a:pt x="1481" y="664"/>
                  </a:lnTo>
                  <a:lnTo>
                    <a:pt x="1481" y="660"/>
                  </a:lnTo>
                  <a:lnTo>
                    <a:pt x="1481" y="660"/>
                  </a:lnTo>
                  <a:lnTo>
                    <a:pt x="1481" y="657"/>
                  </a:lnTo>
                  <a:lnTo>
                    <a:pt x="1481" y="657"/>
                  </a:lnTo>
                  <a:lnTo>
                    <a:pt x="1479" y="657"/>
                  </a:lnTo>
                  <a:lnTo>
                    <a:pt x="1479" y="657"/>
                  </a:lnTo>
                  <a:lnTo>
                    <a:pt x="1479" y="655"/>
                  </a:lnTo>
                  <a:lnTo>
                    <a:pt x="1479" y="655"/>
                  </a:lnTo>
                  <a:lnTo>
                    <a:pt x="1481" y="655"/>
                  </a:lnTo>
                  <a:lnTo>
                    <a:pt x="1484" y="657"/>
                  </a:lnTo>
                  <a:lnTo>
                    <a:pt x="1484" y="657"/>
                  </a:lnTo>
                  <a:lnTo>
                    <a:pt x="1484" y="662"/>
                  </a:lnTo>
                  <a:lnTo>
                    <a:pt x="1486" y="662"/>
                  </a:lnTo>
                  <a:lnTo>
                    <a:pt x="1486" y="664"/>
                  </a:lnTo>
                  <a:lnTo>
                    <a:pt x="1489" y="667"/>
                  </a:lnTo>
                  <a:lnTo>
                    <a:pt x="1489" y="669"/>
                  </a:lnTo>
                  <a:lnTo>
                    <a:pt x="1491" y="669"/>
                  </a:lnTo>
                  <a:lnTo>
                    <a:pt x="1493" y="669"/>
                  </a:lnTo>
                  <a:lnTo>
                    <a:pt x="1493" y="669"/>
                  </a:lnTo>
                  <a:lnTo>
                    <a:pt x="1493" y="671"/>
                  </a:lnTo>
                  <a:lnTo>
                    <a:pt x="1493" y="671"/>
                  </a:lnTo>
                  <a:lnTo>
                    <a:pt x="1493" y="671"/>
                  </a:lnTo>
                  <a:lnTo>
                    <a:pt x="1493" y="671"/>
                  </a:lnTo>
                  <a:lnTo>
                    <a:pt x="1493" y="671"/>
                  </a:lnTo>
                  <a:lnTo>
                    <a:pt x="1503" y="674"/>
                  </a:lnTo>
                  <a:lnTo>
                    <a:pt x="1503" y="671"/>
                  </a:lnTo>
                  <a:lnTo>
                    <a:pt x="1503" y="671"/>
                  </a:lnTo>
                  <a:lnTo>
                    <a:pt x="1503" y="669"/>
                  </a:lnTo>
                  <a:lnTo>
                    <a:pt x="1503" y="669"/>
                  </a:lnTo>
                  <a:lnTo>
                    <a:pt x="1503" y="669"/>
                  </a:lnTo>
                  <a:lnTo>
                    <a:pt x="1503" y="669"/>
                  </a:lnTo>
                  <a:lnTo>
                    <a:pt x="1503" y="669"/>
                  </a:lnTo>
                  <a:lnTo>
                    <a:pt x="1503" y="667"/>
                  </a:lnTo>
                  <a:lnTo>
                    <a:pt x="1503" y="667"/>
                  </a:lnTo>
                  <a:lnTo>
                    <a:pt x="1503" y="664"/>
                  </a:lnTo>
                  <a:lnTo>
                    <a:pt x="1503" y="664"/>
                  </a:lnTo>
                  <a:lnTo>
                    <a:pt x="1503" y="664"/>
                  </a:lnTo>
                  <a:lnTo>
                    <a:pt x="1500" y="664"/>
                  </a:lnTo>
                  <a:lnTo>
                    <a:pt x="1500" y="662"/>
                  </a:lnTo>
                  <a:lnTo>
                    <a:pt x="1500" y="660"/>
                  </a:lnTo>
                  <a:lnTo>
                    <a:pt x="1500" y="660"/>
                  </a:lnTo>
                  <a:lnTo>
                    <a:pt x="1500" y="657"/>
                  </a:lnTo>
                  <a:lnTo>
                    <a:pt x="1498" y="657"/>
                  </a:lnTo>
                  <a:lnTo>
                    <a:pt x="1498" y="655"/>
                  </a:lnTo>
                  <a:lnTo>
                    <a:pt x="1498" y="655"/>
                  </a:lnTo>
                  <a:lnTo>
                    <a:pt x="1498" y="655"/>
                  </a:lnTo>
                  <a:lnTo>
                    <a:pt x="1496" y="653"/>
                  </a:lnTo>
                  <a:lnTo>
                    <a:pt x="1496" y="653"/>
                  </a:lnTo>
                  <a:lnTo>
                    <a:pt x="1493" y="650"/>
                  </a:lnTo>
                  <a:lnTo>
                    <a:pt x="1493" y="650"/>
                  </a:lnTo>
                  <a:lnTo>
                    <a:pt x="1493" y="648"/>
                  </a:lnTo>
                  <a:lnTo>
                    <a:pt x="1493" y="648"/>
                  </a:lnTo>
                  <a:lnTo>
                    <a:pt x="1493" y="645"/>
                  </a:lnTo>
                  <a:lnTo>
                    <a:pt x="1496" y="645"/>
                  </a:lnTo>
                  <a:lnTo>
                    <a:pt x="1496" y="643"/>
                  </a:lnTo>
                  <a:lnTo>
                    <a:pt x="1496" y="643"/>
                  </a:lnTo>
                  <a:lnTo>
                    <a:pt x="1496" y="645"/>
                  </a:lnTo>
                  <a:lnTo>
                    <a:pt x="1496" y="645"/>
                  </a:lnTo>
                  <a:lnTo>
                    <a:pt x="1496" y="648"/>
                  </a:lnTo>
                  <a:lnTo>
                    <a:pt x="1496" y="648"/>
                  </a:lnTo>
                  <a:lnTo>
                    <a:pt x="1496" y="648"/>
                  </a:lnTo>
                  <a:lnTo>
                    <a:pt x="1496" y="650"/>
                  </a:lnTo>
                  <a:lnTo>
                    <a:pt x="1496" y="650"/>
                  </a:lnTo>
                  <a:lnTo>
                    <a:pt x="1496" y="653"/>
                  </a:lnTo>
                  <a:lnTo>
                    <a:pt x="1500" y="655"/>
                  </a:lnTo>
                  <a:lnTo>
                    <a:pt x="1500" y="655"/>
                  </a:lnTo>
                  <a:lnTo>
                    <a:pt x="1500" y="655"/>
                  </a:lnTo>
                  <a:lnTo>
                    <a:pt x="1500" y="655"/>
                  </a:lnTo>
                  <a:lnTo>
                    <a:pt x="1500" y="655"/>
                  </a:lnTo>
                  <a:lnTo>
                    <a:pt x="1500" y="657"/>
                  </a:lnTo>
                  <a:lnTo>
                    <a:pt x="1503" y="657"/>
                  </a:lnTo>
                  <a:lnTo>
                    <a:pt x="1503" y="657"/>
                  </a:lnTo>
                  <a:lnTo>
                    <a:pt x="1503" y="657"/>
                  </a:lnTo>
                  <a:lnTo>
                    <a:pt x="1505" y="662"/>
                  </a:lnTo>
                  <a:lnTo>
                    <a:pt x="1503" y="662"/>
                  </a:lnTo>
                  <a:lnTo>
                    <a:pt x="1505" y="664"/>
                  </a:lnTo>
                  <a:lnTo>
                    <a:pt x="1505" y="664"/>
                  </a:lnTo>
                  <a:lnTo>
                    <a:pt x="1505" y="664"/>
                  </a:lnTo>
                  <a:lnTo>
                    <a:pt x="1505" y="667"/>
                  </a:lnTo>
                  <a:lnTo>
                    <a:pt x="1505" y="667"/>
                  </a:lnTo>
                  <a:lnTo>
                    <a:pt x="1505" y="667"/>
                  </a:lnTo>
                  <a:lnTo>
                    <a:pt x="1508" y="669"/>
                  </a:lnTo>
                  <a:lnTo>
                    <a:pt x="1510" y="671"/>
                  </a:lnTo>
                  <a:lnTo>
                    <a:pt x="1510" y="671"/>
                  </a:lnTo>
                  <a:lnTo>
                    <a:pt x="1512" y="674"/>
                  </a:lnTo>
                  <a:lnTo>
                    <a:pt x="1517" y="671"/>
                  </a:lnTo>
                  <a:lnTo>
                    <a:pt x="1522" y="669"/>
                  </a:lnTo>
                  <a:lnTo>
                    <a:pt x="1522" y="669"/>
                  </a:lnTo>
                  <a:lnTo>
                    <a:pt x="1524" y="667"/>
                  </a:lnTo>
                  <a:lnTo>
                    <a:pt x="1524" y="664"/>
                  </a:lnTo>
                  <a:lnTo>
                    <a:pt x="1522" y="662"/>
                  </a:lnTo>
                  <a:lnTo>
                    <a:pt x="1519" y="660"/>
                  </a:lnTo>
                  <a:lnTo>
                    <a:pt x="1519" y="660"/>
                  </a:lnTo>
                  <a:lnTo>
                    <a:pt x="1522" y="655"/>
                  </a:lnTo>
                  <a:lnTo>
                    <a:pt x="1517" y="653"/>
                  </a:lnTo>
                  <a:lnTo>
                    <a:pt x="1517" y="653"/>
                  </a:lnTo>
                  <a:lnTo>
                    <a:pt x="1512" y="650"/>
                  </a:lnTo>
                  <a:lnTo>
                    <a:pt x="1512" y="648"/>
                  </a:lnTo>
                  <a:lnTo>
                    <a:pt x="1512" y="645"/>
                  </a:lnTo>
                  <a:lnTo>
                    <a:pt x="1510" y="643"/>
                  </a:lnTo>
                  <a:lnTo>
                    <a:pt x="1510" y="643"/>
                  </a:lnTo>
                  <a:lnTo>
                    <a:pt x="1510" y="643"/>
                  </a:lnTo>
                  <a:lnTo>
                    <a:pt x="1510" y="641"/>
                  </a:lnTo>
                  <a:lnTo>
                    <a:pt x="1510" y="641"/>
                  </a:lnTo>
                  <a:lnTo>
                    <a:pt x="1508" y="638"/>
                  </a:lnTo>
                  <a:lnTo>
                    <a:pt x="1508" y="638"/>
                  </a:lnTo>
                  <a:lnTo>
                    <a:pt x="1505" y="638"/>
                  </a:lnTo>
                  <a:lnTo>
                    <a:pt x="1508" y="636"/>
                  </a:lnTo>
                  <a:lnTo>
                    <a:pt x="1508" y="638"/>
                  </a:lnTo>
                  <a:lnTo>
                    <a:pt x="1510" y="638"/>
                  </a:lnTo>
                  <a:lnTo>
                    <a:pt x="1510" y="641"/>
                  </a:lnTo>
                  <a:lnTo>
                    <a:pt x="1510" y="641"/>
                  </a:lnTo>
                  <a:lnTo>
                    <a:pt x="1510" y="641"/>
                  </a:lnTo>
                  <a:lnTo>
                    <a:pt x="1512" y="643"/>
                  </a:lnTo>
                  <a:lnTo>
                    <a:pt x="1512" y="643"/>
                  </a:lnTo>
                  <a:lnTo>
                    <a:pt x="1512" y="643"/>
                  </a:lnTo>
                  <a:lnTo>
                    <a:pt x="1515" y="645"/>
                  </a:lnTo>
                  <a:lnTo>
                    <a:pt x="1515" y="648"/>
                  </a:lnTo>
                  <a:lnTo>
                    <a:pt x="1517" y="650"/>
                  </a:lnTo>
                  <a:lnTo>
                    <a:pt x="1517" y="650"/>
                  </a:lnTo>
                  <a:lnTo>
                    <a:pt x="1519" y="650"/>
                  </a:lnTo>
                  <a:lnTo>
                    <a:pt x="1524" y="648"/>
                  </a:lnTo>
                  <a:lnTo>
                    <a:pt x="1526" y="645"/>
                  </a:lnTo>
                  <a:lnTo>
                    <a:pt x="1526" y="645"/>
                  </a:lnTo>
                  <a:lnTo>
                    <a:pt x="1526" y="645"/>
                  </a:lnTo>
                  <a:lnTo>
                    <a:pt x="1526" y="645"/>
                  </a:lnTo>
                  <a:lnTo>
                    <a:pt x="1526" y="645"/>
                  </a:lnTo>
                  <a:lnTo>
                    <a:pt x="1526" y="645"/>
                  </a:lnTo>
                  <a:lnTo>
                    <a:pt x="1526" y="648"/>
                  </a:lnTo>
                  <a:lnTo>
                    <a:pt x="1526" y="648"/>
                  </a:lnTo>
                  <a:lnTo>
                    <a:pt x="1526" y="648"/>
                  </a:lnTo>
                  <a:lnTo>
                    <a:pt x="1526" y="648"/>
                  </a:lnTo>
                  <a:lnTo>
                    <a:pt x="1524" y="648"/>
                  </a:lnTo>
                  <a:lnTo>
                    <a:pt x="1524" y="653"/>
                  </a:lnTo>
                  <a:lnTo>
                    <a:pt x="1522" y="653"/>
                  </a:lnTo>
                  <a:lnTo>
                    <a:pt x="1524" y="653"/>
                  </a:lnTo>
                  <a:lnTo>
                    <a:pt x="1524" y="655"/>
                  </a:lnTo>
                  <a:lnTo>
                    <a:pt x="1524" y="655"/>
                  </a:lnTo>
                  <a:lnTo>
                    <a:pt x="1524" y="655"/>
                  </a:lnTo>
                  <a:lnTo>
                    <a:pt x="1524" y="655"/>
                  </a:lnTo>
                  <a:lnTo>
                    <a:pt x="1524" y="657"/>
                  </a:lnTo>
                  <a:lnTo>
                    <a:pt x="1524" y="660"/>
                  </a:lnTo>
                  <a:lnTo>
                    <a:pt x="1524" y="660"/>
                  </a:lnTo>
                  <a:lnTo>
                    <a:pt x="1526" y="662"/>
                  </a:lnTo>
                  <a:lnTo>
                    <a:pt x="1534" y="662"/>
                  </a:lnTo>
                  <a:lnTo>
                    <a:pt x="1536" y="660"/>
                  </a:lnTo>
                  <a:lnTo>
                    <a:pt x="1538" y="660"/>
                  </a:lnTo>
                  <a:lnTo>
                    <a:pt x="1538" y="660"/>
                  </a:lnTo>
                  <a:lnTo>
                    <a:pt x="1538" y="657"/>
                  </a:lnTo>
                  <a:lnTo>
                    <a:pt x="1538" y="655"/>
                  </a:lnTo>
                  <a:lnTo>
                    <a:pt x="1538" y="653"/>
                  </a:lnTo>
                  <a:lnTo>
                    <a:pt x="1541" y="655"/>
                  </a:lnTo>
                  <a:lnTo>
                    <a:pt x="1541" y="657"/>
                  </a:lnTo>
                  <a:lnTo>
                    <a:pt x="1541" y="660"/>
                  </a:lnTo>
                  <a:lnTo>
                    <a:pt x="1543" y="657"/>
                  </a:lnTo>
                  <a:lnTo>
                    <a:pt x="1543" y="660"/>
                  </a:lnTo>
                  <a:lnTo>
                    <a:pt x="1545" y="660"/>
                  </a:lnTo>
                  <a:lnTo>
                    <a:pt x="1545" y="660"/>
                  </a:lnTo>
                  <a:lnTo>
                    <a:pt x="1545" y="662"/>
                  </a:lnTo>
                  <a:lnTo>
                    <a:pt x="1548" y="662"/>
                  </a:lnTo>
                  <a:lnTo>
                    <a:pt x="1548" y="662"/>
                  </a:lnTo>
                  <a:lnTo>
                    <a:pt x="1550" y="664"/>
                  </a:lnTo>
                  <a:lnTo>
                    <a:pt x="1550" y="667"/>
                  </a:lnTo>
                  <a:lnTo>
                    <a:pt x="1550" y="667"/>
                  </a:lnTo>
                  <a:lnTo>
                    <a:pt x="1550" y="669"/>
                  </a:lnTo>
                  <a:lnTo>
                    <a:pt x="1550" y="669"/>
                  </a:lnTo>
                  <a:lnTo>
                    <a:pt x="1548" y="671"/>
                  </a:lnTo>
                  <a:lnTo>
                    <a:pt x="1548" y="671"/>
                  </a:lnTo>
                  <a:lnTo>
                    <a:pt x="1548" y="676"/>
                  </a:lnTo>
                  <a:lnTo>
                    <a:pt x="1548" y="676"/>
                  </a:lnTo>
                  <a:lnTo>
                    <a:pt x="1548" y="676"/>
                  </a:lnTo>
                  <a:lnTo>
                    <a:pt x="1548" y="679"/>
                  </a:lnTo>
                  <a:lnTo>
                    <a:pt x="1548" y="679"/>
                  </a:lnTo>
                  <a:lnTo>
                    <a:pt x="1548" y="679"/>
                  </a:lnTo>
                  <a:lnTo>
                    <a:pt x="1548" y="679"/>
                  </a:lnTo>
                  <a:lnTo>
                    <a:pt x="1548" y="681"/>
                  </a:lnTo>
                  <a:lnTo>
                    <a:pt x="1545" y="681"/>
                  </a:lnTo>
                  <a:lnTo>
                    <a:pt x="1548" y="681"/>
                  </a:lnTo>
                  <a:lnTo>
                    <a:pt x="1548" y="681"/>
                  </a:lnTo>
                  <a:lnTo>
                    <a:pt x="1550" y="683"/>
                  </a:lnTo>
                  <a:lnTo>
                    <a:pt x="1550" y="683"/>
                  </a:lnTo>
                  <a:lnTo>
                    <a:pt x="1548" y="683"/>
                  </a:lnTo>
                  <a:lnTo>
                    <a:pt x="1548" y="686"/>
                  </a:lnTo>
                  <a:lnTo>
                    <a:pt x="1548" y="686"/>
                  </a:lnTo>
                  <a:lnTo>
                    <a:pt x="1548" y="688"/>
                  </a:lnTo>
                  <a:lnTo>
                    <a:pt x="1548" y="688"/>
                  </a:lnTo>
                  <a:lnTo>
                    <a:pt x="1550" y="686"/>
                  </a:lnTo>
                  <a:lnTo>
                    <a:pt x="1550" y="683"/>
                  </a:lnTo>
                  <a:lnTo>
                    <a:pt x="1552" y="683"/>
                  </a:lnTo>
                  <a:lnTo>
                    <a:pt x="1552" y="686"/>
                  </a:lnTo>
                  <a:lnTo>
                    <a:pt x="1555" y="683"/>
                  </a:lnTo>
                  <a:lnTo>
                    <a:pt x="1555" y="683"/>
                  </a:lnTo>
                  <a:lnTo>
                    <a:pt x="1555" y="681"/>
                  </a:lnTo>
                  <a:lnTo>
                    <a:pt x="1555" y="681"/>
                  </a:lnTo>
                  <a:lnTo>
                    <a:pt x="1557" y="681"/>
                  </a:lnTo>
                  <a:lnTo>
                    <a:pt x="1560" y="681"/>
                  </a:lnTo>
                  <a:lnTo>
                    <a:pt x="1560" y="681"/>
                  </a:lnTo>
                  <a:lnTo>
                    <a:pt x="1560" y="679"/>
                  </a:lnTo>
                  <a:lnTo>
                    <a:pt x="1562" y="676"/>
                  </a:lnTo>
                  <a:lnTo>
                    <a:pt x="1564" y="676"/>
                  </a:lnTo>
                  <a:lnTo>
                    <a:pt x="1564" y="676"/>
                  </a:lnTo>
                  <a:lnTo>
                    <a:pt x="1569" y="671"/>
                  </a:lnTo>
                  <a:lnTo>
                    <a:pt x="1574" y="667"/>
                  </a:lnTo>
                  <a:lnTo>
                    <a:pt x="1576" y="667"/>
                  </a:lnTo>
                  <a:lnTo>
                    <a:pt x="1579" y="669"/>
                  </a:lnTo>
                  <a:lnTo>
                    <a:pt x="1579" y="669"/>
                  </a:lnTo>
                  <a:lnTo>
                    <a:pt x="1581" y="667"/>
                  </a:lnTo>
                  <a:lnTo>
                    <a:pt x="1579" y="664"/>
                  </a:lnTo>
                  <a:lnTo>
                    <a:pt x="1579" y="662"/>
                  </a:lnTo>
                  <a:lnTo>
                    <a:pt x="1581" y="662"/>
                  </a:lnTo>
                  <a:lnTo>
                    <a:pt x="1581" y="662"/>
                  </a:lnTo>
                  <a:lnTo>
                    <a:pt x="1581" y="660"/>
                  </a:lnTo>
                  <a:lnTo>
                    <a:pt x="1581" y="660"/>
                  </a:lnTo>
                  <a:lnTo>
                    <a:pt x="1581" y="660"/>
                  </a:lnTo>
                  <a:lnTo>
                    <a:pt x="1581" y="660"/>
                  </a:lnTo>
                  <a:lnTo>
                    <a:pt x="1581" y="660"/>
                  </a:lnTo>
                  <a:lnTo>
                    <a:pt x="1581" y="660"/>
                  </a:lnTo>
                  <a:lnTo>
                    <a:pt x="1583" y="657"/>
                  </a:lnTo>
                  <a:lnTo>
                    <a:pt x="1583" y="657"/>
                  </a:lnTo>
                  <a:lnTo>
                    <a:pt x="1583" y="655"/>
                  </a:lnTo>
                  <a:lnTo>
                    <a:pt x="1583" y="653"/>
                  </a:lnTo>
                  <a:lnTo>
                    <a:pt x="1583" y="650"/>
                  </a:lnTo>
                  <a:lnTo>
                    <a:pt x="1586" y="648"/>
                  </a:lnTo>
                  <a:lnTo>
                    <a:pt x="1586" y="645"/>
                  </a:lnTo>
                  <a:lnTo>
                    <a:pt x="1586" y="645"/>
                  </a:lnTo>
                  <a:lnTo>
                    <a:pt x="1586" y="645"/>
                  </a:lnTo>
                  <a:lnTo>
                    <a:pt x="1586" y="643"/>
                  </a:lnTo>
                  <a:lnTo>
                    <a:pt x="1586" y="643"/>
                  </a:lnTo>
                  <a:lnTo>
                    <a:pt x="1588" y="645"/>
                  </a:lnTo>
                  <a:lnTo>
                    <a:pt x="1590" y="643"/>
                  </a:lnTo>
                  <a:lnTo>
                    <a:pt x="1590" y="645"/>
                  </a:lnTo>
                  <a:lnTo>
                    <a:pt x="1588" y="645"/>
                  </a:lnTo>
                  <a:lnTo>
                    <a:pt x="1588" y="645"/>
                  </a:lnTo>
                  <a:lnTo>
                    <a:pt x="1590" y="648"/>
                  </a:lnTo>
                  <a:lnTo>
                    <a:pt x="1590" y="648"/>
                  </a:lnTo>
                  <a:lnTo>
                    <a:pt x="1590" y="648"/>
                  </a:lnTo>
                  <a:lnTo>
                    <a:pt x="1590" y="648"/>
                  </a:lnTo>
                  <a:lnTo>
                    <a:pt x="1590" y="648"/>
                  </a:lnTo>
                  <a:lnTo>
                    <a:pt x="1590" y="650"/>
                  </a:lnTo>
                  <a:lnTo>
                    <a:pt x="1590" y="653"/>
                  </a:lnTo>
                  <a:lnTo>
                    <a:pt x="1593" y="653"/>
                  </a:lnTo>
                  <a:lnTo>
                    <a:pt x="1595" y="653"/>
                  </a:lnTo>
                  <a:lnTo>
                    <a:pt x="1595" y="650"/>
                  </a:lnTo>
                  <a:lnTo>
                    <a:pt x="1595" y="648"/>
                  </a:lnTo>
                  <a:lnTo>
                    <a:pt x="1597" y="645"/>
                  </a:lnTo>
                  <a:lnTo>
                    <a:pt x="1597" y="645"/>
                  </a:lnTo>
                  <a:lnTo>
                    <a:pt x="1597" y="643"/>
                  </a:lnTo>
                  <a:lnTo>
                    <a:pt x="1597" y="643"/>
                  </a:lnTo>
                  <a:lnTo>
                    <a:pt x="1597" y="641"/>
                  </a:lnTo>
                  <a:lnTo>
                    <a:pt x="1597" y="641"/>
                  </a:lnTo>
                  <a:lnTo>
                    <a:pt x="1597" y="638"/>
                  </a:lnTo>
                  <a:lnTo>
                    <a:pt x="1597" y="638"/>
                  </a:lnTo>
                  <a:lnTo>
                    <a:pt x="1597" y="636"/>
                  </a:lnTo>
                  <a:lnTo>
                    <a:pt x="1600" y="636"/>
                  </a:lnTo>
                  <a:lnTo>
                    <a:pt x="1602" y="636"/>
                  </a:lnTo>
                  <a:lnTo>
                    <a:pt x="1602" y="636"/>
                  </a:lnTo>
                  <a:lnTo>
                    <a:pt x="1602" y="634"/>
                  </a:lnTo>
                  <a:lnTo>
                    <a:pt x="1602" y="631"/>
                  </a:lnTo>
                  <a:lnTo>
                    <a:pt x="1602" y="631"/>
                  </a:lnTo>
                  <a:lnTo>
                    <a:pt x="1602" y="629"/>
                  </a:lnTo>
                  <a:lnTo>
                    <a:pt x="1602" y="629"/>
                  </a:lnTo>
                  <a:lnTo>
                    <a:pt x="1602" y="629"/>
                  </a:lnTo>
                  <a:lnTo>
                    <a:pt x="1602" y="629"/>
                  </a:lnTo>
                  <a:lnTo>
                    <a:pt x="1602" y="629"/>
                  </a:lnTo>
                  <a:lnTo>
                    <a:pt x="1602" y="629"/>
                  </a:lnTo>
                  <a:lnTo>
                    <a:pt x="1602" y="627"/>
                  </a:lnTo>
                  <a:lnTo>
                    <a:pt x="1602" y="627"/>
                  </a:lnTo>
                  <a:lnTo>
                    <a:pt x="1600" y="624"/>
                  </a:lnTo>
                  <a:lnTo>
                    <a:pt x="1600" y="624"/>
                  </a:lnTo>
                  <a:lnTo>
                    <a:pt x="1600" y="624"/>
                  </a:lnTo>
                  <a:lnTo>
                    <a:pt x="1600" y="624"/>
                  </a:lnTo>
                  <a:lnTo>
                    <a:pt x="1600" y="622"/>
                  </a:lnTo>
                  <a:lnTo>
                    <a:pt x="1600" y="622"/>
                  </a:lnTo>
                  <a:lnTo>
                    <a:pt x="1602" y="619"/>
                  </a:lnTo>
                  <a:lnTo>
                    <a:pt x="1600" y="617"/>
                  </a:lnTo>
                  <a:lnTo>
                    <a:pt x="1597" y="617"/>
                  </a:lnTo>
                  <a:lnTo>
                    <a:pt x="1597" y="617"/>
                  </a:lnTo>
                  <a:lnTo>
                    <a:pt x="1597" y="615"/>
                  </a:lnTo>
                  <a:lnTo>
                    <a:pt x="1597" y="615"/>
                  </a:lnTo>
                  <a:lnTo>
                    <a:pt x="1597" y="612"/>
                  </a:lnTo>
                  <a:lnTo>
                    <a:pt x="1595" y="612"/>
                  </a:lnTo>
                  <a:lnTo>
                    <a:pt x="1595" y="612"/>
                  </a:lnTo>
                  <a:lnTo>
                    <a:pt x="1595" y="610"/>
                  </a:lnTo>
                  <a:lnTo>
                    <a:pt x="1595" y="610"/>
                  </a:lnTo>
                  <a:lnTo>
                    <a:pt x="1595" y="610"/>
                  </a:lnTo>
                  <a:lnTo>
                    <a:pt x="1590" y="605"/>
                  </a:lnTo>
                  <a:lnTo>
                    <a:pt x="1590" y="605"/>
                  </a:lnTo>
                  <a:lnTo>
                    <a:pt x="1586" y="608"/>
                  </a:lnTo>
                  <a:lnTo>
                    <a:pt x="1586" y="608"/>
                  </a:lnTo>
                  <a:lnTo>
                    <a:pt x="1586" y="608"/>
                  </a:lnTo>
                  <a:lnTo>
                    <a:pt x="1586" y="608"/>
                  </a:lnTo>
                  <a:lnTo>
                    <a:pt x="1586" y="608"/>
                  </a:lnTo>
                  <a:lnTo>
                    <a:pt x="1586" y="610"/>
                  </a:lnTo>
                  <a:lnTo>
                    <a:pt x="1586" y="610"/>
                  </a:lnTo>
                  <a:lnTo>
                    <a:pt x="1586" y="610"/>
                  </a:lnTo>
                  <a:lnTo>
                    <a:pt x="1586" y="610"/>
                  </a:lnTo>
                  <a:lnTo>
                    <a:pt x="1586" y="610"/>
                  </a:lnTo>
                  <a:lnTo>
                    <a:pt x="1583" y="612"/>
                  </a:lnTo>
                  <a:lnTo>
                    <a:pt x="1583" y="615"/>
                  </a:lnTo>
                  <a:lnTo>
                    <a:pt x="1583" y="615"/>
                  </a:lnTo>
                  <a:lnTo>
                    <a:pt x="1583" y="617"/>
                  </a:lnTo>
                  <a:lnTo>
                    <a:pt x="1583" y="617"/>
                  </a:lnTo>
                  <a:lnTo>
                    <a:pt x="1583" y="617"/>
                  </a:lnTo>
                  <a:lnTo>
                    <a:pt x="1583" y="619"/>
                  </a:lnTo>
                  <a:lnTo>
                    <a:pt x="1581" y="619"/>
                  </a:lnTo>
                  <a:lnTo>
                    <a:pt x="1581" y="619"/>
                  </a:lnTo>
                  <a:lnTo>
                    <a:pt x="1583" y="622"/>
                  </a:lnTo>
                  <a:lnTo>
                    <a:pt x="1583" y="624"/>
                  </a:lnTo>
                  <a:lnTo>
                    <a:pt x="1579" y="622"/>
                  </a:lnTo>
                  <a:lnTo>
                    <a:pt x="1579" y="622"/>
                  </a:lnTo>
                  <a:lnTo>
                    <a:pt x="1579" y="622"/>
                  </a:lnTo>
                  <a:lnTo>
                    <a:pt x="1579" y="619"/>
                  </a:lnTo>
                  <a:lnTo>
                    <a:pt x="1579" y="619"/>
                  </a:lnTo>
                  <a:lnTo>
                    <a:pt x="1579" y="619"/>
                  </a:lnTo>
                  <a:lnTo>
                    <a:pt x="1579" y="617"/>
                  </a:lnTo>
                  <a:lnTo>
                    <a:pt x="1579" y="617"/>
                  </a:lnTo>
                  <a:lnTo>
                    <a:pt x="1579" y="617"/>
                  </a:lnTo>
                  <a:lnTo>
                    <a:pt x="1579" y="617"/>
                  </a:lnTo>
                  <a:lnTo>
                    <a:pt x="1579" y="615"/>
                  </a:lnTo>
                  <a:lnTo>
                    <a:pt x="1576" y="615"/>
                  </a:lnTo>
                  <a:lnTo>
                    <a:pt x="1576" y="615"/>
                  </a:lnTo>
                  <a:lnTo>
                    <a:pt x="1574" y="615"/>
                  </a:lnTo>
                  <a:lnTo>
                    <a:pt x="1574" y="617"/>
                  </a:lnTo>
                  <a:lnTo>
                    <a:pt x="1574" y="617"/>
                  </a:lnTo>
                  <a:lnTo>
                    <a:pt x="1574" y="617"/>
                  </a:lnTo>
                  <a:lnTo>
                    <a:pt x="1569" y="617"/>
                  </a:lnTo>
                  <a:lnTo>
                    <a:pt x="1569" y="617"/>
                  </a:lnTo>
                  <a:lnTo>
                    <a:pt x="1567" y="617"/>
                  </a:lnTo>
                  <a:lnTo>
                    <a:pt x="1567" y="615"/>
                  </a:lnTo>
                  <a:lnTo>
                    <a:pt x="1567" y="615"/>
                  </a:lnTo>
                  <a:lnTo>
                    <a:pt x="1569" y="615"/>
                  </a:lnTo>
                  <a:lnTo>
                    <a:pt x="1569" y="612"/>
                  </a:lnTo>
                  <a:lnTo>
                    <a:pt x="1571" y="605"/>
                  </a:lnTo>
                  <a:lnTo>
                    <a:pt x="1571" y="603"/>
                  </a:lnTo>
                  <a:lnTo>
                    <a:pt x="1571" y="600"/>
                  </a:lnTo>
                  <a:lnTo>
                    <a:pt x="1571" y="600"/>
                  </a:lnTo>
                  <a:lnTo>
                    <a:pt x="1571" y="598"/>
                  </a:lnTo>
                  <a:lnTo>
                    <a:pt x="1571" y="598"/>
                  </a:lnTo>
                  <a:lnTo>
                    <a:pt x="1571" y="598"/>
                  </a:lnTo>
                  <a:lnTo>
                    <a:pt x="1571" y="598"/>
                  </a:lnTo>
                  <a:lnTo>
                    <a:pt x="1571" y="598"/>
                  </a:lnTo>
                  <a:lnTo>
                    <a:pt x="1571" y="596"/>
                  </a:lnTo>
                  <a:lnTo>
                    <a:pt x="1569" y="596"/>
                  </a:lnTo>
                  <a:lnTo>
                    <a:pt x="1567" y="593"/>
                  </a:lnTo>
                  <a:lnTo>
                    <a:pt x="1567" y="593"/>
                  </a:lnTo>
                  <a:lnTo>
                    <a:pt x="1564" y="593"/>
                  </a:lnTo>
                  <a:lnTo>
                    <a:pt x="1562" y="591"/>
                  </a:lnTo>
                  <a:lnTo>
                    <a:pt x="1557" y="593"/>
                  </a:lnTo>
                  <a:lnTo>
                    <a:pt x="1552" y="598"/>
                  </a:lnTo>
                  <a:lnTo>
                    <a:pt x="1548" y="608"/>
                  </a:lnTo>
                  <a:lnTo>
                    <a:pt x="1548" y="608"/>
                  </a:lnTo>
                  <a:lnTo>
                    <a:pt x="1548" y="608"/>
                  </a:lnTo>
                  <a:lnTo>
                    <a:pt x="1548" y="608"/>
                  </a:lnTo>
                  <a:lnTo>
                    <a:pt x="1548" y="605"/>
                  </a:lnTo>
                  <a:lnTo>
                    <a:pt x="1548" y="600"/>
                  </a:lnTo>
                  <a:lnTo>
                    <a:pt x="1550" y="598"/>
                  </a:lnTo>
                  <a:lnTo>
                    <a:pt x="1550" y="596"/>
                  </a:lnTo>
                  <a:lnTo>
                    <a:pt x="1550" y="596"/>
                  </a:lnTo>
                  <a:lnTo>
                    <a:pt x="1545" y="596"/>
                  </a:lnTo>
                  <a:lnTo>
                    <a:pt x="1545" y="596"/>
                  </a:lnTo>
                  <a:lnTo>
                    <a:pt x="1545" y="596"/>
                  </a:lnTo>
                  <a:lnTo>
                    <a:pt x="1538" y="593"/>
                  </a:lnTo>
                  <a:lnTo>
                    <a:pt x="1531" y="593"/>
                  </a:lnTo>
                  <a:lnTo>
                    <a:pt x="1524" y="600"/>
                  </a:lnTo>
                  <a:lnTo>
                    <a:pt x="1524" y="600"/>
                  </a:lnTo>
                  <a:lnTo>
                    <a:pt x="1522" y="603"/>
                  </a:lnTo>
                  <a:lnTo>
                    <a:pt x="1522" y="605"/>
                  </a:lnTo>
                  <a:lnTo>
                    <a:pt x="1519" y="605"/>
                  </a:lnTo>
                  <a:lnTo>
                    <a:pt x="1519" y="605"/>
                  </a:lnTo>
                  <a:lnTo>
                    <a:pt x="1517" y="605"/>
                  </a:lnTo>
                  <a:lnTo>
                    <a:pt x="1517" y="603"/>
                  </a:lnTo>
                  <a:lnTo>
                    <a:pt x="1517" y="603"/>
                  </a:lnTo>
                  <a:lnTo>
                    <a:pt x="1517" y="603"/>
                  </a:lnTo>
                  <a:lnTo>
                    <a:pt x="1517" y="600"/>
                  </a:lnTo>
                  <a:lnTo>
                    <a:pt x="1517" y="600"/>
                  </a:lnTo>
                  <a:lnTo>
                    <a:pt x="1517" y="600"/>
                  </a:lnTo>
                  <a:lnTo>
                    <a:pt x="1517" y="598"/>
                  </a:lnTo>
                  <a:lnTo>
                    <a:pt x="1515" y="598"/>
                  </a:lnTo>
                  <a:lnTo>
                    <a:pt x="1515" y="598"/>
                  </a:lnTo>
                  <a:lnTo>
                    <a:pt x="1510" y="596"/>
                  </a:lnTo>
                  <a:lnTo>
                    <a:pt x="1512" y="593"/>
                  </a:lnTo>
                  <a:lnTo>
                    <a:pt x="1517" y="596"/>
                  </a:lnTo>
                  <a:lnTo>
                    <a:pt x="1522" y="593"/>
                  </a:lnTo>
                  <a:lnTo>
                    <a:pt x="1529" y="591"/>
                  </a:lnTo>
                  <a:lnTo>
                    <a:pt x="1529" y="589"/>
                  </a:lnTo>
                  <a:lnTo>
                    <a:pt x="1529" y="586"/>
                  </a:lnTo>
                  <a:lnTo>
                    <a:pt x="1529" y="586"/>
                  </a:lnTo>
                  <a:lnTo>
                    <a:pt x="1522" y="586"/>
                  </a:lnTo>
                  <a:lnTo>
                    <a:pt x="1522" y="586"/>
                  </a:lnTo>
                  <a:lnTo>
                    <a:pt x="1519" y="584"/>
                  </a:lnTo>
                  <a:lnTo>
                    <a:pt x="1517" y="584"/>
                  </a:lnTo>
                  <a:lnTo>
                    <a:pt x="1517" y="584"/>
                  </a:lnTo>
                  <a:lnTo>
                    <a:pt x="1517" y="582"/>
                  </a:lnTo>
                  <a:lnTo>
                    <a:pt x="1517" y="582"/>
                  </a:lnTo>
                  <a:lnTo>
                    <a:pt x="1517" y="579"/>
                  </a:lnTo>
                  <a:lnTo>
                    <a:pt x="1517" y="579"/>
                  </a:lnTo>
                  <a:lnTo>
                    <a:pt x="1517" y="577"/>
                  </a:lnTo>
                  <a:lnTo>
                    <a:pt x="1517" y="574"/>
                  </a:lnTo>
                  <a:lnTo>
                    <a:pt x="1517" y="574"/>
                  </a:lnTo>
                  <a:lnTo>
                    <a:pt x="1515" y="572"/>
                  </a:lnTo>
                  <a:lnTo>
                    <a:pt x="1515" y="570"/>
                  </a:lnTo>
                  <a:lnTo>
                    <a:pt x="1515" y="570"/>
                  </a:lnTo>
                  <a:lnTo>
                    <a:pt x="1515" y="570"/>
                  </a:lnTo>
                  <a:lnTo>
                    <a:pt x="1512" y="570"/>
                  </a:lnTo>
                  <a:lnTo>
                    <a:pt x="1512" y="567"/>
                  </a:lnTo>
                  <a:lnTo>
                    <a:pt x="1512" y="567"/>
                  </a:lnTo>
                  <a:lnTo>
                    <a:pt x="1510" y="567"/>
                  </a:lnTo>
                  <a:lnTo>
                    <a:pt x="1510" y="565"/>
                  </a:lnTo>
                  <a:lnTo>
                    <a:pt x="1510" y="565"/>
                  </a:lnTo>
                  <a:lnTo>
                    <a:pt x="1510" y="565"/>
                  </a:lnTo>
                  <a:lnTo>
                    <a:pt x="1510" y="563"/>
                  </a:lnTo>
                  <a:lnTo>
                    <a:pt x="1510" y="563"/>
                  </a:lnTo>
                  <a:lnTo>
                    <a:pt x="1510" y="563"/>
                  </a:lnTo>
                  <a:lnTo>
                    <a:pt x="1510" y="563"/>
                  </a:lnTo>
                  <a:lnTo>
                    <a:pt x="1510" y="563"/>
                  </a:lnTo>
                  <a:lnTo>
                    <a:pt x="1510" y="563"/>
                  </a:lnTo>
                  <a:lnTo>
                    <a:pt x="1512" y="563"/>
                  </a:lnTo>
                  <a:lnTo>
                    <a:pt x="1512" y="565"/>
                  </a:lnTo>
                  <a:lnTo>
                    <a:pt x="1512" y="565"/>
                  </a:lnTo>
                  <a:lnTo>
                    <a:pt x="1512" y="567"/>
                  </a:lnTo>
                  <a:lnTo>
                    <a:pt x="1517" y="570"/>
                  </a:lnTo>
                  <a:lnTo>
                    <a:pt x="1517" y="570"/>
                  </a:lnTo>
                  <a:lnTo>
                    <a:pt x="1517" y="570"/>
                  </a:lnTo>
                  <a:lnTo>
                    <a:pt x="1517" y="570"/>
                  </a:lnTo>
                  <a:lnTo>
                    <a:pt x="1517" y="570"/>
                  </a:lnTo>
                  <a:lnTo>
                    <a:pt x="1517" y="572"/>
                  </a:lnTo>
                  <a:lnTo>
                    <a:pt x="1517" y="572"/>
                  </a:lnTo>
                  <a:lnTo>
                    <a:pt x="1519" y="574"/>
                  </a:lnTo>
                  <a:lnTo>
                    <a:pt x="1519" y="574"/>
                  </a:lnTo>
                  <a:lnTo>
                    <a:pt x="1519" y="574"/>
                  </a:lnTo>
                  <a:lnTo>
                    <a:pt x="1519" y="574"/>
                  </a:lnTo>
                  <a:lnTo>
                    <a:pt x="1519" y="574"/>
                  </a:lnTo>
                  <a:lnTo>
                    <a:pt x="1519" y="577"/>
                  </a:lnTo>
                  <a:lnTo>
                    <a:pt x="1522" y="577"/>
                  </a:lnTo>
                  <a:lnTo>
                    <a:pt x="1522" y="577"/>
                  </a:lnTo>
                  <a:lnTo>
                    <a:pt x="1522" y="577"/>
                  </a:lnTo>
                  <a:lnTo>
                    <a:pt x="1524" y="579"/>
                  </a:lnTo>
                  <a:lnTo>
                    <a:pt x="1524" y="579"/>
                  </a:lnTo>
                  <a:lnTo>
                    <a:pt x="1524" y="582"/>
                  </a:lnTo>
                  <a:lnTo>
                    <a:pt x="1524" y="582"/>
                  </a:lnTo>
                  <a:lnTo>
                    <a:pt x="1526" y="582"/>
                  </a:lnTo>
                  <a:lnTo>
                    <a:pt x="1531" y="584"/>
                  </a:lnTo>
                  <a:lnTo>
                    <a:pt x="1531" y="584"/>
                  </a:lnTo>
                  <a:lnTo>
                    <a:pt x="1531" y="584"/>
                  </a:lnTo>
                  <a:lnTo>
                    <a:pt x="1531" y="584"/>
                  </a:lnTo>
                  <a:lnTo>
                    <a:pt x="1531" y="584"/>
                  </a:lnTo>
                  <a:lnTo>
                    <a:pt x="1531" y="584"/>
                  </a:lnTo>
                  <a:lnTo>
                    <a:pt x="1536" y="589"/>
                  </a:lnTo>
                  <a:lnTo>
                    <a:pt x="1538" y="589"/>
                  </a:lnTo>
                  <a:lnTo>
                    <a:pt x="1541" y="589"/>
                  </a:lnTo>
                  <a:lnTo>
                    <a:pt x="1543" y="589"/>
                  </a:lnTo>
                  <a:lnTo>
                    <a:pt x="1543" y="591"/>
                  </a:lnTo>
                  <a:lnTo>
                    <a:pt x="1545" y="589"/>
                  </a:lnTo>
                  <a:lnTo>
                    <a:pt x="1548" y="591"/>
                  </a:lnTo>
                  <a:lnTo>
                    <a:pt x="1552" y="591"/>
                  </a:lnTo>
                  <a:lnTo>
                    <a:pt x="1552" y="589"/>
                  </a:lnTo>
                  <a:lnTo>
                    <a:pt x="1555" y="586"/>
                  </a:lnTo>
                  <a:lnTo>
                    <a:pt x="1557" y="586"/>
                  </a:lnTo>
                  <a:lnTo>
                    <a:pt x="1562" y="586"/>
                  </a:lnTo>
                  <a:lnTo>
                    <a:pt x="1567" y="586"/>
                  </a:lnTo>
                  <a:lnTo>
                    <a:pt x="1569" y="584"/>
                  </a:lnTo>
                  <a:lnTo>
                    <a:pt x="1569" y="584"/>
                  </a:lnTo>
                  <a:lnTo>
                    <a:pt x="1569" y="584"/>
                  </a:lnTo>
                  <a:lnTo>
                    <a:pt x="1569" y="582"/>
                  </a:lnTo>
                  <a:lnTo>
                    <a:pt x="1571" y="579"/>
                  </a:lnTo>
                  <a:lnTo>
                    <a:pt x="1571" y="577"/>
                  </a:lnTo>
                  <a:lnTo>
                    <a:pt x="1571" y="577"/>
                  </a:lnTo>
                  <a:lnTo>
                    <a:pt x="1571" y="577"/>
                  </a:lnTo>
                  <a:lnTo>
                    <a:pt x="1574" y="577"/>
                  </a:lnTo>
                  <a:lnTo>
                    <a:pt x="1574" y="577"/>
                  </a:lnTo>
                  <a:lnTo>
                    <a:pt x="1574" y="579"/>
                  </a:lnTo>
                  <a:lnTo>
                    <a:pt x="1571" y="584"/>
                  </a:lnTo>
                  <a:lnTo>
                    <a:pt x="1574" y="584"/>
                  </a:lnTo>
                  <a:lnTo>
                    <a:pt x="1574" y="582"/>
                  </a:lnTo>
                  <a:lnTo>
                    <a:pt x="1579" y="577"/>
                  </a:lnTo>
                  <a:lnTo>
                    <a:pt x="1581" y="577"/>
                  </a:lnTo>
                  <a:lnTo>
                    <a:pt x="1581" y="574"/>
                  </a:lnTo>
                  <a:lnTo>
                    <a:pt x="1581" y="574"/>
                  </a:lnTo>
                  <a:lnTo>
                    <a:pt x="1581" y="572"/>
                  </a:lnTo>
                  <a:lnTo>
                    <a:pt x="1581" y="570"/>
                  </a:lnTo>
                  <a:lnTo>
                    <a:pt x="1586" y="567"/>
                  </a:lnTo>
                  <a:lnTo>
                    <a:pt x="1586" y="563"/>
                  </a:lnTo>
                  <a:lnTo>
                    <a:pt x="1583" y="560"/>
                  </a:lnTo>
                  <a:lnTo>
                    <a:pt x="1583" y="560"/>
                  </a:lnTo>
                  <a:lnTo>
                    <a:pt x="1583" y="560"/>
                  </a:lnTo>
                  <a:lnTo>
                    <a:pt x="1583" y="558"/>
                  </a:lnTo>
                  <a:lnTo>
                    <a:pt x="1586" y="558"/>
                  </a:lnTo>
                  <a:lnTo>
                    <a:pt x="1588" y="556"/>
                  </a:lnTo>
                  <a:lnTo>
                    <a:pt x="1588" y="556"/>
                  </a:lnTo>
                  <a:lnTo>
                    <a:pt x="1588" y="553"/>
                  </a:lnTo>
                  <a:lnTo>
                    <a:pt x="1586" y="553"/>
                  </a:lnTo>
                  <a:lnTo>
                    <a:pt x="1586" y="553"/>
                  </a:lnTo>
                  <a:lnTo>
                    <a:pt x="1586" y="553"/>
                  </a:lnTo>
                  <a:lnTo>
                    <a:pt x="1586" y="553"/>
                  </a:lnTo>
                  <a:lnTo>
                    <a:pt x="1586" y="551"/>
                  </a:lnTo>
                  <a:lnTo>
                    <a:pt x="1586" y="551"/>
                  </a:lnTo>
                  <a:lnTo>
                    <a:pt x="1583" y="551"/>
                  </a:lnTo>
                  <a:lnTo>
                    <a:pt x="1583" y="548"/>
                  </a:lnTo>
                  <a:lnTo>
                    <a:pt x="1581" y="551"/>
                  </a:lnTo>
                  <a:lnTo>
                    <a:pt x="1581" y="551"/>
                  </a:lnTo>
                  <a:lnTo>
                    <a:pt x="1581" y="548"/>
                  </a:lnTo>
                  <a:lnTo>
                    <a:pt x="1581" y="548"/>
                  </a:lnTo>
                  <a:lnTo>
                    <a:pt x="1581" y="548"/>
                  </a:lnTo>
                  <a:lnTo>
                    <a:pt x="1581" y="546"/>
                  </a:lnTo>
                  <a:lnTo>
                    <a:pt x="1581" y="546"/>
                  </a:lnTo>
                  <a:lnTo>
                    <a:pt x="1581" y="546"/>
                  </a:lnTo>
                  <a:lnTo>
                    <a:pt x="1579" y="546"/>
                  </a:lnTo>
                  <a:lnTo>
                    <a:pt x="1581" y="544"/>
                  </a:lnTo>
                  <a:lnTo>
                    <a:pt x="1581" y="544"/>
                  </a:lnTo>
                  <a:lnTo>
                    <a:pt x="1581" y="544"/>
                  </a:lnTo>
                  <a:lnTo>
                    <a:pt x="1581" y="544"/>
                  </a:lnTo>
                  <a:lnTo>
                    <a:pt x="1581" y="541"/>
                  </a:lnTo>
                  <a:lnTo>
                    <a:pt x="1581" y="541"/>
                  </a:lnTo>
                  <a:lnTo>
                    <a:pt x="1581" y="539"/>
                  </a:lnTo>
                  <a:lnTo>
                    <a:pt x="1581" y="539"/>
                  </a:lnTo>
                  <a:lnTo>
                    <a:pt x="1579" y="537"/>
                  </a:lnTo>
                  <a:lnTo>
                    <a:pt x="1576" y="537"/>
                  </a:lnTo>
                  <a:lnTo>
                    <a:pt x="1576" y="534"/>
                  </a:lnTo>
                  <a:lnTo>
                    <a:pt x="1576" y="534"/>
                  </a:lnTo>
                  <a:lnTo>
                    <a:pt x="1574" y="534"/>
                  </a:lnTo>
                  <a:lnTo>
                    <a:pt x="1574" y="534"/>
                  </a:lnTo>
                  <a:lnTo>
                    <a:pt x="1574" y="534"/>
                  </a:lnTo>
                  <a:lnTo>
                    <a:pt x="1571" y="534"/>
                  </a:lnTo>
                  <a:lnTo>
                    <a:pt x="1571" y="534"/>
                  </a:lnTo>
                  <a:lnTo>
                    <a:pt x="1571" y="534"/>
                  </a:lnTo>
                  <a:lnTo>
                    <a:pt x="1571" y="532"/>
                  </a:lnTo>
                  <a:lnTo>
                    <a:pt x="1569" y="532"/>
                  </a:lnTo>
                  <a:lnTo>
                    <a:pt x="1569" y="532"/>
                  </a:lnTo>
                  <a:lnTo>
                    <a:pt x="1569" y="530"/>
                  </a:lnTo>
                  <a:lnTo>
                    <a:pt x="1569" y="530"/>
                  </a:lnTo>
                  <a:lnTo>
                    <a:pt x="1574" y="525"/>
                  </a:lnTo>
                  <a:lnTo>
                    <a:pt x="1574" y="525"/>
                  </a:lnTo>
                  <a:lnTo>
                    <a:pt x="1571" y="525"/>
                  </a:lnTo>
                  <a:lnTo>
                    <a:pt x="1571" y="525"/>
                  </a:lnTo>
                  <a:lnTo>
                    <a:pt x="1571" y="525"/>
                  </a:lnTo>
                  <a:lnTo>
                    <a:pt x="1571" y="522"/>
                  </a:lnTo>
                  <a:lnTo>
                    <a:pt x="1579" y="527"/>
                  </a:lnTo>
                  <a:lnTo>
                    <a:pt x="1586" y="525"/>
                  </a:lnTo>
                  <a:lnTo>
                    <a:pt x="1593" y="522"/>
                  </a:lnTo>
                  <a:lnTo>
                    <a:pt x="1595" y="527"/>
                  </a:lnTo>
                  <a:lnTo>
                    <a:pt x="1597" y="527"/>
                  </a:lnTo>
                  <a:lnTo>
                    <a:pt x="1600" y="522"/>
                  </a:lnTo>
                  <a:lnTo>
                    <a:pt x="1602" y="522"/>
                  </a:lnTo>
                  <a:lnTo>
                    <a:pt x="1602" y="520"/>
                  </a:lnTo>
                  <a:lnTo>
                    <a:pt x="1602" y="518"/>
                  </a:lnTo>
                  <a:lnTo>
                    <a:pt x="1605" y="518"/>
                  </a:lnTo>
                  <a:lnTo>
                    <a:pt x="1607" y="513"/>
                  </a:lnTo>
                  <a:lnTo>
                    <a:pt x="1607" y="513"/>
                  </a:lnTo>
                  <a:lnTo>
                    <a:pt x="1609" y="515"/>
                  </a:lnTo>
                  <a:lnTo>
                    <a:pt x="1609" y="515"/>
                  </a:lnTo>
                  <a:lnTo>
                    <a:pt x="1612" y="515"/>
                  </a:lnTo>
                  <a:lnTo>
                    <a:pt x="1612" y="515"/>
                  </a:lnTo>
                  <a:lnTo>
                    <a:pt x="1612" y="518"/>
                  </a:lnTo>
                  <a:lnTo>
                    <a:pt x="1614" y="518"/>
                  </a:lnTo>
                  <a:lnTo>
                    <a:pt x="1614" y="518"/>
                  </a:lnTo>
                  <a:lnTo>
                    <a:pt x="1614" y="513"/>
                  </a:lnTo>
                  <a:lnTo>
                    <a:pt x="1616" y="508"/>
                  </a:lnTo>
                  <a:lnTo>
                    <a:pt x="1616" y="508"/>
                  </a:lnTo>
                  <a:lnTo>
                    <a:pt x="1616" y="506"/>
                  </a:lnTo>
                  <a:lnTo>
                    <a:pt x="1616" y="503"/>
                  </a:lnTo>
                  <a:lnTo>
                    <a:pt x="1616" y="501"/>
                  </a:lnTo>
                  <a:lnTo>
                    <a:pt x="1614" y="501"/>
                  </a:lnTo>
                  <a:lnTo>
                    <a:pt x="1609" y="503"/>
                  </a:lnTo>
                  <a:lnTo>
                    <a:pt x="1605" y="503"/>
                  </a:lnTo>
                  <a:lnTo>
                    <a:pt x="1605" y="503"/>
                  </a:lnTo>
                  <a:lnTo>
                    <a:pt x="1597" y="503"/>
                  </a:lnTo>
                  <a:lnTo>
                    <a:pt x="1597" y="503"/>
                  </a:lnTo>
                  <a:lnTo>
                    <a:pt x="1595" y="503"/>
                  </a:lnTo>
                  <a:lnTo>
                    <a:pt x="1595" y="503"/>
                  </a:lnTo>
                  <a:lnTo>
                    <a:pt x="1595" y="501"/>
                  </a:lnTo>
                  <a:lnTo>
                    <a:pt x="1595" y="501"/>
                  </a:lnTo>
                  <a:lnTo>
                    <a:pt x="1593" y="501"/>
                  </a:lnTo>
                  <a:lnTo>
                    <a:pt x="1593" y="501"/>
                  </a:lnTo>
                  <a:lnTo>
                    <a:pt x="1590" y="501"/>
                  </a:lnTo>
                  <a:lnTo>
                    <a:pt x="1593" y="499"/>
                  </a:lnTo>
                  <a:lnTo>
                    <a:pt x="1595" y="496"/>
                  </a:lnTo>
                  <a:lnTo>
                    <a:pt x="1595" y="496"/>
                  </a:lnTo>
                  <a:lnTo>
                    <a:pt x="1595" y="494"/>
                  </a:lnTo>
                  <a:lnTo>
                    <a:pt x="1600" y="496"/>
                  </a:lnTo>
                  <a:lnTo>
                    <a:pt x="1605" y="494"/>
                  </a:lnTo>
                  <a:lnTo>
                    <a:pt x="1609" y="494"/>
                  </a:lnTo>
                  <a:lnTo>
                    <a:pt x="1614" y="496"/>
                  </a:lnTo>
                  <a:lnTo>
                    <a:pt x="1614" y="496"/>
                  </a:lnTo>
                  <a:lnTo>
                    <a:pt x="1616" y="494"/>
                  </a:lnTo>
                  <a:lnTo>
                    <a:pt x="1616" y="492"/>
                  </a:lnTo>
                  <a:lnTo>
                    <a:pt x="1616" y="489"/>
                  </a:lnTo>
                  <a:lnTo>
                    <a:pt x="1616" y="487"/>
                  </a:lnTo>
                  <a:lnTo>
                    <a:pt x="1619" y="485"/>
                  </a:lnTo>
                  <a:lnTo>
                    <a:pt x="1619" y="485"/>
                  </a:lnTo>
                  <a:lnTo>
                    <a:pt x="1621" y="485"/>
                  </a:lnTo>
                  <a:lnTo>
                    <a:pt x="1621" y="485"/>
                  </a:lnTo>
                  <a:lnTo>
                    <a:pt x="1621" y="482"/>
                  </a:lnTo>
                  <a:lnTo>
                    <a:pt x="1621" y="482"/>
                  </a:lnTo>
                  <a:lnTo>
                    <a:pt x="1621" y="480"/>
                  </a:lnTo>
                  <a:lnTo>
                    <a:pt x="1621" y="480"/>
                  </a:lnTo>
                  <a:lnTo>
                    <a:pt x="1621" y="480"/>
                  </a:lnTo>
                  <a:lnTo>
                    <a:pt x="1612" y="477"/>
                  </a:lnTo>
                  <a:lnTo>
                    <a:pt x="1602" y="475"/>
                  </a:lnTo>
                  <a:lnTo>
                    <a:pt x="1600" y="475"/>
                  </a:lnTo>
                  <a:lnTo>
                    <a:pt x="1600" y="473"/>
                  </a:lnTo>
                  <a:lnTo>
                    <a:pt x="1600" y="473"/>
                  </a:lnTo>
                  <a:lnTo>
                    <a:pt x="1600" y="473"/>
                  </a:lnTo>
                  <a:lnTo>
                    <a:pt x="1600" y="470"/>
                  </a:lnTo>
                  <a:lnTo>
                    <a:pt x="1597" y="470"/>
                  </a:lnTo>
                  <a:lnTo>
                    <a:pt x="1590" y="473"/>
                  </a:lnTo>
                  <a:lnTo>
                    <a:pt x="1590" y="473"/>
                  </a:lnTo>
                  <a:lnTo>
                    <a:pt x="1590" y="473"/>
                  </a:lnTo>
                  <a:lnTo>
                    <a:pt x="1590" y="473"/>
                  </a:lnTo>
                  <a:lnTo>
                    <a:pt x="1590" y="470"/>
                  </a:lnTo>
                  <a:lnTo>
                    <a:pt x="1590" y="470"/>
                  </a:lnTo>
                  <a:lnTo>
                    <a:pt x="1593" y="470"/>
                  </a:lnTo>
                  <a:lnTo>
                    <a:pt x="1600" y="468"/>
                  </a:lnTo>
                  <a:lnTo>
                    <a:pt x="1605" y="468"/>
                  </a:lnTo>
                  <a:lnTo>
                    <a:pt x="1612" y="468"/>
                  </a:lnTo>
                  <a:lnTo>
                    <a:pt x="1616" y="466"/>
                  </a:lnTo>
                  <a:lnTo>
                    <a:pt x="1619" y="466"/>
                  </a:lnTo>
                  <a:lnTo>
                    <a:pt x="1619" y="463"/>
                  </a:lnTo>
                  <a:lnTo>
                    <a:pt x="1621" y="459"/>
                  </a:lnTo>
                  <a:lnTo>
                    <a:pt x="1623" y="459"/>
                  </a:lnTo>
                  <a:lnTo>
                    <a:pt x="1623" y="456"/>
                  </a:lnTo>
                  <a:lnTo>
                    <a:pt x="1621" y="456"/>
                  </a:lnTo>
                  <a:lnTo>
                    <a:pt x="1621" y="456"/>
                  </a:lnTo>
                  <a:lnTo>
                    <a:pt x="1621" y="456"/>
                  </a:lnTo>
                  <a:lnTo>
                    <a:pt x="1621" y="456"/>
                  </a:lnTo>
                  <a:lnTo>
                    <a:pt x="1619" y="456"/>
                  </a:lnTo>
                  <a:lnTo>
                    <a:pt x="1619" y="454"/>
                  </a:lnTo>
                  <a:lnTo>
                    <a:pt x="1619" y="454"/>
                  </a:lnTo>
                  <a:lnTo>
                    <a:pt x="1619" y="454"/>
                  </a:lnTo>
                  <a:lnTo>
                    <a:pt x="1619" y="454"/>
                  </a:lnTo>
                  <a:lnTo>
                    <a:pt x="1619" y="454"/>
                  </a:lnTo>
                  <a:lnTo>
                    <a:pt x="1619" y="451"/>
                  </a:lnTo>
                  <a:lnTo>
                    <a:pt x="1619" y="451"/>
                  </a:lnTo>
                  <a:lnTo>
                    <a:pt x="1619" y="451"/>
                  </a:lnTo>
                  <a:lnTo>
                    <a:pt x="1619" y="449"/>
                  </a:lnTo>
                  <a:lnTo>
                    <a:pt x="1619" y="449"/>
                  </a:lnTo>
                  <a:lnTo>
                    <a:pt x="1619" y="449"/>
                  </a:lnTo>
                  <a:lnTo>
                    <a:pt x="1619" y="449"/>
                  </a:lnTo>
                  <a:lnTo>
                    <a:pt x="1619" y="447"/>
                  </a:lnTo>
                  <a:lnTo>
                    <a:pt x="1619" y="447"/>
                  </a:lnTo>
                  <a:lnTo>
                    <a:pt x="1616" y="444"/>
                  </a:lnTo>
                  <a:lnTo>
                    <a:pt x="1616" y="444"/>
                  </a:lnTo>
                  <a:lnTo>
                    <a:pt x="1619" y="444"/>
                  </a:lnTo>
                  <a:lnTo>
                    <a:pt x="1616" y="442"/>
                  </a:lnTo>
                  <a:lnTo>
                    <a:pt x="1616" y="442"/>
                  </a:lnTo>
                  <a:lnTo>
                    <a:pt x="1614" y="442"/>
                  </a:lnTo>
                  <a:lnTo>
                    <a:pt x="1616" y="442"/>
                  </a:lnTo>
                  <a:lnTo>
                    <a:pt x="1616" y="440"/>
                  </a:lnTo>
                  <a:lnTo>
                    <a:pt x="1616" y="440"/>
                  </a:lnTo>
                  <a:lnTo>
                    <a:pt x="1616" y="437"/>
                  </a:lnTo>
                  <a:lnTo>
                    <a:pt x="1616" y="437"/>
                  </a:lnTo>
                  <a:lnTo>
                    <a:pt x="1614" y="440"/>
                  </a:lnTo>
                  <a:lnTo>
                    <a:pt x="1614" y="437"/>
                  </a:lnTo>
                  <a:lnTo>
                    <a:pt x="1614" y="437"/>
                  </a:lnTo>
                  <a:lnTo>
                    <a:pt x="1614" y="437"/>
                  </a:lnTo>
                  <a:lnTo>
                    <a:pt x="1612" y="437"/>
                  </a:lnTo>
                  <a:lnTo>
                    <a:pt x="1607" y="435"/>
                  </a:lnTo>
                  <a:lnTo>
                    <a:pt x="1602" y="435"/>
                  </a:lnTo>
                  <a:lnTo>
                    <a:pt x="1597" y="435"/>
                  </a:lnTo>
                  <a:lnTo>
                    <a:pt x="1597" y="437"/>
                  </a:lnTo>
                  <a:lnTo>
                    <a:pt x="1590" y="440"/>
                  </a:lnTo>
                  <a:lnTo>
                    <a:pt x="1588" y="442"/>
                  </a:lnTo>
                  <a:lnTo>
                    <a:pt x="1588" y="442"/>
                  </a:lnTo>
                  <a:lnTo>
                    <a:pt x="1588" y="442"/>
                  </a:lnTo>
                  <a:lnTo>
                    <a:pt x="1588" y="442"/>
                  </a:lnTo>
                  <a:lnTo>
                    <a:pt x="1588" y="440"/>
                  </a:lnTo>
                  <a:lnTo>
                    <a:pt x="1590" y="437"/>
                  </a:lnTo>
                  <a:lnTo>
                    <a:pt x="1597" y="433"/>
                  </a:lnTo>
                  <a:lnTo>
                    <a:pt x="1597" y="433"/>
                  </a:lnTo>
                  <a:lnTo>
                    <a:pt x="1597" y="430"/>
                  </a:lnTo>
                  <a:lnTo>
                    <a:pt x="1597" y="430"/>
                  </a:lnTo>
                  <a:lnTo>
                    <a:pt x="1597" y="428"/>
                  </a:lnTo>
                  <a:lnTo>
                    <a:pt x="1588" y="428"/>
                  </a:lnTo>
                  <a:lnTo>
                    <a:pt x="1579" y="428"/>
                  </a:lnTo>
                  <a:lnTo>
                    <a:pt x="1571" y="433"/>
                  </a:lnTo>
                  <a:lnTo>
                    <a:pt x="1564" y="437"/>
                  </a:lnTo>
                  <a:lnTo>
                    <a:pt x="1562" y="440"/>
                  </a:lnTo>
                  <a:lnTo>
                    <a:pt x="1560" y="447"/>
                  </a:lnTo>
                  <a:lnTo>
                    <a:pt x="1560" y="451"/>
                  </a:lnTo>
                  <a:lnTo>
                    <a:pt x="1560" y="454"/>
                  </a:lnTo>
                  <a:lnTo>
                    <a:pt x="1560" y="454"/>
                  </a:lnTo>
                  <a:lnTo>
                    <a:pt x="1560" y="456"/>
                  </a:lnTo>
                  <a:lnTo>
                    <a:pt x="1557" y="456"/>
                  </a:lnTo>
                  <a:lnTo>
                    <a:pt x="1557" y="454"/>
                  </a:lnTo>
                  <a:lnTo>
                    <a:pt x="1557" y="454"/>
                  </a:lnTo>
                  <a:lnTo>
                    <a:pt x="1557" y="451"/>
                  </a:lnTo>
                  <a:lnTo>
                    <a:pt x="1557" y="447"/>
                  </a:lnTo>
                  <a:lnTo>
                    <a:pt x="1560" y="440"/>
                  </a:lnTo>
                  <a:lnTo>
                    <a:pt x="1560" y="437"/>
                  </a:lnTo>
                  <a:lnTo>
                    <a:pt x="1562" y="433"/>
                  </a:lnTo>
                  <a:lnTo>
                    <a:pt x="1564" y="433"/>
                  </a:lnTo>
                  <a:lnTo>
                    <a:pt x="1562" y="433"/>
                  </a:lnTo>
                  <a:lnTo>
                    <a:pt x="1562" y="430"/>
                  </a:lnTo>
                  <a:lnTo>
                    <a:pt x="1560" y="430"/>
                  </a:lnTo>
                  <a:lnTo>
                    <a:pt x="1555" y="430"/>
                  </a:lnTo>
                  <a:lnTo>
                    <a:pt x="1550" y="430"/>
                  </a:lnTo>
                  <a:lnTo>
                    <a:pt x="1543" y="433"/>
                  </a:lnTo>
                  <a:lnTo>
                    <a:pt x="1541" y="433"/>
                  </a:lnTo>
                  <a:lnTo>
                    <a:pt x="1545" y="430"/>
                  </a:lnTo>
                  <a:lnTo>
                    <a:pt x="1550" y="428"/>
                  </a:lnTo>
                  <a:lnTo>
                    <a:pt x="1555" y="428"/>
                  </a:lnTo>
                  <a:lnTo>
                    <a:pt x="1560" y="428"/>
                  </a:lnTo>
                  <a:lnTo>
                    <a:pt x="1562" y="428"/>
                  </a:lnTo>
                  <a:lnTo>
                    <a:pt x="1562" y="430"/>
                  </a:lnTo>
                  <a:lnTo>
                    <a:pt x="1562" y="430"/>
                  </a:lnTo>
                  <a:lnTo>
                    <a:pt x="1564" y="430"/>
                  </a:lnTo>
                  <a:lnTo>
                    <a:pt x="1567" y="430"/>
                  </a:lnTo>
                  <a:lnTo>
                    <a:pt x="1571" y="425"/>
                  </a:lnTo>
                  <a:lnTo>
                    <a:pt x="1574" y="425"/>
                  </a:lnTo>
                  <a:lnTo>
                    <a:pt x="1579" y="423"/>
                  </a:lnTo>
                  <a:lnTo>
                    <a:pt x="1583" y="423"/>
                  </a:lnTo>
                  <a:lnTo>
                    <a:pt x="1588" y="421"/>
                  </a:lnTo>
                  <a:lnTo>
                    <a:pt x="1588" y="421"/>
                  </a:lnTo>
                  <a:lnTo>
                    <a:pt x="1588" y="418"/>
                  </a:lnTo>
                  <a:lnTo>
                    <a:pt x="1588" y="418"/>
                  </a:lnTo>
                  <a:lnTo>
                    <a:pt x="1588" y="418"/>
                  </a:lnTo>
                  <a:lnTo>
                    <a:pt x="1588" y="418"/>
                  </a:lnTo>
                  <a:lnTo>
                    <a:pt x="1588" y="418"/>
                  </a:lnTo>
                  <a:lnTo>
                    <a:pt x="1588" y="418"/>
                  </a:lnTo>
                  <a:lnTo>
                    <a:pt x="1588" y="416"/>
                  </a:lnTo>
                  <a:lnTo>
                    <a:pt x="1581" y="418"/>
                  </a:lnTo>
                  <a:lnTo>
                    <a:pt x="1576" y="416"/>
                  </a:lnTo>
                  <a:lnTo>
                    <a:pt x="1571" y="418"/>
                  </a:lnTo>
                  <a:lnTo>
                    <a:pt x="1567" y="418"/>
                  </a:lnTo>
                  <a:lnTo>
                    <a:pt x="1560" y="418"/>
                  </a:lnTo>
                  <a:lnTo>
                    <a:pt x="1555" y="418"/>
                  </a:lnTo>
                  <a:lnTo>
                    <a:pt x="1552" y="421"/>
                  </a:lnTo>
                  <a:lnTo>
                    <a:pt x="1552" y="421"/>
                  </a:lnTo>
                  <a:lnTo>
                    <a:pt x="1550" y="421"/>
                  </a:lnTo>
                  <a:lnTo>
                    <a:pt x="1550" y="418"/>
                  </a:lnTo>
                  <a:lnTo>
                    <a:pt x="1552" y="418"/>
                  </a:lnTo>
                  <a:lnTo>
                    <a:pt x="1560" y="416"/>
                  </a:lnTo>
                  <a:lnTo>
                    <a:pt x="1569" y="414"/>
                  </a:lnTo>
                  <a:lnTo>
                    <a:pt x="1571" y="414"/>
                  </a:lnTo>
                  <a:lnTo>
                    <a:pt x="1579" y="411"/>
                  </a:lnTo>
                  <a:lnTo>
                    <a:pt x="1583" y="411"/>
                  </a:lnTo>
                  <a:lnTo>
                    <a:pt x="1586" y="409"/>
                  </a:lnTo>
                  <a:lnTo>
                    <a:pt x="1590" y="411"/>
                  </a:lnTo>
                  <a:lnTo>
                    <a:pt x="1593" y="414"/>
                  </a:lnTo>
                  <a:lnTo>
                    <a:pt x="1593" y="414"/>
                  </a:lnTo>
                  <a:lnTo>
                    <a:pt x="1593" y="414"/>
                  </a:lnTo>
                  <a:lnTo>
                    <a:pt x="1593" y="414"/>
                  </a:lnTo>
                  <a:lnTo>
                    <a:pt x="1593" y="414"/>
                  </a:lnTo>
                  <a:lnTo>
                    <a:pt x="1593" y="414"/>
                  </a:lnTo>
                  <a:lnTo>
                    <a:pt x="1593" y="416"/>
                  </a:lnTo>
                  <a:lnTo>
                    <a:pt x="1593" y="416"/>
                  </a:lnTo>
                  <a:lnTo>
                    <a:pt x="1593" y="416"/>
                  </a:lnTo>
                  <a:lnTo>
                    <a:pt x="1593" y="416"/>
                  </a:lnTo>
                  <a:lnTo>
                    <a:pt x="1593" y="416"/>
                  </a:lnTo>
                  <a:lnTo>
                    <a:pt x="1593" y="418"/>
                  </a:lnTo>
                  <a:lnTo>
                    <a:pt x="1593" y="418"/>
                  </a:lnTo>
                  <a:lnTo>
                    <a:pt x="1595" y="418"/>
                  </a:lnTo>
                  <a:lnTo>
                    <a:pt x="1595" y="418"/>
                  </a:lnTo>
                  <a:lnTo>
                    <a:pt x="1595" y="418"/>
                  </a:lnTo>
                  <a:lnTo>
                    <a:pt x="1595" y="418"/>
                  </a:lnTo>
                  <a:lnTo>
                    <a:pt x="1600" y="418"/>
                  </a:lnTo>
                  <a:lnTo>
                    <a:pt x="1607" y="421"/>
                  </a:lnTo>
                  <a:lnTo>
                    <a:pt x="1612" y="418"/>
                  </a:lnTo>
                  <a:lnTo>
                    <a:pt x="1616" y="418"/>
                  </a:lnTo>
                  <a:lnTo>
                    <a:pt x="1616" y="418"/>
                  </a:lnTo>
                  <a:lnTo>
                    <a:pt x="1616" y="416"/>
                  </a:lnTo>
                  <a:lnTo>
                    <a:pt x="1616" y="416"/>
                  </a:lnTo>
                  <a:lnTo>
                    <a:pt x="1616" y="414"/>
                  </a:lnTo>
                  <a:lnTo>
                    <a:pt x="1616" y="414"/>
                  </a:lnTo>
                  <a:lnTo>
                    <a:pt x="1616" y="414"/>
                  </a:lnTo>
                  <a:lnTo>
                    <a:pt x="1614" y="414"/>
                  </a:lnTo>
                  <a:lnTo>
                    <a:pt x="1614" y="411"/>
                  </a:lnTo>
                  <a:lnTo>
                    <a:pt x="1614" y="411"/>
                  </a:lnTo>
                  <a:lnTo>
                    <a:pt x="1612" y="411"/>
                  </a:lnTo>
                  <a:lnTo>
                    <a:pt x="1612" y="411"/>
                  </a:lnTo>
                  <a:lnTo>
                    <a:pt x="1612" y="409"/>
                  </a:lnTo>
                  <a:lnTo>
                    <a:pt x="1612" y="409"/>
                  </a:lnTo>
                  <a:lnTo>
                    <a:pt x="1612" y="409"/>
                  </a:lnTo>
                  <a:lnTo>
                    <a:pt x="1612" y="409"/>
                  </a:lnTo>
                  <a:lnTo>
                    <a:pt x="1612" y="407"/>
                  </a:lnTo>
                  <a:lnTo>
                    <a:pt x="1609" y="409"/>
                  </a:lnTo>
                  <a:lnTo>
                    <a:pt x="1609" y="407"/>
                  </a:lnTo>
                  <a:lnTo>
                    <a:pt x="1609" y="407"/>
                  </a:lnTo>
                  <a:lnTo>
                    <a:pt x="1612" y="404"/>
                  </a:lnTo>
                  <a:lnTo>
                    <a:pt x="1614" y="402"/>
                  </a:lnTo>
                  <a:lnTo>
                    <a:pt x="1614" y="402"/>
                  </a:lnTo>
                  <a:lnTo>
                    <a:pt x="1607" y="402"/>
                  </a:lnTo>
                  <a:lnTo>
                    <a:pt x="1605" y="404"/>
                  </a:lnTo>
                  <a:lnTo>
                    <a:pt x="1600" y="404"/>
                  </a:lnTo>
                  <a:lnTo>
                    <a:pt x="1593" y="404"/>
                  </a:lnTo>
                  <a:lnTo>
                    <a:pt x="1588" y="407"/>
                  </a:lnTo>
                  <a:lnTo>
                    <a:pt x="1583" y="404"/>
                  </a:lnTo>
                  <a:lnTo>
                    <a:pt x="1583" y="404"/>
                  </a:lnTo>
                  <a:lnTo>
                    <a:pt x="1581" y="404"/>
                  </a:lnTo>
                  <a:lnTo>
                    <a:pt x="1579" y="407"/>
                  </a:lnTo>
                  <a:lnTo>
                    <a:pt x="1574" y="407"/>
                  </a:lnTo>
                  <a:lnTo>
                    <a:pt x="1569" y="407"/>
                  </a:lnTo>
                  <a:lnTo>
                    <a:pt x="1562" y="411"/>
                  </a:lnTo>
                  <a:lnTo>
                    <a:pt x="1562" y="409"/>
                  </a:lnTo>
                  <a:lnTo>
                    <a:pt x="1564" y="409"/>
                  </a:lnTo>
                  <a:lnTo>
                    <a:pt x="1564" y="409"/>
                  </a:lnTo>
                  <a:lnTo>
                    <a:pt x="1564" y="407"/>
                  </a:lnTo>
                  <a:lnTo>
                    <a:pt x="1560" y="404"/>
                  </a:lnTo>
                  <a:lnTo>
                    <a:pt x="1555" y="407"/>
                  </a:lnTo>
                  <a:lnTo>
                    <a:pt x="1550" y="404"/>
                  </a:lnTo>
                  <a:lnTo>
                    <a:pt x="1550" y="402"/>
                  </a:lnTo>
                  <a:lnTo>
                    <a:pt x="1552" y="402"/>
                  </a:lnTo>
                  <a:lnTo>
                    <a:pt x="1552" y="402"/>
                  </a:lnTo>
                  <a:lnTo>
                    <a:pt x="1552" y="402"/>
                  </a:lnTo>
                  <a:lnTo>
                    <a:pt x="1555" y="402"/>
                  </a:lnTo>
                  <a:lnTo>
                    <a:pt x="1560" y="402"/>
                  </a:lnTo>
                  <a:lnTo>
                    <a:pt x="1564" y="402"/>
                  </a:lnTo>
                  <a:lnTo>
                    <a:pt x="1567" y="402"/>
                  </a:lnTo>
                  <a:lnTo>
                    <a:pt x="1567" y="402"/>
                  </a:lnTo>
                  <a:lnTo>
                    <a:pt x="1567" y="402"/>
                  </a:lnTo>
                  <a:lnTo>
                    <a:pt x="1564" y="402"/>
                  </a:lnTo>
                  <a:lnTo>
                    <a:pt x="1564" y="399"/>
                  </a:lnTo>
                  <a:lnTo>
                    <a:pt x="1564" y="397"/>
                  </a:lnTo>
                  <a:lnTo>
                    <a:pt x="1564" y="397"/>
                  </a:lnTo>
                  <a:lnTo>
                    <a:pt x="1562" y="397"/>
                  </a:lnTo>
                  <a:lnTo>
                    <a:pt x="1560" y="392"/>
                  </a:lnTo>
                  <a:lnTo>
                    <a:pt x="1560" y="392"/>
                  </a:lnTo>
                  <a:lnTo>
                    <a:pt x="1560" y="390"/>
                  </a:lnTo>
                  <a:lnTo>
                    <a:pt x="1562" y="392"/>
                  </a:lnTo>
                  <a:lnTo>
                    <a:pt x="1564" y="390"/>
                  </a:lnTo>
                  <a:lnTo>
                    <a:pt x="1564" y="390"/>
                  </a:lnTo>
                  <a:lnTo>
                    <a:pt x="1564" y="390"/>
                  </a:lnTo>
                  <a:lnTo>
                    <a:pt x="1564" y="390"/>
                  </a:lnTo>
                  <a:lnTo>
                    <a:pt x="1564" y="392"/>
                  </a:lnTo>
                  <a:lnTo>
                    <a:pt x="1564" y="392"/>
                  </a:lnTo>
                  <a:lnTo>
                    <a:pt x="1567" y="395"/>
                  </a:lnTo>
                  <a:lnTo>
                    <a:pt x="1567" y="395"/>
                  </a:lnTo>
                  <a:lnTo>
                    <a:pt x="1569" y="397"/>
                  </a:lnTo>
                  <a:lnTo>
                    <a:pt x="1569" y="399"/>
                  </a:lnTo>
                  <a:lnTo>
                    <a:pt x="1571" y="399"/>
                  </a:lnTo>
                  <a:lnTo>
                    <a:pt x="1571" y="399"/>
                  </a:lnTo>
                  <a:lnTo>
                    <a:pt x="1571" y="399"/>
                  </a:lnTo>
                  <a:lnTo>
                    <a:pt x="1571" y="399"/>
                  </a:lnTo>
                  <a:lnTo>
                    <a:pt x="1576" y="397"/>
                  </a:lnTo>
                  <a:lnTo>
                    <a:pt x="1581" y="397"/>
                  </a:lnTo>
                  <a:lnTo>
                    <a:pt x="1583" y="397"/>
                  </a:lnTo>
                  <a:lnTo>
                    <a:pt x="1588" y="397"/>
                  </a:lnTo>
                  <a:lnTo>
                    <a:pt x="1588" y="395"/>
                  </a:lnTo>
                  <a:lnTo>
                    <a:pt x="1586" y="395"/>
                  </a:lnTo>
                  <a:lnTo>
                    <a:pt x="1586" y="395"/>
                  </a:lnTo>
                  <a:lnTo>
                    <a:pt x="1581" y="392"/>
                  </a:lnTo>
                  <a:lnTo>
                    <a:pt x="1581" y="392"/>
                  </a:lnTo>
                  <a:lnTo>
                    <a:pt x="1581" y="392"/>
                  </a:lnTo>
                  <a:lnTo>
                    <a:pt x="1581" y="390"/>
                  </a:lnTo>
                  <a:lnTo>
                    <a:pt x="1581" y="390"/>
                  </a:lnTo>
                  <a:lnTo>
                    <a:pt x="1581" y="390"/>
                  </a:lnTo>
                  <a:lnTo>
                    <a:pt x="1581" y="388"/>
                  </a:lnTo>
                  <a:lnTo>
                    <a:pt x="1581" y="385"/>
                  </a:lnTo>
                  <a:lnTo>
                    <a:pt x="1576" y="385"/>
                  </a:lnTo>
                  <a:lnTo>
                    <a:pt x="1574" y="388"/>
                  </a:lnTo>
                  <a:lnTo>
                    <a:pt x="1569" y="385"/>
                  </a:lnTo>
                  <a:lnTo>
                    <a:pt x="1569" y="388"/>
                  </a:lnTo>
                  <a:lnTo>
                    <a:pt x="1567" y="388"/>
                  </a:lnTo>
                  <a:lnTo>
                    <a:pt x="1564" y="388"/>
                  </a:lnTo>
                  <a:lnTo>
                    <a:pt x="1562" y="388"/>
                  </a:lnTo>
                  <a:lnTo>
                    <a:pt x="1562" y="385"/>
                  </a:lnTo>
                  <a:lnTo>
                    <a:pt x="1562" y="385"/>
                  </a:lnTo>
                  <a:lnTo>
                    <a:pt x="1562" y="383"/>
                  </a:lnTo>
                  <a:lnTo>
                    <a:pt x="1562" y="383"/>
                  </a:lnTo>
                  <a:lnTo>
                    <a:pt x="1562" y="383"/>
                  </a:lnTo>
                  <a:lnTo>
                    <a:pt x="1562" y="383"/>
                  </a:lnTo>
                  <a:lnTo>
                    <a:pt x="1562" y="383"/>
                  </a:lnTo>
                  <a:lnTo>
                    <a:pt x="1564" y="385"/>
                  </a:lnTo>
                  <a:lnTo>
                    <a:pt x="1564" y="385"/>
                  </a:lnTo>
                  <a:lnTo>
                    <a:pt x="1571" y="385"/>
                  </a:lnTo>
                  <a:lnTo>
                    <a:pt x="1579" y="383"/>
                  </a:lnTo>
                  <a:lnTo>
                    <a:pt x="1583" y="388"/>
                  </a:lnTo>
                  <a:lnTo>
                    <a:pt x="1583" y="390"/>
                  </a:lnTo>
                  <a:lnTo>
                    <a:pt x="1586" y="388"/>
                  </a:lnTo>
                  <a:lnTo>
                    <a:pt x="1586" y="385"/>
                  </a:lnTo>
                  <a:lnTo>
                    <a:pt x="1586" y="385"/>
                  </a:lnTo>
                  <a:lnTo>
                    <a:pt x="1586" y="388"/>
                  </a:lnTo>
                  <a:lnTo>
                    <a:pt x="1586" y="388"/>
                  </a:lnTo>
                  <a:lnTo>
                    <a:pt x="1588" y="388"/>
                  </a:lnTo>
                  <a:lnTo>
                    <a:pt x="1588" y="388"/>
                  </a:lnTo>
                  <a:lnTo>
                    <a:pt x="1588" y="390"/>
                  </a:lnTo>
                  <a:lnTo>
                    <a:pt x="1588" y="390"/>
                  </a:lnTo>
                  <a:lnTo>
                    <a:pt x="1588" y="390"/>
                  </a:lnTo>
                  <a:lnTo>
                    <a:pt x="1588" y="390"/>
                  </a:lnTo>
                  <a:lnTo>
                    <a:pt x="1588" y="388"/>
                  </a:lnTo>
                  <a:lnTo>
                    <a:pt x="1590" y="388"/>
                  </a:lnTo>
                  <a:lnTo>
                    <a:pt x="1590" y="388"/>
                  </a:lnTo>
                  <a:lnTo>
                    <a:pt x="1593" y="390"/>
                  </a:lnTo>
                  <a:lnTo>
                    <a:pt x="1602" y="390"/>
                  </a:lnTo>
                  <a:lnTo>
                    <a:pt x="1602" y="390"/>
                  </a:lnTo>
                  <a:lnTo>
                    <a:pt x="1602" y="388"/>
                  </a:lnTo>
                  <a:lnTo>
                    <a:pt x="1602" y="385"/>
                  </a:lnTo>
                  <a:lnTo>
                    <a:pt x="1602" y="385"/>
                  </a:lnTo>
                  <a:lnTo>
                    <a:pt x="1602" y="385"/>
                  </a:lnTo>
                  <a:lnTo>
                    <a:pt x="1602" y="385"/>
                  </a:lnTo>
                  <a:lnTo>
                    <a:pt x="1600" y="383"/>
                  </a:lnTo>
                  <a:lnTo>
                    <a:pt x="1600" y="383"/>
                  </a:lnTo>
                  <a:lnTo>
                    <a:pt x="1600" y="383"/>
                  </a:lnTo>
                  <a:lnTo>
                    <a:pt x="1600" y="383"/>
                  </a:lnTo>
                  <a:lnTo>
                    <a:pt x="1600" y="380"/>
                  </a:lnTo>
                  <a:lnTo>
                    <a:pt x="1600" y="380"/>
                  </a:lnTo>
                  <a:lnTo>
                    <a:pt x="1597" y="380"/>
                  </a:lnTo>
                  <a:lnTo>
                    <a:pt x="1597" y="380"/>
                  </a:lnTo>
                  <a:lnTo>
                    <a:pt x="1597" y="378"/>
                  </a:lnTo>
                  <a:lnTo>
                    <a:pt x="1600" y="378"/>
                  </a:lnTo>
                  <a:lnTo>
                    <a:pt x="1600" y="378"/>
                  </a:lnTo>
                  <a:lnTo>
                    <a:pt x="1600" y="378"/>
                  </a:lnTo>
                  <a:lnTo>
                    <a:pt x="1600" y="378"/>
                  </a:lnTo>
                  <a:lnTo>
                    <a:pt x="1600" y="378"/>
                  </a:lnTo>
                  <a:lnTo>
                    <a:pt x="1600" y="380"/>
                  </a:lnTo>
                  <a:lnTo>
                    <a:pt x="1602" y="380"/>
                  </a:lnTo>
                  <a:lnTo>
                    <a:pt x="1605" y="383"/>
                  </a:lnTo>
                  <a:lnTo>
                    <a:pt x="1609" y="380"/>
                  </a:lnTo>
                  <a:lnTo>
                    <a:pt x="1612" y="380"/>
                  </a:lnTo>
                  <a:lnTo>
                    <a:pt x="1616" y="380"/>
                  </a:lnTo>
                  <a:lnTo>
                    <a:pt x="1616" y="378"/>
                  </a:lnTo>
                  <a:lnTo>
                    <a:pt x="1616" y="378"/>
                  </a:lnTo>
                  <a:lnTo>
                    <a:pt x="1616" y="376"/>
                  </a:lnTo>
                  <a:lnTo>
                    <a:pt x="1616" y="373"/>
                  </a:lnTo>
                  <a:lnTo>
                    <a:pt x="1614" y="371"/>
                  </a:lnTo>
                  <a:lnTo>
                    <a:pt x="1614" y="371"/>
                  </a:lnTo>
                  <a:lnTo>
                    <a:pt x="1614" y="369"/>
                  </a:lnTo>
                  <a:lnTo>
                    <a:pt x="1616" y="369"/>
                  </a:lnTo>
                  <a:lnTo>
                    <a:pt x="1619" y="373"/>
                  </a:lnTo>
                  <a:lnTo>
                    <a:pt x="1619" y="373"/>
                  </a:lnTo>
                  <a:lnTo>
                    <a:pt x="1621" y="373"/>
                  </a:lnTo>
                  <a:lnTo>
                    <a:pt x="1623" y="373"/>
                  </a:lnTo>
                  <a:lnTo>
                    <a:pt x="1626" y="371"/>
                  </a:lnTo>
                  <a:lnTo>
                    <a:pt x="1628" y="369"/>
                  </a:lnTo>
                  <a:lnTo>
                    <a:pt x="1628" y="369"/>
                  </a:lnTo>
                  <a:lnTo>
                    <a:pt x="1628" y="369"/>
                  </a:lnTo>
                  <a:lnTo>
                    <a:pt x="1628" y="366"/>
                  </a:lnTo>
                  <a:lnTo>
                    <a:pt x="1628" y="366"/>
                  </a:lnTo>
                  <a:lnTo>
                    <a:pt x="1628" y="366"/>
                  </a:lnTo>
                  <a:lnTo>
                    <a:pt x="1628" y="366"/>
                  </a:lnTo>
                  <a:lnTo>
                    <a:pt x="1628" y="364"/>
                  </a:lnTo>
                  <a:lnTo>
                    <a:pt x="1628" y="364"/>
                  </a:lnTo>
                  <a:lnTo>
                    <a:pt x="1628" y="364"/>
                  </a:lnTo>
                  <a:lnTo>
                    <a:pt x="1626" y="364"/>
                  </a:lnTo>
                  <a:lnTo>
                    <a:pt x="1626" y="362"/>
                  </a:lnTo>
                  <a:lnTo>
                    <a:pt x="1626" y="359"/>
                  </a:lnTo>
                  <a:lnTo>
                    <a:pt x="1626" y="359"/>
                  </a:lnTo>
                  <a:lnTo>
                    <a:pt x="1626" y="357"/>
                  </a:lnTo>
                  <a:lnTo>
                    <a:pt x="1626" y="357"/>
                  </a:lnTo>
                  <a:lnTo>
                    <a:pt x="1623" y="354"/>
                  </a:lnTo>
                  <a:lnTo>
                    <a:pt x="1623" y="354"/>
                  </a:lnTo>
                  <a:lnTo>
                    <a:pt x="1623" y="354"/>
                  </a:lnTo>
                  <a:lnTo>
                    <a:pt x="1621" y="352"/>
                  </a:lnTo>
                  <a:lnTo>
                    <a:pt x="1621" y="352"/>
                  </a:lnTo>
                  <a:lnTo>
                    <a:pt x="1621" y="352"/>
                  </a:lnTo>
                  <a:lnTo>
                    <a:pt x="1621" y="352"/>
                  </a:lnTo>
                  <a:lnTo>
                    <a:pt x="1621" y="350"/>
                  </a:lnTo>
                  <a:lnTo>
                    <a:pt x="1619" y="350"/>
                  </a:lnTo>
                  <a:lnTo>
                    <a:pt x="1619" y="350"/>
                  </a:lnTo>
                  <a:lnTo>
                    <a:pt x="1621" y="347"/>
                  </a:lnTo>
                  <a:lnTo>
                    <a:pt x="1619" y="347"/>
                  </a:lnTo>
                  <a:lnTo>
                    <a:pt x="1619" y="350"/>
                  </a:lnTo>
                  <a:lnTo>
                    <a:pt x="1616" y="350"/>
                  </a:lnTo>
                  <a:lnTo>
                    <a:pt x="1609" y="350"/>
                  </a:lnTo>
                  <a:lnTo>
                    <a:pt x="1602" y="347"/>
                  </a:lnTo>
                  <a:lnTo>
                    <a:pt x="1597" y="350"/>
                  </a:lnTo>
                  <a:lnTo>
                    <a:pt x="1597" y="350"/>
                  </a:lnTo>
                  <a:lnTo>
                    <a:pt x="1595" y="347"/>
                  </a:lnTo>
                  <a:lnTo>
                    <a:pt x="1595" y="347"/>
                  </a:lnTo>
                  <a:lnTo>
                    <a:pt x="1595" y="347"/>
                  </a:lnTo>
                  <a:lnTo>
                    <a:pt x="1595" y="347"/>
                  </a:lnTo>
                  <a:lnTo>
                    <a:pt x="1597" y="345"/>
                  </a:lnTo>
                  <a:lnTo>
                    <a:pt x="1602" y="343"/>
                  </a:lnTo>
                  <a:lnTo>
                    <a:pt x="1602" y="340"/>
                  </a:lnTo>
                  <a:lnTo>
                    <a:pt x="1612" y="340"/>
                  </a:lnTo>
                  <a:lnTo>
                    <a:pt x="1612" y="343"/>
                  </a:lnTo>
                  <a:lnTo>
                    <a:pt x="1612" y="343"/>
                  </a:lnTo>
                  <a:lnTo>
                    <a:pt x="1609" y="343"/>
                  </a:lnTo>
                  <a:lnTo>
                    <a:pt x="1609" y="343"/>
                  </a:lnTo>
                  <a:lnTo>
                    <a:pt x="1612" y="345"/>
                  </a:lnTo>
                  <a:lnTo>
                    <a:pt x="1619" y="343"/>
                  </a:lnTo>
                  <a:lnTo>
                    <a:pt x="1621" y="343"/>
                  </a:lnTo>
                  <a:lnTo>
                    <a:pt x="1626" y="340"/>
                  </a:lnTo>
                  <a:lnTo>
                    <a:pt x="1626" y="343"/>
                  </a:lnTo>
                  <a:lnTo>
                    <a:pt x="1626" y="343"/>
                  </a:lnTo>
                  <a:lnTo>
                    <a:pt x="1623" y="343"/>
                  </a:lnTo>
                  <a:lnTo>
                    <a:pt x="1623" y="343"/>
                  </a:lnTo>
                  <a:lnTo>
                    <a:pt x="1623" y="345"/>
                  </a:lnTo>
                  <a:lnTo>
                    <a:pt x="1626" y="345"/>
                  </a:lnTo>
                  <a:lnTo>
                    <a:pt x="1626" y="345"/>
                  </a:lnTo>
                  <a:lnTo>
                    <a:pt x="1626" y="347"/>
                  </a:lnTo>
                  <a:lnTo>
                    <a:pt x="1626" y="347"/>
                  </a:lnTo>
                  <a:lnTo>
                    <a:pt x="1626" y="347"/>
                  </a:lnTo>
                  <a:lnTo>
                    <a:pt x="1628" y="350"/>
                  </a:lnTo>
                  <a:lnTo>
                    <a:pt x="1628" y="350"/>
                  </a:lnTo>
                  <a:lnTo>
                    <a:pt x="1628" y="352"/>
                  </a:lnTo>
                  <a:lnTo>
                    <a:pt x="1633" y="352"/>
                  </a:lnTo>
                  <a:lnTo>
                    <a:pt x="1638" y="352"/>
                  </a:lnTo>
                  <a:lnTo>
                    <a:pt x="1640" y="352"/>
                  </a:lnTo>
                  <a:lnTo>
                    <a:pt x="1642" y="352"/>
                  </a:lnTo>
                  <a:lnTo>
                    <a:pt x="1645" y="350"/>
                  </a:lnTo>
                  <a:lnTo>
                    <a:pt x="1645" y="347"/>
                  </a:lnTo>
                  <a:lnTo>
                    <a:pt x="1652" y="343"/>
                  </a:lnTo>
                  <a:lnTo>
                    <a:pt x="1652" y="340"/>
                  </a:lnTo>
                  <a:lnTo>
                    <a:pt x="1654" y="338"/>
                  </a:lnTo>
                  <a:lnTo>
                    <a:pt x="1657" y="336"/>
                  </a:lnTo>
                  <a:lnTo>
                    <a:pt x="1657" y="333"/>
                  </a:lnTo>
                  <a:lnTo>
                    <a:pt x="1657" y="333"/>
                  </a:lnTo>
                  <a:lnTo>
                    <a:pt x="1657" y="331"/>
                  </a:lnTo>
                  <a:lnTo>
                    <a:pt x="1657" y="331"/>
                  </a:lnTo>
                  <a:lnTo>
                    <a:pt x="1657" y="328"/>
                  </a:lnTo>
                  <a:lnTo>
                    <a:pt x="1657" y="326"/>
                  </a:lnTo>
                  <a:lnTo>
                    <a:pt x="1652" y="326"/>
                  </a:lnTo>
                  <a:lnTo>
                    <a:pt x="1650" y="328"/>
                  </a:lnTo>
                  <a:lnTo>
                    <a:pt x="1647" y="328"/>
                  </a:lnTo>
                  <a:lnTo>
                    <a:pt x="1647" y="326"/>
                  </a:lnTo>
                  <a:lnTo>
                    <a:pt x="1647" y="326"/>
                  </a:lnTo>
                  <a:lnTo>
                    <a:pt x="1647" y="324"/>
                  </a:lnTo>
                  <a:lnTo>
                    <a:pt x="1652" y="321"/>
                  </a:lnTo>
                  <a:lnTo>
                    <a:pt x="1657" y="317"/>
                  </a:lnTo>
                  <a:lnTo>
                    <a:pt x="1657" y="314"/>
                  </a:lnTo>
                  <a:lnTo>
                    <a:pt x="1657" y="314"/>
                  </a:lnTo>
                  <a:lnTo>
                    <a:pt x="1657" y="312"/>
                  </a:lnTo>
                  <a:lnTo>
                    <a:pt x="1659" y="312"/>
                  </a:lnTo>
                  <a:lnTo>
                    <a:pt x="1659" y="310"/>
                  </a:lnTo>
                  <a:lnTo>
                    <a:pt x="1659" y="307"/>
                  </a:lnTo>
                  <a:lnTo>
                    <a:pt x="1659" y="305"/>
                  </a:lnTo>
                  <a:lnTo>
                    <a:pt x="1657" y="305"/>
                  </a:lnTo>
                  <a:lnTo>
                    <a:pt x="1657" y="305"/>
                  </a:lnTo>
                  <a:lnTo>
                    <a:pt x="1657" y="305"/>
                  </a:lnTo>
                  <a:lnTo>
                    <a:pt x="1657" y="305"/>
                  </a:lnTo>
                  <a:lnTo>
                    <a:pt x="1657" y="302"/>
                  </a:lnTo>
                  <a:lnTo>
                    <a:pt x="1654" y="302"/>
                  </a:lnTo>
                  <a:lnTo>
                    <a:pt x="1650" y="305"/>
                  </a:lnTo>
                  <a:lnTo>
                    <a:pt x="1645" y="310"/>
                  </a:lnTo>
                  <a:lnTo>
                    <a:pt x="1642" y="312"/>
                  </a:lnTo>
                  <a:lnTo>
                    <a:pt x="1640" y="314"/>
                  </a:lnTo>
                  <a:lnTo>
                    <a:pt x="1638" y="314"/>
                  </a:lnTo>
                  <a:lnTo>
                    <a:pt x="1633" y="317"/>
                  </a:lnTo>
                  <a:lnTo>
                    <a:pt x="1631" y="317"/>
                  </a:lnTo>
                  <a:lnTo>
                    <a:pt x="1628" y="317"/>
                  </a:lnTo>
                  <a:lnTo>
                    <a:pt x="1628" y="317"/>
                  </a:lnTo>
                  <a:lnTo>
                    <a:pt x="1628" y="317"/>
                  </a:lnTo>
                  <a:lnTo>
                    <a:pt x="1628" y="314"/>
                  </a:lnTo>
                  <a:lnTo>
                    <a:pt x="1628" y="314"/>
                  </a:lnTo>
                  <a:lnTo>
                    <a:pt x="1628" y="314"/>
                  </a:lnTo>
                  <a:lnTo>
                    <a:pt x="1633" y="314"/>
                  </a:lnTo>
                  <a:lnTo>
                    <a:pt x="1635" y="310"/>
                  </a:lnTo>
                  <a:lnTo>
                    <a:pt x="1635" y="310"/>
                  </a:lnTo>
                  <a:lnTo>
                    <a:pt x="1635" y="310"/>
                  </a:lnTo>
                  <a:lnTo>
                    <a:pt x="1633" y="307"/>
                  </a:lnTo>
                  <a:lnTo>
                    <a:pt x="1626" y="302"/>
                  </a:lnTo>
                  <a:lnTo>
                    <a:pt x="1626" y="302"/>
                  </a:lnTo>
                  <a:lnTo>
                    <a:pt x="1626" y="302"/>
                  </a:lnTo>
                  <a:lnTo>
                    <a:pt x="1628" y="305"/>
                  </a:lnTo>
                  <a:lnTo>
                    <a:pt x="1633" y="302"/>
                  </a:lnTo>
                  <a:lnTo>
                    <a:pt x="1633" y="305"/>
                  </a:lnTo>
                  <a:lnTo>
                    <a:pt x="1633" y="305"/>
                  </a:lnTo>
                  <a:lnTo>
                    <a:pt x="1635" y="307"/>
                  </a:lnTo>
                  <a:lnTo>
                    <a:pt x="1635" y="307"/>
                  </a:lnTo>
                  <a:lnTo>
                    <a:pt x="1638" y="310"/>
                  </a:lnTo>
                  <a:lnTo>
                    <a:pt x="1642" y="307"/>
                  </a:lnTo>
                  <a:lnTo>
                    <a:pt x="1642" y="305"/>
                  </a:lnTo>
                  <a:lnTo>
                    <a:pt x="1647" y="300"/>
                  </a:lnTo>
                  <a:lnTo>
                    <a:pt x="1652" y="298"/>
                  </a:lnTo>
                  <a:lnTo>
                    <a:pt x="1657" y="295"/>
                  </a:lnTo>
                  <a:lnTo>
                    <a:pt x="1661" y="295"/>
                  </a:lnTo>
                  <a:lnTo>
                    <a:pt x="1661" y="295"/>
                  </a:lnTo>
                  <a:lnTo>
                    <a:pt x="1661" y="291"/>
                  </a:lnTo>
                  <a:lnTo>
                    <a:pt x="1661" y="291"/>
                  </a:lnTo>
                  <a:lnTo>
                    <a:pt x="1661" y="288"/>
                  </a:lnTo>
                  <a:lnTo>
                    <a:pt x="1661" y="286"/>
                  </a:lnTo>
                  <a:lnTo>
                    <a:pt x="1652" y="283"/>
                  </a:lnTo>
                  <a:lnTo>
                    <a:pt x="1652" y="283"/>
                  </a:lnTo>
                  <a:lnTo>
                    <a:pt x="1652" y="283"/>
                  </a:lnTo>
                  <a:lnTo>
                    <a:pt x="1652" y="281"/>
                  </a:lnTo>
                  <a:lnTo>
                    <a:pt x="1652" y="281"/>
                  </a:lnTo>
                  <a:lnTo>
                    <a:pt x="1652" y="279"/>
                  </a:lnTo>
                  <a:lnTo>
                    <a:pt x="1652" y="279"/>
                  </a:lnTo>
                  <a:lnTo>
                    <a:pt x="1652" y="276"/>
                  </a:lnTo>
                  <a:lnTo>
                    <a:pt x="1650" y="274"/>
                  </a:lnTo>
                  <a:lnTo>
                    <a:pt x="1650" y="274"/>
                  </a:lnTo>
                  <a:lnTo>
                    <a:pt x="1650" y="274"/>
                  </a:lnTo>
                  <a:lnTo>
                    <a:pt x="1650" y="272"/>
                  </a:lnTo>
                  <a:lnTo>
                    <a:pt x="1647" y="272"/>
                  </a:lnTo>
                  <a:lnTo>
                    <a:pt x="1647" y="269"/>
                  </a:lnTo>
                  <a:lnTo>
                    <a:pt x="1645" y="267"/>
                  </a:lnTo>
                  <a:lnTo>
                    <a:pt x="1642" y="267"/>
                  </a:lnTo>
                  <a:lnTo>
                    <a:pt x="1642" y="267"/>
                  </a:lnTo>
                  <a:lnTo>
                    <a:pt x="1642" y="265"/>
                  </a:lnTo>
                  <a:lnTo>
                    <a:pt x="1640" y="265"/>
                  </a:lnTo>
                  <a:lnTo>
                    <a:pt x="1640" y="265"/>
                  </a:lnTo>
                  <a:lnTo>
                    <a:pt x="1640" y="262"/>
                  </a:lnTo>
                  <a:lnTo>
                    <a:pt x="1642" y="262"/>
                  </a:lnTo>
                  <a:lnTo>
                    <a:pt x="1652" y="269"/>
                  </a:lnTo>
                  <a:lnTo>
                    <a:pt x="1652" y="272"/>
                  </a:lnTo>
                  <a:lnTo>
                    <a:pt x="1654" y="274"/>
                  </a:lnTo>
                  <a:lnTo>
                    <a:pt x="1654" y="276"/>
                  </a:lnTo>
                  <a:lnTo>
                    <a:pt x="1654" y="279"/>
                  </a:lnTo>
                  <a:lnTo>
                    <a:pt x="1654" y="281"/>
                  </a:lnTo>
                  <a:lnTo>
                    <a:pt x="1659" y="279"/>
                  </a:lnTo>
                  <a:lnTo>
                    <a:pt x="1664" y="279"/>
                  </a:lnTo>
                  <a:lnTo>
                    <a:pt x="1668" y="274"/>
                  </a:lnTo>
                  <a:lnTo>
                    <a:pt x="1668" y="272"/>
                  </a:lnTo>
                  <a:lnTo>
                    <a:pt x="1668" y="269"/>
                  </a:lnTo>
                  <a:lnTo>
                    <a:pt x="1668" y="269"/>
                  </a:lnTo>
                  <a:lnTo>
                    <a:pt x="1668" y="267"/>
                  </a:lnTo>
                  <a:lnTo>
                    <a:pt x="1668" y="267"/>
                  </a:lnTo>
                  <a:lnTo>
                    <a:pt x="1668" y="265"/>
                  </a:lnTo>
                  <a:lnTo>
                    <a:pt x="1668" y="265"/>
                  </a:lnTo>
                  <a:lnTo>
                    <a:pt x="1668" y="260"/>
                  </a:lnTo>
                  <a:lnTo>
                    <a:pt x="1668" y="260"/>
                  </a:lnTo>
                  <a:lnTo>
                    <a:pt x="1671" y="253"/>
                  </a:lnTo>
                  <a:lnTo>
                    <a:pt x="1671" y="250"/>
                  </a:lnTo>
                  <a:lnTo>
                    <a:pt x="1668" y="253"/>
                  </a:lnTo>
                  <a:lnTo>
                    <a:pt x="1668" y="250"/>
                  </a:lnTo>
                  <a:lnTo>
                    <a:pt x="1668" y="250"/>
                  </a:lnTo>
                  <a:lnTo>
                    <a:pt x="1671" y="248"/>
                  </a:lnTo>
                  <a:lnTo>
                    <a:pt x="1671" y="243"/>
                  </a:lnTo>
                  <a:lnTo>
                    <a:pt x="1673" y="243"/>
                  </a:lnTo>
                  <a:lnTo>
                    <a:pt x="1673" y="239"/>
                  </a:lnTo>
                  <a:lnTo>
                    <a:pt x="1673" y="239"/>
                  </a:lnTo>
                  <a:lnTo>
                    <a:pt x="1676" y="234"/>
                  </a:lnTo>
                  <a:lnTo>
                    <a:pt x="1678" y="229"/>
                  </a:lnTo>
                  <a:lnTo>
                    <a:pt x="1678" y="227"/>
                  </a:lnTo>
                  <a:lnTo>
                    <a:pt x="1680" y="227"/>
                  </a:lnTo>
                  <a:lnTo>
                    <a:pt x="1680" y="227"/>
                  </a:lnTo>
                  <a:lnTo>
                    <a:pt x="1678" y="224"/>
                  </a:lnTo>
                  <a:lnTo>
                    <a:pt x="1678" y="222"/>
                  </a:lnTo>
                  <a:lnTo>
                    <a:pt x="1680" y="222"/>
                  </a:lnTo>
                  <a:lnTo>
                    <a:pt x="1680" y="222"/>
                  </a:lnTo>
                  <a:lnTo>
                    <a:pt x="1683" y="220"/>
                  </a:lnTo>
                  <a:lnTo>
                    <a:pt x="1683" y="220"/>
                  </a:lnTo>
                  <a:lnTo>
                    <a:pt x="1683" y="217"/>
                  </a:lnTo>
                  <a:lnTo>
                    <a:pt x="1680" y="215"/>
                  </a:lnTo>
                  <a:lnTo>
                    <a:pt x="1680" y="215"/>
                  </a:lnTo>
                  <a:lnTo>
                    <a:pt x="1680" y="213"/>
                  </a:lnTo>
                  <a:lnTo>
                    <a:pt x="1685" y="213"/>
                  </a:lnTo>
                  <a:lnTo>
                    <a:pt x="1690" y="203"/>
                  </a:lnTo>
                  <a:lnTo>
                    <a:pt x="1692" y="201"/>
                  </a:lnTo>
                  <a:lnTo>
                    <a:pt x="1692" y="196"/>
                  </a:lnTo>
                  <a:lnTo>
                    <a:pt x="1692" y="194"/>
                  </a:lnTo>
                  <a:lnTo>
                    <a:pt x="1692" y="191"/>
                  </a:lnTo>
                  <a:lnTo>
                    <a:pt x="1692" y="191"/>
                  </a:lnTo>
                  <a:lnTo>
                    <a:pt x="1692" y="187"/>
                  </a:lnTo>
                  <a:lnTo>
                    <a:pt x="1692" y="187"/>
                  </a:lnTo>
                  <a:lnTo>
                    <a:pt x="1692" y="184"/>
                  </a:lnTo>
                  <a:lnTo>
                    <a:pt x="1694" y="182"/>
                  </a:lnTo>
                  <a:lnTo>
                    <a:pt x="1694" y="179"/>
                  </a:lnTo>
                  <a:lnTo>
                    <a:pt x="1697" y="177"/>
                  </a:lnTo>
                  <a:lnTo>
                    <a:pt x="1699" y="175"/>
                  </a:lnTo>
                  <a:lnTo>
                    <a:pt x="1702" y="175"/>
                  </a:lnTo>
                  <a:lnTo>
                    <a:pt x="1704" y="172"/>
                  </a:lnTo>
                  <a:lnTo>
                    <a:pt x="1704" y="165"/>
                  </a:lnTo>
                  <a:lnTo>
                    <a:pt x="1709" y="156"/>
                  </a:lnTo>
                  <a:lnTo>
                    <a:pt x="1711" y="149"/>
                  </a:lnTo>
                  <a:lnTo>
                    <a:pt x="1711" y="149"/>
                  </a:lnTo>
                  <a:lnTo>
                    <a:pt x="1711" y="146"/>
                  </a:lnTo>
                  <a:lnTo>
                    <a:pt x="1709" y="146"/>
                  </a:lnTo>
                  <a:lnTo>
                    <a:pt x="1709" y="144"/>
                  </a:lnTo>
                  <a:lnTo>
                    <a:pt x="1709" y="144"/>
                  </a:lnTo>
                  <a:lnTo>
                    <a:pt x="1706" y="142"/>
                  </a:lnTo>
                  <a:lnTo>
                    <a:pt x="1706" y="142"/>
                  </a:lnTo>
                  <a:lnTo>
                    <a:pt x="1706" y="142"/>
                  </a:lnTo>
                  <a:lnTo>
                    <a:pt x="1706" y="142"/>
                  </a:lnTo>
                  <a:lnTo>
                    <a:pt x="1702" y="144"/>
                  </a:lnTo>
                  <a:lnTo>
                    <a:pt x="1697" y="149"/>
                  </a:lnTo>
                  <a:lnTo>
                    <a:pt x="1690" y="151"/>
                  </a:lnTo>
                  <a:lnTo>
                    <a:pt x="1690" y="156"/>
                  </a:lnTo>
                  <a:lnTo>
                    <a:pt x="1685" y="158"/>
                  </a:lnTo>
                  <a:lnTo>
                    <a:pt x="1683" y="163"/>
                  </a:lnTo>
                  <a:lnTo>
                    <a:pt x="1678" y="165"/>
                  </a:lnTo>
                  <a:lnTo>
                    <a:pt x="1673" y="170"/>
                  </a:lnTo>
                  <a:lnTo>
                    <a:pt x="1671" y="175"/>
                  </a:lnTo>
                  <a:lnTo>
                    <a:pt x="1666" y="177"/>
                  </a:lnTo>
                  <a:lnTo>
                    <a:pt x="1666" y="179"/>
                  </a:lnTo>
                  <a:lnTo>
                    <a:pt x="1661" y="184"/>
                  </a:lnTo>
                  <a:lnTo>
                    <a:pt x="1657" y="189"/>
                  </a:lnTo>
                  <a:lnTo>
                    <a:pt x="1650" y="194"/>
                  </a:lnTo>
                  <a:lnTo>
                    <a:pt x="1645" y="198"/>
                  </a:lnTo>
                  <a:lnTo>
                    <a:pt x="1645" y="201"/>
                  </a:lnTo>
                  <a:lnTo>
                    <a:pt x="1645" y="203"/>
                  </a:lnTo>
                  <a:lnTo>
                    <a:pt x="1640" y="208"/>
                  </a:lnTo>
                  <a:lnTo>
                    <a:pt x="1640" y="208"/>
                  </a:lnTo>
                  <a:lnTo>
                    <a:pt x="1640" y="203"/>
                  </a:lnTo>
                  <a:lnTo>
                    <a:pt x="1642" y="203"/>
                  </a:lnTo>
                  <a:lnTo>
                    <a:pt x="1642" y="201"/>
                  </a:lnTo>
                  <a:lnTo>
                    <a:pt x="1642" y="201"/>
                  </a:lnTo>
                  <a:lnTo>
                    <a:pt x="1638" y="203"/>
                  </a:lnTo>
                  <a:lnTo>
                    <a:pt x="1635" y="203"/>
                  </a:lnTo>
                  <a:lnTo>
                    <a:pt x="1635" y="201"/>
                  </a:lnTo>
                  <a:lnTo>
                    <a:pt x="1638" y="201"/>
                  </a:lnTo>
                  <a:lnTo>
                    <a:pt x="1640" y="196"/>
                  </a:lnTo>
                  <a:lnTo>
                    <a:pt x="1642" y="196"/>
                  </a:lnTo>
                  <a:lnTo>
                    <a:pt x="1645" y="194"/>
                  </a:lnTo>
                  <a:lnTo>
                    <a:pt x="1645" y="191"/>
                  </a:lnTo>
                  <a:lnTo>
                    <a:pt x="1645" y="191"/>
                  </a:lnTo>
                  <a:lnTo>
                    <a:pt x="1645" y="191"/>
                  </a:lnTo>
                  <a:lnTo>
                    <a:pt x="1642" y="191"/>
                  </a:lnTo>
                  <a:lnTo>
                    <a:pt x="1642" y="189"/>
                  </a:lnTo>
                  <a:lnTo>
                    <a:pt x="1650" y="189"/>
                  </a:lnTo>
                  <a:lnTo>
                    <a:pt x="1652" y="189"/>
                  </a:lnTo>
                  <a:lnTo>
                    <a:pt x="1652" y="187"/>
                  </a:lnTo>
                  <a:lnTo>
                    <a:pt x="1652" y="187"/>
                  </a:lnTo>
                  <a:lnTo>
                    <a:pt x="1654" y="184"/>
                  </a:lnTo>
                  <a:lnTo>
                    <a:pt x="1654" y="184"/>
                  </a:lnTo>
                  <a:lnTo>
                    <a:pt x="1654" y="184"/>
                  </a:lnTo>
                  <a:lnTo>
                    <a:pt x="1654" y="184"/>
                  </a:lnTo>
                  <a:lnTo>
                    <a:pt x="1657" y="182"/>
                  </a:lnTo>
                  <a:lnTo>
                    <a:pt x="1659" y="177"/>
                  </a:lnTo>
                  <a:lnTo>
                    <a:pt x="1659" y="177"/>
                  </a:lnTo>
                  <a:lnTo>
                    <a:pt x="1661" y="175"/>
                  </a:lnTo>
                  <a:lnTo>
                    <a:pt x="1666" y="170"/>
                  </a:lnTo>
                  <a:lnTo>
                    <a:pt x="1671" y="163"/>
                  </a:lnTo>
                  <a:lnTo>
                    <a:pt x="1671" y="160"/>
                  </a:lnTo>
                  <a:lnTo>
                    <a:pt x="1673" y="158"/>
                  </a:lnTo>
                  <a:lnTo>
                    <a:pt x="1678" y="156"/>
                  </a:lnTo>
                  <a:lnTo>
                    <a:pt x="1678" y="153"/>
                  </a:lnTo>
                  <a:lnTo>
                    <a:pt x="1676" y="153"/>
                  </a:lnTo>
                  <a:lnTo>
                    <a:pt x="1671" y="151"/>
                  </a:lnTo>
                  <a:lnTo>
                    <a:pt x="1666" y="151"/>
                  </a:lnTo>
                  <a:lnTo>
                    <a:pt x="1661" y="156"/>
                  </a:lnTo>
                  <a:lnTo>
                    <a:pt x="1654" y="158"/>
                  </a:lnTo>
                  <a:lnTo>
                    <a:pt x="1650" y="163"/>
                  </a:lnTo>
                  <a:lnTo>
                    <a:pt x="1645" y="160"/>
                  </a:lnTo>
                  <a:lnTo>
                    <a:pt x="1645" y="160"/>
                  </a:lnTo>
                  <a:lnTo>
                    <a:pt x="1652" y="158"/>
                  </a:lnTo>
                  <a:lnTo>
                    <a:pt x="1650" y="156"/>
                  </a:lnTo>
                  <a:lnTo>
                    <a:pt x="1642" y="151"/>
                  </a:lnTo>
                  <a:lnTo>
                    <a:pt x="1633" y="146"/>
                  </a:lnTo>
                  <a:lnTo>
                    <a:pt x="1633" y="144"/>
                  </a:lnTo>
                  <a:lnTo>
                    <a:pt x="1640" y="149"/>
                  </a:lnTo>
                  <a:lnTo>
                    <a:pt x="1647" y="153"/>
                  </a:lnTo>
                  <a:lnTo>
                    <a:pt x="1652" y="156"/>
                  </a:lnTo>
                  <a:lnTo>
                    <a:pt x="1657" y="153"/>
                  </a:lnTo>
                  <a:lnTo>
                    <a:pt x="1659" y="151"/>
                  </a:lnTo>
                  <a:lnTo>
                    <a:pt x="1664" y="149"/>
                  </a:lnTo>
                  <a:lnTo>
                    <a:pt x="1668" y="146"/>
                  </a:lnTo>
                  <a:lnTo>
                    <a:pt x="1673" y="144"/>
                  </a:lnTo>
                  <a:lnTo>
                    <a:pt x="1678" y="142"/>
                  </a:lnTo>
                  <a:lnTo>
                    <a:pt x="1680" y="142"/>
                  </a:lnTo>
                  <a:lnTo>
                    <a:pt x="1683" y="137"/>
                  </a:lnTo>
                  <a:lnTo>
                    <a:pt x="1683" y="137"/>
                  </a:lnTo>
                  <a:lnTo>
                    <a:pt x="1683" y="139"/>
                  </a:lnTo>
                  <a:lnTo>
                    <a:pt x="1685" y="139"/>
                  </a:lnTo>
                  <a:lnTo>
                    <a:pt x="1690" y="132"/>
                  </a:lnTo>
                  <a:lnTo>
                    <a:pt x="1690" y="130"/>
                  </a:lnTo>
                  <a:lnTo>
                    <a:pt x="1685" y="134"/>
                  </a:lnTo>
                  <a:lnTo>
                    <a:pt x="1683" y="132"/>
                  </a:lnTo>
                  <a:lnTo>
                    <a:pt x="1680" y="134"/>
                  </a:lnTo>
                  <a:lnTo>
                    <a:pt x="1680" y="134"/>
                  </a:lnTo>
                  <a:lnTo>
                    <a:pt x="1685" y="130"/>
                  </a:lnTo>
                  <a:lnTo>
                    <a:pt x="1690" y="127"/>
                  </a:lnTo>
                  <a:lnTo>
                    <a:pt x="1690" y="125"/>
                  </a:lnTo>
                  <a:lnTo>
                    <a:pt x="1687" y="125"/>
                  </a:lnTo>
                  <a:lnTo>
                    <a:pt x="1687" y="125"/>
                  </a:lnTo>
                  <a:lnTo>
                    <a:pt x="1687" y="125"/>
                  </a:lnTo>
                  <a:lnTo>
                    <a:pt x="1687" y="123"/>
                  </a:lnTo>
                  <a:lnTo>
                    <a:pt x="1692" y="123"/>
                  </a:lnTo>
                  <a:lnTo>
                    <a:pt x="1694" y="123"/>
                  </a:lnTo>
                  <a:lnTo>
                    <a:pt x="1694" y="123"/>
                  </a:lnTo>
                  <a:lnTo>
                    <a:pt x="1697" y="125"/>
                  </a:lnTo>
                  <a:lnTo>
                    <a:pt x="1704" y="123"/>
                  </a:lnTo>
                  <a:lnTo>
                    <a:pt x="1704" y="120"/>
                  </a:lnTo>
                  <a:lnTo>
                    <a:pt x="1704" y="120"/>
                  </a:lnTo>
                  <a:lnTo>
                    <a:pt x="1706" y="118"/>
                  </a:lnTo>
                  <a:lnTo>
                    <a:pt x="1704" y="118"/>
                  </a:lnTo>
                  <a:lnTo>
                    <a:pt x="1702" y="113"/>
                  </a:lnTo>
                  <a:lnTo>
                    <a:pt x="1699" y="113"/>
                  </a:lnTo>
                  <a:lnTo>
                    <a:pt x="1702" y="111"/>
                  </a:lnTo>
                  <a:lnTo>
                    <a:pt x="1704" y="113"/>
                  </a:lnTo>
                  <a:lnTo>
                    <a:pt x="1706" y="113"/>
                  </a:lnTo>
                  <a:lnTo>
                    <a:pt x="1711" y="106"/>
                  </a:lnTo>
                  <a:lnTo>
                    <a:pt x="1713" y="99"/>
                  </a:lnTo>
                  <a:lnTo>
                    <a:pt x="1716" y="97"/>
                  </a:lnTo>
                  <a:lnTo>
                    <a:pt x="1716" y="97"/>
                  </a:lnTo>
                  <a:lnTo>
                    <a:pt x="1718" y="92"/>
                  </a:lnTo>
                  <a:lnTo>
                    <a:pt x="1721" y="87"/>
                  </a:lnTo>
                  <a:lnTo>
                    <a:pt x="1721" y="87"/>
                  </a:lnTo>
                  <a:lnTo>
                    <a:pt x="1721" y="85"/>
                  </a:lnTo>
                  <a:lnTo>
                    <a:pt x="1718" y="85"/>
                  </a:lnTo>
                  <a:lnTo>
                    <a:pt x="1718" y="85"/>
                  </a:lnTo>
                  <a:lnTo>
                    <a:pt x="1721" y="85"/>
                  </a:lnTo>
                  <a:lnTo>
                    <a:pt x="1721" y="85"/>
                  </a:lnTo>
                  <a:lnTo>
                    <a:pt x="1723" y="82"/>
                  </a:lnTo>
                  <a:lnTo>
                    <a:pt x="1723" y="78"/>
                  </a:lnTo>
                  <a:lnTo>
                    <a:pt x="1723" y="75"/>
                  </a:lnTo>
                  <a:lnTo>
                    <a:pt x="1725" y="73"/>
                  </a:lnTo>
                  <a:lnTo>
                    <a:pt x="1725" y="73"/>
                  </a:lnTo>
                  <a:lnTo>
                    <a:pt x="1723" y="71"/>
                  </a:lnTo>
                  <a:lnTo>
                    <a:pt x="1723" y="71"/>
                  </a:lnTo>
                  <a:lnTo>
                    <a:pt x="1721" y="71"/>
                  </a:lnTo>
                  <a:lnTo>
                    <a:pt x="1725" y="66"/>
                  </a:lnTo>
                  <a:lnTo>
                    <a:pt x="1730" y="61"/>
                  </a:lnTo>
                  <a:lnTo>
                    <a:pt x="1730" y="54"/>
                  </a:lnTo>
                  <a:lnTo>
                    <a:pt x="1730" y="54"/>
                  </a:lnTo>
                  <a:lnTo>
                    <a:pt x="1730" y="54"/>
                  </a:lnTo>
                  <a:lnTo>
                    <a:pt x="1730" y="52"/>
                  </a:lnTo>
                  <a:lnTo>
                    <a:pt x="1728" y="49"/>
                  </a:lnTo>
                  <a:lnTo>
                    <a:pt x="1728" y="47"/>
                  </a:lnTo>
                  <a:lnTo>
                    <a:pt x="1725" y="42"/>
                  </a:lnTo>
                  <a:lnTo>
                    <a:pt x="1725" y="42"/>
                  </a:lnTo>
                  <a:lnTo>
                    <a:pt x="1721" y="35"/>
                  </a:lnTo>
                  <a:lnTo>
                    <a:pt x="1716" y="33"/>
                  </a:lnTo>
                  <a:lnTo>
                    <a:pt x="1716" y="33"/>
                  </a:lnTo>
                  <a:lnTo>
                    <a:pt x="1711" y="33"/>
                  </a:lnTo>
                  <a:lnTo>
                    <a:pt x="1706" y="35"/>
                  </a:lnTo>
                  <a:lnTo>
                    <a:pt x="1706" y="33"/>
                  </a:lnTo>
                  <a:lnTo>
                    <a:pt x="1706" y="33"/>
                  </a:lnTo>
                  <a:lnTo>
                    <a:pt x="1704" y="33"/>
                  </a:lnTo>
                  <a:lnTo>
                    <a:pt x="1706" y="35"/>
                  </a:lnTo>
                  <a:lnTo>
                    <a:pt x="1706" y="35"/>
                  </a:lnTo>
                  <a:lnTo>
                    <a:pt x="1706" y="35"/>
                  </a:lnTo>
                  <a:lnTo>
                    <a:pt x="1704" y="37"/>
                  </a:lnTo>
                  <a:lnTo>
                    <a:pt x="1704" y="35"/>
                  </a:lnTo>
                  <a:lnTo>
                    <a:pt x="1704" y="35"/>
                  </a:lnTo>
                  <a:lnTo>
                    <a:pt x="1704" y="35"/>
                  </a:lnTo>
                  <a:lnTo>
                    <a:pt x="1704" y="35"/>
                  </a:lnTo>
                  <a:lnTo>
                    <a:pt x="1704" y="33"/>
                  </a:lnTo>
                  <a:lnTo>
                    <a:pt x="1706" y="33"/>
                  </a:lnTo>
                  <a:lnTo>
                    <a:pt x="1706" y="30"/>
                  </a:lnTo>
                  <a:lnTo>
                    <a:pt x="1702" y="33"/>
                  </a:lnTo>
                  <a:lnTo>
                    <a:pt x="1697" y="35"/>
                  </a:lnTo>
                  <a:lnTo>
                    <a:pt x="1699" y="35"/>
                  </a:lnTo>
                  <a:lnTo>
                    <a:pt x="1699" y="35"/>
                  </a:lnTo>
                  <a:lnTo>
                    <a:pt x="1699" y="37"/>
                  </a:lnTo>
                  <a:lnTo>
                    <a:pt x="1699" y="37"/>
                  </a:lnTo>
                  <a:lnTo>
                    <a:pt x="1699" y="37"/>
                  </a:lnTo>
                  <a:lnTo>
                    <a:pt x="1699" y="37"/>
                  </a:lnTo>
                  <a:lnTo>
                    <a:pt x="1697" y="37"/>
                  </a:lnTo>
                  <a:lnTo>
                    <a:pt x="1697" y="37"/>
                  </a:lnTo>
                  <a:lnTo>
                    <a:pt x="1697" y="35"/>
                  </a:lnTo>
                  <a:lnTo>
                    <a:pt x="1697" y="35"/>
                  </a:lnTo>
                  <a:lnTo>
                    <a:pt x="1697" y="35"/>
                  </a:lnTo>
                  <a:lnTo>
                    <a:pt x="1697" y="35"/>
                  </a:lnTo>
                  <a:lnTo>
                    <a:pt x="1697" y="37"/>
                  </a:lnTo>
                  <a:lnTo>
                    <a:pt x="1697" y="42"/>
                  </a:lnTo>
                  <a:lnTo>
                    <a:pt x="1697" y="42"/>
                  </a:lnTo>
                  <a:lnTo>
                    <a:pt x="1692" y="47"/>
                  </a:lnTo>
                  <a:lnTo>
                    <a:pt x="1692" y="45"/>
                  </a:lnTo>
                  <a:lnTo>
                    <a:pt x="1692" y="45"/>
                  </a:lnTo>
                  <a:lnTo>
                    <a:pt x="1694" y="42"/>
                  </a:lnTo>
                  <a:lnTo>
                    <a:pt x="1694" y="42"/>
                  </a:lnTo>
                  <a:lnTo>
                    <a:pt x="1694" y="42"/>
                  </a:lnTo>
                  <a:lnTo>
                    <a:pt x="1694" y="40"/>
                  </a:lnTo>
                  <a:lnTo>
                    <a:pt x="1694" y="40"/>
                  </a:lnTo>
                  <a:lnTo>
                    <a:pt x="1694" y="40"/>
                  </a:lnTo>
                  <a:lnTo>
                    <a:pt x="1694" y="40"/>
                  </a:lnTo>
                  <a:lnTo>
                    <a:pt x="1694" y="37"/>
                  </a:lnTo>
                  <a:lnTo>
                    <a:pt x="1694" y="35"/>
                  </a:lnTo>
                  <a:lnTo>
                    <a:pt x="1694" y="35"/>
                  </a:lnTo>
                  <a:lnTo>
                    <a:pt x="1692" y="35"/>
                  </a:lnTo>
                  <a:lnTo>
                    <a:pt x="1692" y="33"/>
                  </a:lnTo>
                  <a:lnTo>
                    <a:pt x="1692" y="30"/>
                  </a:lnTo>
                  <a:lnTo>
                    <a:pt x="1694" y="30"/>
                  </a:lnTo>
                  <a:lnTo>
                    <a:pt x="1694" y="30"/>
                  </a:lnTo>
                  <a:lnTo>
                    <a:pt x="1692" y="28"/>
                  </a:lnTo>
                  <a:lnTo>
                    <a:pt x="1687" y="28"/>
                  </a:lnTo>
                  <a:lnTo>
                    <a:pt x="1685" y="28"/>
                  </a:lnTo>
                  <a:lnTo>
                    <a:pt x="1687" y="26"/>
                  </a:lnTo>
                  <a:lnTo>
                    <a:pt x="1687" y="26"/>
                  </a:lnTo>
                  <a:lnTo>
                    <a:pt x="1687" y="23"/>
                  </a:lnTo>
                  <a:lnTo>
                    <a:pt x="1685" y="23"/>
                  </a:lnTo>
                  <a:lnTo>
                    <a:pt x="1683" y="23"/>
                  </a:lnTo>
                  <a:lnTo>
                    <a:pt x="1683" y="21"/>
                  </a:lnTo>
                  <a:lnTo>
                    <a:pt x="1683" y="21"/>
                  </a:lnTo>
                  <a:lnTo>
                    <a:pt x="1683" y="23"/>
                  </a:lnTo>
                  <a:lnTo>
                    <a:pt x="1680" y="21"/>
                  </a:lnTo>
                  <a:lnTo>
                    <a:pt x="1680" y="21"/>
                  </a:lnTo>
                  <a:lnTo>
                    <a:pt x="1680" y="21"/>
                  </a:lnTo>
                  <a:lnTo>
                    <a:pt x="1680" y="19"/>
                  </a:lnTo>
                  <a:lnTo>
                    <a:pt x="1680" y="21"/>
                  </a:lnTo>
                  <a:lnTo>
                    <a:pt x="1678" y="19"/>
                  </a:lnTo>
                  <a:lnTo>
                    <a:pt x="1676" y="19"/>
                  </a:lnTo>
                  <a:lnTo>
                    <a:pt x="1680" y="16"/>
                  </a:lnTo>
                  <a:lnTo>
                    <a:pt x="1680" y="14"/>
                  </a:lnTo>
                  <a:lnTo>
                    <a:pt x="1680" y="11"/>
                  </a:lnTo>
                  <a:lnTo>
                    <a:pt x="1680" y="11"/>
                  </a:lnTo>
                  <a:lnTo>
                    <a:pt x="1680" y="9"/>
                  </a:lnTo>
                  <a:lnTo>
                    <a:pt x="1680" y="9"/>
                  </a:lnTo>
                  <a:lnTo>
                    <a:pt x="1680" y="9"/>
                  </a:lnTo>
                  <a:lnTo>
                    <a:pt x="1678" y="7"/>
                  </a:lnTo>
                  <a:lnTo>
                    <a:pt x="1678" y="7"/>
                  </a:lnTo>
                  <a:lnTo>
                    <a:pt x="1673" y="7"/>
                  </a:lnTo>
                  <a:lnTo>
                    <a:pt x="1668" y="9"/>
                  </a:lnTo>
                  <a:lnTo>
                    <a:pt x="1666" y="14"/>
                  </a:lnTo>
                  <a:lnTo>
                    <a:pt x="1666" y="14"/>
                  </a:lnTo>
                  <a:lnTo>
                    <a:pt x="1666" y="16"/>
                  </a:lnTo>
                  <a:lnTo>
                    <a:pt x="1666" y="16"/>
                  </a:lnTo>
                  <a:lnTo>
                    <a:pt x="1666" y="16"/>
                  </a:lnTo>
                  <a:lnTo>
                    <a:pt x="1666" y="16"/>
                  </a:lnTo>
                  <a:lnTo>
                    <a:pt x="1666" y="19"/>
                  </a:lnTo>
                  <a:lnTo>
                    <a:pt x="1666" y="16"/>
                  </a:lnTo>
                  <a:lnTo>
                    <a:pt x="1664" y="14"/>
                  </a:lnTo>
                  <a:lnTo>
                    <a:pt x="1661" y="14"/>
                  </a:lnTo>
                  <a:lnTo>
                    <a:pt x="1661" y="11"/>
                  </a:lnTo>
                  <a:lnTo>
                    <a:pt x="1659" y="9"/>
                  </a:lnTo>
                  <a:lnTo>
                    <a:pt x="1659" y="9"/>
                  </a:lnTo>
                  <a:lnTo>
                    <a:pt x="1657" y="9"/>
                  </a:lnTo>
                  <a:lnTo>
                    <a:pt x="1657" y="9"/>
                  </a:lnTo>
                  <a:lnTo>
                    <a:pt x="1657" y="7"/>
                  </a:lnTo>
                  <a:lnTo>
                    <a:pt x="1659" y="7"/>
                  </a:lnTo>
                  <a:lnTo>
                    <a:pt x="1659" y="4"/>
                  </a:lnTo>
                  <a:lnTo>
                    <a:pt x="1659" y="4"/>
                  </a:lnTo>
                  <a:lnTo>
                    <a:pt x="1659" y="2"/>
                  </a:lnTo>
                  <a:lnTo>
                    <a:pt x="1652" y="7"/>
                  </a:lnTo>
                  <a:lnTo>
                    <a:pt x="1652" y="9"/>
                  </a:lnTo>
                  <a:lnTo>
                    <a:pt x="1652" y="9"/>
                  </a:lnTo>
                  <a:lnTo>
                    <a:pt x="1652" y="9"/>
                  </a:lnTo>
                  <a:lnTo>
                    <a:pt x="1652" y="9"/>
                  </a:lnTo>
                  <a:lnTo>
                    <a:pt x="1654" y="9"/>
                  </a:lnTo>
                  <a:lnTo>
                    <a:pt x="1654" y="11"/>
                  </a:lnTo>
                  <a:lnTo>
                    <a:pt x="1654" y="11"/>
                  </a:lnTo>
                  <a:lnTo>
                    <a:pt x="1654" y="11"/>
                  </a:lnTo>
                  <a:lnTo>
                    <a:pt x="1654" y="16"/>
                  </a:lnTo>
                  <a:lnTo>
                    <a:pt x="1654" y="16"/>
                  </a:lnTo>
                  <a:lnTo>
                    <a:pt x="1654" y="19"/>
                  </a:lnTo>
                  <a:lnTo>
                    <a:pt x="1657" y="19"/>
                  </a:lnTo>
                  <a:lnTo>
                    <a:pt x="1657" y="19"/>
                  </a:lnTo>
                  <a:lnTo>
                    <a:pt x="1652" y="21"/>
                  </a:lnTo>
                  <a:lnTo>
                    <a:pt x="1652" y="19"/>
                  </a:lnTo>
                  <a:lnTo>
                    <a:pt x="1652" y="19"/>
                  </a:lnTo>
                  <a:lnTo>
                    <a:pt x="1652" y="16"/>
                  </a:lnTo>
                  <a:lnTo>
                    <a:pt x="1652" y="14"/>
                  </a:lnTo>
                  <a:lnTo>
                    <a:pt x="1650" y="14"/>
                  </a:lnTo>
                  <a:lnTo>
                    <a:pt x="1645" y="16"/>
                  </a:lnTo>
                  <a:lnTo>
                    <a:pt x="1642" y="21"/>
                  </a:lnTo>
                  <a:lnTo>
                    <a:pt x="1638" y="28"/>
                  </a:lnTo>
                  <a:lnTo>
                    <a:pt x="1638" y="28"/>
                  </a:lnTo>
                  <a:lnTo>
                    <a:pt x="1638" y="30"/>
                  </a:lnTo>
                  <a:lnTo>
                    <a:pt x="1638" y="30"/>
                  </a:lnTo>
                  <a:lnTo>
                    <a:pt x="1638" y="30"/>
                  </a:lnTo>
                  <a:lnTo>
                    <a:pt x="1638" y="30"/>
                  </a:lnTo>
                  <a:lnTo>
                    <a:pt x="1640" y="30"/>
                  </a:lnTo>
                  <a:lnTo>
                    <a:pt x="1638" y="33"/>
                  </a:lnTo>
                  <a:lnTo>
                    <a:pt x="1635" y="33"/>
                  </a:lnTo>
                  <a:lnTo>
                    <a:pt x="1633" y="35"/>
                  </a:lnTo>
                  <a:lnTo>
                    <a:pt x="1633" y="35"/>
                  </a:lnTo>
                  <a:lnTo>
                    <a:pt x="1631" y="37"/>
                  </a:lnTo>
                  <a:lnTo>
                    <a:pt x="1631" y="42"/>
                  </a:lnTo>
                  <a:lnTo>
                    <a:pt x="1626" y="45"/>
                  </a:lnTo>
                  <a:lnTo>
                    <a:pt x="1621" y="47"/>
                  </a:lnTo>
                  <a:lnTo>
                    <a:pt x="1614" y="49"/>
                  </a:lnTo>
                  <a:lnTo>
                    <a:pt x="1614" y="47"/>
                  </a:lnTo>
                  <a:lnTo>
                    <a:pt x="1614" y="47"/>
                  </a:lnTo>
                  <a:lnTo>
                    <a:pt x="1616" y="45"/>
                  </a:lnTo>
                  <a:lnTo>
                    <a:pt x="1616" y="42"/>
                  </a:lnTo>
                  <a:lnTo>
                    <a:pt x="1619" y="40"/>
                  </a:lnTo>
                  <a:lnTo>
                    <a:pt x="1623" y="35"/>
                  </a:lnTo>
                  <a:lnTo>
                    <a:pt x="1623" y="35"/>
                  </a:lnTo>
                  <a:lnTo>
                    <a:pt x="1623" y="33"/>
                  </a:lnTo>
                  <a:lnTo>
                    <a:pt x="1626" y="33"/>
                  </a:lnTo>
                  <a:lnTo>
                    <a:pt x="1626" y="33"/>
                  </a:lnTo>
                  <a:lnTo>
                    <a:pt x="1626" y="30"/>
                  </a:lnTo>
                  <a:lnTo>
                    <a:pt x="1628" y="28"/>
                  </a:lnTo>
                  <a:lnTo>
                    <a:pt x="1631" y="26"/>
                  </a:lnTo>
                  <a:lnTo>
                    <a:pt x="1633" y="23"/>
                  </a:lnTo>
                  <a:lnTo>
                    <a:pt x="1633" y="21"/>
                  </a:lnTo>
                  <a:lnTo>
                    <a:pt x="1633" y="21"/>
                  </a:lnTo>
                  <a:lnTo>
                    <a:pt x="1638" y="11"/>
                  </a:lnTo>
                  <a:lnTo>
                    <a:pt x="1638" y="9"/>
                  </a:lnTo>
                  <a:lnTo>
                    <a:pt x="1635" y="9"/>
                  </a:lnTo>
                  <a:lnTo>
                    <a:pt x="1635" y="9"/>
                  </a:lnTo>
                  <a:lnTo>
                    <a:pt x="1635" y="9"/>
                  </a:lnTo>
                  <a:lnTo>
                    <a:pt x="1635" y="9"/>
                  </a:lnTo>
                  <a:lnTo>
                    <a:pt x="1635" y="7"/>
                  </a:lnTo>
                  <a:lnTo>
                    <a:pt x="1635" y="7"/>
                  </a:lnTo>
                  <a:lnTo>
                    <a:pt x="1635" y="7"/>
                  </a:lnTo>
                  <a:lnTo>
                    <a:pt x="1635" y="7"/>
                  </a:lnTo>
                  <a:lnTo>
                    <a:pt x="1631" y="7"/>
                  </a:lnTo>
                  <a:lnTo>
                    <a:pt x="1631" y="7"/>
                  </a:lnTo>
                  <a:lnTo>
                    <a:pt x="1628" y="7"/>
                  </a:lnTo>
                  <a:lnTo>
                    <a:pt x="1628" y="9"/>
                  </a:lnTo>
                  <a:lnTo>
                    <a:pt x="1628" y="11"/>
                  </a:lnTo>
                  <a:lnTo>
                    <a:pt x="1628" y="9"/>
                  </a:lnTo>
                  <a:lnTo>
                    <a:pt x="1628" y="9"/>
                  </a:lnTo>
                  <a:lnTo>
                    <a:pt x="1628" y="7"/>
                  </a:lnTo>
                  <a:lnTo>
                    <a:pt x="1626" y="7"/>
                  </a:lnTo>
                  <a:lnTo>
                    <a:pt x="1623" y="7"/>
                  </a:lnTo>
                  <a:lnTo>
                    <a:pt x="1626" y="9"/>
                  </a:lnTo>
                  <a:lnTo>
                    <a:pt x="1626" y="11"/>
                  </a:lnTo>
                  <a:lnTo>
                    <a:pt x="1619" y="9"/>
                  </a:lnTo>
                  <a:lnTo>
                    <a:pt x="1614" y="11"/>
                  </a:lnTo>
                  <a:lnTo>
                    <a:pt x="1612" y="14"/>
                  </a:lnTo>
                  <a:lnTo>
                    <a:pt x="1612" y="14"/>
                  </a:lnTo>
                  <a:lnTo>
                    <a:pt x="1612" y="14"/>
                  </a:lnTo>
                  <a:lnTo>
                    <a:pt x="1609" y="11"/>
                  </a:lnTo>
                  <a:lnTo>
                    <a:pt x="1609" y="9"/>
                  </a:lnTo>
                  <a:lnTo>
                    <a:pt x="1609" y="7"/>
                  </a:lnTo>
                  <a:lnTo>
                    <a:pt x="1605" y="9"/>
                  </a:lnTo>
                  <a:lnTo>
                    <a:pt x="1605" y="11"/>
                  </a:lnTo>
                  <a:lnTo>
                    <a:pt x="1605" y="11"/>
                  </a:lnTo>
                  <a:lnTo>
                    <a:pt x="1602" y="11"/>
                  </a:lnTo>
                  <a:lnTo>
                    <a:pt x="1600" y="11"/>
                  </a:lnTo>
                  <a:lnTo>
                    <a:pt x="1600" y="11"/>
                  </a:lnTo>
                  <a:lnTo>
                    <a:pt x="1597" y="7"/>
                  </a:lnTo>
                  <a:lnTo>
                    <a:pt x="1597" y="7"/>
                  </a:lnTo>
                  <a:lnTo>
                    <a:pt x="1597" y="7"/>
                  </a:lnTo>
                  <a:lnTo>
                    <a:pt x="1595" y="9"/>
                  </a:lnTo>
                  <a:lnTo>
                    <a:pt x="1590" y="14"/>
                  </a:lnTo>
                  <a:lnTo>
                    <a:pt x="1590" y="14"/>
                  </a:lnTo>
                  <a:lnTo>
                    <a:pt x="1590" y="11"/>
                  </a:lnTo>
                  <a:lnTo>
                    <a:pt x="1590" y="9"/>
                  </a:lnTo>
                  <a:lnTo>
                    <a:pt x="1590" y="9"/>
                  </a:lnTo>
                  <a:lnTo>
                    <a:pt x="1590" y="7"/>
                  </a:lnTo>
                  <a:lnTo>
                    <a:pt x="1588" y="9"/>
                  </a:lnTo>
                  <a:lnTo>
                    <a:pt x="1588" y="9"/>
                  </a:lnTo>
                  <a:lnTo>
                    <a:pt x="1588" y="7"/>
                  </a:lnTo>
                  <a:lnTo>
                    <a:pt x="1586" y="9"/>
                  </a:lnTo>
                  <a:lnTo>
                    <a:pt x="1586" y="7"/>
                  </a:lnTo>
                  <a:lnTo>
                    <a:pt x="1588" y="7"/>
                  </a:lnTo>
                  <a:lnTo>
                    <a:pt x="1588" y="4"/>
                  </a:lnTo>
                  <a:lnTo>
                    <a:pt x="1588" y="4"/>
                  </a:lnTo>
                  <a:lnTo>
                    <a:pt x="1586" y="4"/>
                  </a:lnTo>
                  <a:lnTo>
                    <a:pt x="1586" y="4"/>
                  </a:lnTo>
                  <a:lnTo>
                    <a:pt x="1586" y="2"/>
                  </a:lnTo>
                  <a:lnTo>
                    <a:pt x="1586" y="2"/>
                  </a:lnTo>
                  <a:lnTo>
                    <a:pt x="1586" y="2"/>
                  </a:lnTo>
                  <a:lnTo>
                    <a:pt x="1586" y="0"/>
                  </a:lnTo>
                  <a:lnTo>
                    <a:pt x="1581" y="2"/>
                  </a:lnTo>
                  <a:lnTo>
                    <a:pt x="1576" y="4"/>
                  </a:lnTo>
                  <a:lnTo>
                    <a:pt x="1571" y="4"/>
                  </a:lnTo>
                  <a:lnTo>
                    <a:pt x="1571" y="7"/>
                  </a:lnTo>
                  <a:lnTo>
                    <a:pt x="1571" y="7"/>
                  </a:lnTo>
                  <a:lnTo>
                    <a:pt x="1571" y="7"/>
                  </a:lnTo>
                  <a:lnTo>
                    <a:pt x="1571" y="7"/>
                  </a:lnTo>
                  <a:lnTo>
                    <a:pt x="1571" y="9"/>
                  </a:lnTo>
                  <a:lnTo>
                    <a:pt x="1571" y="9"/>
                  </a:lnTo>
                  <a:lnTo>
                    <a:pt x="1571" y="9"/>
                  </a:lnTo>
                  <a:lnTo>
                    <a:pt x="1569" y="7"/>
                  </a:lnTo>
                  <a:lnTo>
                    <a:pt x="1567" y="7"/>
                  </a:lnTo>
                  <a:lnTo>
                    <a:pt x="1567" y="9"/>
                  </a:lnTo>
                  <a:lnTo>
                    <a:pt x="1569" y="9"/>
                  </a:lnTo>
                  <a:lnTo>
                    <a:pt x="1569" y="9"/>
                  </a:lnTo>
                  <a:lnTo>
                    <a:pt x="1569" y="9"/>
                  </a:lnTo>
                  <a:lnTo>
                    <a:pt x="1569" y="11"/>
                  </a:lnTo>
                  <a:lnTo>
                    <a:pt x="1567" y="11"/>
                  </a:lnTo>
                  <a:lnTo>
                    <a:pt x="1564" y="19"/>
                  </a:lnTo>
                  <a:lnTo>
                    <a:pt x="1564" y="19"/>
                  </a:lnTo>
                  <a:lnTo>
                    <a:pt x="1567" y="21"/>
                  </a:lnTo>
                  <a:lnTo>
                    <a:pt x="1569" y="21"/>
                  </a:lnTo>
                  <a:lnTo>
                    <a:pt x="1576" y="28"/>
                  </a:lnTo>
                  <a:lnTo>
                    <a:pt x="1579" y="30"/>
                  </a:lnTo>
                  <a:lnTo>
                    <a:pt x="1571" y="28"/>
                  </a:lnTo>
                  <a:lnTo>
                    <a:pt x="1567" y="26"/>
                  </a:lnTo>
                  <a:lnTo>
                    <a:pt x="1567" y="26"/>
                  </a:lnTo>
                  <a:lnTo>
                    <a:pt x="1567" y="26"/>
                  </a:lnTo>
                  <a:lnTo>
                    <a:pt x="1567" y="26"/>
                  </a:lnTo>
                  <a:lnTo>
                    <a:pt x="1567" y="23"/>
                  </a:lnTo>
                  <a:lnTo>
                    <a:pt x="1562" y="21"/>
                  </a:lnTo>
                  <a:lnTo>
                    <a:pt x="1562" y="19"/>
                  </a:lnTo>
                  <a:lnTo>
                    <a:pt x="1560" y="16"/>
                  </a:lnTo>
                  <a:lnTo>
                    <a:pt x="1562" y="11"/>
                  </a:lnTo>
                  <a:lnTo>
                    <a:pt x="1562" y="9"/>
                  </a:lnTo>
                  <a:lnTo>
                    <a:pt x="1562" y="9"/>
                  </a:lnTo>
                  <a:lnTo>
                    <a:pt x="1557" y="9"/>
                  </a:lnTo>
                  <a:lnTo>
                    <a:pt x="1552" y="11"/>
                  </a:lnTo>
                  <a:lnTo>
                    <a:pt x="1550" y="14"/>
                  </a:lnTo>
                  <a:lnTo>
                    <a:pt x="1550" y="14"/>
                  </a:lnTo>
                  <a:lnTo>
                    <a:pt x="1548" y="14"/>
                  </a:lnTo>
                  <a:lnTo>
                    <a:pt x="1548" y="11"/>
                  </a:lnTo>
                  <a:lnTo>
                    <a:pt x="1548" y="14"/>
                  </a:lnTo>
                  <a:lnTo>
                    <a:pt x="1545" y="16"/>
                  </a:lnTo>
                  <a:lnTo>
                    <a:pt x="1543" y="16"/>
                  </a:lnTo>
                  <a:lnTo>
                    <a:pt x="1543" y="19"/>
                  </a:lnTo>
                  <a:lnTo>
                    <a:pt x="1545" y="19"/>
                  </a:lnTo>
                  <a:lnTo>
                    <a:pt x="1545" y="21"/>
                  </a:lnTo>
                  <a:lnTo>
                    <a:pt x="1541" y="23"/>
                  </a:lnTo>
                  <a:lnTo>
                    <a:pt x="1541" y="30"/>
                  </a:lnTo>
                  <a:lnTo>
                    <a:pt x="1538" y="30"/>
                  </a:lnTo>
                  <a:lnTo>
                    <a:pt x="1538" y="33"/>
                  </a:lnTo>
                  <a:lnTo>
                    <a:pt x="1538" y="35"/>
                  </a:lnTo>
                  <a:lnTo>
                    <a:pt x="1541" y="37"/>
                  </a:lnTo>
                  <a:lnTo>
                    <a:pt x="1543" y="37"/>
                  </a:lnTo>
                  <a:lnTo>
                    <a:pt x="1543" y="37"/>
                  </a:lnTo>
                  <a:lnTo>
                    <a:pt x="1545" y="42"/>
                  </a:lnTo>
                  <a:lnTo>
                    <a:pt x="1545" y="42"/>
                  </a:lnTo>
                  <a:lnTo>
                    <a:pt x="1545" y="42"/>
                  </a:lnTo>
                  <a:lnTo>
                    <a:pt x="1550" y="47"/>
                  </a:lnTo>
                  <a:lnTo>
                    <a:pt x="1555" y="49"/>
                  </a:lnTo>
                  <a:lnTo>
                    <a:pt x="1560" y="52"/>
                  </a:lnTo>
                  <a:lnTo>
                    <a:pt x="1560" y="54"/>
                  </a:lnTo>
                  <a:lnTo>
                    <a:pt x="1560" y="54"/>
                  </a:lnTo>
                  <a:lnTo>
                    <a:pt x="1560" y="56"/>
                  </a:lnTo>
                  <a:lnTo>
                    <a:pt x="1560" y="56"/>
                  </a:lnTo>
                  <a:lnTo>
                    <a:pt x="1560" y="56"/>
                  </a:lnTo>
                  <a:lnTo>
                    <a:pt x="1552" y="52"/>
                  </a:lnTo>
                  <a:lnTo>
                    <a:pt x="1545" y="47"/>
                  </a:lnTo>
                  <a:lnTo>
                    <a:pt x="1538" y="42"/>
                  </a:lnTo>
                  <a:lnTo>
                    <a:pt x="1536" y="40"/>
                  </a:lnTo>
                  <a:lnTo>
                    <a:pt x="1536" y="37"/>
                  </a:lnTo>
                  <a:lnTo>
                    <a:pt x="1536" y="37"/>
                  </a:lnTo>
                  <a:lnTo>
                    <a:pt x="1534" y="35"/>
                  </a:lnTo>
                  <a:lnTo>
                    <a:pt x="1534" y="35"/>
                  </a:lnTo>
                  <a:lnTo>
                    <a:pt x="1534" y="35"/>
                  </a:lnTo>
                  <a:lnTo>
                    <a:pt x="1534" y="35"/>
                  </a:lnTo>
                  <a:lnTo>
                    <a:pt x="1534" y="35"/>
                  </a:lnTo>
                  <a:lnTo>
                    <a:pt x="1534" y="33"/>
                  </a:lnTo>
                  <a:lnTo>
                    <a:pt x="1534" y="33"/>
                  </a:lnTo>
                  <a:lnTo>
                    <a:pt x="1534" y="33"/>
                  </a:lnTo>
                  <a:lnTo>
                    <a:pt x="1529" y="28"/>
                  </a:lnTo>
                  <a:lnTo>
                    <a:pt x="1524" y="28"/>
                  </a:lnTo>
                  <a:lnTo>
                    <a:pt x="1517" y="28"/>
                  </a:lnTo>
                  <a:lnTo>
                    <a:pt x="1517" y="28"/>
                  </a:lnTo>
                  <a:lnTo>
                    <a:pt x="1517" y="28"/>
                  </a:lnTo>
                  <a:lnTo>
                    <a:pt x="1515" y="30"/>
                  </a:lnTo>
                  <a:lnTo>
                    <a:pt x="1515" y="30"/>
                  </a:lnTo>
                  <a:lnTo>
                    <a:pt x="1515" y="28"/>
                  </a:lnTo>
                  <a:lnTo>
                    <a:pt x="1515" y="28"/>
                  </a:lnTo>
                  <a:lnTo>
                    <a:pt x="1512" y="28"/>
                  </a:lnTo>
                  <a:lnTo>
                    <a:pt x="1512" y="28"/>
                  </a:lnTo>
                  <a:lnTo>
                    <a:pt x="1508" y="28"/>
                  </a:lnTo>
                  <a:lnTo>
                    <a:pt x="1503" y="28"/>
                  </a:lnTo>
                  <a:lnTo>
                    <a:pt x="1500" y="30"/>
                  </a:lnTo>
                  <a:lnTo>
                    <a:pt x="1496" y="35"/>
                  </a:lnTo>
                  <a:lnTo>
                    <a:pt x="1491" y="37"/>
                  </a:lnTo>
                  <a:lnTo>
                    <a:pt x="1489" y="35"/>
                  </a:lnTo>
                  <a:lnTo>
                    <a:pt x="1489" y="35"/>
                  </a:lnTo>
                  <a:lnTo>
                    <a:pt x="1489" y="35"/>
                  </a:lnTo>
                  <a:lnTo>
                    <a:pt x="1489" y="35"/>
                  </a:lnTo>
                  <a:lnTo>
                    <a:pt x="1489" y="33"/>
                  </a:lnTo>
                  <a:lnTo>
                    <a:pt x="1486" y="37"/>
                  </a:lnTo>
                  <a:lnTo>
                    <a:pt x="1486" y="37"/>
                  </a:lnTo>
                  <a:lnTo>
                    <a:pt x="1486" y="40"/>
                  </a:lnTo>
                  <a:lnTo>
                    <a:pt x="1493" y="45"/>
                  </a:lnTo>
                  <a:lnTo>
                    <a:pt x="1498" y="49"/>
                  </a:lnTo>
                  <a:lnTo>
                    <a:pt x="1503" y="56"/>
                  </a:lnTo>
                  <a:lnTo>
                    <a:pt x="1505" y="59"/>
                  </a:lnTo>
                  <a:lnTo>
                    <a:pt x="1510" y="56"/>
                  </a:lnTo>
                  <a:lnTo>
                    <a:pt x="1510" y="59"/>
                  </a:lnTo>
                  <a:lnTo>
                    <a:pt x="1508" y="59"/>
                  </a:lnTo>
                  <a:lnTo>
                    <a:pt x="1508" y="61"/>
                  </a:lnTo>
                  <a:lnTo>
                    <a:pt x="1508" y="66"/>
                  </a:lnTo>
                  <a:lnTo>
                    <a:pt x="1510" y="66"/>
                  </a:lnTo>
                  <a:lnTo>
                    <a:pt x="1510" y="68"/>
                  </a:lnTo>
                  <a:lnTo>
                    <a:pt x="1512" y="68"/>
                  </a:lnTo>
                  <a:lnTo>
                    <a:pt x="1512" y="68"/>
                  </a:lnTo>
                  <a:lnTo>
                    <a:pt x="1512" y="68"/>
                  </a:lnTo>
                  <a:lnTo>
                    <a:pt x="1512" y="68"/>
                  </a:lnTo>
                  <a:lnTo>
                    <a:pt x="1517" y="71"/>
                  </a:lnTo>
                  <a:lnTo>
                    <a:pt x="1522" y="73"/>
                  </a:lnTo>
                  <a:lnTo>
                    <a:pt x="1522" y="73"/>
                  </a:lnTo>
                  <a:lnTo>
                    <a:pt x="1522" y="75"/>
                  </a:lnTo>
                  <a:lnTo>
                    <a:pt x="1519" y="78"/>
                  </a:lnTo>
                  <a:lnTo>
                    <a:pt x="1517" y="85"/>
                  </a:lnTo>
                  <a:lnTo>
                    <a:pt x="1517" y="94"/>
                  </a:lnTo>
                  <a:lnTo>
                    <a:pt x="1515" y="94"/>
                  </a:lnTo>
                  <a:lnTo>
                    <a:pt x="1515" y="92"/>
                  </a:lnTo>
                  <a:lnTo>
                    <a:pt x="1515" y="92"/>
                  </a:lnTo>
                  <a:lnTo>
                    <a:pt x="1515" y="90"/>
                  </a:lnTo>
                  <a:lnTo>
                    <a:pt x="1515" y="87"/>
                  </a:lnTo>
                  <a:lnTo>
                    <a:pt x="1515" y="85"/>
                  </a:lnTo>
                  <a:lnTo>
                    <a:pt x="1515" y="85"/>
                  </a:lnTo>
                  <a:lnTo>
                    <a:pt x="1515" y="80"/>
                  </a:lnTo>
                  <a:lnTo>
                    <a:pt x="1517" y="80"/>
                  </a:lnTo>
                  <a:lnTo>
                    <a:pt x="1517" y="80"/>
                  </a:lnTo>
                  <a:lnTo>
                    <a:pt x="1517" y="78"/>
                  </a:lnTo>
                  <a:lnTo>
                    <a:pt x="1515" y="78"/>
                  </a:lnTo>
                  <a:lnTo>
                    <a:pt x="1512" y="75"/>
                  </a:lnTo>
                  <a:lnTo>
                    <a:pt x="1510" y="75"/>
                  </a:lnTo>
                  <a:lnTo>
                    <a:pt x="1510" y="73"/>
                  </a:lnTo>
                  <a:lnTo>
                    <a:pt x="1510" y="73"/>
                  </a:lnTo>
                  <a:lnTo>
                    <a:pt x="1508" y="73"/>
                  </a:lnTo>
                  <a:lnTo>
                    <a:pt x="1508" y="73"/>
                  </a:lnTo>
                  <a:lnTo>
                    <a:pt x="1508" y="73"/>
                  </a:lnTo>
                  <a:lnTo>
                    <a:pt x="1505" y="71"/>
                  </a:lnTo>
                  <a:lnTo>
                    <a:pt x="1500" y="64"/>
                  </a:lnTo>
                  <a:lnTo>
                    <a:pt x="1500" y="64"/>
                  </a:lnTo>
                  <a:lnTo>
                    <a:pt x="1498" y="64"/>
                  </a:lnTo>
                  <a:lnTo>
                    <a:pt x="1498" y="61"/>
                  </a:lnTo>
                  <a:lnTo>
                    <a:pt x="1498" y="61"/>
                  </a:lnTo>
                  <a:lnTo>
                    <a:pt x="1498" y="61"/>
                  </a:lnTo>
                  <a:lnTo>
                    <a:pt x="1498" y="59"/>
                  </a:lnTo>
                  <a:lnTo>
                    <a:pt x="1493" y="52"/>
                  </a:lnTo>
                  <a:lnTo>
                    <a:pt x="1489" y="49"/>
                  </a:lnTo>
                  <a:lnTo>
                    <a:pt x="1481" y="47"/>
                  </a:lnTo>
                  <a:lnTo>
                    <a:pt x="1479" y="52"/>
                  </a:lnTo>
                  <a:lnTo>
                    <a:pt x="1479" y="52"/>
                  </a:lnTo>
                  <a:lnTo>
                    <a:pt x="1481" y="54"/>
                  </a:lnTo>
                  <a:lnTo>
                    <a:pt x="1481" y="54"/>
                  </a:lnTo>
                  <a:lnTo>
                    <a:pt x="1481" y="54"/>
                  </a:lnTo>
                  <a:lnTo>
                    <a:pt x="1481" y="56"/>
                  </a:lnTo>
                  <a:lnTo>
                    <a:pt x="1481" y="56"/>
                  </a:lnTo>
                  <a:lnTo>
                    <a:pt x="1479" y="54"/>
                  </a:lnTo>
                  <a:lnTo>
                    <a:pt x="1479" y="56"/>
                  </a:lnTo>
                  <a:lnTo>
                    <a:pt x="1479" y="56"/>
                  </a:lnTo>
                  <a:lnTo>
                    <a:pt x="1479" y="59"/>
                  </a:lnTo>
                  <a:lnTo>
                    <a:pt x="1479" y="59"/>
                  </a:lnTo>
                  <a:lnTo>
                    <a:pt x="1481" y="59"/>
                  </a:lnTo>
                  <a:lnTo>
                    <a:pt x="1481" y="59"/>
                  </a:lnTo>
                  <a:lnTo>
                    <a:pt x="1479" y="59"/>
                  </a:lnTo>
                  <a:lnTo>
                    <a:pt x="1479" y="56"/>
                  </a:lnTo>
                  <a:lnTo>
                    <a:pt x="1477" y="56"/>
                  </a:lnTo>
                  <a:lnTo>
                    <a:pt x="1477" y="56"/>
                  </a:lnTo>
                  <a:lnTo>
                    <a:pt x="1477" y="54"/>
                  </a:lnTo>
                  <a:lnTo>
                    <a:pt x="1477" y="56"/>
                  </a:lnTo>
                  <a:lnTo>
                    <a:pt x="1474" y="56"/>
                  </a:lnTo>
                  <a:lnTo>
                    <a:pt x="1474" y="59"/>
                  </a:lnTo>
                  <a:lnTo>
                    <a:pt x="1474" y="56"/>
                  </a:lnTo>
                  <a:lnTo>
                    <a:pt x="1474" y="52"/>
                  </a:lnTo>
                  <a:lnTo>
                    <a:pt x="1474" y="52"/>
                  </a:lnTo>
                  <a:lnTo>
                    <a:pt x="1474" y="49"/>
                  </a:lnTo>
                  <a:lnTo>
                    <a:pt x="1472" y="49"/>
                  </a:lnTo>
                  <a:lnTo>
                    <a:pt x="1472" y="47"/>
                  </a:lnTo>
                  <a:lnTo>
                    <a:pt x="1470" y="47"/>
                  </a:lnTo>
                  <a:lnTo>
                    <a:pt x="1470" y="49"/>
                  </a:lnTo>
                  <a:lnTo>
                    <a:pt x="1467" y="56"/>
                  </a:lnTo>
                  <a:lnTo>
                    <a:pt x="1467" y="56"/>
                  </a:lnTo>
                  <a:lnTo>
                    <a:pt x="1467" y="56"/>
                  </a:lnTo>
                  <a:lnTo>
                    <a:pt x="1465" y="54"/>
                  </a:lnTo>
                  <a:lnTo>
                    <a:pt x="1465" y="52"/>
                  </a:lnTo>
                  <a:lnTo>
                    <a:pt x="1465" y="52"/>
                  </a:lnTo>
                  <a:lnTo>
                    <a:pt x="1463" y="52"/>
                  </a:lnTo>
                  <a:lnTo>
                    <a:pt x="1463" y="49"/>
                  </a:lnTo>
                  <a:lnTo>
                    <a:pt x="1463" y="49"/>
                  </a:lnTo>
                  <a:lnTo>
                    <a:pt x="1463" y="49"/>
                  </a:lnTo>
                  <a:lnTo>
                    <a:pt x="1463" y="49"/>
                  </a:lnTo>
                  <a:lnTo>
                    <a:pt x="1463" y="49"/>
                  </a:lnTo>
                  <a:lnTo>
                    <a:pt x="1463" y="49"/>
                  </a:lnTo>
                  <a:lnTo>
                    <a:pt x="1460" y="47"/>
                  </a:lnTo>
                  <a:lnTo>
                    <a:pt x="1460" y="47"/>
                  </a:lnTo>
                  <a:lnTo>
                    <a:pt x="1455" y="49"/>
                  </a:lnTo>
                  <a:lnTo>
                    <a:pt x="1451" y="52"/>
                  </a:lnTo>
                  <a:lnTo>
                    <a:pt x="1451" y="54"/>
                  </a:lnTo>
                  <a:lnTo>
                    <a:pt x="1451" y="54"/>
                  </a:lnTo>
                  <a:lnTo>
                    <a:pt x="1451" y="54"/>
                  </a:lnTo>
                  <a:lnTo>
                    <a:pt x="1448" y="56"/>
                  </a:lnTo>
                  <a:lnTo>
                    <a:pt x="1448" y="56"/>
                  </a:lnTo>
                  <a:lnTo>
                    <a:pt x="1448" y="56"/>
                  </a:lnTo>
                  <a:lnTo>
                    <a:pt x="1448" y="59"/>
                  </a:lnTo>
                  <a:lnTo>
                    <a:pt x="1448" y="61"/>
                  </a:lnTo>
                  <a:lnTo>
                    <a:pt x="1455" y="61"/>
                  </a:lnTo>
                  <a:lnTo>
                    <a:pt x="1460" y="64"/>
                  </a:lnTo>
                  <a:lnTo>
                    <a:pt x="1460" y="64"/>
                  </a:lnTo>
                  <a:lnTo>
                    <a:pt x="1455" y="66"/>
                  </a:lnTo>
                  <a:lnTo>
                    <a:pt x="1455" y="66"/>
                  </a:lnTo>
                  <a:lnTo>
                    <a:pt x="1455" y="68"/>
                  </a:lnTo>
                  <a:lnTo>
                    <a:pt x="1458" y="71"/>
                  </a:lnTo>
                  <a:lnTo>
                    <a:pt x="1458" y="71"/>
                  </a:lnTo>
                  <a:lnTo>
                    <a:pt x="1465" y="73"/>
                  </a:lnTo>
                  <a:lnTo>
                    <a:pt x="1472" y="73"/>
                  </a:lnTo>
                  <a:lnTo>
                    <a:pt x="1479" y="75"/>
                  </a:lnTo>
                  <a:lnTo>
                    <a:pt x="1479" y="78"/>
                  </a:lnTo>
                  <a:lnTo>
                    <a:pt x="1472" y="78"/>
                  </a:lnTo>
                  <a:lnTo>
                    <a:pt x="1472" y="78"/>
                  </a:lnTo>
                  <a:lnTo>
                    <a:pt x="1470" y="80"/>
                  </a:lnTo>
                  <a:lnTo>
                    <a:pt x="1465" y="78"/>
                  </a:lnTo>
                  <a:lnTo>
                    <a:pt x="1458" y="75"/>
                  </a:lnTo>
                  <a:lnTo>
                    <a:pt x="1458" y="78"/>
                  </a:lnTo>
                  <a:lnTo>
                    <a:pt x="1458" y="78"/>
                  </a:lnTo>
                  <a:lnTo>
                    <a:pt x="1458" y="80"/>
                  </a:lnTo>
                  <a:lnTo>
                    <a:pt x="1460" y="82"/>
                  </a:lnTo>
                  <a:lnTo>
                    <a:pt x="1460" y="85"/>
                  </a:lnTo>
                  <a:lnTo>
                    <a:pt x="1460" y="85"/>
                  </a:lnTo>
                  <a:lnTo>
                    <a:pt x="1460" y="85"/>
                  </a:lnTo>
                  <a:lnTo>
                    <a:pt x="1460" y="82"/>
                  </a:lnTo>
                  <a:lnTo>
                    <a:pt x="1458" y="82"/>
                  </a:lnTo>
                  <a:lnTo>
                    <a:pt x="1455" y="80"/>
                  </a:lnTo>
                  <a:lnTo>
                    <a:pt x="1455" y="78"/>
                  </a:lnTo>
                  <a:lnTo>
                    <a:pt x="1455" y="78"/>
                  </a:lnTo>
                  <a:lnTo>
                    <a:pt x="1455" y="78"/>
                  </a:lnTo>
                  <a:lnTo>
                    <a:pt x="1455" y="75"/>
                  </a:lnTo>
                  <a:lnTo>
                    <a:pt x="1455" y="75"/>
                  </a:lnTo>
                  <a:lnTo>
                    <a:pt x="1453" y="73"/>
                  </a:lnTo>
                  <a:lnTo>
                    <a:pt x="1453" y="73"/>
                  </a:lnTo>
                  <a:lnTo>
                    <a:pt x="1453" y="71"/>
                  </a:lnTo>
                  <a:lnTo>
                    <a:pt x="1453" y="71"/>
                  </a:lnTo>
                  <a:lnTo>
                    <a:pt x="1451" y="71"/>
                  </a:lnTo>
                  <a:lnTo>
                    <a:pt x="1446" y="68"/>
                  </a:lnTo>
                  <a:lnTo>
                    <a:pt x="1441" y="68"/>
                  </a:lnTo>
                  <a:lnTo>
                    <a:pt x="1434" y="68"/>
                  </a:lnTo>
                  <a:lnTo>
                    <a:pt x="1434" y="68"/>
                  </a:lnTo>
                  <a:lnTo>
                    <a:pt x="1434" y="71"/>
                  </a:lnTo>
                  <a:lnTo>
                    <a:pt x="1434" y="71"/>
                  </a:lnTo>
                  <a:lnTo>
                    <a:pt x="1434" y="73"/>
                  </a:lnTo>
                  <a:lnTo>
                    <a:pt x="1437" y="75"/>
                  </a:lnTo>
                  <a:lnTo>
                    <a:pt x="1437" y="75"/>
                  </a:lnTo>
                  <a:lnTo>
                    <a:pt x="1439" y="78"/>
                  </a:lnTo>
                  <a:lnTo>
                    <a:pt x="1441" y="80"/>
                  </a:lnTo>
                  <a:lnTo>
                    <a:pt x="1441" y="82"/>
                  </a:lnTo>
                  <a:lnTo>
                    <a:pt x="1441" y="82"/>
                  </a:lnTo>
                  <a:lnTo>
                    <a:pt x="1444" y="85"/>
                  </a:lnTo>
                  <a:lnTo>
                    <a:pt x="1448" y="90"/>
                  </a:lnTo>
                  <a:lnTo>
                    <a:pt x="1453" y="94"/>
                  </a:lnTo>
                  <a:lnTo>
                    <a:pt x="1453" y="97"/>
                  </a:lnTo>
                  <a:lnTo>
                    <a:pt x="1448" y="99"/>
                  </a:lnTo>
                  <a:lnTo>
                    <a:pt x="1444" y="94"/>
                  </a:lnTo>
                  <a:lnTo>
                    <a:pt x="1439" y="90"/>
                  </a:lnTo>
                  <a:lnTo>
                    <a:pt x="1434" y="87"/>
                  </a:lnTo>
                  <a:lnTo>
                    <a:pt x="1429" y="87"/>
                  </a:lnTo>
                  <a:lnTo>
                    <a:pt x="1427" y="87"/>
                  </a:lnTo>
                  <a:lnTo>
                    <a:pt x="1425" y="90"/>
                  </a:lnTo>
                  <a:lnTo>
                    <a:pt x="1425" y="92"/>
                  </a:lnTo>
                  <a:lnTo>
                    <a:pt x="1427" y="97"/>
                  </a:lnTo>
                  <a:lnTo>
                    <a:pt x="1434" y="101"/>
                  </a:lnTo>
                  <a:lnTo>
                    <a:pt x="1434" y="101"/>
                  </a:lnTo>
                  <a:lnTo>
                    <a:pt x="1439" y="104"/>
                  </a:lnTo>
                  <a:lnTo>
                    <a:pt x="1441" y="101"/>
                  </a:lnTo>
                  <a:lnTo>
                    <a:pt x="1441" y="104"/>
                  </a:lnTo>
                  <a:lnTo>
                    <a:pt x="1441" y="104"/>
                  </a:lnTo>
                  <a:lnTo>
                    <a:pt x="1434" y="104"/>
                  </a:lnTo>
                  <a:lnTo>
                    <a:pt x="1427" y="104"/>
                  </a:lnTo>
                  <a:lnTo>
                    <a:pt x="1425" y="113"/>
                  </a:lnTo>
                  <a:lnTo>
                    <a:pt x="1425" y="116"/>
                  </a:lnTo>
                  <a:lnTo>
                    <a:pt x="1425" y="116"/>
                  </a:lnTo>
                  <a:lnTo>
                    <a:pt x="1425" y="118"/>
                  </a:lnTo>
                  <a:lnTo>
                    <a:pt x="1425" y="118"/>
                  </a:lnTo>
                  <a:lnTo>
                    <a:pt x="1434" y="125"/>
                  </a:lnTo>
                  <a:lnTo>
                    <a:pt x="1441" y="132"/>
                  </a:lnTo>
                  <a:lnTo>
                    <a:pt x="1448" y="139"/>
                  </a:lnTo>
                  <a:lnTo>
                    <a:pt x="1455" y="139"/>
                  </a:lnTo>
                  <a:lnTo>
                    <a:pt x="1455" y="139"/>
                  </a:lnTo>
                  <a:lnTo>
                    <a:pt x="1455" y="142"/>
                  </a:lnTo>
                  <a:lnTo>
                    <a:pt x="1455" y="142"/>
                  </a:lnTo>
                  <a:lnTo>
                    <a:pt x="1455" y="142"/>
                  </a:lnTo>
                  <a:lnTo>
                    <a:pt x="1455" y="142"/>
                  </a:lnTo>
                  <a:lnTo>
                    <a:pt x="1455" y="144"/>
                  </a:lnTo>
                  <a:lnTo>
                    <a:pt x="1460" y="146"/>
                  </a:lnTo>
                  <a:lnTo>
                    <a:pt x="1467" y="149"/>
                  </a:lnTo>
                  <a:lnTo>
                    <a:pt x="1472" y="149"/>
                  </a:lnTo>
                  <a:lnTo>
                    <a:pt x="1474" y="151"/>
                  </a:lnTo>
                  <a:lnTo>
                    <a:pt x="1472" y="151"/>
                  </a:lnTo>
                  <a:lnTo>
                    <a:pt x="1472" y="153"/>
                  </a:lnTo>
                  <a:lnTo>
                    <a:pt x="1472" y="153"/>
                  </a:lnTo>
                  <a:lnTo>
                    <a:pt x="1474" y="156"/>
                  </a:lnTo>
                  <a:lnTo>
                    <a:pt x="1474" y="156"/>
                  </a:lnTo>
                  <a:lnTo>
                    <a:pt x="1477" y="156"/>
                  </a:lnTo>
                  <a:lnTo>
                    <a:pt x="1477" y="156"/>
                  </a:lnTo>
                  <a:lnTo>
                    <a:pt x="1477" y="158"/>
                  </a:lnTo>
                  <a:lnTo>
                    <a:pt x="1486" y="170"/>
                  </a:lnTo>
                  <a:lnTo>
                    <a:pt x="1481" y="170"/>
                  </a:lnTo>
                  <a:lnTo>
                    <a:pt x="1481" y="170"/>
                  </a:lnTo>
                  <a:lnTo>
                    <a:pt x="1479" y="165"/>
                  </a:lnTo>
                  <a:lnTo>
                    <a:pt x="1472" y="156"/>
                  </a:lnTo>
                  <a:lnTo>
                    <a:pt x="1465" y="153"/>
                  </a:lnTo>
                  <a:lnTo>
                    <a:pt x="1463" y="153"/>
                  </a:lnTo>
                  <a:lnTo>
                    <a:pt x="1463" y="153"/>
                  </a:lnTo>
                  <a:lnTo>
                    <a:pt x="1463" y="153"/>
                  </a:lnTo>
                  <a:lnTo>
                    <a:pt x="1463" y="153"/>
                  </a:lnTo>
                  <a:lnTo>
                    <a:pt x="1453" y="149"/>
                  </a:lnTo>
                  <a:lnTo>
                    <a:pt x="1446" y="144"/>
                  </a:lnTo>
                  <a:lnTo>
                    <a:pt x="1446" y="144"/>
                  </a:lnTo>
                  <a:lnTo>
                    <a:pt x="1441" y="142"/>
                  </a:lnTo>
                  <a:lnTo>
                    <a:pt x="1437" y="139"/>
                  </a:lnTo>
                  <a:lnTo>
                    <a:pt x="1432" y="132"/>
                  </a:lnTo>
                  <a:lnTo>
                    <a:pt x="1429" y="132"/>
                  </a:lnTo>
                  <a:lnTo>
                    <a:pt x="1422" y="127"/>
                  </a:lnTo>
                  <a:lnTo>
                    <a:pt x="1422" y="130"/>
                  </a:lnTo>
                  <a:lnTo>
                    <a:pt x="1422" y="130"/>
                  </a:lnTo>
                  <a:lnTo>
                    <a:pt x="1422" y="130"/>
                  </a:lnTo>
                  <a:lnTo>
                    <a:pt x="1422" y="132"/>
                  </a:lnTo>
                  <a:lnTo>
                    <a:pt x="1422" y="134"/>
                  </a:lnTo>
                  <a:lnTo>
                    <a:pt x="1422" y="134"/>
                  </a:lnTo>
                  <a:lnTo>
                    <a:pt x="1425" y="137"/>
                  </a:lnTo>
                  <a:lnTo>
                    <a:pt x="1427" y="139"/>
                  </a:lnTo>
                  <a:lnTo>
                    <a:pt x="1432" y="149"/>
                  </a:lnTo>
                  <a:lnTo>
                    <a:pt x="1432" y="149"/>
                  </a:lnTo>
                  <a:lnTo>
                    <a:pt x="1439" y="149"/>
                  </a:lnTo>
                  <a:lnTo>
                    <a:pt x="1441" y="151"/>
                  </a:lnTo>
                  <a:lnTo>
                    <a:pt x="1444" y="153"/>
                  </a:lnTo>
                  <a:lnTo>
                    <a:pt x="1444" y="153"/>
                  </a:lnTo>
                  <a:lnTo>
                    <a:pt x="1444" y="153"/>
                  </a:lnTo>
                  <a:lnTo>
                    <a:pt x="1441" y="153"/>
                  </a:lnTo>
                  <a:lnTo>
                    <a:pt x="1439" y="151"/>
                  </a:lnTo>
                  <a:lnTo>
                    <a:pt x="1434" y="151"/>
                  </a:lnTo>
                  <a:lnTo>
                    <a:pt x="1429" y="153"/>
                  </a:lnTo>
                  <a:lnTo>
                    <a:pt x="1425" y="153"/>
                  </a:lnTo>
                  <a:lnTo>
                    <a:pt x="1425" y="153"/>
                  </a:lnTo>
                  <a:lnTo>
                    <a:pt x="1425" y="151"/>
                  </a:lnTo>
                  <a:lnTo>
                    <a:pt x="1427" y="149"/>
                  </a:lnTo>
                  <a:lnTo>
                    <a:pt x="1427" y="146"/>
                  </a:lnTo>
                  <a:lnTo>
                    <a:pt x="1427" y="146"/>
                  </a:lnTo>
                  <a:lnTo>
                    <a:pt x="1425" y="144"/>
                  </a:lnTo>
                  <a:lnTo>
                    <a:pt x="1425" y="142"/>
                  </a:lnTo>
                  <a:lnTo>
                    <a:pt x="1420" y="137"/>
                  </a:lnTo>
                  <a:lnTo>
                    <a:pt x="1418" y="137"/>
                  </a:lnTo>
                  <a:lnTo>
                    <a:pt x="1418" y="134"/>
                  </a:lnTo>
                  <a:lnTo>
                    <a:pt x="1418" y="134"/>
                  </a:lnTo>
                  <a:lnTo>
                    <a:pt x="1418" y="132"/>
                  </a:lnTo>
                  <a:lnTo>
                    <a:pt x="1418" y="132"/>
                  </a:lnTo>
                  <a:lnTo>
                    <a:pt x="1418" y="132"/>
                  </a:lnTo>
                  <a:lnTo>
                    <a:pt x="1418" y="130"/>
                  </a:lnTo>
                  <a:lnTo>
                    <a:pt x="1413" y="125"/>
                  </a:lnTo>
                  <a:lnTo>
                    <a:pt x="1408" y="125"/>
                  </a:lnTo>
                  <a:lnTo>
                    <a:pt x="1403" y="123"/>
                  </a:lnTo>
                  <a:lnTo>
                    <a:pt x="1403" y="125"/>
                  </a:lnTo>
                  <a:lnTo>
                    <a:pt x="1401" y="125"/>
                  </a:lnTo>
                  <a:lnTo>
                    <a:pt x="1401" y="123"/>
                  </a:lnTo>
                  <a:lnTo>
                    <a:pt x="1399" y="120"/>
                  </a:lnTo>
                  <a:lnTo>
                    <a:pt x="1394" y="118"/>
                  </a:lnTo>
                  <a:lnTo>
                    <a:pt x="1394" y="118"/>
                  </a:lnTo>
                  <a:lnTo>
                    <a:pt x="1396" y="116"/>
                  </a:lnTo>
                  <a:lnTo>
                    <a:pt x="1396" y="116"/>
                  </a:lnTo>
                  <a:lnTo>
                    <a:pt x="1396" y="113"/>
                  </a:lnTo>
                  <a:lnTo>
                    <a:pt x="1396" y="113"/>
                  </a:lnTo>
                  <a:lnTo>
                    <a:pt x="1392" y="113"/>
                  </a:lnTo>
                  <a:lnTo>
                    <a:pt x="1387" y="116"/>
                  </a:lnTo>
                  <a:lnTo>
                    <a:pt x="1380" y="116"/>
                  </a:lnTo>
                  <a:lnTo>
                    <a:pt x="1380" y="118"/>
                  </a:lnTo>
                  <a:lnTo>
                    <a:pt x="1380" y="118"/>
                  </a:lnTo>
                  <a:lnTo>
                    <a:pt x="1380" y="118"/>
                  </a:lnTo>
                  <a:lnTo>
                    <a:pt x="1380" y="120"/>
                  </a:lnTo>
                  <a:lnTo>
                    <a:pt x="1380" y="120"/>
                  </a:lnTo>
                  <a:lnTo>
                    <a:pt x="1382" y="120"/>
                  </a:lnTo>
                  <a:lnTo>
                    <a:pt x="1382" y="123"/>
                  </a:lnTo>
                  <a:lnTo>
                    <a:pt x="1384" y="120"/>
                  </a:lnTo>
                  <a:lnTo>
                    <a:pt x="1384" y="123"/>
                  </a:lnTo>
                  <a:lnTo>
                    <a:pt x="1384" y="127"/>
                  </a:lnTo>
                  <a:lnTo>
                    <a:pt x="1387" y="127"/>
                  </a:lnTo>
                  <a:lnTo>
                    <a:pt x="1387" y="127"/>
                  </a:lnTo>
                  <a:lnTo>
                    <a:pt x="1387" y="130"/>
                  </a:lnTo>
                  <a:lnTo>
                    <a:pt x="1387" y="130"/>
                  </a:lnTo>
                  <a:lnTo>
                    <a:pt x="1387" y="132"/>
                  </a:lnTo>
                  <a:lnTo>
                    <a:pt x="1387" y="132"/>
                  </a:lnTo>
                  <a:lnTo>
                    <a:pt x="1389" y="134"/>
                  </a:lnTo>
                  <a:lnTo>
                    <a:pt x="1389" y="137"/>
                  </a:lnTo>
                  <a:lnTo>
                    <a:pt x="1387" y="137"/>
                  </a:lnTo>
                  <a:lnTo>
                    <a:pt x="1387" y="137"/>
                  </a:lnTo>
                  <a:lnTo>
                    <a:pt x="1384" y="139"/>
                  </a:lnTo>
                  <a:lnTo>
                    <a:pt x="1380" y="142"/>
                  </a:lnTo>
                  <a:lnTo>
                    <a:pt x="1375" y="142"/>
                  </a:lnTo>
                  <a:lnTo>
                    <a:pt x="1373" y="142"/>
                  </a:lnTo>
                  <a:lnTo>
                    <a:pt x="1368" y="144"/>
                  </a:lnTo>
                  <a:lnTo>
                    <a:pt x="1368" y="146"/>
                  </a:lnTo>
                  <a:lnTo>
                    <a:pt x="1368" y="149"/>
                  </a:lnTo>
                  <a:lnTo>
                    <a:pt x="1373" y="153"/>
                  </a:lnTo>
                  <a:lnTo>
                    <a:pt x="1380" y="156"/>
                  </a:lnTo>
                  <a:lnTo>
                    <a:pt x="1387" y="158"/>
                  </a:lnTo>
                  <a:lnTo>
                    <a:pt x="1394" y="163"/>
                  </a:lnTo>
                  <a:lnTo>
                    <a:pt x="1401" y="165"/>
                  </a:lnTo>
                  <a:lnTo>
                    <a:pt x="1403" y="168"/>
                  </a:lnTo>
                  <a:lnTo>
                    <a:pt x="1403" y="168"/>
                  </a:lnTo>
                  <a:lnTo>
                    <a:pt x="1403" y="170"/>
                  </a:lnTo>
                  <a:lnTo>
                    <a:pt x="1403" y="172"/>
                  </a:lnTo>
                  <a:lnTo>
                    <a:pt x="1406" y="175"/>
                  </a:lnTo>
                  <a:lnTo>
                    <a:pt x="1406" y="175"/>
                  </a:lnTo>
                  <a:lnTo>
                    <a:pt x="1403" y="175"/>
                  </a:lnTo>
                  <a:lnTo>
                    <a:pt x="1403" y="172"/>
                  </a:lnTo>
                  <a:lnTo>
                    <a:pt x="1401" y="170"/>
                  </a:lnTo>
                  <a:lnTo>
                    <a:pt x="1401" y="168"/>
                  </a:lnTo>
                  <a:lnTo>
                    <a:pt x="1401" y="165"/>
                  </a:lnTo>
                  <a:lnTo>
                    <a:pt x="1401" y="165"/>
                  </a:lnTo>
                  <a:lnTo>
                    <a:pt x="1399" y="165"/>
                  </a:lnTo>
                  <a:lnTo>
                    <a:pt x="1399" y="165"/>
                  </a:lnTo>
                  <a:lnTo>
                    <a:pt x="1401" y="172"/>
                  </a:lnTo>
                  <a:lnTo>
                    <a:pt x="1403" y="175"/>
                  </a:lnTo>
                  <a:lnTo>
                    <a:pt x="1401" y="175"/>
                  </a:lnTo>
                  <a:lnTo>
                    <a:pt x="1399" y="172"/>
                  </a:lnTo>
                  <a:lnTo>
                    <a:pt x="1396" y="165"/>
                  </a:lnTo>
                  <a:lnTo>
                    <a:pt x="1394" y="163"/>
                  </a:lnTo>
                  <a:lnTo>
                    <a:pt x="1389" y="165"/>
                  </a:lnTo>
                  <a:lnTo>
                    <a:pt x="1387" y="168"/>
                  </a:lnTo>
                  <a:lnTo>
                    <a:pt x="1389" y="170"/>
                  </a:lnTo>
                  <a:lnTo>
                    <a:pt x="1394" y="177"/>
                  </a:lnTo>
                  <a:lnTo>
                    <a:pt x="1394" y="179"/>
                  </a:lnTo>
                  <a:lnTo>
                    <a:pt x="1394" y="179"/>
                  </a:lnTo>
                  <a:lnTo>
                    <a:pt x="1394" y="179"/>
                  </a:lnTo>
                  <a:lnTo>
                    <a:pt x="1389" y="172"/>
                  </a:lnTo>
                  <a:lnTo>
                    <a:pt x="1384" y="165"/>
                  </a:lnTo>
                  <a:lnTo>
                    <a:pt x="1382" y="163"/>
                  </a:lnTo>
                  <a:lnTo>
                    <a:pt x="1380" y="163"/>
                  </a:lnTo>
                  <a:lnTo>
                    <a:pt x="1380" y="163"/>
                  </a:lnTo>
                  <a:lnTo>
                    <a:pt x="1375" y="160"/>
                  </a:lnTo>
                  <a:lnTo>
                    <a:pt x="1370" y="163"/>
                  </a:lnTo>
                  <a:lnTo>
                    <a:pt x="1368" y="163"/>
                  </a:lnTo>
                  <a:lnTo>
                    <a:pt x="1368" y="165"/>
                  </a:lnTo>
                  <a:lnTo>
                    <a:pt x="1368" y="165"/>
                  </a:lnTo>
                  <a:lnTo>
                    <a:pt x="1370" y="168"/>
                  </a:lnTo>
                  <a:lnTo>
                    <a:pt x="1373" y="168"/>
                  </a:lnTo>
                  <a:lnTo>
                    <a:pt x="1373" y="170"/>
                  </a:lnTo>
                  <a:lnTo>
                    <a:pt x="1368" y="170"/>
                  </a:lnTo>
                  <a:lnTo>
                    <a:pt x="1368" y="172"/>
                  </a:lnTo>
                  <a:lnTo>
                    <a:pt x="1373" y="175"/>
                  </a:lnTo>
                  <a:lnTo>
                    <a:pt x="1375" y="177"/>
                  </a:lnTo>
                  <a:lnTo>
                    <a:pt x="1375" y="179"/>
                  </a:lnTo>
                  <a:lnTo>
                    <a:pt x="1370" y="175"/>
                  </a:lnTo>
                  <a:lnTo>
                    <a:pt x="1366" y="172"/>
                  </a:lnTo>
                  <a:lnTo>
                    <a:pt x="1366" y="170"/>
                  </a:lnTo>
                  <a:lnTo>
                    <a:pt x="1366" y="168"/>
                  </a:lnTo>
                  <a:lnTo>
                    <a:pt x="1366" y="165"/>
                  </a:lnTo>
                  <a:lnTo>
                    <a:pt x="1363" y="160"/>
                  </a:lnTo>
                  <a:lnTo>
                    <a:pt x="1358" y="160"/>
                  </a:lnTo>
                  <a:lnTo>
                    <a:pt x="1356" y="160"/>
                  </a:lnTo>
                  <a:lnTo>
                    <a:pt x="1354" y="158"/>
                  </a:lnTo>
                  <a:lnTo>
                    <a:pt x="1351" y="158"/>
                  </a:lnTo>
                  <a:lnTo>
                    <a:pt x="1351" y="158"/>
                  </a:lnTo>
                  <a:lnTo>
                    <a:pt x="1351" y="158"/>
                  </a:lnTo>
                  <a:lnTo>
                    <a:pt x="1351" y="160"/>
                  </a:lnTo>
                  <a:lnTo>
                    <a:pt x="1351" y="160"/>
                  </a:lnTo>
                  <a:lnTo>
                    <a:pt x="1351" y="160"/>
                  </a:lnTo>
                  <a:lnTo>
                    <a:pt x="1351" y="160"/>
                  </a:lnTo>
                  <a:lnTo>
                    <a:pt x="1344" y="165"/>
                  </a:lnTo>
                  <a:lnTo>
                    <a:pt x="1340" y="170"/>
                  </a:lnTo>
                  <a:lnTo>
                    <a:pt x="1340" y="172"/>
                  </a:lnTo>
                  <a:lnTo>
                    <a:pt x="1340" y="177"/>
                  </a:lnTo>
                  <a:lnTo>
                    <a:pt x="1340" y="177"/>
                  </a:lnTo>
                  <a:lnTo>
                    <a:pt x="1340" y="177"/>
                  </a:lnTo>
                  <a:lnTo>
                    <a:pt x="1342" y="179"/>
                  </a:lnTo>
                  <a:lnTo>
                    <a:pt x="1340" y="179"/>
                  </a:lnTo>
                  <a:lnTo>
                    <a:pt x="1337" y="177"/>
                  </a:lnTo>
                  <a:lnTo>
                    <a:pt x="1335" y="177"/>
                  </a:lnTo>
                  <a:lnTo>
                    <a:pt x="1335" y="179"/>
                  </a:lnTo>
                  <a:lnTo>
                    <a:pt x="1335" y="179"/>
                  </a:lnTo>
                  <a:lnTo>
                    <a:pt x="1335" y="179"/>
                  </a:lnTo>
                  <a:lnTo>
                    <a:pt x="1335" y="182"/>
                  </a:lnTo>
                  <a:lnTo>
                    <a:pt x="1335" y="182"/>
                  </a:lnTo>
                  <a:lnTo>
                    <a:pt x="1340" y="182"/>
                  </a:lnTo>
                  <a:lnTo>
                    <a:pt x="1340" y="184"/>
                  </a:lnTo>
                  <a:lnTo>
                    <a:pt x="1340" y="184"/>
                  </a:lnTo>
                  <a:lnTo>
                    <a:pt x="1337" y="189"/>
                  </a:lnTo>
                  <a:lnTo>
                    <a:pt x="1337" y="189"/>
                  </a:lnTo>
                  <a:lnTo>
                    <a:pt x="1337" y="191"/>
                  </a:lnTo>
                  <a:lnTo>
                    <a:pt x="1337" y="191"/>
                  </a:lnTo>
                  <a:lnTo>
                    <a:pt x="1337" y="191"/>
                  </a:lnTo>
                  <a:lnTo>
                    <a:pt x="1337" y="191"/>
                  </a:lnTo>
                  <a:lnTo>
                    <a:pt x="1335" y="191"/>
                  </a:lnTo>
                  <a:lnTo>
                    <a:pt x="1335" y="191"/>
                  </a:lnTo>
                  <a:lnTo>
                    <a:pt x="1335" y="189"/>
                  </a:lnTo>
                  <a:lnTo>
                    <a:pt x="1335" y="189"/>
                  </a:lnTo>
                  <a:lnTo>
                    <a:pt x="1335" y="189"/>
                  </a:lnTo>
                  <a:lnTo>
                    <a:pt x="1335" y="189"/>
                  </a:lnTo>
                  <a:lnTo>
                    <a:pt x="1335" y="189"/>
                  </a:lnTo>
                  <a:lnTo>
                    <a:pt x="1332" y="187"/>
                  </a:lnTo>
                  <a:lnTo>
                    <a:pt x="1330" y="184"/>
                  </a:lnTo>
                  <a:lnTo>
                    <a:pt x="1330" y="182"/>
                  </a:lnTo>
                  <a:lnTo>
                    <a:pt x="1330" y="182"/>
                  </a:lnTo>
                  <a:lnTo>
                    <a:pt x="1330" y="182"/>
                  </a:lnTo>
                  <a:lnTo>
                    <a:pt x="1330" y="182"/>
                  </a:lnTo>
                  <a:lnTo>
                    <a:pt x="1330" y="179"/>
                  </a:lnTo>
                  <a:lnTo>
                    <a:pt x="1330" y="179"/>
                  </a:lnTo>
                  <a:lnTo>
                    <a:pt x="1328" y="182"/>
                  </a:lnTo>
                  <a:lnTo>
                    <a:pt x="1328" y="182"/>
                  </a:lnTo>
                  <a:lnTo>
                    <a:pt x="1328" y="184"/>
                  </a:lnTo>
                  <a:lnTo>
                    <a:pt x="1328" y="184"/>
                  </a:lnTo>
                  <a:lnTo>
                    <a:pt x="1323" y="184"/>
                  </a:lnTo>
                  <a:lnTo>
                    <a:pt x="1318" y="187"/>
                  </a:lnTo>
                  <a:lnTo>
                    <a:pt x="1316" y="187"/>
                  </a:lnTo>
                  <a:lnTo>
                    <a:pt x="1316" y="187"/>
                  </a:lnTo>
                  <a:lnTo>
                    <a:pt x="1316" y="189"/>
                  </a:lnTo>
                  <a:lnTo>
                    <a:pt x="1316" y="189"/>
                  </a:lnTo>
                  <a:lnTo>
                    <a:pt x="1316" y="189"/>
                  </a:lnTo>
                  <a:lnTo>
                    <a:pt x="1316" y="189"/>
                  </a:lnTo>
                  <a:lnTo>
                    <a:pt x="1316" y="189"/>
                  </a:lnTo>
                  <a:lnTo>
                    <a:pt x="1316" y="191"/>
                  </a:lnTo>
                  <a:lnTo>
                    <a:pt x="1311" y="191"/>
                  </a:lnTo>
                  <a:lnTo>
                    <a:pt x="1311" y="191"/>
                  </a:lnTo>
                  <a:lnTo>
                    <a:pt x="1311" y="194"/>
                  </a:lnTo>
                  <a:lnTo>
                    <a:pt x="1311" y="196"/>
                  </a:lnTo>
                  <a:lnTo>
                    <a:pt x="1311" y="198"/>
                  </a:lnTo>
                  <a:lnTo>
                    <a:pt x="1311" y="198"/>
                  </a:lnTo>
                  <a:lnTo>
                    <a:pt x="1311" y="198"/>
                  </a:lnTo>
                  <a:lnTo>
                    <a:pt x="1309" y="198"/>
                  </a:lnTo>
                  <a:lnTo>
                    <a:pt x="1306" y="198"/>
                  </a:lnTo>
                  <a:lnTo>
                    <a:pt x="1306" y="198"/>
                  </a:lnTo>
                  <a:lnTo>
                    <a:pt x="1304" y="201"/>
                  </a:lnTo>
                  <a:lnTo>
                    <a:pt x="1304" y="203"/>
                  </a:lnTo>
                  <a:lnTo>
                    <a:pt x="1302" y="203"/>
                  </a:lnTo>
                  <a:lnTo>
                    <a:pt x="1302" y="203"/>
                  </a:lnTo>
                  <a:lnTo>
                    <a:pt x="1302" y="203"/>
                  </a:lnTo>
                  <a:lnTo>
                    <a:pt x="1302" y="205"/>
                  </a:lnTo>
                  <a:lnTo>
                    <a:pt x="1302" y="205"/>
                  </a:lnTo>
                  <a:lnTo>
                    <a:pt x="1302" y="208"/>
                  </a:lnTo>
                  <a:lnTo>
                    <a:pt x="1302" y="208"/>
                  </a:lnTo>
                  <a:lnTo>
                    <a:pt x="1302" y="208"/>
                  </a:lnTo>
                  <a:lnTo>
                    <a:pt x="1302" y="208"/>
                  </a:lnTo>
                  <a:lnTo>
                    <a:pt x="1302" y="210"/>
                  </a:lnTo>
                  <a:lnTo>
                    <a:pt x="1302" y="210"/>
                  </a:lnTo>
                  <a:lnTo>
                    <a:pt x="1299" y="210"/>
                  </a:lnTo>
                  <a:lnTo>
                    <a:pt x="1299" y="210"/>
                  </a:lnTo>
                  <a:lnTo>
                    <a:pt x="1299" y="210"/>
                  </a:lnTo>
                  <a:lnTo>
                    <a:pt x="1299" y="210"/>
                  </a:lnTo>
                  <a:close/>
                  <a:moveTo>
                    <a:pt x="1586" y="532"/>
                  </a:moveTo>
                  <a:lnTo>
                    <a:pt x="1586" y="532"/>
                  </a:lnTo>
                  <a:lnTo>
                    <a:pt x="1583" y="532"/>
                  </a:lnTo>
                  <a:lnTo>
                    <a:pt x="1581" y="534"/>
                  </a:lnTo>
                  <a:lnTo>
                    <a:pt x="1579" y="537"/>
                  </a:lnTo>
                  <a:lnTo>
                    <a:pt x="1581" y="539"/>
                  </a:lnTo>
                  <a:lnTo>
                    <a:pt x="1581" y="541"/>
                  </a:lnTo>
                  <a:lnTo>
                    <a:pt x="1583" y="541"/>
                  </a:lnTo>
                  <a:lnTo>
                    <a:pt x="1583" y="539"/>
                  </a:lnTo>
                  <a:lnTo>
                    <a:pt x="1586" y="539"/>
                  </a:lnTo>
                  <a:lnTo>
                    <a:pt x="1586" y="537"/>
                  </a:lnTo>
                  <a:lnTo>
                    <a:pt x="1586" y="537"/>
                  </a:lnTo>
                  <a:lnTo>
                    <a:pt x="1586" y="534"/>
                  </a:lnTo>
                  <a:lnTo>
                    <a:pt x="1586" y="534"/>
                  </a:lnTo>
                  <a:lnTo>
                    <a:pt x="1586" y="534"/>
                  </a:lnTo>
                  <a:lnTo>
                    <a:pt x="1586" y="532"/>
                  </a:lnTo>
                  <a:close/>
                  <a:moveTo>
                    <a:pt x="909" y="558"/>
                  </a:moveTo>
                  <a:lnTo>
                    <a:pt x="909" y="560"/>
                  </a:lnTo>
                  <a:lnTo>
                    <a:pt x="911" y="563"/>
                  </a:lnTo>
                  <a:lnTo>
                    <a:pt x="911" y="563"/>
                  </a:lnTo>
                  <a:lnTo>
                    <a:pt x="911" y="565"/>
                  </a:lnTo>
                  <a:lnTo>
                    <a:pt x="911" y="565"/>
                  </a:lnTo>
                  <a:lnTo>
                    <a:pt x="909" y="565"/>
                  </a:lnTo>
                  <a:lnTo>
                    <a:pt x="911" y="565"/>
                  </a:lnTo>
                  <a:lnTo>
                    <a:pt x="914" y="565"/>
                  </a:lnTo>
                  <a:lnTo>
                    <a:pt x="916" y="570"/>
                  </a:lnTo>
                  <a:lnTo>
                    <a:pt x="918" y="570"/>
                  </a:lnTo>
                  <a:lnTo>
                    <a:pt x="928" y="567"/>
                  </a:lnTo>
                  <a:lnTo>
                    <a:pt x="930" y="563"/>
                  </a:lnTo>
                  <a:lnTo>
                    <a:pt x="930" y="563"/>
                  </a:lnTo>
                  <a:lnTo>
                    <a:pt x="930" y="560"/>
                  </a:lnTo>
                  <a:lnTo>
                    <a:pt x="928" y="560"/>
                  </a:lnTo>
                  <a:lnTo>
                    <a:pt x="928" y="558"/>
                  </a:lnTo>
                  <a:lnTo>
                    <a:pt x="928" y="556"/>
                  </a:lnTo>
                  <a:lnTo>
                    <a:pt x="928" y="556"/>
                  </a:lnTo>
                  <a:lnTo>
                    <a:pt x="923" y="553"/>
                  </a:lnTo>
                  <a:lnTo>
                    <a:pt x="923" y="553"/>
                  </a:lnTo>
                  <a:lnTo>
                    <a:pt x="923" y="551"/>
                  </a:lnTo>
                  <a:lnTo>
                    <a:pt x="923" y="548"/>
                  </a:lnTo>
                  <a:lnTo>
                    <a:pt x="923" y="548"/>
                  </a:lnTo>
                  <a:lnTo>
                    <a:pt x="923" y="546"/>
                  </a:lnTo>
                  <a:lnTo>
                    <a:pt x="918" y="546"/>
                  </a:lnTo>
                  <a:lnTo>
                    <a:pt x="918" y="544"/>
                  </a:lnTo>
                  <a:lnTo>
                    <a:pt x="921" y="544"/>
                  </a:lnTo>
                  <a:lnTo>
                    <a:pt x="918" y="544"/>
                  </a:lnTo>
                  <a:lnTo>
                    <a:pt x="918" y="541"/>
                  </a:lnTo>
                  <a:lnTo>
                    <a:pt x="921" y="541"/>
                  </a:lnTo>
                  <a:lnTo>
                    <a:pt x="921" y="539"/>
                  </a:lnTo>
                  <a:lnTo>
                    <a:pt x="918" y="539"/>
                  </a:lnTo>
                  <a:lnTo>
                    <a:pt x="918" y="539"/>
                  </a:lnTo>
                  <a:lnTo>
                    <a:pt x="916" y="541"/>
                  </a:lnTo>
                  <a:lnTo>
                    <a:pt x="911" y="541"/>
                  </a:lnTo>
                  <a:lnTo>
                    <a:pt x="911" y="544"/>
                  </a:lnTo>
                  <a:lnTo>
                    <a:pt x="911" y="544"/>
                  </a:lnTo>
                  <a:lnTo>
                    <a:pt x="909" y="546"/>
                  </a:lnTo>
                  <a:lnTo>
                    <a:pt x="909" y="546"/>
                  </a:lnTo>
                  <a:lnTo>
                    <a:pt x="906" y="546"/>
                  </a:lnTo>
                  <a:lnTo>
                    <a:pt x="906" y="548"/>
                  </a:lnTo>
                  <a:lnTo>
                    <a:pt x="906" y="546"/>
                  </a:lnTo>
                  <a:lnTo>
                    <a:pt x="904" y="546"/>
                  </a:lnTo>
                  <a:lnTo>
                    <a:pt x="904" y="546"/>
                  </a:lnTo>
                  <a:lnTo>
                    <a:pt x="904" y="546"/>
                  </a:lnTo>
                  <a:lnTo>
                    <a:pt x="904" y="546"/>
                  </a:lnTo>
                  <a:lnTo>
                    <a:pt x="906" y="556"/>
                  </a:lnTo>
                  <a:lnTo>
                    <a:pt x="909" y="558"/>
                  </a:lnTo>
                  <a:close/>
                  <a:moveTo>
                    <a:pt x="1387" y="522"/>
                  </a:moveTo>
                  <a:lnTo>
                    <a:pt x="1387" y="522"/>
                  </a:lnTo>
                  <a:lnTo>
                    <a:pt x="1387" y="525"/>
                  </a:lnTo>
                  <a:lnTo>
                    <a:pt x="1387" y="527"/>
                  </a:lnTo>
                  <a:lnTo>
                    <a:pt x="1387" y="527"/>
                  </a:lnTo>
                  <a:lnTo>
                    <a:pt x="1387" y="530"/>
                  </a:lnTo>
                  <a:lnTo>
                    <a:pt x="1387" y="530"/>
                  </a:lnTo>
                  <a:lnTo>
                    <a:pt x="1389" y="530"/>
                  </a:lnTo>
                  <a:lnTo>
                    <a:pt x="1389" y="527"/>
                  </a:lnTo>
                  <a:lnTo>
                    <a:pt x="1389" y="525"/>
                  </a:lnTo>
                  <a:lnTo>
                    <a:pt x="1389" y="525"/>
                  </a:lnTo>
                  <a:lnTo>
                    <a:pt x="1389" y="522"/>
                  </a:lnTo>
                  <a:lnTo>
                    <a:pt x="1389" y="520"/>
                  </a:lnTo>
                  <a:lnTo>
                    <a:pt x="1389" y="518"/>
                  </a:lnTo>
                  <a:lnTo>
                    <a:pt x="1392" y="515"/>
                  </a:lnTo>
                  <a:lnTo>
                    <a:pt x="1392" y="513"/>
                  </a:lnTo>
                  <a:lnTo>
                    <a:pt x="1392" y="511"/>
                  </a:lnTo>
                  <a:lnTo>
                    <a:pt x="1392" y="511"/>
                  </a:lnTo>
                  <a:lnTo>
                    <a:pt x="1389" y="511"/>
                  </a:lnTo>
                  <a:lnTo>
                    <a:pt x="1389" y="511"/>
                  </a:lnTo>
                  <a:lnTo>
                    <a:pt x="1389" y="511"/>
                  </a:lnTo>
                  <a:lnTo>
                    <a:pt x="1389" y="513"/>
                  </a:lnTo>
                  <a:lnTo>
                    <a:pt x="1389" y="513"/>
                  </a:lnTo>
                  <a:lnTo>
                    <a:pt x="1389" y="513"/>
                  </a:lnTo>
                  <a:lnTo>
                    <a:pt x="1389" y="513"/>
                  </a:lnTo>
                  <a:lnTo>
                    <a:pt x="1387" y="513"/>
                  </a:lnTo>
                  <a:lnTo>
                    <a:pt x="1389" y="513"/>
                  </a:lnTo>
                  <a:lnTo>
                    <a:pt x="1389" y="515"/>
                  </a:lnTo>
                  <a:lnTo>
                    <a:pt x="1389" y="515"/>
                  </a:lnTo>
                  <a:lnTo>
                    <a:pt x="1389" y="518"/>
                  </a:lnTo>
                  <a:lnTo>
                    <a:pt x="1389" y="518"/>
                  </a:lnTo>
                  <a:lnTo>
                    <a:pt x="1389" y="518"/>
                  </a:lnTo>
                  <a:lnTo>
                    <a:pt x="1389" y="518"/>
                  </a:lnTo>
                  <a:lnTo>
                    <a:pt x="1389" y="518"/>
                  </a:lnTo>
                  <a:lnTo>
                    <a:pt x="1389" y="518"/>
                  </a:lnTo>
                  <a:lnTo>
                    <a:pt x="1389" y="520"/>
                  </a:lnTo>
                  <a:lnTo>
                    <a:pt x="1387" y="520"/>
                  </a:lnTo>
                  <a:lnTo>
                    <a:pt x="1387" y="522"/>
                  </a:lnTo>
                  <a:close/>
                  <a:moveTo>
                    <a:pt x="1233" y="373"/>
                  </a:moveTo>
                  <a:lnTo>
                    <a:pt x="1233" y="376"/>
                  </a:lnTo>
                  <a:lnTo>
                    <a:pt x="1233" y="376"/>
                  </a:lnTo>
                  <a:lnTo>
                    <a:pt x="1235" y="373"/>
                  </a:lnTo>
                  <a:lnTo>
                    <a:pt x="1238" y="373"/>
                  </a:lnTo>
                  <a:lnTo>
                    <a:pt x="1233" y="376"/>
                  </a:lnTo>
                  <a:lnTo>
                    <a:pt x="1233" y="378"/>
                  </a:lnTo>
                  <a:lnTo>
                    <a:pt x="1233" y="378"/>
                  </a:lnTo>
                  <a:lnTo>
                    <a:pt x="1235" y="380"/>
                  </a:lnTo>
                  <a:lnTo>
                    <a:pt x="1235" y="383"/>
                  </a:lnTo>
                  <a:lnTo>
                    <a:pt x="1235" y="383"/>
                  </a:lnTo>
                  <a:lnTo>
                    <a:pt x="1240" y="385"/>
                  </a:lnTo>
                  <a:lnTo>
                    <a:pt x="1242" y="388"/>
                  </a:lnTo>
                  <a:lnTo>
                    <a:pt x="1242" y="388"/>
                  </a:lnTo>
                  <a:lnTo>
                    <a:pt x="1240" y="388"/>
                  </a:lnTo>
                  <a:lnTo>
                    <a:pt x="1240" y="388"/>
                  </a:lnTo>
                  <a:lnTo>
                    <a:pt x="1238" y="390"/>
                  </a:lnTo>
                  <a:lnTo>
                    <a:pt x="1238" y="390"/>
                  </a:lnTo>
                  <a:lnTo>
                    <a:pt x="1238" y="388"/>
                  </a:lnTo>
                  <a:lnTo>
                    <a:pt x="1238" y="388"/>
                  </a:lnTo>
                  <a:lnTo>
                    <a:pt x="1238" y="388"/>
                  </a:lnTo>
                  <a:lnTo>
                    <a:pt x="1235" y="388"/>
                  </a:lnTo>
                  <a:lnTo>
                    <a:pt x="1235" y="388"/>
                  </a:lnTo>
                  <a:lnTo>
                    <a:pt x="1235" y="388"/>
                  </a:lnTo>
                  <a:lnTo>
                    <a:pt x="1235" y="388"/>
                  </a:lnTo>
                  <a:lnTo>
                    <a:pt x="1235" y="390"/>
                  </a:lnTo>
                  <a:lnTo>
                    <a:pt x="1235" y="390"/>
                  </a:lnTo>
                  <a:lnTo>
                    <a:pt x="1235" y="390"/>
                  </a:lnTo>
                  <a:lnTo>
                    <a:pt x="1235" y="390"/>
                  </a:lnTo>
                  <a:lnTo>
                    <a:pt x="1235" y="392"/>
                  </a:lnTo>
                  <a:lnTo>
                    <a:pt x="1235" y="392"/>
                  </a:lnTo>
                  <a:lnTo>
                    <a:pt x="1235" y="392"/>
                  </a:lnTo>
                  <a:lnTo>
                    <a:pt x="1238" y="390"/>
                  </a:lnTo>
                  <a:lnTo>
                    <a:pt x="1238" y="392"/>
                  </a:lnTo>
                  <a:lnTo>
                    <a:pt x="1238" y="392"/>
                  </a:lnTo>
                  <a:lnTo>
                    <a:pt x="1238" y="392"/>
                  </a:lnTo>
                  <a:lnTo>
                    <a:pt x="1238" y="395"/>
                  </a:lnTo>
                  <a:lnTo>
                    <a:pt x="1238" y="395"/>
                  </a:lnTo>
                  <a:lnTo>
                    <a:pt x="1240" y="397"/>
                  </a:lnTo>
                  <a:lnTo>
                    <a:pt x="1240" y="397"/>
                  </a:lnTo>
                  <a:lnTo>
                    <a:pt x="1240" y="399"/>
                  </a:lnTo>
                  <a:lnTo>
                    <a:pt x="1240" y="399"/>
                  </a:lnTo>
                  <a:lnTo>
                    <a:pt x="1240" y="399"/>
                  </a:lnTo>
                  <a:lnTo>
                    <a:pt x="1240" y="402"/>
                  </a:lnTo>
                  <a:lnTo>
                    <a:pt x="1240" y="402"/>
                  </a:lnTo>
                  <a:lnTo>
                    <a:pt x="1242" y="404"/>
                  </a:lnTo>
                  <a:lnTo>
                    <a:pt x="1242" y="404"/>
                  </a:lnTo>
                  <a:lnTo>
                    <a:pt x="1242" y="404"/>
                  </a:lnTo>
                  <a:lnTo>
                    <a:pt x="1247" y="411"/>
                  </a:lnTo>
                  <a:lnTo>
                    <a:pt x="1254" y="411"/>
                  </a:lnTo>
                  <a:lnTo>
                    <a:pt x="1259" y="411"/>
                  </a:lnTo>
                  <a:lnTo>
                    <a:pt x="1259" y="411"/>
                  </a:lnTo>
                  <a:lnTo>
                    <a:pt x="1266" y="407"/>
                  </a:lnTo>
                  <a:lnTo>
                    <a:pt x="1266" y="407"/>
                  </a:lnTo>
                  <a:lnTo>
                    <a:pt x="1266" y="404"/>
                  </a:lnTo>
                  <a:lnTo>
                    <a:pt x="1269" y="404"/>
                  </a:lnTo>
                  <a:lnTo>
                    <a:pt x="1269" y="404"/>
                  </a:lnTo>
                  <a:lnTo>
                    <a:pt x="1269" y="402"/>
                  </a:lnTo>
                  <a:lnTo>
                    <a:pt x="1269" y="402"/>
                  </a:lnTo>
                  <a:lnTo>
                    <a:pt x="1271" y="402"/>
                  </a:lnTo>
                  <a:lnTo>
                    <a:pt x="1273" y="399"/>
                  </a:lnTo>
                  <a:lnTo>
                    <a:pt x="1273" y="399"/>
                  </a:lnTo>
                  <a:lnTo>
                    <a:pt x="1273" y="399"/>
                  </a:lnTo>
                  <a:lnTo>
                    <a:pt x="1273" y="397"/>
                  </a:lnTo>
                  <a:lnTo>
                    <a:pt x="1273" y="397"/>
                  </a:lnTo>
                  <a:lnTo>
                    <a:pt x="1273" y="397"/>
                  </a:lnTo>
                  <a:lnTo>
                    <a:pt x="1273" y="399"/>
                  </a:lnTo>
                  <a:lnTo>
                    <a:pt x="1273" y="399"/>
                  </a:lnTo>
                  <a:lnTo>
                    <a:pt x="1273" y="402"/>
                  </a:lnTo>
                  <a:lnTo>
                    <a:pt x="1273" y="402"/>
                  </a:lnTo>
                  <a:lnTo>
                    <a:pt x="1273" y="404"/>
                  </a:lnTo>
                  <a:lnTo>
                    <a:pt x="1273" y="404"/>
                  </a:lnTo>
                  <a:lnTo>
                    <a:pt x="1273" y="407"/>
                  </a:lnTo>
                  <a:lnTo>
                    <a:pt x="1273" y="407"/>
                  </a:lnTo>
                  <a:lnTo>
                    <a:pt x="1269" y="411"/>
                  </a:lnTo>
                  <a:lnTo>
                    <a:pt x="1266" y="414"/>
                  </a:lnTo>
                  <a:lnTo>
                    <a:pt x="1259" y="416"/>
                  </a:lnTo>
                  <a:lnTo>
                    <a:pt x="1252" y="421"/>
                  </a:lnTo>
                  <a:lnTo>
                    <a:pt x="1252" y="421"/>
                  </a:lnTo>
                  <a:lnTo>
                    <a:pt x="1250" y="421"/>
                  </a:lnTo>
                  <a:lnTo>
                    <a:pt x="1250" y="423"/>
                  </a:lnTo>
                  <a:lnTo>
                    <a:pt x="1250" y="423"/>
                  </a:lnTo>
                  <a:lnTo>
                    <a:pt x="1252" y="425"/>
                  </a:lnTo>
                  <a:lnTo>
                    <a:pt x="1252" y="425"/>
                  </a:lnTo>
                  <a:lnTo>
                    <a:pt x="1250" y="428"/>
                  </a:lnTo>
                  <a:lnTo>
                    <a:pt x="1250" y="428"/>
                  </a:lnTo>
                  <a:lnTo>
                    <a:pt x="1250" y="428"/>
                  </a:lnTo>
                  <a:lnTo>
                    <a:pt x="1250" y="428"/>
                  </a:lnTo>
                  <a:lnTo>
                    <a:pt x="1250" y="428"/>
                  </a:lnTo>
                  <a:lnTo>
                    <a:pt x="1252" y="428"/>
                  </a:lnTo>
                  <a:lnTo>
                    <a:pt x="1252" y="428"/>
                  </a:lnTo>
                  <a:lnTo>
                    <a:pt x="1252" y="430"/>
                  </a:lnTo>
                  <a:lnTo>
                    <a:pt x="1252" y="430"/>
                  </a:lnTo>
                  <a:lnTo>
                    <a:pt x="1250" y="430"/>
                  </a:lnTo>
                  <a:lnTo>
                    <a:pt x="1250" y="433"/>
                  </a:lnTo>
                  <a:lnTo>
                    <a:pt x="1250" y="433"/>
                  </a:lnTo>
                  <a:lnTo>
                    <a:pt x="1250" y="433"/>
                  </a:lnTo>
                  <a:lnTo>
                    <a:pt x="1250" y="433"/>
                  </a:lnTo>
                  <a:lnTo>
                    <a:pt x="1250" y="433"/>
                  </a:lnTo>
                  <a:lnTo>
                    <a:pt x="1250" y="435"/>
                  </a:lnTo>
                  <a:lnTo>
                    <a:pt x="1252" y="435"/>
                  </a:lnTo>
                  <a:lnTo>
                    <a:pt x="1252" y="435"/>
                  </a:lnTo>
                  <a:lnTo>
                    <a:pt x="1252" y="435"/>
                  </a:lnTo>
                  <a:lnTo>
                    <a:pt x="1254" y="435"/>
                  </a:lnTo>
                  <a:lnTo>
                    <a:pt x="1257" y="437"/>
                  </a:lnTo>
                  <a:lnTo>
                    <a:pt x="1257" y="435"/>
                  </a:lnTo>
                  <a:lnTo>
                    <a:pt x="1257" y="433"/>
                  </a:lnTo>
                  <a:lnTo>
                    <a:pt x="1259" y="435"/>
                  </a:lnTo>
                  <a:lnTo>
                    <a:pt x="1259" y="435"/>
                  </a:lnTo>
                  <a:lnTo>
                    <a:pt x="1259" y="435"/>
                  </a:lnTo>
                  <a:lnTo>
                    <a:pt x="1259" y="435"/>
                  </a:lnTo>
                  <a:lnTo>
                    <a:pt x="1259" y="435"/>
                  </a:lnTo>
                  <a:lnTo>
                    <a:pt x="1259" y="437"/>
                  </a:lnTo>
                  <a:lnTo>
                    <a:pt x="1259" y="437"/>
                  </a:lnTo>
                  <a:lnTo>
                    <a:pt x="1259" y="437"/>
                  </a:lnTo>
                  <a:lnTo>
                    <a:pt x="1259" y="437"/>
                  </a:lnTo>
                  <a:lnTo>
                    <a:pt x="1261" y="437"/>
                  </a:lnTo>
                  <a:lnTo>
                    <a:pt x="1261" y="440"/>
                  </a:lnTo>
                  <a:lnTo>
                    <a:pt x="1261" y="440"/>
                  </a:lnTo>
                  <a:lnTo>
                    <a:pt x="1259" y="440"/>
                  </a:lnTo>
                  <a:lnTo>
                    <a:pt x="1259" y="440"/>
                  </a:lnTo>
                  <a:lnTo>
                    <a:pt x="1259" y="440"/>
                  </a:lnTo>
                  <a:lnTo>
                    <a:pt x="1259" y="440"/>
                  </a:lnTo>
                  <a:lnTo>
                    <a:pt x="1259" y="440"/>
                  </a:lnTo>
                  <a:lnTo>
                    <a:pt x="1259" y="440"/>
                  </a:lnTo>
                  <a:lnTo>
                    <a:pt x="1259" y="442"/>
                  </a:lnTo>
                  <a:lnTo>
                    <a:pt x="1259" y="442"/>
                  </a:lnTo>
                  <a:lnTo>
                    <a:pt x="1259" y="442"/>
                  </a:lnTo>
                  <a:lnTo>
                    <a:pt x="1261" y="442"/>
                  </a:lnTo>
                  <a:lnTo>
                    <a:pt x="1261" y="442"/>
                  </a:lnTo>
                  <a:lnTo>
                    <a:pt x="1261" y="442"/>
                  </a:lnTo>
                  <a:lnTo>
                    <a:pt x="1259" y="444"/>
                  </a:lnTo>
                  <a:lnTo>
                    <a:pt x="1259" y="444"/>
                  </a:lnTo>
                  <a:lnTo>
                    <a:pt x="1259" y="444"/>
                  </a:lnTo>
                  <a:lnTo>
                    <a:pt x="1261" y="444"/>
                  </a:lnTo>
                  <a:lnTo>
                    <a:pt x="1261" y="444"/>
                  </a:lnTo>
                  <a:lnTo>
                    <a:pt x="1264" y="447"/>
                  </a:lnTo>
                  <a:lnTo>
                    <a:pt x="1264" y="447"/>
                  </a:lnTo>
                  <a:lnTo>
                    <a:pt x="1264" y="444"/>
                  </a:lnTo>
                  <a:lnTo>
                    <a:pt x="1271" y="440"/>
                  </a:lnTo>
                  <a:lnTo>
                    <a:pt x="1273" y="437"/>
                  </a:lnTo>
                  <a:lnTo>
                    <a:pt x="1273" y="437"/>
                  </a:lnTo>
                  <a:lnTo>
                    <a:pt x="1273" y="435"/>
                  </a:lnTo>
                  <a:lnTo>
                    <a:pt x="1273" y="435"/>
                  </a:lnTo>
                  <a:lnTo>
                    <a:pt x="1273" y="435"/>
                  </a:lnTo>
                  <a:lnTo>
                    <a:pt x="1273" y="435"/>
                  </a:lnTo>
                  <a:lnTo>
                    <a:pt x="1273" y="435"/>
                  </a:lnTo>
                  <a:lnTo>
                    <a:pt x="1273" y="435"/>
                  </a:lnTo>
                  <a:lnTo>
                    <a:pt x="1273" y="435"/>
                  </a:lnTo>
                  <a:lnTo>
                    <a:pt x="1273" y="435"/>
                  </a:lnTo>
                  <a:lnTo>
                    <a:pt x="1273" y="433"/>
                  </a:lnTo>
                  <a:lnTo>
                    <a:pt x="1271" y="433"/>
                  </a:lnTo>
                  <a:lnTo>
                    <a:pt x="1271" y="433"/>
                  </a:lnTo>
                  <a:lnTo>
                    <a:pt x="1273" y="430"/>
                  </a:lnTo>
                  <a:lnTo>
                    <a:pt x="1278" y="435"/>
                  </a:lnTo>
                  <a:lnTo>
                    <a:pt x="1283" y="433"/>
                  </a:lnTo>
                  <a:lnTo>
                    <a:pt x="1283" y="435"/>
                  </a:lnTo>
                  <a:lnTo>
                    <a:pt x="1283" y="435"/>
                  </a:lnTo>
                  <a:lnTo>
                    <a:pt x="1280" y="435"/>
                  </a:lnTo>
                  <a:lnTo>
                    <a:pt x="1278" y="440"/>
                  </a:lnTo>
                  <a:lnTo>
                    <a:pt x="1278" y="440"/>
                  </a:lnTo>
                  <a:lnTo>
                    <a:pt x="1278" y="442"/>
                  </a:lnTo>
                  <a:lnTo>
                    <a:pt x="1278" y="442"/>
                  </a:lnTo>
                  <a:lnTo>
                    <a:pt x="1278" y="444"/>
                  </a:lnTo>
                  <a:lnTo>
                    <a:pt x="1278" y="444"/>
                  </a:lnTo>
                  <a:lnTo>
                    <a:pt x="1278" y="444"/>
                  </a:lnTo>
                  <a:lnTo>
                    <a:pt x="1278" y="444"/>
                  </a:lnTo>
                  <a:lnTo>
                    <a:pt x="1278" y="444"/>
                  </a:lnTo>
                  <a:lnTo>
                    <a:pt x="1280" y="447"/>
                  </a:lnTo>
                  <a:lnTo>
                    <a:pt x="1283" y="447"/>
                  </a:lnTo>
                  <a:lnTo>
                    <a:pt x="1285" y="444"/>
                  </a:lnTo>
                  <a:lnTo>
                    <a:pt x="1285" y="442"/>
                  </a:lnTo>
                  <a:lnTo>
                    <a:pt x="1287" y="442"/>
                  </a:lnTo>
                  <a:lnTo>
                    <a:pt x="1287" y="440"/>
                  </a:lnTo>
                  <a:lnTo>
                    <a:pt x="1287" y="440"/>
                  </a:lnTo>
                  <a:lnTo>
                    <a:pt x="1287" y="440"/>
                  </a:lnTo>
                  <a:lnTo>
                    <a:pt x="1287" y="440"/>
                  </a:lnTo>
                  <a:lnTo>
                    <a:pt x="1285" y="437"/>
                  </a:lnTo>
                  <a:lnTo>
                    <a:pt x="1287" y="437"/>
                  </a:lnTo>
                  <a:lnTo>
                    <a:pt x="1287" y="437"/>
                  </a:lnTo>
                  <a:lnTo>
                    <a:pt x="1285" y="437"/>
                  </a:lnTo>
                  <a:lnTo>
                    <a:pt x="1287" y="435"/>
                  </a:lnTo>
                  <a:lnTo>
                    <a:pt x="1287" y="435"/>
                  </a:lnTo>
                  <a:lnTo>
                    <a:pt x="1287" y="437"/>
                  </a:lnTo>
                  <a:lnTo>
                    <a:pt x="1290" y="437"/>
                  </a:lnTo>
                  <a:lnTo>
                    <a:pt x="1290" y="437"/>
                  </a:lnTo>
                  <a:lnTo>
                    <a:pt x="1290" y="437"/>
                  </a:lnTo>
                  <a:lnTo>
                    <a:pt x="1290" y="435"/>
                  </a:lnTo>
                  <a:lnTo>
                    <a:pt x="1290" y="433"/>
                  </a:lnTo>
                  <a:lnTo>
                    <a:pt x="1290" y="433"/>
                  </a:lnTo>
                  <a:lnTo>
                    <a:pt x="1290" y="430"/>
                  </a:lnTo>
                  <a:lnTo>
                    <a:pt x="1290" y="430"/>
                  </a:lnTo>
                  <a:lnTo>
                    <a:pt x="1292" y="428"/>
                  </a:lnTo>
                  <a:lnTo>
                    <a:pt x="1292" y="428"/>
                  </a:lnTo>
                  <a:lnTo>
                    <a:pt x="1292" y="428"/>
                  </a:lnTo>
                  <a:lnTo>
                    <a:pt x="1292" y="428"/>
                  </a:lnTo>
                  <a:lnTo>
                    <a:pt x="1292" y="428"/>
                  </a:lnTo>
                  <a:lnTo>
                    <a:pt x="1292" y="430"/>
                  </a:lnTo>
                  <a:lnTo>
                    <a:pt x="1295" y="430"/>
                  </a:lnTo>
                  <a:lnTo>
                    <a:pt x="1292" y="433"/>
                  </a:lnTo>
                  <a:lnTo>
                    <a:pt x="1292" y="435"/>
                  </a:lnTo>
                  <a:lnTo>
                    <a:pt x="1292" y="437"/>
                  </a:lnTo>
                  <a:lnTo>
                    <a:pt x="1292" y="437"/>
                  </a:lnTo>
                  <a:lnTo>
                    <a:pt x="1297" y="435"/>
                  </a:lnTo>
                  <a:lnTo>
                    <a:pt x="1297" y="433"/>
                  </a:lnTo>
                  <a:lnTo>
                    <a:pt x="1297" y="433"/>
                  </a:lnTo>
                  <a:lnTo>
                    <a:pt x="1297" y="430"/>
                  </a:lnTo>
                  <a:lnTo>
                    <a:pt x="1295" y="428"/>
                  </a:lnTo>
                  <a:lnTo>
                    <a:pt x="1295" y="428"/>
                  </a:lnTo>
                  <a:lnTo>
                    <a:pt x="1295" y="425"/>
                  </a:lnTo>
                  <a:lnTo>
                    <a:pt x="1295" y="425"/>
                  </a:lnTo>
                  <a:lnTo>
                    <a:pt x="1295" y="425"/>
                  </a:lnTo>
                  <a:lnTo>
                    <a:pt x="1295" y="425"/>
                  </a:lnTo>
                  <a:lnTo>
                    <a:pt x="1295" y="423"/>
                  </a:lnTo>
                  <a:lnTo>
                    <a:pt x="1297" y="425"/>
                  </a:lnTo>
                  <a:lnTo>
                    <a:pt x="1297" y="425"/>
                  </a:lnTo>
                  <a:lnTo>
                    <a:pt x="1299" y="430"/>
                  </a:lnTo>
                  <a:lnTo>
                    <a:pt x="1299" y="430"/>
                  </a:lnTo>
                  <a:lnTo>
                    <a:pt x="1299" y="430"/>
                  </a:lnTo>
                  <a:lnTo>
                    <a:pt x="1304" y="428"/>
                  </a:lnTo>
                  <a:lnTo>
                    <a:pt x="1309" y="425"/>
                  </a:lnTo>
                  <a:lnTo>
                    <a:pt x="1311" y="428"/>
                  </a:lnTo>
                  <a:lnTo>
                    <a:pt x="1311" y="428"/>
                  </a:lnTo>
                  <a:lnTo>
                    <a:pt x="1309" y="428"/>
                  </a:lnTo>
                  <a:lnTo>
                    <a:pt x="1309" y="430"/>
                  </a:lnTo>
                  <a:lnTo>
                    <a:pt x="1309" y="430"/>
                  </a:lnTo>
                  <a:lnTo>
                    <a:pt x="1306" y="430"/>
                  </a:lnTo>
                  <a:lnTo>
                    <a:pt x="1306" y="433"/>
                  </a:lnTo>
                  <a:lnTo>
                    <a:pt x="1304" y="433"/>
                  </a:lnTo>
                  <a:lnTo>
                    <a:pt x="1304" y="433"/>
                  </a:lnTo>
                  <a:lnTo>
                    <a:pt x="1306" y="435"/>
                  </a:lnTo>
                  <a:lnTo>
                    <a:pt x="1306" y="435"/>
                  </a:lnTo>
                  <a:lnTo>
                    <a:pt x="1309" y="435"/>
                  </a:lnTo>
                  <a:lnTo>
                    <a:pt x="1311" y="435"/>
                  </a:lnTo>
                  <a:lnTo>
                    <a:pt x="1313" y="435"/>
                  </a:lnTo>
                  <a:lnTo>
                    <a:pt x="1318" y="437"/>
                  </a:lnTo>
                  <a:lnTo>
                    <a:pt x="1318" y="435"/>
                  </a:lnTo>
                  <a:lnTo>
                    <a:pt x="1318" y="435"/>
                  </a:lnTo>
                  <a:lnTo>
                    <a:pt x="1323" y="433"/>
                  </a:lnTo>
                  <a:lnTo>
                    <a:pt x="1325" y="433"/>
                  </a:lnTo>
                  <a:lnTo>
                    <a:pt x="1328" y="430"/>
                  </a:lnTo>
                  <a:lnTo>
                    <a:pt x="1330" y="430"/>
                  </a:lnTo>
                  <a:lnTo>
                    <a:pt x="1330" y="430"/>
                  </a:lnTo>
                  <a:lnTo>
                    <a:pt x="1330" y="433"/>
                  </a:lnTo>
                  <a:lnTo>
                    <a:pt x="1330" y="433"/>
                  </a:lnTo>
                  <a:lnTo>
                    <a:pt x="1330" y="433"/>
                  </a:lnTo>
                  <a:lnTo>
                    <a:pt x="1330" y="433"/>
                  </a:lnTo>
                  <a:lnTo>
                    <a:pt x="1330" y="433"/>
                  </a:lnTo>
                  <a:lnTo>
                    <a:pt x="1330" y="433"/>
                  </a:lnTo>
                  <a:lnTo>
                    <a:pt x="1330" y="433"/>
                  </a:lnTo>
                  <a:lnTo>
                    <a:pt x="1330" y="435"/>
                  </a:lnTo>
                  <a:lnTo>
                    <a:pt x="1330" y="433"/>
                  </a:lnTo>
                  <a:lnTo>
                    <a:pt x="1330" y="435"/>
                  </a:lnTo>
                  <a:lnTo>
                    <a:pt x="1323" y="437"/>
                  </a:lnTo>
                  <a:lnTo>
                    <a:pt x="1321" y="437"/>
                  </a:lnTo>
                  <a:lnTo>
                    <a:pt x="1318" y="440"/>
                  </a:lnTo>
                  <a:lnTo>
                    <a:pt x="1318" y="440"/>
                  </a:lnTo>
                  <a:lnTo>
                    <a:pt x="1318" y="440"/>
                  </a:lnTo>
                  <a:lnTo>
                    <a:pt x="1316" y="440"/>
                  </a:lnTo>
                  <a:lnTo>
                    <a:pt x="1313" y="440"/>
                  </a:lnTo>
                  <a:lnTo>
                    <a:pt x="1313" y="440"/>
                  </a:lnTo>
                  <a:lnTo>
                    <a:pt x="1313" y="440"/>
                  </a:lnTo>
                  <a:lnTo>
                    <a:pt x="1313" y="440"/>
                  </a:lnTo>
                  <a:lnTo>
                    <a:pt x="1311" y="440"/>
                  </a:lnTo>
                  <a:lnTo>
                    <a:pt x="1311" y="440"/>
                  </a:lnTo>
                  <a:lnTo>
                    <a:pt x="1311" y="440"/>
                  </a:lnTo>
                  <a:lnTo>
                    <a:pt x="1313" y="440"/>
                  </a:lnTo>
                  <a:lnTo>
                    <a:pt x="1313" y="440"/>
                  </a:lnTo>
                  <a:lnTo>
                    <a:pt x="1313" y="440"/>
                  </a:lnTo>
                  <a:lnTo>
                    <a:pt x="1306" y="440"/>
                  </a:lnTo>
                  <a:lnTo>
                    <a:pt x="1304" y="440"/>
                  </a:lnTo>
                  <a:lnTo>
                    <a:pt x="1304" y="444"/>
                  </a:lnTo>
                  <a:lnTo>
                    <a:pt x="1304" y="444"/>
                  </a:lnTo>
                  <a:lnTo>
                    <a:pt x="1304" y="444"/>
                  </a:lnTo>
                  <a:lnTo>
                    <a:pt x="1304" y="447"/>
                  </a:lnTo>
                  <a:lnTo>
                    <a:pt x="1309" y="447"/>
                  </a:lnTo>
                  <a:lnTo>
                    <a:pt x="1313" y="449"/>
                  </a:lnTo>
                  <a:lnTo>
                    <a:pt x="1318" y="447"/>
                  </a:lnTo>
                  <a:lnTo>
                    <a:pt x="1321" y="447"/>
                  </a:lnTo>
                  <a:lnTo>
                    <a:pt x="1328" y="447"/>
                  </a:lnTo>
                  <a:lnTo>
                    <a:pt x="1332" y="444"/>
                  </a:lnTo>
                  <a:lnTo>
                    <a:pt x="1337" y="444"/>
                  </a:lnTo>
                  <a:lnTo>
                    <a:pt x="1342" y="442"/>
                  </a:lnTo>
                  <a:lnTo>
                    <a:pt x="1344" y="442"/>
                  </a:lnTo>
                  <a:lnTo>
                    <a:pt x="1344" y="442"/>
                  </a:lnTo>
                  <a:lnTo>
                    <a:pt x="1344" y="444"/>
                  </a:lnTo>
                  <a:lnTo>
                    <a:pt x="1342" y="447"/>
                  </a:lnTo>
                  <a:lnTo>
                    <a:pt x="1337" y="447"/>
                  </a:lnTo>
                  <a:lnTo>
                    <a:pt x="1332" y="447"/>
                  </a:lnTo>
                  <a:lnTo>
                    <a:pt x="1330" y="449"/>
                  </a:lnTo>
                  <a:lnTo>
                    <a:pt x="1328" y="449"/>
                  </a:lnTo>
                  <a:lnTo>
                    <a:pt x="1323" y="451"/>
                  </a:lnTo>
                  <a:lnTo>
                    <a:pt x="1318" y="454"/>
                  </a:lnTo>
                  <a:lnTo>
                    <a:pt x="1311" y="454"/>
                  </a:lnTo>
                  <a:lnTo>
                    <a:pt x="1306" y="454"/>
                  </a:lnTo>
                  <a:lnTo>
                    <a:pt x="1304" y="454"/>
                  </a:lnTo>
                  <a:lnTo>
                    <a:pt x="1304" y="454"/>
                  </a:lnTo>
                  <a:lnTo>
                    <a:pt x="1302" y="456"/>
                  </a:lnTo>
                  <a:lnTo>
                    <a:pt x="1302" y="456"/>
                  </a:lnTo>
                  <a:lnTo>
                    <a:pt x="1299" y="454"/>
                  </a:lnTo>
                  <a:lnTo>
                    <a:pt x="1297" y="456"/>
                  </a:lnTo>
                  <a:lnTo>
                    <a:pt x="1295" y="454"/>
                  </a:lnTo>
                  <a:lnTo>
                    <a:pt x="1292" y="454"/>
                  </a:lnTo>
                  <a:lnTo>
                    <a:pt x="1292" y="454"/>
                  </a:lnTo>
                  <a:lnTo>
                    <a:pt x="1292" y="456"/>
                  </a:lnTo>
                  <a:lnTo>
                    <a:pt x="1292" y="456"/>
                  </a:lnTo>
                  <a:lnTo>
                    <a:pt x="1292" y="459"/>
                  </a:lnTo>
                  <a:lnTo>
                    <a:pt x="1290" y="461"/>
                  </a:lnTo>
                  <a:lnTo>
                    <a:pt x="1290" y="463"/>
                  </a:lnTo>
                  <a:lnTo>
                    <a:pt x="1290" y="463"/>
                  </a:lnTo>
                  <a:lnTo>
                    <a:pt x="1290" y="466"/>
                  </a:lnTo>
                  <a:lnTo>
                    <a:pt x="1287" y="466"/>
                  </a:lnTo>
                  <a:lnTo>
                    <a:pt x="1287" y="463"/>
                  </a:lnTo>
                  <a:lnTo>
                    <a:pt x="1285" y="466"/>
                  </a:lnTo>
                  <a:lnTo>
                    <a:pt x="1283" y="466"/>
                  </a:lnTo>
                  <a:lnTo>
                    <a:pt x="1283" y="468"/>
                  </a:lnTo>
                  <a:lnTo>
                    <a:pt x="1278" y="470"/>
                  </a:lnTo>
                  <a:lnTo>
                    <a:pt x="1278" y="470"/>
                  </a:lnTo>
                  <a:lnTo>
                    <a:pt x="1278" y="473"/>
                  </a:lnTo>
                  <a:lnTo>
                    <a:pt x="1283" y="480"/>
                  </a:lnTo>
                  <a:lnTo>
                    <a:pt x="1283" y="480"/>
                  </a:lnTo>
                  <a:lnTo>
                    <a:pt x="1283" y="480"/>
                  </a:lnTo>
                  <a:lnTo>
                    <a:pt x="1285" y="482"/>
                  </a:lnTo>
                  <a:lnTo>
                    <a:pt x="1285" y="485"/>
                  </a:lnTo>
                  <a:lnTo>
                    <a:pt x="1285" y="485"/>
                  </a:lnTo>
                  <a:lnTo>
                    <a:pt x="1287" y="485"/>
                  </a:lnTo>
                  <a:lnTo>
                    <a:pt x="1292" y="485"/>
                  </a:lnTo>
                  <a:lnTo>
                    <a:pt x="1295" y="485"/>
                  </a:lnTo>
                  <a:lnTo>
                    <a:pt x="1295" y="487"/>
                  </a:lnTo>
                  <a:lnTo>
                    <a:pt x="1299" y="489"/>
                  </a:lnTo>
                  <a:lnTo>
                    <a:pt x="1302" y="489"/>
                  </a:lnTo>
                  <a:lnTo>
                    <a:pt x="1299" y="492"/>
                  </a:lnTo>
                  <a:lnTo>
                    <a:pt x="1302" y="492"/>
                  </a:lnTo>
                  <a:lnTo>
                    <a:pt x="1299" y="492"/>
                  </a:lnTo>
                  <a:lnTo>
                    <a:pt x="1299" y="492"/>
                  </a:lnTo>
                  <a:lnTo>
                    <a:pt x="1299" y="492"/>
                  </a:lnTo>
                  <a:lnTo>
                    <a:pt x="1292" y="489"/>
                  </a:lnTo>
                  <a:lnTo>
                    <a:pt x="1287" y="489"/>
                  </a:lnTo>
                  <a:lnTo>
                    <a:pt x="1287" y="492"/>
                  </a:lnTo>
                  <a:lnTo>
                    <a:pt x="1287" y="492"/>
                  </a:lnTo>
                  <a:lnTo>
                    <a:pt x="1290" y="496"/>
                  </a:lnTo>
                  <a:lnTo>
                    <a:pt x="1292" y="496"/>
                  </a:lnTo>
                  <a:lnTo>
                    <a:pt x="1292" y="499"/>
                  </a:lnTo>
                  <a:lnTo>
                    <a:pt x="1292" y="499"/>
                  </a:lnTo>
                  <a:lnTo>
                    <a:pt x="1292" y="499"/>
                  </a:lnTo>
                  <a:lnTo>
                    <a:pt x="1295" y="496"/>
                  </a:lnTo>
                  <a:lnTo>
                    <a:pt x="1295" y="499"/>
                  </a:lnTo>
                  <a:lnTo>
                    <a:pt x="1295" y="499"/>
                  </a:lnTo>
                  <a:lnTo>
                    <a:pt x="1295" y="501"/>
                  </a:lnTo>
                  <a:lnTo>
                    <a:pt x="1295" y="501"/>
                  </a:lnTo>
                  <a:lnTo>
                    <a:pt x="1295" y="501"/>
                  </a:lnTo>
                  <a:lnTo>
                    <a:pt x="1297" y="503"/>
                  </a:lnTo>
                  <a:lnTo>
                    <a:pt x="1297" y="506"/>
                  </a:lnTo>
                  <a:lnTo>
                    <a:pt x="1299" y="506"/>
                  </a:lnTo>
                  <a:lnTo>
                    <a:pt x="1302" y="503"/>
                  </a:lnTo>
                  <a:lnTo>
                    <a:pt x="1304" y="503"/>
                  </a:lnTo>
                  <a:lnTo>
                    <a:pt x="1304" y="503"/>
                  </a:lnTo>
                  <a:lnTo>
                    <a:pt x="1304" y="503"/>
                  </a:lnTo>
                  <a:lnTo>
                    <a:pt x="1304" y="503"/>
                  </a:lnTo>
                  <a:lnTo>
                    <a:pt x="1304" y="503"/>
                  </a:lnTo>
                  <a:lnTo>
                    <a:pt x="1304" y="503"/>
                  </a:lnTo>
                  <a:lnTo>
                    <a:pt x="1304" y="501"/>
                  </a:lnTo>
                  <a:lnTo>
                    <a:pt x="1306" y="501"/>
                  </a:lnTo>
                  <a:lnTo>
                    <a:pt x="1306" y="501"/>
                  </a:lnTo>
                  <a:lnTo>
                    <a:pt x="1309" y="503"/>
                  </a:lnTo>
                  <a:lnTo>
                    <a:pt x="1316" y="506"/>
                  </a:lnTo>
                  <a:lnTo>
                    <a:pt x="1325" y="506"/>
                  </a:lnTo>
                  <a:lnTo>
                    <a:pt x="1325" y="506"/>
                  </a:lnTo>
                  <a:lnTo>
                    <a:pt x="1325" y="506"/>
                  </a:lnTo>
                  <a:lnTo>
                    <a:pt x="1328" y="508"/>
                  </a:lnTo>
                  <a:lnTo>
                    <a:pt x="1325" y="511"/>
                  </a:lnTo>
                  <a:lnTo>
                    <a:pt x="1325" y="508"/>
                  </a:lnTo>
                  <a:lnTo>
                    <a:pt x="1325" y="508"/>
                  </a:lnTo>
                  <a:lnTo>
                    <a:pt x="1323" y="508"/>
                  </a:lnTo>
                  <a:lnTo>
                    <a:pt x="1318" y="511"/>
                  </a:lnTo>
                  <a:lnTo>
                    <a:pt x="1311" y="511"/>
                  </a:lnTo>
                  <a:lnTo>
                    <a:pt x="1311" y="511"/>
                  </a:lnTo>
                  <a:lnTo>
                    <a:pt x="1311" y="511"/>
                  </a:lnTo>
                  <a:lnTo>
                    <a:pt x="1311" y="511"/>
                  </a:lnTo>
                  <a:lnTo>
                    <a:pt x="1311" y="513"/>
                  </a:lnTo>
                  <a:lnTo>
                    <a:pt x="1311" y="513"/>
                  </a:lnTo>
                  <a:lnTo>
                    <a:pt x="1311" y="513"/>
                  </a:lnTo>
                  <a:lnTo>
                    <a:pt x="1309" y="513"/>
                  </a:lnTo>
                  <a:lnTo>
                    <a:pt x="1309" y="513"/>
                  </a:lnTo>
                  <a:lnTo>
                    <a:pt x="1304" y="513"/>
                  </a:lnTo>
                  <a:lnTo>
                    <a:pt x="1304" y="513"/>
                  </a:lnTo>
                  <a:lnTo>
                    <a:pt x="1304" y="513"/>
                  </a:lnTo>
                  <a:lnTo>
                    <a:pt x="1304" y="513"/>
                  </a:lnTo>
                  <a:lnTo>
                    <a:pt x="1304" y="515"/>
                  </a:lnTo>
                  <a:lnTo>
                    <a:pt x="1304" y="518"/>
                  </a:lnTo>
                  <a:lnTo>
                    <a:pt x="1304" y="520"/>
                  </a:lnTo>
                  <a:lnTo>
                    <a:pt x="1306" y="522"/>
                  </a:lnTo>
                  <a:lnTo>
                    <a:pt x="1306" y="522"/>
                  </a:lnTo>
                  <a:lnTo>
                    <a:pt x="1309" y="525"/>
                  </a:lnTo>
                  <a:lnTo>
                    <a:pt x="1311" y="525"/>
                  </a:lnTo>
                  <a:lnTo>
                    <a:pt x="1311" y="527"/>
                  </a:lnTo>
                  <a:lnTo>
                    <a:pt x="1311" y="527"/>
                  </a:lnTo>
                  <a:lnTo>
                    <a:pt x="1311" y="527"/>
                  </a:lnTo>
                  <a:lnTo>
                    <a:pt x="1313" y="530"/>
                  </a:lnTo>
                  <a:lnTo>
                    <a:pt x="1316" y="530"/>
                  </a:lnTo>
                  <a:lnTo>
                    <a:pt x="1316" y="527"/>
                  </a:lnTo>
                  <a:lnTo>
                    <a:pt x="1318" y="527"/>
                  </a:lnTo>
                  <a:lnTo>
                    <a:pt x="1318" y="530"/>
                  </a:lnTo>
                  <a:lnTo>
                    <a:pt x="1318" y="530"/>
                  </a:lnTo>
                  <a:lnTo>
                    <a:pt x="1316" y="530"/>
                  </a:lnTo>
                  <a:lnTo>
                    <a:pt x="1316" y="532"/>
                  </a:lnTo>
                  <a:lnTo>
                    <a:pt x="1316" y="532"/>
                  </a:lnTo>
                  <a:lnTo>
                    <a:pt x="1318" y="532"/>
                  </a:lnTo>
                  <a:lnTo>
                    <a:pt x="1318" y="532"/>
                  </a:lnTo>
                  <a:lnTo>
                    <a:pt x="1318" y="534"/>
                  </a:lnTo>
                  <a:lnTo>
                    <a:pt x="1321" y="537"/>
                  </a:lnTo>
                  <a:lnTo>
                    <a:pt x="1321" y="539"/>
                  </a:lnTo>
                  <a:lnTo>
                    <a:pt x="1323" y="539"/>
                  </a:lnTo>
                  <a:lnTo>
                    <a:pt x="1323" y="539"/>
                  </a:lnTo>
                  <a:lnTo>
                    <a:pt x="1323" y="537"/>
                  </a:lnTo>
                  <a:lnTo>
                    <a:pt x="1323" y="537"/>
                  </a:lnTo>
                  <a:lnTo>
                    <a:pt x="1325" y="534"/>
                  </a:lnTo>
                  <a:lnTo>
                    <a:pt x="1325" y="537"/>
                  </a:lnTo>
                  <a:lnTo>
                    <a:pt x="1325" y="537"/>
                  </a:lnTo>
                  <a:lnTo>
                    <a:pt x="1330" y="539"/>
                  </a:lnTo>
                  <a:lnTo>
                    <a:pt x="1337" y="541"/>
                  </a:lnTo>
                  <a:lnTo>
                    <a:pt x="1342" y="541"/>
                  </a:lnTo>
                  <a:lnTo>
                    <a:pt x="1349" y="541"/>
                  </a:lnTo>
                  <a:lnTo>
                    <a:pt x="1351" y="541"/>
                  </a:lnTo>
                  <a:lnTo>
                    <a:pt x="1354" y="541"/>
                  </a:lnTo>
                  <a:lnTo>
                    <a:pt x="1354" y="539"/>
                  </a:lnTo>
                  <a:lnTo>
                    <a:pt x="1354" y="539"/>
                  </a:lnTo>
                  <a:lnTo>
                    <a:pt x="1354" y="537"/>
                  </a:lnTo>
                  <a:lnTo>
                    <a:pt x="1351" y="534"/>
                  </a:lnTo>
                  <a:lnTo>
                    <a:pt x="1351" y="534"/>
                  </a:lnTo>
                  <a:lnTo>
                    <a:pt x="1351" y="534"/>
                  </a:lnTo>
                  <a:lnTo>
                    <a:pt x="1351" y="532"/>
                  </a:lnTo>
                  <a:lnTo>
                    <a:pt x="1351" y="532"/>
                  </a:lnTo>
                  <a:lnTo>
                    <a:pt x="1351" y="530"/>
                  </a:lnTo>
                  <a:lnTo>
                    <a:pt x="1351" y="530"/>
                  </a:lnTo>
                  <a:lnTo>
                    <a:pt x="1347" y="530"/>
                  </a:lnTo>
                  <a:lnTo>
                    <a:pt x="1344" y="527"/>
                  </a:lnTo>
                  <a:lnTo>
                    <a:pt x="1344" y="527"/>
                  </a:lnTo>
                  <a:lnTo>
                    <a:pt x="1344" y="525"/>
                  </a:lnTo>
                  <a:lnTo>
                    <a:pt x="1347" y="527"/>
                  </a:lnTo>
                  <a:lnTo>
                    <a:pt x="1351" y="525"/>
                  </a:lnTo>
                  <a:lnTo>
                    <a:pt x="1354" y="525"/>
                  </a:lnTo>
                  <a:lnTo>
                    <a:pt x="1356" y="527"/>
                  </a:lnTo>
                  <a:lnTo>
                    <a:pt x="1358" y="530"/>
                  </a:lnTo>
                  <a:lnTo>
                    <a:pt x="1358" y="532"/>
                  </a:lnTo>
                  <a:lnTo>
                    <a:pt x="1358" y="534"/>
                  </a:lnTo>
                  <a:lnTo>
                    <a:pt x="1361" y="534"/>
                  </a:lnTo>
                  <a:lnTo>
                    <a:pt x="1363" y="534"/>
                  </a:lnTo>
                  <a:lnTo>
                    <a:pt x="1363" y="534"/>
                  </a:lnTo>
                  <a:lnTo>
                    <a:pt x="1363" y="534"/>
                  </a:lnTo>
                  <a:lnTo>
                    <a:pt x="1366" y="534"/>
                  </a:lnTo>
                  <a:lnTo>
                    <a:pt x="1366" y="537"/>
                  </a:lnTo>
                  <a:lnTo>
                    <a:pt x="1366" y="537"/>
                  </a:lnTo>
                  <a:lnTo>
                    <a:pt x="1366" y="539"/>
                  </a:lnTo>
                  <a:lnTo>
                    <a:pt x="1366" y="539"/>
                  </a:lnTo>
                  <a:lnTo>
                    <a:pt x="1366" y="539"/>
                  </a:lnTo>
                  <a:lnTo>
                    <a:pt x="1366" y="539"/>
                  </a:lnTo>
                  <a:lnTo>
                    <a:pt x="1368" y="539"/>
                  </a:lnTo>
                  <a:lnTo>
                    <a:pt x="1368" y="539"/>
                  </a:lnTo>
                  <a:lnTo>
                    <a:pt x="1368" y="539"/>
                  </a:lnTo>
                  <a:lnTo>
                    <a:pt x="1368" y="537"/>
                  </a:lnTo>
                  <a:lnTo>
                    <a:pt x="1366" y="534"/>
                  </a:lnTo>
                  <a:lnTo>
                    <a:pt x="1366" y="532"/>
                  </a:lnTo>
                  <a:lnTo>
                    <a:pt x="1366" y="530"/>
                  </a:lnTo>
                  <a:lnTo>
                    <a:pt x="1366" y="527"/>
                  </a:lnTo>
                  <a:lnTo>
                    <a:pt x="1361" y="518"/>
                  </a:lnTo>
                  <a:lnTo>
                    <a:pt x="1356" y="515"/>
                  </a:lnTo>
                  <a:lnTo>
                    <a:pt x="1356" y="515"/>
                  </a:lnTo>
                  <a:lnTo>
                    <a:pt x="1356" y="513"/>
                  </a:lnTo>
                  <a:lnTo>
                    <a:pt x="1356" y="513"/>
                  </a:lnTo>
                  <a:lnTo>
                    <a:pt x="1356" y="513"/>
                  </a:lnTo>
                  <a:lnTo>
                    <a:pt x="1356" y="513"/>
                  </a:lnTo>
                  <a:lnTo>
                    <a:pt x="1356" y="511"/>
                  </a:lnTo>
                  <a:lnTo>
                    <a:pt x="1356" y="511"/>
                  </a:lnTo>
                  <a:lnTo>
                    <a:pt x="1356" y="511"/>
                  </a:lnTo>
                  <a:lnTo>
                    <a:pt x="1354" y="508"/>
                  </a:lnTo>
                  <a:lnTo>
                    <a:pt x="1354" y="508"/>
                  </a:lnTo>
                  <a:lnTo>
                    <a:pt x="1354" y="508"/>
                  </a:lnTo>
                  <a:lnTo>
                    <a:pt x="1354" y="506"/>
                  </a:lnTo>
                  <a:lnTo>
                    <a:pt x="1354" y="506"/>
                  </a:lnTo>
                  <a:lnTo>
                    <a:pt x="1354" y="503"/>
                  </a:lnTo>
                  <a:lnTo>
                    <a:pt x="1354" y="503"/>
                  </a:lnTo>
                  <a:lnTo>
                    <a:pt x="1354" y="501"/>
                  </a:lnTo>
                  <a:lnTo>
                    <a:pt x="1354" y="501"/>
                  </a:lnTo>
                  <a:lnTo>
                    <a:pt x="1354" y="499"/>
                  </a:lnTo>
                  <a:lnTo>
                    <a:pt x="1356" y="499"/>
                  </a:lnTo>
                  <a:lnTo>
                    <a:pt x="1356" y="499"/>
                  </a:lnTo>
                  <a:lnTo>
                    <a:pt x="1356" y="501"/>
                  </a:lnTo>
                  <a:lnTo>
                    <a:pt x="1356" y="501"/>
                  </a:lnTo>
                  <a:lnTo>
                    <a:pt x="1356" y="503"/>
                  </a:lnTo>
                  <a:lnTo>
                    <a:pt x="1358" y="506"/>
                  </a:lnTo>
                  <a:lnTo>
                    <a:pt x="1358" y="506"/>
                  </a:lnTo>
                  <a:lnTo>
                    <a:pt x="1358" y="508"/>
                  </a:lnTo>
                  <a:lnTo>
                    <a:pt x="1358" y="508"/>
                  </a:lnTo>
                  <a:lnTo>
                    <a:pt x="1363" y="515"/>
                  </a:lnTo>
                  <a:lnTo>
                    <a:pt x="1363" y="515"/>
                  </a:lnTo>
                  <a:lnTo>
                    <a:pt x="1363" y="515"/>
                  </a:lnTo>
                  <a:lnTo>
                    <a:pt x="1366" y="518"/>
                  </a:lnTo>
                  <a:lnTo>
                    <a:pt x="1366" y="518"/>
                  </a:lnTo>
                  <a:lnTo>
                    <a:pt x="1366" y="520"/>
                  </a:lnTo>
                  <a:lnTo>
                    <a:pt x="1366" y="520"/>
                  </a:lnTo>
                  <a:lnTo>
                    <a:pt x="1368" y="522"/>
                  </a:lnTo>
                  <a:lnTo>
                    <a:pt x="1368" y="522"/>
                  </a:lnTo>
                  <a:lnTo>
                    <a:pt x="1370" y="522"/>
                  </a:lnTo>
                  <a:lnTo>
                    <a:pt x="1370" y="525"/>
                  </a:lnTo>
                  <a:lnTo>
                    <a:pt x="1370" y="525"/>
                  </a:lnTo>
                  <a:lnTo>
                    <a:pt x="1370" y="527"/>
                  </a:lnTo>
                  <a:lnTo>
                    <a:pt x="1370" y="530"/>
                  </a:lnTo>
                  <a:lnTo>
                    <a:pt x="1375" y="537"/>
                  </a:lnTo>
                  <a:lnTo>
                    <a:pt x="1377" y="537"/>
                  </a:lnTo>
                  <a:lnTo>
                    <a:pt x="1380" y="537"/>
                  </a:lnTo>
                  <a:lnTo>
                    <a:pt x="1380" y="537"/>
                  </a:lnTo>
                  <a:lnTo>
                    <a:pt x="1380" y="534"/>
                  </a:lnTo>
                  <a:lnTo>
                    <a:pt x="1380" y="532"/>
                  </a:lnTo>
                  <a:lnTo>
                    <a:pt x="1382" y="532"/>
                  </a:lnTo>
                  <a:lnTo>
                    <a:pt x="1380" y="527"/>
                  </a:lnTo>
                  <a:lnTo>
                    <a:pt x="1382" y="527"/>
                  </a:lnTo>
                  <a:lnTo>
                    <a:pt x="1382" y="527"/>
                  </a:lnTo>
                  <a:lnTo>
                    <a:pt x="1382" y="527"/>
                  </a:lnTo>
                  <a:lnTo>
                    <a:pt x="1382" y="525"/>
                  </a:lnTo>
                  <a:lnTo>
                    <a:pt x="1382" y="525"/>
                  </a:lnTo>
                  <a:lnTo>
                    <a:pt x="1382" y="522"/>
                  </a:lnTo>
                  <a:lnTo>
                    <a:pt x="1382" y="518"/>
                  </a:lnTo>
                  <a:lnTo>
                    <a:pt x="1382" y="518"/>
                  </a:lnTo>
                  <a:lnTo>
                    <a:pt x="1382" y="515"/>
                  </a:lnTo>
                  <a:lnTo>
                    <a:pt x="1382" y="513"/>
                  </a:lnTo>
                  <a:lnTo>
                    <a:pt x="1382" y="513"/>
                  </a:lnTo>
                  <a:lnTo>
                    <a:pt x="1382" y="511"/>
                  </a:lnTo>
                  <a:lnTo>
                    <a:pt x="1377" y="503"/>
                  </a:lnTo>
                  <a:lnTo>
                    <a:pt x="1377" y="501"/>
                  </a:lnTo>
                  <a:lnTo>
                    <a:pt x="1377" y="501"/>
                  </a:lnTo>
                  <a:lnTo>
                    <a:pt x="1377" y="501"/>
                  </a:lnTo>
                  <a:lnTo>
                    <a:pt x="1377" y="501"/>
                  </a:lnTo>
                  <a:lnTo>
                    <a:pt x="1377" y="499"/>
                  </a:lnTo>
                  <a:lnTo>
                    <a:pt x="1377" y="499"/>
                  </a:lnTo>
                  <a:lnTo>
                    <a:pt x="1375" y="499"/>
                  </a:lnTo>
                  <a:lnTo>
                    <a:pt x="1377" y="496"/>
                  </a:lnTo>
                  <a:lnTo>
                    <a:pt x="1377" y="496"/>
                  </a:lnTo>
                  <a:lnTo>
                    <a:pt x="1380" y="496"/>
                  </a:lnTo>
                  <a:lnTo>
                    <a:pt x="1380" y="496"/>
                  </a:lnTo>
                  <a:lnTo>
                    <a:pt x="1380" y="496"/>
                  </a:lnTo>
                  <a:lnTo>
                    <a:pt x="1380" y="499"/>
                  </a:lnTo>
                  <a:lnTo>
                    <a:pt x="1380" y="499"/>
                  </a:lnTo>
                  <a:lnTo>
                    <a:pt x="1380" y="499"/>
                  </a:lnTo>
                  <a:lnTo>
                    <a:pt x="1387" y="508"/>
                  </a:lnTo>
                  <a:lnTo>
                    <a:pt x="1387" y="511"/>
                  </a:lnTo>
                  <a:lnTo>
                    <a:pt x="1392" y="508"/>
                  </a:lnTo>
                  <a:lnTo>
                    <a:pt x="1392" y="506"/>
                  </a:lnTo>
                  <a:lnTo>
                    <a:pt x="1392" y="501"/>
                  </a:lnTo>
                  <a:lnTo>
                    <a:pt x="1392" y="499"/>
                  </a:lnTo>
                  <a:lnTo>
                    <a:pt x="1392" y="496"/>
                  </a:lnTo>
                  <a:lnTo>
                    <a:pt x="1392" y="496"/>
                  </a:lnTo>
                  <a:lnTo>
                    <a:pt x="1392" y="494"/>
                  </a:lnTo>
                  <a:lnTo>
                    <a:pt x="1389" y="492"/>
                  </a:lnTo>
                  <a:lnTo>
                    <a:pt x="1389" y="492"/>
                  </a:lnTo>
                  <a:lnTo>
                    <a:pt x="1384" y="492"/>
                  </a:lnTo>
                  <a:lnTo>
                    <a:pt x="1384" y="494"/>
                  </a:lnTo>
                  <a:lnTo>
                    <a:pt x="1384" y="492"/>
                  </a:lnTo>
                  <a:lnTo>
                    <a:pt x="1384" y="494"/>
                  </a:lnTo>
                  <a:lnTo>
                    <a:pt x="1384" y="494"/>
                  </a:lnTo>
                  <a:lnTo>
                    <a:pt x="1384" y="492"/>
                  </a:lnTo>
                  <a:lnTo>
                    <a:pt x="1384" y="492"/>
                  </a:lnTo>
                  <a:lnTo>
                    <a:pt x="1387" y="492"/>
                  </a:lnTo>
                  <a:lnTo>
                    <a:pt x="1387" y="489"/>
                  </a:lnTo>
                  <a:lnTo>
                    <a:pt x="1387" y="487"/>
                  </a:lnTo>
                  <a:lnTo>
                    <a:pt x="1384" y="482"/>
                  </a:lnTo>
                  <a:lnTo>
                    <a:pt x="1384" y="482"/>
                  </a:lnTo>
                  <a:lnTo>
                    <a:pt x="1384" y="480"/>
                  </a:lnTo>
                  <a:lnTo>
                    <a:pt x="1384" y="477"/>
                  </a:lnTo>
                  <a:lnTo>
                    <a:pt x="1384" y="475"/>
                  </a:lnTo>
                  <a:lnTo>
                    <a:pt x="1384" y="473"/>
                  </a:lnTo>
                  <a:lnTo>
                    <a:pt x="1384" y="470"/>
                  </a:lnTo>
                  <a:lnTo>
                    <a:pt x="1384" y="468"/>
                  </a:lnTo>
                  <a:lnTo>
                    <a:pt x="1384" y="468"/>
                  </a:lnTo>
                  <a:lnTo>
                    <a:pt x="1382" y="466"/>
                  </a:lnTo>
                  <a:lnTo>
                    <a:pt x="1382" y="463"/>
                  </a:lnTo>
                  <a:lnTo>
                    <a:pt x="1384" y="463"/>
                  </a:lnTo>
                  <a:lnTo>
                    <a:pt x="1384" y="461"/>
                  </a:lnTo>
                  <a:lnTo>
                    <a:pt x="1387" y="461"/>
                  </a:lnTo>
                  <a:lnTo>
                    <a:pt x="1387" y="461"/>
                  </a:lnTo>
                  <a:lnTo>
                    <a:pt x="1387" y="459"/>
                  </a:lnTo>
                  <a:lnTo>
                    <a:pt x="1387" y="459"/>
                  </a:lnTo>
                  <a:lnTo>
                    <a:pt x="1389" y="456"/>
                  </a:lnTo>
                  <a:lnTo>
                    <a:pt x="1389" y="454"/>
                  </a:lnTo>
                  <a:lnTo>
                    <a:pt x="1389" y="454"/>
                  </a:lnTo>
                  <a:lnTo>
                    <a:pt x="1389" y="454"/>
                  </a:lnTo>
                  <a:lnTo>
                    <a:pt x="1389" y="456"/>
                  </a:lnTo>
                  <a:lnTo>
                    <a:pt x="1389" y="456"/>
                  </a:lnTo>
                  <a:lnTo>
                    <a:pt x="1389" y="459"/>
                  </a:lnTo>
                  <a:lnTo>
                    <a:pt x="1389" y="459"/>
                  </a:lnTo>
                  <a:lnTo>
                    <a:pt x="1389" y="459"/>
                  </a:lnTo>
                  <a:lnTo>
                    <a:pt x="1389" y="459"/>
                  </a:lnTo>
                  <a:lnTo>
                    <a:pt x="1389" y="459"/>
                  </a:lnTo>
                  <a:lnTo>
                    <a:pt x="1389" y="461"/>
                  </a:lnTo>
                  <a:lnTo>
                    <a:pt x="1389" y="463"/>
                  </a:lnTo>
                  <a:lnTo>
                    <a:pt x="1387" y="463"/>
                  </a:lnTo>
                  <a:lnTo>
                    <a:pt x="1387" y="463"/>
                  </a:lnTo>
                  <a:lnTo>
                    <a:pt x="1387" y="463"/>
                  </a:lnTo>
                  <a:lnTo>
                    <a:pt x="1387" y="466"/>
                  </a:lnTo>
                  <a:lnTo>
                    <a:pt x="1387" y="466"/>
                  </a:lnTo>
                  <a:lnTo>
                    <a:pt x="1387" y="468"/>
                  </a:lnTo>
                  <a:lnTo>
                    <a:pt x="1389" y="470"/>
                  </a:lnTo>
                  <a:lnTo>
                    <a:pt x="1389" y="475"/>
                  </a:lnTo>
                  <a:lnTo>
                    <a:pt x="1389" y="477"/>
                  </a:lnTo>
                  <a:lnTo>
                    <a:pt x="1389" y="477"/>
                  </a:lnTo>
                  <a:lnTo>
                    <a:pt x="1389" y="480"/>
                  </a:lnTo>
                  <a:lnTo>
                    <a:pt x="1392" y="487"/>
                  </a:lnTo>
                  <a:lnTo>
                    <a:pt x="1392" y="487"/>
                  </a:lnTo>
                  <a:lnTo>
                    <a:pt x="1392" y="489"/>
                  </a:lnTo>
                  <a:lnTo>
                    <a:pt x="1396" y="492"/>
                  </a:lnTo>
                  <a:lnTo>
                    <a:pt x="1396" y="492"/>
                  </a:lnTo>
                  <a:lnTo>
                    <a:pt x="1396" y="492"/>
                  </a:lnTo>
                  <a:lnTo>
                    <a:pt x="1399" y="492"/>
                  </a:lnTo>
                  <a:lnTo>
                    <a:pt x="1399" y="489"/>
                  </a:lnTo>
                  <a:lnTo>
                    <a:pt x="1399" y="489"/>
                  </a:lnTo>
                  <a:lnTo>
                    <a:pt x="1399" y="489"/>
                  </a:lnTo>
                  <a:lnTo>
                    <a:pt x="1399" y="489"/>
                  </a:lnTo>
                  <a:lnTo>
                    <a:pt x="1399" y="489"/>
                  </a:lnTo>
                  <a:lnTo>
                    <a:pt x="1399" y="487"/>
                  </a:lnTo>
                  <a:lnTo>
                    <a:pt x="1399" y="482"/>
                  </a:lnTo>
                  <a:lnTo>
                    <a:pt x="1401" y="480"/>
                  </a:lnTo>
                  <a:lnTo>
                    <a:pt x="1401" y="477"/>
                  </a:lnTo>
                  <a:lnTo>
                    <a:pt x="1401" y="475"/>
                  </a:lnTo>
                  <a:lnTo>
                    <a:pt x="1403" y="470"/>
                  </a:lnTo>
                  <a:lnTo>
                    <a:pt x="1406" y="466"/>
                  </a:lnTo>
                  <a:lnTo>
                    <a:pt x="1406" y="466"/>
                  </a:lnTo>
                  <a:lnTo>
                    <a:pt x="1406" y="466"/>
                  </a:lnTo>
                  <a:lnTo>
                    <a:pt x="1403" y="463"/>
                  </a:lnTo>
                  <a:lnTo>
                    <a:pt x="1403" y="463"/>
                  </a:lnTo>
                  <a:lnTo>
                    <a:pt x="1403" y="463"/>
                  </a:lnTo>
                  <a:lnTo>
                    <a:pt x="1403" y="463"/>
                  </a:lnTo>
                  <a:lnTo>
                    <a:pt x="1403" y="461"/>
                  </a:lnTo>
                  <a:lnTo>
                    <a:pt x="1403" y="459"/>
                  </a:lnTo>
                  <a:lnTo>
                    <a:pt x="1403" y="456"/>
                  </a:lnTo>
                  <a:lnTo>
                    <a:pt x="1403" y="456"/>
                  </a:lnTo>
                  <a:lnTo>
                    <a:pt x="1403" y="454"/>
                  </a:lnTo>
                  <a:lnTo>
                    <a:pt x="1403" y="454"/>
                  </a:lnTo>
                  <a:lnTo>
                    <a:pt x="1403" y="454"/>
                  </a:lnTo>
                  <a:lnTo>
                    <a:pt x="1403" y="454"/>
                  </a:lnTo>
                  <a:lnTo>
                    <a:pt x="1403" y="454"/>
                  </a:lnTo>
                  <a:lnTo>
                    <a:pt x="1406" y="456"/>
                  </a:lnTo>
                  <a:lnTo>
                    <a:pt x="1406" y="459"/>
                  </a:lnTo>
                  <a:lnTo>
                    <a:pt x="1408" y="461"/>
                  </a:lnTo>
                  <a:lnTo>
                    <a:pt x="1408" y="463"/>
                  </a:lnTo>
                  <a:lnTo>
                    <a:pt x="1408" y="463"/>
                  </a:lnTo>
                  <a:lnTo>
                    <a:pt x="1411" y="461"/>
                  </a:lnTo>
                  <a:lnTo>
                    <a:pt x="1411" y="461"/>
                  </a:lnTo>
                  <a:lnTo>
                    <a:pt x="1411" y="461"/>
                  </a:lnTo>
                  <a:lnTo>
                    <a:pt x="1411" y="459"/>
                  </a:lnTo>
                  <a:lnTo>
                    <a:pt x="1411" y="459"/>
                  </a:lnTo>
                  <a:lnTo>
                    <a:pt x="1411" y="456"/>
                  </a:lnTo>
                  <a:lnTo>
                    <a:pt x="1411" y="454"/>
                  </a:lnTo>
                  <a:lnTo>
                    <a:pt x="1411" y="454"/>
                  </a:lnTo>
                  <a:lnTo>
                    <a:pt x="1411" y="451"/>
                  </a:lnTo>
                  <a:lnTo>
                    <a:pt x="1418" y="447"/>
                  </a:lnTo>
                  <a:lnTo>
                    <a:pt x="1425" y="442"/>
                  </a:lnTo>
                  <a:lnTo>
                    <a:pt x="1425" y="442"/>
                  </a:lnTo>
                  <a:lnTo>
                    <a:pt x="1427" y="442"/>
                  </a:lnTo>
                  <a:lnTo>
                    <a:pt x="1429" y="440"/>
                  </a:lnTo>
                  <a:lnTo>
                    <a:pt x="1429" y="440"/>
                  </a:lnTo>
                  <a:lnTo>
                    <a:pt x="1429" y="437"/>
                  </a:lnTo>
                  <a:lnTo>
                    <a:pt x="1432" y="437"/>
                  </a:lnTo>
                  <a:lnTo>
                    <a:pt x="1432" y="435"/>
                  </a:lnTo>
                  <a:lnTo>
                    <a:pt x="1432" y="435"/>
                  </a:lnTo>
                  <a:lnTo>
                    <a:pt x="1437" y="430"/>
                  </a:lnTo>
                  <a:lnTo>
                    <a:pt x="1437" y="430"/>
                  </a:lnTo>
                  <a:lnTo>
                    <a:pt x="1437" y="428"/>
                  </a:lnTo>
                  <a:lnTo>
                    <a:pt x="1437" y="428"/>
                  </a:lnTo>
                  <a:lnTo>
                    <a:pt x="1434" y="425"/>
                  </a:lnTo>
                  <a:lnTo>
                    <a:pt x="1432" y="423"/>
                  </a:lnTo>
                  <a:lnTo>
                    <a:pt x="1432" y="421"/>
                  </a:lnTo>
                  <a:lnTo>
                    <a:pt x="1429" y="418"/>
                  </a:lnTo>
                  <a:lnTo>
                    <a:pt x="1429" y="418"/>
                  </a:lnTo>
                  <a:lnTo>
                    <a:pt x="1427" y="416"/>
                  </a:lnTo>
                  <a:lnTo>
                    <a:pt x="1427" y="416"/>
                  </a:lnTo>
                  <a:lnTo>
                    <a:pt x="1427" y="414"/>
                  </a:lnTo>
                  <a:lnTo>
                    <a:pt x="1425" y="414"/>
                  </a:lnTo>
                  <a:lnTo>
                    <a:pt x="1425" y="411"/>
                  </a:lnTo>
                  <a:lnTo>
                    <a:pt x="1425" y="409"/>
                  </a:lnTo>
                  <a:lnTo>
                    <a:pt x="1422" y="407"/>
                  </a:lnTo>
                  <a:lnTo>
                    <a:pt x="1422" y="407"/>
                  </a:lnTo>
                  <a:lnTo>
                    <a:pt x="1422" y="407"/>
                  </a:lnTo>
                  <a:lnTo>
                    <a:pt x="1422" y="407"/>
                  </a:lnTo>
                  <a:lnTo>
                    <a:pt x="1422" y="404"/>
                  </a:lnTo>
                  <a:lnTo>
                    <a:pt x="1422" y="404"/>
                  </a:lnTo>
                  <a:lnTo>
                    <a:pt x="1420" y="402"/>
                  </a:lnTo>
                  <a:lnTo>
                    <a:pt x="1420" y="399"/>
                  </a:lnTo>
                  <a:lnTo>
                    <a:pt x="1418" y="399"/>
                  </a:lnTo>
                  <a:lnTo>
                    <a:pt x="1415" y="402"/>
                  </a:lnTo>
                  <a:lnTo>
                    <a:pt x="1418" y="409"/>
                  </a:lnTo>
                  <a:lnTo>
                    <a:pt x="1418" y="411"/>
                  </a:lnTo>
                  <a:lnTo>
                    <a:pt x="1418" y="411"/>
                  </a:lnTo>
                  <a:lnTo>
                    <a:pt x="1418" y="411"/>
                  </a:lnTo>
                  <a:lnTo>
                    <a:pt x="1415" y="414"/>
                  </a:lnTo>
                  <a:lnTo>
                    <a:pt x="1415" y="416"/>
                  </a:lnTo>
                  <a:lnTo>
                    <a:pt x="1415" y="418"/>
                  </a:lnTo>
                  <a:lnTo>
                    <a:pt x="1415" y="418"/>
                  </a:lnTo>
                  <a:lnTo>
                    <a:pt x="1413" y="416"/>
                  </a:lnTo>
                  <a:lnTo>
                    <a:pt x="1413" y="416"/>
                  </a:lnTo>
                  <a:lnTo>
                    <a:pt x="1413" y="414"/>
                  </a:lnTo>
                  <a:lnTo>
                    <a:pt x="1415" y="414"/>
                  </a:lnTo>
                  <a:lnTo>
                    <a:pt x="1415" y="414"/>
                  </a:lnTo>
                  <a:lnTo>
                    <a:pt x="1415" y="414"/>
                  </a:lnTo>
                  <a:lnTo>
                    <a:pt x="1415" y="414"/>
                  </a:lnTo>
                  <a:lnTo>
                    <a:pt x="1415" y="414"/>
                  </a:lnTo>
                  <a:lnTo>
                    <a:pt x="1415" y="414"/>
                  </a:lnTo>
                  <a:lnTo>
                    <a:pt x="1415" y="411"/>
                  </a:lnTo>
                  <a:lnTo>
                    <a:pt x="1413" y="411"/>
                  </a:lnTo>
                  <a:lnTo>
                    <a:pt x="1413" y="411"/>
                  </a:lnTo>
                  <a:lnTo>
                    <a:pt x="1413" y="411"/>
                  </a:lnTo>
                  <a:lnTo>
                    <a:pt x="1413" y="411"/>
                  </a:lnTo>
                  <a:lnTo>
                    <a:pt x="1413" y="409"/>
                  </a:lnTo>
                  <a:lnTo>
                    <a:pt x="1413" y="409"/>
                  </a:lnTo>
                  <a:lnTo>
                    <a:pt x="1413" y="409"/>
                  </a:lnTo>
                  <a:lnTo>
                    <a:pt x="1413" y="409"/>
                  </a:lnTo>
                  <a:lnTo>
                    <a:pt x="1413" y="409"/>
                  </a:lnTo>
                  <a:lnTo>
                    <a:pt x="1413" y="407"/>
                  </a:lnTo>
                  <a:lnTo>
                    <a:pt x="1413" y="407"/>
                  </a:lnTo>
                  <a:lnTo>
                    <a:pt x="1413" y="407"/>
                  </a:lnTo>
                  <a:lnTo>
                    <a:pt x="1413" y="407"/>
                  </a:lnTo>
                  <a:lnTo>
                    <a:pt x="1413" y="407"/>
                  </a:lnTo>
                  <a:lnTo>
                    <a:pt x="1413" y="407"/>
                  </a:lnTo>
                  <a:lnTo>
                    <a:pt x="1413" y="404"/>
                  </a:lnTo>
                  <a:lnTo>
                    <a:pt x="1411" y="402"/>
                  </a:lnTo>
                  <a:lnTo>
                    <a:pt x="1408" y="399"/>
                  </a:lnTo>
                  <a:lnTo>
                    <a:pt x="1408" y="399"/>
                  </a:lnTo>
                  <a:lnTo>
                    <a:pt x="1403" y="399"/>
                  </a:lnTo>
                  <a:lnTo>
                    <a:pt x="1401" y="399"/>
                  </a:lnTo>
                  <a:lnTo>
                    <a:pt x="1401" y="402"/>
                  </a:lnTo>
                  <a:lnTo>
                    <a:pt x="1401" y="404"/>
                  </a:lnTo>
                  <a:lnTo>
                    <a:pt x="1401" y="404"/>
                  </a:lnTo>
                  <a:lnTo>
                    <a:pt x="1403" y="407"/>
                  </a:lnTo>
                  <a:lnTo>
                    <a:pt x="1401" y="407"/>
                  </a:lnTo>
                  <a:lnTo>
                    <a:pt x="1401" y="407"/>
                  </a:lnTo>
                  <a:lnTo>
                    <a:pt x="1401" y="407"/>
                  </a:lnTo>
                  <a:lnTo>
                    <a:pt x="1401" y="409"/>
                  </a:lnTo>
                  <a:lnTo>
                    <a:pt x="1401" y="409"/>
                  </a:lnTo>
                  <a:lnTo>
                    <a:pt x="1401" y="409"/>
                  </a:lnTo>
                  <a:lnTo>
                    <a:pt x="1401" y="409"/>
                  </a:lnTo>
                  <a:lnTo>
                    <a:pt x="1401" y="409"/>
                  </a:lnTo>
                  <a:lnTo>
                    <a:pt x="1401" y="407"/>
                  </a:lnTo>
                  <a:lnTo>
                    <a:pt x="1401" y="407"/>
                  </a:lnTo>
                  <a:lnTo>
                    <a:pt x="1401" y="404"/>
                  </a:lnTo>
                  <a:lnTo>
                    <a:pt x="1396" y="404"/>
                  </a:lnTo>
                  <a:lnTo>
                    <a:pt x="1396" y="407"/>
                  </a:lnTo>
                  <a:lnTo>
                    <a:pt x="1394" y="407"/>
                  </a:lnTo>
                  <a:lnTo>
                    <a:pt x="1394" y="409"/>
                  </a:lnTo>
                  <a:lnTo>
                    <a:pt x="1394" y="411"/>
                  </a:lnTo>
                  <a:lnTo>
                    <a:pt x="1394" y="411"/>
                  </a:lnTo>
                  <a:lnTo>
                    <a:pt x="1394" y="414"/>
                  </a:lnTo>
                  <a:lnTo>
                    <a:pt x="1392" y="414"/>
                  </a:lnTo>
                  <a:lnTo>
                    <a:pt x="1392" y="414"/>
                  </a:lnTo>
                  <a:lnTo>
                    <a:pt x="1389" y="411"/>
                  </a:lnTo>
                  <a:lnTo>
                    <a:pt x="1389" y="411"/>
                  </a:lnTo>
                  <a:lnTo>
                    <a:pt x="1389" y="409"/>
                  </a:lnTo>
                  <a:lnTo>
                    <a:pt x="1389" y="409"/>
                  </a:lnTo>
                  <a:lnTo>
                    <a:pt x="1389" y="409"/>
                  </a:lnTo>
                  <a:lnTo>
                    <a:pt x="1392" y="407"/>
                  </a:lnTo>
                  <a:lnTo>
                    <a:pt x="1394" y="402"/>
                  </a:lnTo>
                  <a:lnTo>
                    <a:pt x="1394" y="402"/>
                  </a:lnTo>
                  <a:lnTo>
                    <a:pt x="1394" y="399"/>
                  </a:lnTo>
                  <a:lnTo>
                    <a:pt x="1394" y="399"/>
                  </a:lnTo>
                  <a:lnTo>
                    <a:pt x="1394" y="399"/>
                  </a:lnTo>
                  <a:lnTo>
                    <a:pt x="1394" y="397"/>
                  </a:lnTo>
                  <a:lnTo>
                    <a:pt x="1394" y="392"/>
                  </a:lnTo>
                  <a:lnTo>
                    <a:pt x="1394" y="392"/>
                  </a:lnTo>
                  <a:lnTo>
                    <a:pt x="1394" y="390"/>
                  </a:lnTo>
                  <a:lnTo>
                    <a:pt x="1394" y="388"/>
                  </a:lnTo>
                  <a:lnTo>
                    <a:pt x="1394" y="388"/>
                  </a:lnTo>
                  <a:lnTo>
                    <a:pt x="1394" y="385"/>
                  </a:lnTo>
                  <a:lnTo>
                    <a:pt x="1394" y="378"/>
                  </a:lnTo>
                  <a:lnTo>
                    <a:pt x="1394" y="376"/>
                  </a:lnTo>
                  <a:lnTo>
                    <a:pt x="1394" y="376"/>
                  </a:lnTo>
                  <a:lnTo>
                    <a:pt x="1394" y="376"/>
                  </a:lnTo>
                  <a:lnTo>
                    <a:pt x="1389" y="383"/>
                  </a:lnTo>
                  <a:lnTo>
                    <a:pt x="1387" y="383"/>
                  </a:lnTo>
                  <a:lnTo>
                    <a:pt x="1387" y="383"/>
                  </a:lnTo>
                  <a:lnTo>
                    <a:pt x="1387" y="383"/>
                  </a:lnTo>
                  <a:lnTo>
                    <a:pt x="1387" y="380"/>
                  </a:lnTo>
                  <a:lnTo>
                    <a:pt x="1389" y="380"/>
                  </a:lnTo>
                  <a:lnTo>
                    <a:pt x="1389" y="378"/>
                  </a:lnTo>
                  <a:lnTo>
                    <a:pt x="1389" y="376"/>
                  </a:lnTo>
                  <a:lnTo>
                    <a:pt x="1392" y="376"/>
                  </a:lnTo>
                  <a:lnTo>
                    <a:pt x="1392" y="373"/>
                  </a:lnTo>
                  <a:lnTo>
                    <a:pt x="1392" y="373"/>
                  </a:lnTo>
                  <a:lnTo>
                    <a:pt x="1394" y="373"/>
                  </a:lnTo>
                  <a:lnTo>
                    <a:pt x="1394" y="371"/>
                  </a:lnTo>
                  <a:lnTo>
                    <a:pt x="1392" y="371"/>
                  </a:lnTo>
                  <a:lnTo>
                    <a:pt x="1392" y="369"/>
                  </a:lnTo>
                  <a:lnTo>
                    <a:pt x="1389" y="366"/>
                  </a:lnTo>
                  <a:lnTo>
                    <a:pt x="1389" y="366"/>
                  </a:lnTo>
                  <a:lnTo>
                    <a:pt x="1389" y="364"/>
                  </a:lnTo>
                  <a:lnTo>
                    <a:pt x="1389" y="362"/>
                  </a:lnTo>
                  <a:lnTo>
                    <a:pt x="1380" y="362"/>
                  </a:lnTo>
                  <a:lnTo>
                    <a:pt x="1377" y="364"/>
                  </a:lnTo>
                  <a:lnTo>
                    <a:pt x="1377" y="364"/>
                  </a:lnTo>
                  <a:lnTo>
                    <a:pt x="1377" y="362"/>
                  </a:lnTo>
                  <a:lnTo>
                    <a:pt x="1377" y="362"/>
                  </a:lnTo>
                  <a:lnTo>
                    <a:pt x="1377" y="362"/>
                  </a:lnTo>
                  <a:lnTo>
                    <a:pt x="1375" y="362"/>
                  </a:lnTo>
                  <a:lnTo>
                    <a:pt x="1375" y="359"/>
                  </a:lnTo>
                  <a:lnTo>
                    <a:pt x="1375" y="359"/>
                  </a:lnTo>
                  <a:lnTo>
                    <a:pt x="1375" y="359"/>
                  </a:lnTo>
                  <a:lnTo>
                    <a:pt x="1375" y="359"/>
                  </a:lnTo>
                  <a:lnTo>
                    <a:pt x="1375" y="359"/>
                  </a:lnTo>
                  <a:lnTo>
                    <a:pt x="1375" y="357"/>
                  </a:lnTo>
                  <a:lnTo>
                    <a:pt x="1375" y="357"/>
                  </a:lnTo>
                  <a:lnTo>
                    <a:pt x="1375" y="357"/>
                  </a:lnTo>
                  <a:lnTo>
                    <a:pt x="1375" y="357"/>
                  </a:lnTo>
                  <a:lnTo>
                    <a:pt x="1380" y="352"/>
                  </a:lnTo>
                  <a:lnTo>
                    <a:pt x="1380" y="352"/>
                  </a:lnTo>
                  <a:lnTo>
                    <a:pt x="1380" y="352"/>
                  </a:lnTo>
                  <a:lnTo>
                    <a:pt x="1382" y="352"/>
                  </a:lnTo>
                  <a:lnTo>
                    <a:pt x="1382" y="352"/>
                  </a:lnTo>
                  <a:lnTo>
                    <a:pt x="1382" y="350"/>
                  </a:lnTo>
                  <a:lnTo>
                    <a:pt x="1382" y="350"/>
                  </a:lnTo>
                  <a:lnTo>
                    <a:pt x="1382" y="350"/>
                  </a:lnTo>
                  <a:lnTo>
                    <a:pt x="1382" y="350"/>
                  </a:lnTo>
                  <a:lnTo>
                    <a:pt x="1382" y="350"/>
                  </a:lnTo>
                  <a:lnTo>
                    <a:pt x="1382" y="347"/>
                  </a:lnTo>
                  <a:lnTo>
                    <a:pt x="1380" y="345"/>
                  </a:lnTo>
                  <a:lnTo>
                    <a:pt x="1380" y="345"/>
                  </a:lnTo>
                  <a:lnTo>
                    <a:pt x="1380" y="343"/>
                  </a:lnTo>
                  <a:lnTo>
                    <a:pt x="1380" y="340"/>
                  </a:lnTo>
                  <a:lnTo>
                    <a:pt x="1380" y="338"/>
                  </a:lnTo>
                  <a:lnTo>
                    <a:pt x="1380" y="336"/>
                  </a:lnTo>
                  <a:lnTo>
                    <a:pt x="1377" y="331"/>
                  </a:lnTo>
                  <a:lnTo>
                    <a:pt x="1377" y="331"/>
                  </a:lnTo>
                  <a:lnTo>
                    <a:pt x="1377" y="328"/>
                  </a:lnTo>
                  <a:lnTo>
                    <a:pt x="1370" y="328"/>
                  </a:lnTo>
                  <a:lnTo>
                    <a:pt x="1363" y="328"/>
                  </a:lnTo>
                  <a:lnTo>
                    <a:pt x="1363" y="328"/>
                  </a:lnTo>
                  <a:lnTo>
                    <a:pt x="1363" y="328"/>
                  </a:lnTo>
                  <a:lnTo>
                    <a:pt x="1363" y="331"/>
                  </a:lnTo>
                  <a:lnTo>
                    <a:pt x="1361" y="333"/>
                  </a:lnTo>
                  <a:lnTo>
                    <a:pt x="1361" y="333"/>
                  </a:lnTo>
                  <a:lnTo>
                    <a:pt x="1361" y="336"/>
                  </a:lnTo>
                  <a:lnTo>
                    <a:pt x="1363" y="338"/>
                  </a:lnTo>
                  <a:lnTo>
                    <a:pt x="1363" y="340"/>
                  </a:lnTo>
                  <a:lnTo>
                    <a:pt x="1361" y="343"/>
                  </a:lnTo>
                  <a:lnTo>
                    <a:pt x="1363" y="343"/>
                  </a:lnTo>
                  <a:lnTo>
                    <a:pt x="1363" y="345"/>
                  </a:lnTo>
                  <a:lnTo>
                    <a:pt x="1363" y="345"/>
                  </a:lnTo>
                  <a:lnTo>
                    <a:pt x="1363" y="345"/>
                  </a:lnTo>
                  <a:lnTo>
                    <a:pt x="1363" y="347"/>
                  </a:lnTo>
                  <a:lnTo>
                    <a:pt x="1363" y="347"/>
                  </a:lnTo>
                  <a:lnTo>
                    <a:pt x="1366" y="350"/>
                  </a:lnTo>
                  <a:lnTo>
                    <a:pt x="1370" y="350"/>
                  </a:lnTo>
                  <a:lnTo>
                    <a:pt x="1370" y="352"/>
                  </a:lnTo>
                  <a:lnTo>
                    <a:pt x="1370" y="352"/>
                  </a:lnTo>
                  <a:lnTo>
                    <a:pt x="1370" y="352"/>
                  </a:lnTo>
                  <a:lnTo>
                    <a:pt x="1368" y="352"/>
                  </a:lnTo>
                  <a:lnTo>
                    <a:pt x="1368" y="352"/>
                  </a:lnTo>
                  <a:lnTo>
                    <a:pt x="1368" y="352"/>
                  </a:lnTo>
                  <a:lnTo>
                    <a:pt x="1368" y="352"/>
                  </a:lnTo>
                  <a:lnTo>
                    <a:pt x="1370" y="354"/>
                  </a:lnTo>
                  <a:lnTo>
                    <a:pt x="1373" y="359"/>
                  </a:lnTo>
                  <a:lnTo>
                    <a:pt x="1373" y="359"/>
                  </a:lnTo>
                  <a:lnTo>
                    <a:pt x="1373" y="359"/>
                  </a:lnTo>
                  <a:lnTo>
                    <a:pt x="1370" y="359"/>
                  </a:lnTo>
                  <a:lnTo>
                    <a:pt x="1370" y="357"/>
                  </a:lnTo>
                  <a:lnTo>
                    <a:pt x="1368" y="357"/>
                  </a:lnTo>
                  <a:lnTo>
                    <a:pt x="1368" y="357"/>
                  </a:lnTo>
                  <a:lnTo>
                    <a:pt x="1368" y="357"/>
                  </a:lnTo>
                  <a:lnTo>
                    <a:pt x="1368" y="359"/>
                  </a:lnTo>
                  <a:lnTo>
                    <a:pt x="1368" y="359"/>
                  </a:lnTo>
                  <a:lnTo>
                    <a:pt x="1368" y="362"/>
                  </a:lnTo>
                  <a:lnTo>
                    <a:pt x="1366" y="362"/>
                  </a:lnTo>
                  <a:lnTo>
                    <a:pt x="1366" y="359"/>
                  </a:lnTo>
                  <a:lnTo>
                    <a:pt x="1366" y="359"/>
                  </a:lnTo>
                  <a:lnTo>
                    <a:pt x="1358" y="352"/>
                  </a:lnTo>
                  <a:lnTo>
                    <a:pt x="1356" y="350"/>
                  </a:lnTo>
                  <a:lnTo>
                    <a:pt x="1354" y="345"/>
                  </a:lnTo>
                  <a:lnTo>
                    <a:pt x="1354" y="343"/>
                  </a:lnTo>
                  <a:lnTo>
                    <a:pt x="1354" y="343"/>
                  </a:lnTo>
                  <a:lnTo>
                    <a:pt x="1354" y="340"/>
                  </a:lnTo>
                  <a:lnTo>
                    <a:pt x="1354" y="340"/>
                  </a:lnTo>
                  <a:lnTo>
                    <a:pt x="1356" y="338"/>
                  </a:lnTo>
                  <a:lnTo>
                    <a:pt x="1354" y="338"/>
                  </a:lnTo>
                  <a:lnTo>
                    <a:pt x="1354" y="336"/>
                  </a:lnTo>
                  <a:lnTo>
                    <a:pt x="1354" y="333"/>
                  </a:lnTo>
                  <a:lnTo>
                    <a:pt x="1354" y="331"/>
                  </a:lnTo>
                  <a:lnTo>
                    <a:pt x="1354" y="333"/>
                  </a:lnTo>
                  <a:lnTo>
                    <a:pt x="1351" y="333"/>
                  </a:lnTo>
                  <a:lnTo>
                    <a:pt x="1351" y="331"/>
                  </a:lnTo>
                  <a:lnTo>
                    <a:pt x="1354" y="328"/>
                  </a:lnTo>
                  <a:lnTo>
                    <a:pt x="1354" y="328"/>
                  </a:lnTo>
                  <a:lnTo>
                    <a:pt x="1354" y="326"/>
                  </a:lnTo>
                  <a:lnTo>
                    <a:pt x="1349" y="319"/>
                  </a:lnTo>
                  <a:lnTo>
                    <a:pt x="1344" y="319"/>
                  </a:lnTo>
                  <a:lnTo>
                    <a:pt x="1344" y="321"/>
                  </a:lnTo>
                  <a:lnTo>
                    <a:pt x="1344" y="321"/>
                  </a:lnTo>
                  <a:lnTo>
                    <a:pt x="1344" y="321"/>
                  </a:lnTo>
                  <a:lnTo>
                    <a:pt x="1342" y="321"/>
                  </a:lnTo>
                  <a:lnTo>
                    <a:pt x="1342" y="321"/>
                  </a:lnTo>
                  <a:lnTo>
                    <a:pt x="1344" y="326"/>
                  </a:lnTo>
                  <a:lnTo>
                    <a:pt x="1344" y="326"/>
                  </a:lnTo>
                  <a:lnTo>
                    <a:pt x="1342" y="328"/>
                  </a:lnTo>
                  <a:lnTo>
                    <a:pt x="1340" y="324"/>
                  </a:lnTo>
                  <a:lnTo>
                    <a:pt x="1340" y="324"/>
                  </a:lnTo>
                  <a:lnTo>
                    <a:pt x="1340" y="324"/>
                  </a:lnTo>
                  <a:lnTo>
                    <a:pt x="1340" y="319"/>
                  </a:lnTo>
                  <a:lnTo>
                    <a:pt x="1330" y="319"/>
                  </a:lnTo>
                  <a:lnTo>
                    <a:pt x="1330" y="317"/>
                  </a:lnTo>
                  <a:lnTo>
                    <a:pt x="1330" y="319"/>
                  </a:lnTo>
                  <a:lnTo>
                    <a:pt x="1330" y="319"/>
                  </a:lnTo>
                  <a:lnTo>
                    <a:pt x="1328" y="319"/>
                  </a:lnTo>
                  <a:lnTo>
                    <a:pt x="1328" y="319"/>
                  </a:lnTo>
                  <a:lnTo>
                    <a:pt x="1328" y="319"/>
                  </a:lnTo>
                  <a:lnTo>
                    <a:pt x="1325" y="319"/>
                  </a:lnTo>
                  <a:lnTo>
                    <a:pt x="1325" y="317"/>
                  </a:lnTo>
                  <a:lnTo>
                    <a:pt x="1328" y="312"/>
                  </a:lnTo>
                  <a:lnTo>
                    <a:pt x="1328" y="310"/>
                  </a:lnTo>
                  <a:lnTo>
                    <a:pt x="1328" y="310"/>
                  </a:lnTo>
                  <a:lnTo>
                    <a:pt x="1328" y="310"/>
                  </a:lnTo>
                  <a:lnTo>
                    <a:pt x="1325" y="305"/>
                  </a:lnTo>
                  <a:lnTo>
                    <a:pt x="1321" y="302"/>
                  </a:lnTo>
                  <a:lnTo>
                    <a:pt x="1318" y="300"/>
                  </a:lnTo>
                  <a:lnTo>
                    <a:pt x="1318" y="298"/>
                  </a:lnTo>
                  <a:lnTo>
                    <a:pt x="1318" y="295"/>
                  </a:lnTo>
                  <a:lnTo>
                    <a:pt x="1318" y="295"/>
                  </a:lnTo>
                  <a:lnTo>
                    <a:pt x="1318" y="295"/>
                  </a:lnTo>
                  <a:lnTo>
                    <a:pt x="1318" y="293"/>
                  </a:lnTo>
                  <a:lnTo>
                    <a:pt x="1318" y="293"/>
                  </a:lnTo>
                  <a:lnTo>
                    <a:pt x="1316" y="293"/>
                  </a:lnTo>
                  <a:lnTo>
                    <a:pt x="1316" y="293"/>
                  </a:lnTo>
                  <a:lnTo>
                    <a:pt x="1316" y="288"/>
                  </a:lnTo>
                  <a:lnTo>
                    <a:pt x="1313" y="286"/>
                  </a:lnTo>
                  <a:lnTo>
                    <a:pt x="1313" y="286"/>
                  </a:lnTo>
                  <a:lnTo>
                    <a:pt x="1311" y="283"/>
                  </a:lnTo>
                  <a:lnTo>
                    <a:pt x="1311" y="283"/>
                  </a:lnTo>
                  <a:lnTo>
                    <a:pt x="1311" y="283"/>
                  </a:lnTo>
                  <a:lnTo>
                    <a:pt x="1311" y="281"/>
                  </a:lnTo>
                  <a:lnTo>
                    <a:pt x="1311" y="281"/>
                  </a:lnTo>
                  <a:lnTo>
                    <a:pt x="1311" y="279"/>
                  </a:lnTo>
                  <a:lnTo>
                    <a:pt x="1309" y="274"/>
                  </a:lnTo>
                  <a:lnTo>
                    <a:pt x="1304" y="269"/>
                  </a:lnTo>
                  <a:lnTo>
                    <a:pt x="1304" y="269"/>
                  </a:lnTo>
                  <a:lnTo>
                    <a:pt x="1306" y="269"/>
                  </a:lnTo>
                  <a:lnTo>
                    <a:pt x="1306" y="269"/>
                  </a:lnTo>
                  <a:lnTo>
                    <a:pt x="1306" y="267"/>
                  </a:lnTo>
                  <a:lnTo>
                    <a:pt x="1306" y="267"/>
                  </a:lnTo>
                  <a:lnTo>
                    <a:pt x="1304" y="265"/>
                  </a:lnTo>
                  <a:lnTo>
                    <a:pt x="1304" y="265"/>
                  </a:lnTo>
                  <a:lnTo>
                    <a:pt x="1306" y="262"/>
                  </a:lnTo>
                  <a:lnTo>
                    <a:pt x="1306" y="262"/>
                  </a:lnTo>
                  <a:lnTo>
                    <a:pt x="1304" y="262"/>
                  </a:lnTo>
                  <a:lnTo>
                    <a:pt x="1297" y="253"/>
                  </a:lnTo>
                  <a:lnTo>
                    <a:pt x="1297" y="250"/>
                  </a:lnTo>
                  <a:lnTo>
                    <a:pt x="1295" y="250"/>
                  </a:lnTo>
                  <a:lnTo>
                    <a:pt x="1290" y="248"/>
                  </a:lnTo>
                  <a:lnTo>
                    <a:pt x="1290" y="246"/>
                  </a:lnTo>
                  <a:lnTo>
                    <a:pt x="1285" y="243"/>
                  </a:lnTo>
                  <a:lnTo>
                    <a:pt x="1280" y="241"/>
                  </a:lnTo>
                  <a:lnTo>
                    <a:pt x="1278" y="241"/>
                  </a:lnTo>
                  <a:lnTo>
                    <a:pt x="1278" y="241"/>
                  </a:lnTo>
                  <a:lnTo>
                    <a:pt x="1276" y="241"/>
                  </a:lnTo>
                  <a:lnTo>
                    <a:pt x="1278" y="243"/>
                  </a:lnTo>
                  <a:lnTo>
                    <a:pt x="1278" y="243"/>
                  </a:lnTo>
                  <a:lnTo>
                    <a:pt x="1278" y="246"/>
                  </a:lnTo>
                  <a:lnTo>
                    <a:pt x="1278" y="246"/>
                  </a:lnTo>
                  <a:lnTo>
                    <a:pt x="1278" y="246"/>
                  </a:lnTo>
                  <a:lnTo>
                    <a:pt x="1278" y="246"/>
                  </a:lnTo>
                  <a:lnTo>
                    <a:pt x="1278" y="246"/>
                  </a:lnTo>
                  <a:lnTo>
                    <a:pt x="1278" y="248"/>
                  </a:lnTo>
                  <a:lnTo>
                    <a:pt x="1278" y="248"/>
                  </a:lnTo>
                  <a:lnTo>
                    <a:pt x="1278" y="248"/>
                  </a:lnTo>
                  <a:lnTo>
                    <a:pt x="1278" y="248"/>
                  </a:lnTo>
                  <a:lnTo>
                    <a:pt x="1278" y="248"/>
                  </a:lnTo>
                  <a:lnTo>
                    <a:pt x="1276" y="248"/>
                  </a:lnTo>
                  <a:lnTo>
                    <a:pt x="1276" y="246"/>
                  </a:lnTo>
                  <a:lnTo>
                    <a:pt x="1271" y="243"/>
                  </a:lnTo>
                  <a:lnTo>
                    <a:pt x="1266" y="243"/>
                  </a:lnTo>
                  <a:lnTo>
                    <a:pt x="1266" y="243"/>
                  </a:lnTo>
                  <a:lnTo>
                    <a:pt x="1266" y="246"/>
                  </a:lnTo>
                  <a:lnTo>
                    <a:pt x="1266" y="246"/>
                  </a:lnTo>
                  <a:lnTo>
                    <a:pt x="1266" y="246"/>
                  </a:lnTo>
                  <a:lnTo>
                    <a:pt x="1266" y="246"/>
                  </a:lnTo>
                  <a:lnTo>
                    <a:pt x="1266" y="248"/>
                  </a:lnTo>
                  <a:lnTo>
                    <a:pt x="1266" y="250"/>
                  </a:lnTo>
                  <a:lnTo>
                    <a:pt x="1264" y="253"/>
                  </a:lnTo>
                  <a:lnTo>
                    <a:pt x="1264" y="253"/>
                  </a:lnTo>
                  <a:lnTo>
                    <a:pt x="1266" y="255"/>
                  </a:lnTo>
                  <a:lnTo>
                    <a:pt x="1269" y="257"/>
                  </a:lnTo>
                  <a:lnTo>
                    <a:pt x="1273" y="257"/>
                  </a:lnTo>
                  <a:lnTo>
                    <a:pt x="1276" y="257"/>
                  </a:lnTo>
                  <a:lnTo>
                    <a:pt x="1278" y="257"/>
                  </a:lnTo>
                  <a:lnTo>
                    <a:pt x="1283" y="257"/>
                  </a:lnTo>
                  <a:lnTo>
                    <a:pt x="1283" y="257"/>
                  </a:lnTo>
                  <a:lnTo>
                    <a:pt x="1283" y="260"/>
                  </a:lnTo>
                  <a:lnTo>
                    <a:pt x="1283" y="260"/>
                  </a:lnTo>
                  <a:lnTo>
                    <a:pt x="1285" y="260"/>
                  </a:lnTo>
                  <a:lnTo>
                    <a:pt x="1285" y="260"/>
                  </a:lnTo>
                  <a:lnTo>
                    <a:pt x="1285" y="262"/>
                  </a:lnTo>
                  <a:lnTo>
                    <a:pt x="1285" y="265"/>
                  </a:lnTo>
                  <a:lnTo>
                    <a:pt x="1285" y="265"/>
                  </a:lnTo>
                  <a:lnTo>
                    <a:pt x="1285" y="265"/>
                  </a:lnTo>
                  <a:lnTo>
                    <a:pt x="1285" y="265"/>
                  </a:lnTo>
                  <a:lnTo>
                    <a:pt x="1285" y="265"/>
                  </a:lnTo>
                  <a:lnTo>
                    <a:pt x="1285" y="267"/>
                  </a:lnTo>
                  <a:lnTo>
                    <a:pt x="1285" y="267"/>
                  </a:lnTo>
                  <a:lnTo>
                    <a:pt x="1285" y="267"/>
                  </a:lnTo>
                  <a:lnTo>
                    <a:pt x="1285" y="267"/>
                  </a:lnTo>
                  <a:lnTo>
                    <a:pt x="1285" y="269"/>
                  </a:lnTo>
                  <a:lnTo>
                    <a:pt x="1285" y="269"/>
                  </a:lnTo>
                  <a:lnTo>
                    <a:pt x="1285" y="269"/>
                  </a:lnTo>
                  <a:lnTo>
                    <a:pt x="1285" y="269"/>
                  </a:lnTo>
                  <a:lnTo>
                    <a:pt x="1283" y="269"/>
                  </a:lnTo>
                  <a:lnTo>
                    <a:pt x="1278" y="269"/>
                  </a:lnTo>
                  <a:lnTo>
                    <a:pt x="1280" y="272"/>
                  </a:lnTo>
                  <a:lnTo>
                    <a:pt x="1280" y="272"/>
                  </a:lnTo>
                  <a:lnTo>
                    <a:pt x="1280" y="272"/>
                  </a:lnTo>
                  <a:lnTo>
                    <a:pt x="1280" y="272"/>
                  </a:lnTo>
                  <a:lnTo>
                    <a:pt x="1273" y="269"/>
                  </a:lnTo>
                  <a:lnTo>
                    <a:pt x="1269" y="269"/>
                  </a:lnTo>
                  <a:lnTo>
                    <a:pt x="1266" y="267"/>
                  </a:lnTo>
                  <a:lnTo>
                    <a:pt x="1266" y="269"/>
                  </a:lnTo>
                  <a:lnTo>
                    <a:pt x="1266" y="269"/>
                  </a:lnTo>
                  <a:lnTo>
                    <a:pt x="1266" y="269"/>
                  </a:lnTo>
                  <a:lnTo>
                    <a:pt x="1269" y="272"/>
                  </a:lnTo>
                  <a:lnTo>
                    <a:pt x="1269" y="272"/>
                  </a:lnTo>
                  <a:lnTo>
                    <a:pt x="1269" y="272"/>
                  </a:lnTo>
                  <a:lnTo>
                    <a:pt x="1269" y="274"/>
                  </a:lnTo>
                  <a:lnTo>
                    <a:pt x="1269" y="274"/>
                  </a:lnTo>
                  <a:lnTo>
                    <a:pt x="1273" y="274"/>
                  </a:lnTo>
                  <a:lnTo>
                    <a:pt x="1273" y="274"/>
                  </a:lnTo>
                  <a:lnTo>
                    <a:pt x="1271" y="274"/>
                  </a:lnTo>
                  <a:lnTo>
                    <a:pt x="1271" y="276"/>
                  </a:lnTo>
                  <a:lnTo>
                    <a:pt x="1273" y="276"/>
                  </a:lnTo>
                  <a:lnTo>
                    <a:pt x="1273" y="276"/>
                  </a:lnTo>
                  <a:lnTo>
                    <a:pt x="1271" y="276"/>
                  </a:lnTo>
                  <a:lnTo>
                    <a:pt x="1271" y="279"/>
                  </a:lnTo>
                  <a:lnTo>
                    <a:pt x="1271" y="279"/>
                  </a:lnTo>
                  <a:lnTo>
                    <a:pt x="1269" y="279"/>
                  </a:lnTo>
                  <a:lnTo>
                    <a:pt x="1269" y="279"/>
                  </a:lnTo>
                  <a:lnTo>
                    <a:pt x="1269" y="279"/>
                  </a:lnTo>
                  <a:lnTo>
                    <a:pt x="1269" y="279"/>
                  </a:lnTo>
                  <a:lnTo>
                    <a:pt x="1269" y="279"/>
                  </a:lnTo>
                  <a:lnTo>
                    <a:pt x="1269" y="279"/>
                  </a:lnTo>
                  <a:lnTo>
                    <a:pt x="1266" y="281"/>
                  </a:lnTo>
                  <a:lnTo>
                    <a:pt x="1266" y="283"/>
                  </a:lnTo>
                  <a:lnTo>
                    <a:pt x="1266" y="283"/>
                  </a:lnTo>
                  <a:lnTo>
                    <a:pt x="1266" y="283"/>
                  </a:lnTo>
                  <a:lnTo>
                    <a:pt x="1264" y="283"/>
                  </a:lnTo>
                  <a:lnTo>
                    <a:pt x="1264" y="281"/>
                  </a:lnTo>
                  <a:lnTo>
                    <a:pt x="1264" y="281"/>
                  </a:lnTo>
                  <a:lnTo>
                    <a:pt x="1264" y="281"/>
                  </a:lnTo>
                  <a:lnTo>
                    <a:pt x="1264" y="279"/>
                  </a:lnTo>
                  <a:lnTo>
                    <a:pt x="1264" y="279"/>
                  </a:lnTo>
                  <a:lnTo>
                    <a:pt x="1264" y="279"/>
                  </a:lnTo>
                  <a:lnTo>
                    <a:pt x="1264" y="276"/>
                  </a:lnTo>
                  <a:lnTo>
                    <a:pt x="1264" y="276"/>
                  </a:lnTo>
                  <a:lnTo>
                    <a:pt x="1259" y="274"/>
                  </a:lnTo>
                  <a:lnTo>
                    <a:pt x="1257" y="274"/>
                  </a:lnTo>
                  <a:lnTo>
                    <a:pt x="1257" y="276"/>
                  </a:lnTo>
                  <a:lnTo>
                    <a:pt x="1254" y="276"/>
                  </a:lnTo>
                  <a:lnTo>
                    <a:pt x="1252" y="279"/>
                  </a:lnTo>
                  <a:lnTo>
                    <a:pt x="1252" y="283"/>
                  </a:lnTo>
                  <a:lnTo>
                    <a:pt x="1252" y="286"/>
                  </a:lnTo>
                  <a:lnTo>
                    <a:pt x="1250" y="291"/>
                  </a:lnTo>
                  <a:lnTo>
                    <a:pt x="1250" y="291"/>
                  </a:lnTo>
                  <a:lnTo>
                    <a:pt x="1254" y="293"/>
                  </a:lnTo>
                  <a:lnTo>
                    <a:pt x="1254" y="293"/>
                  </a:lnTo>
                  <a:lnTo>
                    <a:pt x="1250" y="295"/>
                  </a:lnTo>
                  <a:lnTo>
                    <a:pt x="1250" y="298"/>
                  </a:lnTo>
                  <a:lnTo>
                    <a:pt x="1250" y="298"/>
                  </a:lnTo>
                  <a:lnTo>
                    <a:pt x="1250" y="298"/>
                  </a:lnTo>
                  <a:lnTo>
                    <a:pt x="1250" y="300"/>
                  </a:lnTo>
                  <a:lnTo>
                    <a:pt x="1254" y="300"/>
                  </a:lnTo>
                  <a:lnTo>
                    <a:pt x="1259" y="298"/>
                  </a:lnTo>
                  <a:lnTo>
                    <a:pt x="1259" y="298"/>
                  </a:lnTo>
                  <a:lnTo>
                    <a:pt x="1259" y="300"/>
                  </a:lnTo>
                  <a:lnTo>
                    <a:pt x="1259" y="300"/>
                  </a:lnTo>
                  <a:lnTo>
                    <a:pt x="1257" y="302"/>
                  </a:lnTo>
                  <a:lnTo>
                    <a:pt x="1257" y="302"/>
                  </a:lnTo>
                  <a:lnTo>
                    <a:pt x="1261" y="307"/>
                  </a:lnTo>
                  <a:lnTo>
                    <a:pt x="1266" y="307"/>
                  </a:lnTo>
                  <a:lnTo>
                    <a:pt x="1266" y="307"/>
                  </a:lnTo>
                  <a:lnTo>
                    <a:pt x="1266" y="307"/>
                  </a:lnTo>
                  <a:lnTo>
                    <a:pt x="1269" y="305"/>
                  </a:lnTo>
                  <a:lnTo>
                    <a:pt x="1269" y="305"/>
                  </a:lnTo>
                  <a:lnTo>
                    <a:pt x="1269" y="305"/>
                  </a:lnTo>
                  <a:lnTo>
                    <a:pt x="1269" y="307"/>
                  </a:lnTo>
                  <a:lnTo>
                    <a:pt x="1269" y="307"/>
                  </a:lnTo>
                  <a:lnTo>
                    <a:pt x="1269" y="307"/>
                  </a:lnTo>
                  <a:lnTo>
                    <a:pt x="1271" y="307"/>
                  </a:lnTo>
                  <a:lnTo>
                    <a:pt x="1273" y="310"/>
                  </a:lnTo>
                  <a:lnTo>
                    <a:pt x="1269" y="310"/>
                  </a:lnTo>
                  <a:lnTo>
                    <a:pt x="1264" y="310"/>
                  </a:lnTo>
                  <a:lnTo>
                    <a:pt x="1264" y="312"/>
                  </a:lnTo>
                  <a:lnTo>
                    <a:pt x="1264" y="314"/>
                  </a:lnTo>
                  <a:lnTo>
                    <a:pt x="1264" y="314"/>
                  </a:lnTo>
                  <a:lnTo>
                    <a:pt x="1264" y="317"/>
                  </a:lnTo>
                  <a:lnTo>
                    <a:pt x="1264" y="317"/>
                  </a:lnTo>
                  <a:lnTo>
                    <a:pt x="1266" y="319"/>
                  </a:lnTo>
                  <a:lnTo>
                    <a:pt x="1266" y="319"/>
                  </a:lnTo>
                  <a:lnTo>
                    <a:pt x="1266" y="319"/>
                  </a:lnTo>
                  <a:lnTo>
                    <a:pt x="1269" y="317"/>
                  </a:lnTo>
                  <a:lnTo>
                    <a:pt x="1273" y="319"/>
                  </a:lnTo>
                  <a:lnTo>
                    <a:pt x="1278" y="326"/>
                  </a:lnTo>
                  <a:lnTo>
                    <a:pt x="1278" y="326"/>
                  </a:lnTo>
                  <a:lnTo>
                    <a:pt x="1276" y="326"/>
                  </a:lnTo>
                  <a:lnTo>
                    <a:pt x="1276" y="326"/>
                  </a:lnTo>
                  <a:lnTo>
                    <a:pt x="1276" y="324"/>
                  </a:lnTo>
                  <a:lnTo>
                    <a:pt x="1276" y="324"/>
                  </a:lnTo>
                  <a:lnTo>
                    <a:pt x="1276" y="324"/>
                  </a:lnTo>
                  <a:lnTo>
                    <a:pt x="1276" y="324"/>
                  </a:lnTo>
                  <a:lnTo>
                    <a:pt x="1276" y="324"/>
                  </a:lnTo>
                  <a:lnTo>
                    <a:pt x="1273" y="324"/>
                  </a:lnTo>
                  <a:lnTo>
                    <a:pt x="1273" y="324"/>
                  </a:lnTo>
                  <a:lnTo>
                    <a:pt x="1271" y="324"/>
                  </a:lnTo>
                  <a:lnTo>
                    <a:pt x="1266" y="324"/>
                  </a:lnTo>
                  <a:lnTo>
                    <a:pt x="1261" y="324"/>
                  </a:lnTo>
                  <a:lnTo>
                    <a:pt x="1259" y="319"/>
                  </a:lnTo>
                  <a:lnTo>
                    <a:pt x="1257" y="319"/>
                  </a:lnTo>
                  <a:lnTo>
                    <a:pt x="1254" y="321"/>
                  </a:lnTo>
                  <a:lnTo>
                    <a:pt x="1247" y="321"/>
                  </a:lnTo>
                  <a:lnTo>
                    <a:pt x="1242" y="321"/>
                  </a:lnTo>
                  <a:lnTo>
                    <a:pt x="1242" y="324"/>
                  </a:lnTo>
                  <a:lnTo>
                    <a:pt x="1242" y="326"/>
                  </a:lnTo>
                  <a:lnTo>
                    <a:pt x="1245" y="326"/>
                  </a:lnTo>
                  <a:lnTo>
                    <a:pt x="1245" y="326"/>
                  </a:lnTo>
                  <a:lnTo>
                    <a:pt x="1242" y="326"/>
                  </a:lnTo>
                  <a:lnTo>
                    <a:pt x="1242" y="328"/>
                  </a:lnTo>
                  <a:lnTo>
                    <a:pt x="1242" y="328"/>
                  </a:lnTo>
                  <a:lnTo>
                    <a:pt x="1242" y="328"/>
                  </a:lnTo>
                  <a:lnTo>
                    <a:pt x="1240" y="331"/>
                  </a:lnTo>
                  <a:lnTo>
                    <a:pt x="1242" y="333"/>
                  </a:lnTo>
                  <a:lnTo>
                    <a:pt x="1247" y="336"/>
                  </a:lnTo>
                  <a:lnTo>
                    <a:pt x="1247" y="338"/>
                  </a:lnTo>
                  <a:lnTo>
                    <a:pt x="1247" y="340"/>
                  </a:lnTo>
                  <a:lnTo>
                    <a:pt x="1250" y="340"/>
                  </a:lnTo>
                  <a:lnTo>
                    <a:pt x="1252" y="340"/>
                  </a:lnTo>
                  <a:lnTo>
                    <a:pt x="1252" y="343"/>
                  </a:lnTo>
                  <a:lnTo>
                    <a:pt x="1252" y="343"/>
                  </a:lnTo>
                  <a:lnTo>
                    <a:pt x="1252" y="343"/>
                  </a:lnTo>
                  <a:lnTo>
                    <a:pt x="1252" y="343"/>
                  </a:lnTo>
                  <a:lnTo>
                    <a:pt x="1252" y="345"/>
                  </a:lnTo>
                  <a:lnTo>
                    <a:pt x="1252" y="345"/>
                  </a:lnTo>
                  <a:lnTo>
                    <a:pt x="1250" y="345"/>
                  </a:lnTo>
                  <a:lnTo>
                    <a:pt x="1250" y="343"/>
                  </a:lnTo>
                  <a:lnTo>
                    <a:pt x="1247" y="343"/>
                  </a:lnTo>
                  <a:lnTo>
                    <a:pt x="1245" y="340"/>
                  </a:lnTo>
                  <a:lnTo>
                    <a:pt x="1242" y="340"/>
                  </a:lnTo>
                  <a:lnTo>
                    <a:pt x="1240" y="343"/>
                  </a:lnTo>
                  <a:lnTo>
                    <a:pt x="1240" y="343"/>
                  </a:lnTo>
                  <a:lnTo>
                    <a:pt x="1240" y="343"/>
                  </a:lnTo>
                  <a:lnTo>
                    <a:pt x="1238" y="343"/>
                  </a:lnTo>
                  <a:lnTo>
                    <a:pt x="1238" y="345"/>
                  </a:lnTo>
                  <a:lnTo>
                    <a:pt x="1240" y="345"/>
                  </a:lnTo>
                  <a:lnTo>
                    <a:pt x="1240" y="347"/>
                  </a:lnTo>
                  <a:lnTo>
                    <a:pt x="1238" y="345"/>
                  </a:lnTo>
                  <a:lnTo>
                    <a:pt x="1235" y="345"/>
                  </a:lnTo>
                  <a:lnTo>
                    <a:pt x="1235" y="345"/>
                  </a:lnTo>
                  <a:lnTo>
                    <a:pt x="1235" y="345"/>
                  </a:lnTo>
                  <a:lnTo>
                    <a:pt x="1235" y="345"/>
                  </a:lnTo>
                  <a:lnTo>
                    <a:pt x="1233" y="345"/>
                  </a:lnTo>
                  <a:lnTo>
                    <a:pt x="1233" y="343"/>
                  </a:lnTo>
                  <a:lnTo>
                    <a:pt x="1233" y="345"/>
                  </a:lnTo>
                  <a:lnTo>
                    <a:pt x="1233" y="347"/>
                  </a:lnTo>
                  <a:lnTo>
                    <a:pt x="1235" y="347"/>
                  </a:lnTo>
                  <a:lnTo>
                    <a:pt x="1235" y="347"/>
                  </a:lnTo>
                  <a:lnTo>
                    <a:pt x="1235" y="350"/>
                  </a:lnTo>
                  <a:lnTo>
                    <a:pt x="1235" y="352"/>
                  </a:lnTo>
                  <a:lnTo>
                    <a:pt x="1233" y="352"/>
                  </a:lnTo>
                  <a:lnTo>
                    <a:pt x="1238" y="354"/>
                  </a:lnTo>
                  <a:lnTo>
                    <a:pt x="1245" y="359"/>
                  </a:lnTo>
                  <a:lnTo>
                    <a:pt x="1245" y="359"/>
                  </a:lnTo>
                  <a:lnTo>
                    <a:pt x="1250" y="354"/>
                  </a:lnTo>
                  <a:lnTo>
                    <a:pt x="1250" y="354"/>
                  </a:lnTo>
                  <a:lnTo>
                    <a:pt x="1250" y="357"/>
                  </a:lnTo>
                  <a:lnTo>
                    <a:pt x="1250" y="357"/>
                  </a:lnTo>
                  <a:lnTo>
                    <a:pt x="1254" y="357"/>
                  </a:lnTo>
                  <a:lnTo>
                    <a:pt x="1254" y="354"/>
                  </a:lnTo>
                  <a:lnTo>
                    <a:pt x="1257" y="354"/>
                  </a:lnTo>
                  <a:lnTo>
                    <a:pt x="1257" y="354"/>
                  </a:lnTo>
                  <a:lnTo>
                    <a:pt x="1254" y="357"/>
                  </a:lnTo>
                  <a:lnTo>
                    <a:pt x="1254" y="357"/>
                  </a:lnTo>
                  <a:lnTo>
                    <a:pt x="1252" y="359"/>
                  </a:lnTo>
                  <a:lnTo>
                    <a:pt x="1250" y="359"/>
                  </a:lnTo>
                  <a:lnTo>
                    <a:pt x="1250" y="362"/>
                  </a:lnTo>
                  <a:lnTo>
                    <a:pt x="1250" y="362"/>
                  </a:lnTo>
                  <a:lnTo>
                    <a:pt x="1254" y="366"/>
                  </a:lnTo>
                  <a:lnTo>
                    <a:pt x="1261" y="364"/>
                  </a:lnTo>
                  <a:lnTo>
                    <a:pt x="1266" y="359"/>
                  </a:lnTo>
                  <a:lnTo>
                    <a:pt x="1266" y="357"/>
                  </a:lnTo>
                  <a:lnTo>
                    <a:pt x="1266" y="357"/>
                  </a:lnTo>
                  <a:lnTo>
                    <a:pt x="1269" y="357"/>
                  </a:lnTo>
                  <a:lnTo>
                    <a:pt x="1269" y="357"/>
                  </a:lnTo>
                  <a:lnTo>
                    <a:pt x="1269" y="357"/>
                  </a:lnTo>
                  <a:lnTo>
                    <a:pt x="1276" y="359"/>
                  </a:lnTo>
                  <a:lnTo>
                    <a:pt x="1276" y="359"/>
                  </a:lnTo>
                  <a:lnTo>
                    <a:pt x="1269" y="362"/>
                  </a:lnTo>
                  <a:lnTo>
                    <a:pt x="1264" y="369"/>
                  </a:lnTo>
                  <a:lnTo>
                    <a:pt x="1264" y="369"/>
                  </a:lnTo>
                  <a:lnTo>
                    <a:pt x="1264" y="369"/>
                  </a:lnTo>
                  <a:lnTo>
                    <a:pt x="1266" y="373"/>
                  </a:lnTo>
                  <a:lnTo>
                    <a:pt x="1269" y="373"/>
                  </a:lnTo>
                  <a:lnTo>
                    <a:pt x="1269" y="376"/>
                  </a:lnTo>
                  <a:lnTo>
                    <a:pt x="1271" y="376"/>
                  </a:lnTo>
                  <a:lnTo>
                    <a:pt x="1271" y="376"/>
                  </a:lnTo>
                  <a:lnTo>
                    <a:pt x="1271" y="378"/>
                  </a:lnTo>
                  <a:lnTo>
                    <a:pt x="1271" y="378"/>
                  </a:lnTo>
                  <a:lnTo>
                    <a:pt x="1264" y="373"/>
                  </a:lnTo>
                  <a:lnTo>
                    <a:pt x="1261" y="373"/>
                  </a:lnTo>
                  <a:lnTo>
                    <a:pt x="1259" y="376"/>
                  </a:lnTo>
                  <a:lnTo>
                    <a:pt x="1252" y="373"/>
                  </a:lnTo>
                  <a:lnTo>
                    <a:pt x="1250" y="373"/>
                  </a:lnTo>
                  <a:lnTo>
                    <a:pt x="1250" y="373"/>
                  </a:lnTo>
                  <a:lnTo>
                    <a:pt x="1250" y="373"/>
                  </a:lnTo>
                  <a:lnTo>
                    <a:pt x="1245" y="371"/>
                  </a:lnTo>
                  <a:lnTo>
                    <a:pt x="1238" y="366"/>
                  </a:lnTo>
                  <a:lnTo>
                    <a:pt x="1233" y="364"/>
                  </a:lnTo>
                  <a:lnTo>
                    <a:pt x="1231" y="366"/>
                  </a:lnTo>
                  <a:lnTo>
                    <a:pt x="1231" y="366"/>
                  </a:lnTo>
                  <a:lnTo>
                    <a:pt x="1231" y="369"/>
                  </a:lnTo>
                  <a:lnTo>
                    <a:pt x="1231" y="369"/>
                  </a:lnTo>
                  <a:lnTo>
                    <a:pt x="1231" y="369"/>
                  </a:lnTo>
                  <a:lnTo>
                    <a:pt x="1231" y="371"/>
                  </a:lnTo>
                  <a:lnTo>
                    <a:pt x="1233" y="373"/>
                  </a:lnTo>
                  <a:close/>
                  <a:moveTo>
                    <a:pt x="1453" y="591"/>
                  </a:moveTo>
                  <a:lnTo>
                    <a:pt x="1453" y="591"/>
                  </a:lnTo>
                  <a:lnTo>
                    <a:pt x="1455" y="591"/>
                  </a:lnTo>
                  <a:lnTo>
                    <a:pt x="1458" y="589"/>
                  </a:lnTo>
                  <a:lnTo>
                    <a:pt x="1460" y="586"/>
                  </a:lnTo>
                  <a:lnTo>
                    <a:pt x="1458" y="584"/>
                  </a:lnTo>
                  <a:lnTo>
                    <a:pt x="1458" y="584"/>
                  </a:lnTo>
                  <a:lnTo>
                    <a:pt x="1458" y="584"/>
                  </a:lnTo>
                  <a:lnTo>
                    <a:pt x="1458" y="584"/>
                  </a:lnTo>
                  <a:lnTo>
                    <a:pt x="1458" y="584"/>
                  </a:lnTo>
                  <a:lnTo>
                    <a:pt x="1455" y="579"/>
                  </a:lnTo>
                  <a:lnTo>
                    <a:pt x="1455" y="579"/>
                  </a:lnTo>
                  <a:lnTo>
                    <a:pt x="1448" y="579"/>
                  </a:lnTo>
                  <a:lnTo>
                    <a:pt x="1448" y="579"/>
                  </a:lnTo>
                  <a:lnTo>
                    <a:pt x="1448" y="582"/>
                  </a:lnTo>
                  <a:lnTo>
                    <a:pt x="1448" y="582"/>
                  </a:lnTo>
                  <a:lnTo>
                    <a:pt x="1448" y="582"/>
                  </a:lnTo>
                  <a:lnTo>
                    <a:pt x="1446" y="584"/>
                  </a:lnTo>
                  <a:lnTo>
                    <a:pt x="1446" y="584"/>
                  </a:lnTo>
                  <a:lnTo>
                    <a:pt x="1446" y="584"/>
                  </a:lnTo>
                  <a:lnTo>
                    <a:pt x="1451" y="584"/>
                  </a:lnTo>
                  <a:lnTo>
                    <a:pt x="1453" y="586"/>
                  </a:lnTo>
                  <a:lnTo>
                    <a:pt x="1453" y="586"/>
                  </a:lnTo>
                  <a:lnTo>
                    <a:pt x="1453" y="586"/>
                  </a:lnTo>
                  <a:lnTo>
                    <a:pt x="1453" y="586"/>
                  </a:lnTo>
                  <a:lnTo>
                    <a:pt x="1453" y="589"/>
                  </a:lnTo>
                  <a:lnTo>
                    <a:pt x="1453" y="591"/>
                  </a:lnTo>
                  <a:close/>
                  <a:moveTo>
                    <a:pt x="1247" y="314"/>
                  </a:moveTo>
                  <a:lnTo>
                    <a:pt x="1250" y="317"/>
                  </a:lnTo>
                  <a:lnTo>
                    <a:pt x="1254" y="319"/>
                  </a:lnTo>
                  <a:lnTo>
                    <a:pt x="1259" y="317"/>
                  </a:lnTo>
                  <a:lnTo>
                    <a:pt x="1259" y="314"/>
                  </a:lnTo>
                  <a:lnTo>
                    <a:pt x="1257" y="314"/>
                  </a:lnTo>
                  <a:lnTo>
                    <a:pt x="1257" y="314"/>
                  </a:lnTo>
                  <a:lnTo>
                    <a:pt x="1257" y="312"/>
                  </a:lnTo>
                  <a:lnTo>
                    <a:pt x="1257" y="312"/>
                  </a:lnTo>
                  <a:lnTo>
                    <a:pt x="1257" y="312"/>
                  </a:lnTo>
                  <a:lnTo>
                    <a:pt x="1254" y="310"/>
                  </a:lnTo>
                  <a:lnTo>
                    <a:pt x="1252" y="310"/>
                  </a:lnTo>
                  <a:lnTo>
                    <a:pt x="1250" y="310"/>
                  </a:lnTo>
                  <a:lnTo>
                    <a:pt x="1250" y="310"/>
                  </a:lnTo>
                  <a:lnTo>
                    <a:pt x="1247" y="310"/>
                  </a:lnTo>
                  <a:lnTo>
                    <a:pt x="1247" y="312"/>
                  </a:lnTo>
                  <a:lnTo>
                    <a:pt x="1240" y="312"/>
                  </a:lnTo>
                  <a:lnTo>
                    <a:pt x="1240" y="312"/>
                  </a:lnTo>
                  <a:lnTo>
                    <a:pt x="1240" y="314"/>
                  </a:lnTo>
                  <a:lnTo>
                    <a:pt x="1245" y="314"/>
                  </a:lnTo>
                  <a:lnTo>
                    <a:pt x="1247" y="314"/>
                  </a:lnTo>
                  <a:close/>
                  <a:moveTo>
                    <a:pt x="331" y="1078"/>
                  </a:moveTo>
                  <a:lnTo>
                    <a:pt x="334" y="1081"/>
                  </a:lnTo>
                  <a:lnTo>
                    <a:pt x="334" y="1081"/>
                  </a:lnTo>
                  <a:lnTo>
                    <a:pt x="334" y="1081"/>
                  </a:lnTo>
                  <a:lnTo>
                    <a:pt x="331" y="1076"/>
                  </a:lnTo>
                  <a:lnTo>
                    <a:pt x="331" y="1076"/>
                  </a:lnTo>
                  <a:lnTo>
                    <a:pt x="329" y="1076"/>
                  </a:lnTo>
                  <a:lnTo>
                    <a:pt x="329" y="1076"/>
                  </a:lnTo>
                  <a:lnTo>
                    <a:pt x="331" y="1078"/>
                  </a:lnTo>
                  <a:lnTo>
                    <a:pt x="331" y="1078"/>
                  </a:lnTo>
                  <a:close/>
                  <a:moveTo>
                    <a:pt x="895" y="648"/>
                  </a:moveTo>
                  <a:lnTo>
                    <a:pt x="895" y="648"/>
                  </a:lnTo>
                  <a:lnTo>
                    <a:pt x="895" y="648"/>
                  </a:lnTo>
                  <a:lnTo>
                    <a:pt x="902" y="650"/>
                  </a:lnTo>
                  <a:lnTo>
                    <a:pt x="902" y="653"/>
                  </a:lnTo>
                  <a:lnTo>
                    <a:pt x="909" y="653"/>
                  </a:lnTo>
                  <a:lnTo>
                    <a:pt x="914" y="655"/>
                  </a:lnTo>
                  <a:lnTo>
                    <a:pt x="916" y="657"/>
                  </a:lnTo>
                  <a:lnTo>
                    <a:pt x="916" y="657"/>
                  </a:lnTo>
                  <a:lnTo>
                    <a:pt x="918" y="655"/>
                  </a:lnTo>
                  <a:lnTo>
                    <a:pt x="918" y="655"/>
                  </a:lnTo>
                  <a:lnTo>
                    <a:pt x="918" y="655"/>
                  </a:lnTo>
                  <a:lnTo>
                    <a:pt x="921" y="653"/>
                  </a:lnTo>
                  <a:lnTo>
                    <a:pt x="921" y="650"/>
                  </a:lnTo>
                  <a:lnTo>
                    <a:pt x="921" y="650"/>
                  </a:lnTo>
                  <a:lnTo>
                    <a:pt x="921" y="648"/>
                  </a:lnTo>
                  <a:lnTo>
                    <a:pt x="921" y="645"/>
                  </a:lnTo>
                  <a:lnTo>
                    <a:pt x="921" y="645"/>
                  </a:lnTo>
                  <a:lnTo>
                    <a:pt x="921" y="645"/>
                  </a:lnTo>
                  <a:lnTo>
                    <a:pt x="918" y="641"/>
                  </a:lnTo>
                  <a:lnTo>
                    <a:pt x="916" y="641"/>
                  </a:lnTo>
                  <a:lnTo>
                    <a:pt x="909" y="641"/>
                  </a:lnTo>
                  <a:lnTo>
                    <a:pt x="906" y="641"/>
                  </a:lnTo>
                  <a:lnTo>
                    <a:pt x="904" y="641"/>
                  </a:lnTo>
                  <a:lnTo>
                    <a:pt x="899" y="641"/>
                  </a:lnTo>
                  <a:lnTo>
                    <a:pt x="895" y="645"/>
                  </a:lnTo>
                  <a:lnTo>
                    <a:pt x="895" y="645"/>
                  </a:lnTo>
                  <a:lnTo>
                    <a:pt x="895" y="648"/>
                  </a:lnTo>
                  <a:lnTo>
                    <a:pt x="895" y="648"/>
                  </a:lnTo>
                  <a:lnTo>
                    <a:pt x="895" y="648"/>
                  </a:lnTo>
                  <a:close/>
                  <a:moveTo>
                    <a:pt x="523" y="1057"/>
                  </a:moveTo>
                  <a:lnTo>
                    <a:pt x="523" y="1055"/>
                  </a:lnTo>
                  <a:lnTo>
                    <a:pt x="523" y="1055"/>
                  </a:lnTo>
                  <a:lnTo>
                    <a:pt x="523" y="1055"/>
                  </a:lnTo>
                  <a:lnTo>
                    <a:pt x="523" y="1055"/>
                  </a:lnTo>
                  <a:lnTo>
                    <a:pt x="525" y="1055"/>
                  </a:lnTo>
                  <a:lnTo>
                    <a:pt x="525" y="1055"/>
                  </a:lnTo>
                  <a:lnTo>
                    <a:pt x="525" y="1057"/>
                  </a:lnTo>
                  <a:lnTo>
                    <a:pt x="525" y="1057"/>
                  </a:lnTo>
                  <a:lnTo>
                    <a:pt x="525" y="1055"/>
                  </a:lnTo>
                  <a:lnTo>
                    <a:pt x="528" y="1055"/>
                  </a:lnTo>
                  <a:lnTo>
                    <a:pt x="528" y="1055"/>
                  </a:lnTo>
                  <a:lnTo>
                    <a:pt x="528" y="1055"/>
                  </a:lnTo>
                  <a:lnTo>
                    <a:pt x="528" y="1055"/>
                  </a:lnTo>
                  <a:lnTo>
                    <a:pt x="528" y="1055"/>
                  </a:lnTo>
                  <a:lnTo>
                    <a:pt x="528" y="1052"/>
                  </a:lnTo>
                  <a:lnTo>
                    <a:pt x="528" y="1052"/>
                  </a:lnTo>
                  <a:lnTo>
                    <a:pt x="525" y="1050"/>
                  </a:lnTo>
                  <a:lnTo>
                    <a:pt x="525" y="1050"/>
                  </a:lnTo>
                  <a:lnTo>
                    <a:pt x="525" y="1050"/>
                  </a:lnTo>
                  <a:lnTo>
                    <a:pt x="521" y="1055"/>
                  </a:lnTo>
                  <a:lnTo>
                    <a:pt x="521" y="1057"/>
                  </a:lnTo>
                  <a:lnTo>
                    <a:pt x="523" y="1057"/>
                  </a:lnTo>
                  <a:lnTo>
                    <a:pt x="523" y="1057"/>
                  </a:lnTo>
                  <a:close/>
                  <a:moveTo>
                    <a:pt x="589" y="1104"/>
                  </a:moveTo>
                  <a:lnTo>
                    <a:pt x="589" y="1104"/>
                  </a:lnTo>
                  <a:lnTo>
                    <a:pt x="589" y="1104"/>
                  </a:lnTo>
                  <a:lnTo>
                    <a:pt x="589" y="1102"/>
                  </a:lnTo>
                  <a:lnTo>
                    <a:pt x="589" y="1102"/>
                  </a:lnTo>
                  <a:lnTo>
                    <a:pt x="589" y="1104"/>
                  </a:lnTo>
                  <a:lnTo>
                    <a:pt x="592" y="1104"/>
                  </a:lnTo>
                  <a:lnTo>
                    <a:pt x="592" y="1102"/>
                  </a:lnTo>
                  <a:lnTo>
                    <a:pt x="592" y="1102"/>
                  </a:lnTo>
                  <a:lnTo>
                    <a:pt x="592" y="1102"/>
                  </a:lnTo>
                  <a:lnTo>
                    <a:pt x="592" y="1102"/>
                  </a:lnTo>
                  <a:lnTo>
                    <a:pt x="592" y="1102"/>
                  </a:lnTo>
                  <a:lnTo>
                    <a:pt x="592" y="1102"/>
                  </a:lnTo>
                  <a:lnTo>
                    <a:pt x="589" y="1102"/>
                  </a:lnTo>
                  <a:lnTo>
                    <a:pt x="589" y="1102"/>
                  </a:lnTo>
                  <a:lnTo>
                    <a:pt x="587" y="1102"/>
                  </a:lnTo>
                  <a:lnTo>
                    <a:pt x="587" y="1104"/>
                  </a:lnTo>
                  <a:lnTo>
                    <a:pt x="587" y="1104"/>
                  </a:lnTo>
                  <a:lnTo>
                    <a:pt x="589" y="1104"/>
                  </a:lnTo>
                  <a:close/>
                  <a:moveTo>
                    <a:pt x="334" y="1085"/>
                  </a:moveTo>
                  <a:lnTo>
                    <a:pt x="336" y="1090"/>
                  </a:lnTo>
                  <a:lnTo>
                    <a:pt x="336" y="1090"/>
                  </a:lnTo>
                  <a:lnTo>
                    <a:pt x="336" y="1093"/>
                  </a:lnTo>
                  <a:lnTo>
                    <a:pt x="339" y="1093"/>
                  </a:lnTo>
                  <a:lnTo>
                    <a:pt x="339" y="1090"/>
                  </a:lnTo>
                  <a:lnTo>
                    <a:pt x="339" y="1090"/>
                  </a:lnTo>
                  <a:lnTo>
                    <a:pt x="339" y="1088"/>
                  </a:lnTo>
                  <a:lnTo>
                    <a:pt x="339" y="1090"/>
                  </a:lnTo>
                  <a:lnTo>
                    <a:pt x="339" y="1088"/>
                  </a:lnTo>
                  <a:lnTo>
                    <a:pt x="339" y="1088"/>
                  </a:lnTo>
                  <a:lnTo>
                    <a:pt x="339" y="1088"/>
                  </a:lnTo>
                  <a:lnTo>
                    <a:pt x="339" y="1085"/>
                  </a:lnTo>
                  <a:lnTo>
                    <a:pt x="336" y="1085"/>
                  </a:lnTo>
                  <a:lnTo>
                    <a:pt x="336" y="1085"/>
                  </a:lnTo>
                  <a:lnTo>
                    <a:pt x="334" y="1083"/>
                  </a:lnTo>
                  <a:lnTo>
                    <a:pt x="334" y="1083"/>
                  </a:lnTo>
                  <a:lnTo>
                    <a:pt x="334" y="1085"/>
                  </a:lnTo>
                  <a:close/>
                  <a:moveTo>
                    <a:pt x="599" y="972"/>
                  </a:moveTo>
                  <a:lnTo>
                    <a:pt x="599" y="972"/>
                  </a:lnTo>
                  <a:lnTo>
                    <a:pt x="599" y="972"/>
                  </a:lnTo>
                  <a:lnTo>
                    <a:pt x="599" y="972"/>
                  </a:lnTo>
                  <a:lnTo>
                    <a:pt x="599" y="970"/>
                  </a:lnTo>
                  <a:lnTo>
                    <a:pt x="599" y="972"/>
                  </a:lnTo>
                  <a:lnTo>
                    <a:pt x="599" y="972"/>
                  </a:lnTo>
                  <a:lnTo>
                    <a:pt x="599" y="972"/>
                  </a:lnTo>
                  <a:close/>
                  <a:moveTo>
                    <a:pt x="339" y="1074"/>
                  </a:moveTo>
                  <a:lnTo>
                    <a:pt x="339" y="1074"/>
                  </a:lnTo>
                  <a:lnTo>
                    <a:pt x="339" y="1074"/>
                  </a:lnTo>
                  <a:lnTo>
                    <a:pt x="341" y="1074"/>
                  </a:lnTo>
                  <a:lnTo>
                    <a:pt x="343" y="1069"/>
                  </a:lnTo>
                  <a:lnTo>
                    <a:pt x="343" y="1069"/>
                  </a:lnTo>
                  <a:lnTo>
                    <a:pt x="341" y="1069"/>
                  </a:lnTo>
                  <a:lnTo>
                    <a:pt x="341" y="1069"/>
                  </a:lnTo>
                  <a:lnTo>
                    <a:pt x="339" y="1069"/>
                  </a:lnTo>
                  <a:lnTo>
                    <a:pt x="339" y="1071"/>
                  </a:lnTo>
                  <a:lnTo>
                    <a:pt x="336" y="1071"/>
                  </a:lnTo>
                  <a:lnTo>
                    <a:pt x="336" y="1074"/>
                  </a:lnTo>
                  <a:lnTo>
                    <a:pt x="339" y="1074"/>
                  </a:lnTo>
                  <a:close/>
                  <a:moveTo>
                    <a:pt x="374" y="1085"/>
                  </a:moveTo>
                  <a:lnTo>
                    <a:pt x="376" y="1085"/>
                  </a:lnTo>
                  <a:lnTo>
                    <a:pt x="374" y="1085"/>
                  </a:lnTo>
                  <a:lnTo>
                    <a:pt x="374" y="1085"/>
                  </a:lnTo>
                  <a:lnTo>
                    <a:pt x="376" y="1085"/>
                  </a:lnTo>
                  <a:lnTo>
                    <a:pt x="379" y="1083"/>
                  </a:lnTo>
                  <a:lnTo>
                    <a:pt x="376" y="1083"/>
                  </a:lnTo>
                  <a:lnTo>
                    <a:pt x="376" y="1083"/>
                  </a:lnTo>
                  <a:lnTo>
                    <a:pt x="376" y="1083"/>
                  </a:lnTo>
                  <a:lnTo>
                    <a:pt x="376" y="1083"/>
                  </a:lnTo>
                  <a:lnTo>
                    <a:pt x="376" y="1083"/>
                  </a:lnTo>
                  <a:lnTo>
                    <a:pt x="376" y="1083"/>
                  </a:lnTo>
                  <a:lnTo>
                    <a:pt x="376" y="1081"/>
                  </a:lnTo>
                  <a:lnTo>
                    <a:pt x="374" y="1083"/>
                  </a:lnTo>
                  <a:lnTo>
                    <a:pt x="374" y="1083"/>
                  </a:lnTo>
                  <a:lnTo>
                    <a:pt x="374" y="1083"/>
                  </a:lnTo>
                  <a:lnTo>
                    <a:pt x="372" y="1083"/>
                  </a:lnTo>
                  <a:lnTo>
                    <a:pt x="372" y="1083"/>
                  </a:lnTo>
                  <a:lnTo>
                    <a:pt x="372" y="1085"/>
                  </a:lnTo>
                  <a:lnTo>
                    <a:pt x="374" y="1085"/>
                  </a:lnTo>
                  <a:lnTo>
                    <a:pt x="374" y="1085"/>
                  </a:lnTo>
                  <a:close/>
                  <a:moveTo>
                    <a:pt x="888" y="671"/>
                  </a:moveTo>
                  <a:lnTo>
                    <a:pt x="878" y="671"/>
                  </a:lnTo>
                  <a:lnTo>
                    <a:pt x="871" y="679"/>
                  </a:lnTo>
                  <a:lnTo>
                    <a:pt x="869" y="681"/>
                  </a:lnTo>
                  <a:lnTo>
                    <a:pt x="871" y="681"/>
                  </a:lnTo>
                  <a:lnTo>
                    <a:pt x="871" y="681"/>
                  </a:lnTo>
                  <a:lnTo>
                    <a:pt x="871" y="683"/>
                  </a:lnTo>
                  <a:lnTo>
                    <a:pt x="869" y="683"/>
                  </a:lnTo>
                  <a:lnTo>
                    <a:pt x="869" y="686"/>
                  </a:lnTo>
                  <a:lnTo>
                    <a:pt x="869" y="686"/>
                  </a:lnTo>
                  <a:lnTo>
                    <a:pt x="869" y="688"/>
                  </a:lnTo>
                  <a:lnTo>
                    <a:pt x="869" y="688"/>
                  </a:lnTo>
                  <a:lnTo>
                    <a:pt x="871" y="690"/>
                  </a:lnTo>
                  <a:lnTo>
                    <a:pt x="876" y="690"/>
                  </a:lnTo>
                  <a:lnTo>
                    <a:pt x="880" y="690"/>
                  </a:lnTo>
                  <a:lnTo>
                    <a:pt x="885" y="693"/>
                  </a:lnTo>
                  <a:lnTo>
                    <a:pt x="885" y="697"/>
                  </a:lnTo>
                  <a:lnTo>
                    <a:pt x="888" y="697"/>
                  </a:lnTo>
                  <a:lnTo>
                    <a:pt x="890" y="697"/>
                  </a:lnTo>
                  <a:lnTo>
                    <a:pt x="890" y="697"/>
                  </a:lnTo>
                  <a:lnTo>
                    <a:pt x="892" y="697"/>
                  </a:lnTo>
                  <a:lnTo>
                    <a:pt x="890" y="700"/>
                  </a:lnTo>
                  <a:lnTo>
                    <a:pt x="888" y="700"/>
                  </a:lnTo>
                  <a:lnTo>
                    <a:pt x="885" y="697"/>
                  </a:lnTo>
                  <a:lnTo>
                    <a:pt x="885" y="697"/>
                  </a:lnTo>
                  <a:lnTo>
                    <a:pt x="885" y="697"/>
                  </a:lnTo>
                  <a:lnTo>
                    <a:pt x="883" y="697"/>
                  </a:lnTo>
                  <a:lnTo>
                    <a:pt x="876" y="695"/>
                  </a:lnTo>
                  <a:lnTo>
                    <a:pt x="873" y="695"/>
                  </a:lnTo>
                  <a:lnTo>
                    <a:pt x="869" y="693"/>
                  </a:lnTo>
                  <a:lnTo>
                    <a:pt x="866" y="693"/>
                  </a:lnTo>
                  <a:lnTo>
                    <a:pt x="864" y="690"/>
                  </a:lnTo>
                  <a:lnTo>
                    <a:pt x="854" y="693"/>
                  </a:lnTo>
                  <a:lnTo>
                    <a:pt x="854" y="695"/>
                  </a:lnTo>
                  <a:lnTo>
                    <a:pt x="854" y="695"/>
                  </a:lnTo>
                  <a:lnTo>
                    <a:pt x="854" y="695"/>
                  </a:lnTo>
                  <a:lnTo>
                    <a:pt x="854" y="695"/>
                  </a:lnTo>
                  <a:lnTo>
                    <a:pt x="854" y="695"/>
                  </a:lnTo>
                  <a:lnTo>
                    <a:pt x="852" y="695"/>
                  </a:lnTo>
                  <a:lnTo>
                    <a:pt x="852" y="697"/>
                  </a:lnTo>
                  <a:lnTo>
                    <a:pt x="852" y="697"/>
                  </a:lnTo>
                  <a:lnTo>
                    <a:pt x="852" y="700"/>
                  </a:lnTo>
                  <a:lnTo>
                    <a:pt x="850" y="702"/>
                  </a:lnTo>
                  <a:lnTo>
                    <a:pt x="850" y="702"/>
                  </a:lnTo>
                  <a:lnTo>
                    <a:pt x="850" y="702"/>
                  </a:lnTo>
                  <a:lnTo>
                    <a:pt x="852" y="705"/>
                  </a:lnTo>
                  <a:lnTo>
                    <a:pt x="854" y="705"/>
                  </a:lnTo>
                  <a:lnTo>
                    <a:pt x="854" y="705"/>
                  </a:lnTo>
                  <a:lnTo>
                    <a:pt x="854" y="705"/>
                  </a:lnTo>
                  <a:lnTo>
                    <a:pt x="854" y="705"/>
                  </a:lnTo>
                  <a:lnTo>
                    <a:pt x="854" y="707"/>
                  </a:lnTo>
                  <a:lnTo>
                    <a:pt x="854" y="707"/>
                  </a:lnTo>
                  <a:lnTo>
                    <a:pt x="854" y="709"/>
                  </a:lnTo>
                  <a:lnTo>
                    <a:pt x="854" y="709"/>
                  </a:lnTo>
                  <a:lnTo>
                    <a:pt x="852" y="707"/>
                  </a:lnTo>
                  <a:lnTo>
                    <a:pt x="852" y="707"/>
                  </a:lnTo>
                  <a:lnTo>
                    <a:pt x="850" y="709"/>
                  </a:lnTo>
                  <a:lnTo>
                    <a:pt x="850" y="709"/>
                  </a:lnTo>
                  <a:lnTo>
                    <a:pt x="850" y="712"/>
                  </a:lnTo>
                  <a:lnTo>
                    <a:pt x="850" y="712"/>
                  </a:lnTo>
                  <a:lnTo>
                    <a:pt x="850" y="714"/>
                  </a:lnTo>
                  <a:lnTo>
                    <a:pt x="850" y="714"/>
                  </a:lnTo>
                  <a:lnTo>
                    <a:pt x="857" y="719"/>
                  </a:lnTo>
                  <a:lnTo>
                    <a:pt x="859" y="716"/>
                  </a:lnTo>
                  <a:lnTo>
                    <a:pt x="859" y="719"/>
                  </a:lnTo>
                  <a:lnTo>
                    <a:pt x="859" y="719"/>
                  </a:lnTo>
                  <a:lnTo>
                    <a:pt x="866" y="716"/>
                  </a:lnTo>
                  <a:lnTo>
                    <a:pt x="869" y="719"/>
                  </a:lnTo>
                  <a:lnTo>
                    <a:pt x="876" y="719"/>
                  </a:lnTo>
                  <a:lnTo>
                    <a:pt x="885" y="719"/>
                  </a:lnTo>
                  <a:lnTo>
                    <a:pt x="885" y="719"/>
                  </a:lnTo>
                  <a:lnTo>
                    <a:pt x="885" y="719"/>
                  </a:lnTo>
                  <a:lnTo>
                    <a:pt x="885" y="719"/>
                  </a:lnTo>
                  <a:lnTo>
                    <a:pt x="885" y="721"/>
                  </a:lnTo>
                  <a:lnTo>
                    <a:pt x="885" y="721"/>
                  </a:lnTo>
                  <a:lnTo>
                    <a:pt x="878" y="721"/>
                  </a:lnTo>
                  <a:lnTo>
                    <a:pt x="871" y="723"/>
                  </a:lnTo>
                  <a:lnTo>
                    <a:pt x="869" y="721"/>
                  </a:lnTo>
                  <a:lnTo>
                    <a:pt x="866" y="719"/>
                  </a:lnTo>
                  <a:lnTo>
                    <a:pt x="866" y="719"/>
                  </a:lnTo>
                  <a:lnTo>
                    <a:pt x="866" y="721"/>
                  </a:lnTo>
                  <a:lnTo>
                    <a:pt x="866" y="721"/>
                  </a:lnTo>
                  <a:lnTo>
                    <a:pt x="866" y="721"/>
                  </a:lnTo>
                  <a:lnTo>
                    <a:pt x="859" y="721"/>
                  </a:lnTo>
                  <a:lnTo>
                    <a:pt x="852" y="721"/>
                  </a:lnTo>
                  <a:lnTo>
                    <a:pt x="845" y="721"/>
                  </a:lnTo>
                  <a:lnTo>
                    <a:pt x="843" y="723"/>
                  </a:lnTo>
                  <a:lnTo>
                    <a:pt x="835" y="733"/>
                  </a:lnTo>
                  <a:lnTo>
                    <a:pt x="835" y="735"/>
                  </a:lnTo>
                  <a:lnTo>
                    <a:pt x="835" y="738"/>
                  </a:lnTo>
                  <a:lnTo>
                    <a:pt x="835" y="738"/>
                  </a:lnTo>
                  <a:lnTo>
                    <a:pt x="843" y="740"/>
                  </a:lnTo>
                  <a:lnTo>
                    <a:pt x="850" y="740"/>
                  </a:lnTo>
                  <a:lnTo>
                    <a:pt x="857" y="742"/>
                  </a:lnTo>
                  <a:lnTo>
                    <a:pt x="857" y="740"/>
                  </a:lnTo>
                  <a:lnTo>
                    <a:pt x="859" y="740"/>
                  </a:lnTo>
                  <a:lnTo>
                    <a:pt x="864" y="738"/>
                  </a:lnTo>
                  <a:lnTo>
                    <a:pt x="866" y="738"/>
                  </a:lnTo>
                  <a:lnTo>
                    <a:pt x="873" y="738"/>
                  </a:lnTo>
                  <a:lnTo>
                    <a:pt x="878" y="733"/>
                  </a:lnTo>
                  <a:lnTo>
                    <a:pt x="880" y="735"/>
                  </a:lnTo>
                  <a:lnTo>
                    <a:pt x="880" y="735"/>
                  </a:lnTo>
                  <a:lnTo>
                    <a:pt x="878" y="735"/>
                  </a:lnTo>
                  <a:lnTo>
                    <a:pt x="873" y="738"/>
                  </a:lnTo>
                  <a:lnTo>
                    <a:pt x="873" y="738"/>
                  </a:lnTo>
                  <a:lnTo>
                    <a:pt x="873" y="740"/>
                  </a:lnTo>
                  <a:lnTo>
                    <a:pt x="873" y="740"/>
                  </a:lnTo>
                  <a:lnTo>
                    <a:pt x="873" y="742"/>
                  </a:lnTo>
                  <a:lnTo>
                    <a:pt x="866" y="742"/>
                  </a:lnTo>
                  <a:lnTo>
                    <a:pt x="857" y="750"/>
                  </a:lnTo>
                  <a:lnTo>
                    <a:pt x="854" y="750"/>
                  </a:lnTo>
                  <a:lnTo>
                    <a:pt x="850" y="747"/>
                  </a:lnTo>
                  <a:lnTo>
                    <a:pt x="850" y="747"/>
                  </a:lnTo>
                  <a:lnTo>
                    <a:pt x="840" y="747"/>
                  </a:lnTo>
                  <a:lnTo>
                    <a:pt x="833" y="745"/>
                  </a:lnTo>
                  <a:lnTo>
                    <a:pt x="831" y="747"/>
                  </a:lnTo>
                  <a:lnTo>
                    <a:pt x="826" y="754"/>
                  </a:lnTo>
                  <a:lnTo>
                    <a:pt x="824" y="757"/>
                  </a:lnTo>
                  <a:lnTo>
                    <a:pt x="824" y="757"/>
                  </a:lnTo>
                  <a:lnTo>
                    <a:pt x="824" y="757"/>
                  </a:lnTo>
                  <a:lnTo>
                    <a:pt x="824" y="759"/>
                  </a:lnTo>
                  <a:lnTo>
                    <a:pt x="821" y="759"/>
                  </a:lnTo>
                  <a:lnTo>
                    <a:pt x="821" y="759"/>
                  </a:lnTo>
                  <a:lnTo>
                    <a:pt x="821" y="759"/>
                  </a:lnTo>
                  <a:lnTo>
                    <a:pt x="821" y="761"/>
                  </a:lnTo>
                  <a:lnTo>
                    <a:pt x="821" y="761"/>
                  </a:lnTo>
                  <a:lnTo>
                    <a:pt x="821" y="761"/>
                  </a:lnTo>
                  <a:lnTo>
                    <a:pt x="821" y="764"/>
                  </a:lnTo>
                  <a:lnTo>
                    <a:pt x="821" y="764"/>
                  </a:lnTo>
                  <a:lnTo>
                    <a:pt x="824" y="764"/>
                  </a:lnTo>
                  <a:lnTo>
                    <a:pt x="824" y="766"/>
                  </a:lnTo>
                  <a:lnTo>
                    <a:pt x="833" y="773"/>
                  </a:lnTo>
                  <a:lnTo>
                    <a:pt x="833" y="773"/>
                  </a:lnTo>
                  <a:lnTo>
                    <a:pt x="835" y="771"/>
                  </a:lnTo>
                  <a:lnTo>
                    <a:pt x="835" y="771"/>
                  </a:lnTo>
                  <a:lnTo>
                    <a:pt x="835" y="773"/>
                  </a:lnTo>
                  <a:lnTo>
                    <a:pt x="838" y="776"/>
                  </a:lnTo>
                  <a:lnTo>
                    <a:pt x="840" y="776"/>
                  </a:lnTo>
                  <a:lnTo>
                    <a:pt x="840" y="776"/>
                  </a:lnTo>
                  <a:lnTo>
                    <a:pt x="843" y="773"/>
                  </a:lnTo>
                  <a:lnTo>
                    <a:pt x="843" y="773"/>
                  </a:lnTo>
                  <a:lnTo>
                    <a:pt x="843" y="771"/>
                  </a:lnTo>
                  <a:lnTo>
                    <a:pt x="845" y="771"/>
                  </a:lnTo>
                  <a:lnTo>
                    <a:pt x="845" y="771"/>
                  </a:lnTo>
                  <a:lnTo>
                    <a:pt x="850" y="771"/>
                  </a:lnTo>
                  <a:lnTo>
                    <a:pt x="850" y="771"/>
                  </a:lnTo>
                  <a:lnTo>
                    <a:pt x="850" y="771"/>
                  </a:lnTo>
                  <a:lnTo>
                    <a:pt x="850" y="771"/>
                  </a:lnTo>
                  <a:lnTo>
                    <a:pt x="850" y="773"/>
                  </a:lnTo>
                  <a:lnTo>
                    <a:pt x="850" y="773"/>
                  </a:lnTo>
                  <a:lnTo>
                    <a:pt x="847" y="776"/>
                  </a:lnTo>
                  <a:lnTo>
                    <a:pt x="847" y="778"/>
                  </a:lnTo>
                  <a:lnTo>
                    <a:pt x="847" y="778"/>
                  </a:lnTo>
                  <a:lnTo>
                    <a:pt x="847" y="778"/>
                  </a:lnTo>
                  <a:lnTo>
                    <a:pt x="852" y="778"/>
                  </a:lnTo>
                  <a:lnTo>
                    <a:pt x="852" y="778"/>
                  </a:lnTo>
                  <a:lnTo>
                    <a:pt x="852" y="780"/>
                  </a:lnTo>
                  <a:lnTo>
                    <a:pt x="850" y="780"/>
                  </a:lnTo>
                  <a:lnTo>
                    <a:pt x="847" y="780"/>
                  </a:lnTo>
                  <a:lnTo>
                    <a:pt x="847" y="783"/>
                  </a:lnTo>
                  <a:lnTo>
                    <a:pt x="850" y="783"/>
                  </a:lnTo>
                  <a:lnTo>
                    <a:pt x="852" y="785"/>
                  </a:lnTo>
                  <a:lnTo>
                    <a:pt x="854" y="787"/>
                  </a:lnTo>
                  <a:lnTo>
                    <a:pt x="857" y="790"/>
                  </a:lnTo>
                  <a:lnTo>
                    <a:pt x="859" y="790"/>
                  </a:lnTo>
                  <a:lnTo>
                    <a:pt x="859" y="790"/>
                  </a:lnTo>
                  <a:lnTo>
                    <a:pt x="861" y="790"/>
                  </a:lnTo>
                  <a:lnTo>
                    <a:pt x="861" y="787"/>
                  </a:lnTo>
                  <a:lnTo>
                    <a:pt x="861" y="785"/>
                  </a:lnTo>
                  <a:lnTo>
                    <a:pt x="861" y="785"/>
                  </a:lnTo>
                  <a:lnTo>
                    <a:pt x="861" y="783"/>
                  </a:lnTo>
                  <a:lnTo>
                    <a:pt x="861" y="783"/>
                  </a:lnTo>
                  <a:lnTo>
                    <a:pt x="861" y="780"/>
                  </a:lnTo>
                  <a:lnTo>
                    <a:pt x="861" y="780"/>
                  </a:lnTo>
                  <a:lnTo>
                    <a:pt x="861" y="778"/>
                  </a:lnTo>
                  <a:lnTo>
                    <a:pt x="861" y="778"/>
                  </a:lnTo>
                  <a:lnTo>
                    <a:pt x="861" y="778"/>
                  </a:lnTo>
                  <a:lnTo>
                    <a:pt x="861" y="778"/>
                  </a:lnTo>
                  <a:lnTo>
                    <a:pt x="861" y="776"/>
                  </a:lnTo>
                  <a:lnTo>
                    <a:pt x="861" y="776"/>
                  </a:lnTo>
                  <a:lnTo>
                    <a:pt x="864" y="778"/>
                  </a:lnTo>
                  <a:lnTo>
                    <a:pt x="864" y="780"/>
                  </a:lnTo>
                  <a:lnTo>
                    <a:pt x="866" y="780"/>
                  </a:lnTo>
                  <a:lnTo>
                    <a:pt x="869" y="778"/>
                  </a:lnTo>
                  <a:lnTo>
                    <a:pt x="869" y="776"/>
                  </a:lnTo>
                  <a:lnTo>
                    <a:pt x="869" y="776"/>
                  </a:lnTo>
                  <a:lnTo>
                    <a:pt x="869" y="776"/>
                  </a:lnTo>
                  <a:lnTo>
                    <a:pt x="871" y="778"/>
                  </a:lnTo>
                  <a:lnTo>
                    <a:pt x="871" y="780"/>
                  </a:lnTo>
                  <a:lnTo>
                    <a:pt x="871" y="780"/>
                  </a:lnTo>
                  <a:lnTo>
                    <a:pt x="871" y="783"/>
                  </a:lnTo>
                  <a:lnTo>
                    <a:pt x="869" y="783"/>
                  </a:lnTo>
                  <a:lnTo>
                    <a:pt x="869" y="783"/>
                  </a:lnTo>
                  <a:lnTo>
                    <a:pt x="869" y="783"/>
                  </a:lnTo>
                  <a:lnTo>
                    <a:pt x="869" y="785"/>
                  </a:lnTo>
                  <a:lnTo>
                    <a:pt x="869" y="785"/>
                  </a:lnTo>
                  <a:lnTo>
                    <a:pt x="869" y="787"/>
                  </a:lnTo>
                  <a:lnTo>
                    <a:pt x="869" y="787"/>
                  </a:lnTo>
                  <a:lnTo>
                    <a:pt x="869" y="790"/>
                  </a:lnTo>
                  <a:lnTo>
                    <a:pt x="869" y="790"/>
                  </a:lnTo>
                  <a:lnTo>
                    <a:pt x="869" y="790"/>
                  </a:lnTo>
                  <a:lnTo>
                    <a:pt x="871" y="792"/>
                  </a:lnTo>
                  <a:lnTo>
                    <a:pt x="873" y="792"/>
                  </a:lnTo>
                  <a:lnTo>
                    <a:pt x="878" y="790"/>
                  </a:lnTo>
                  <a:lnTo>
                    <a:pt x="885" y="787"/>
                  </a:lnTo>
                  <a:lnTo>
                    <a:pt x="885" y="785"/>
                  </a:lnTo>
                  <a:lnTo>
                    <a:pt x="885" y="783"/>
                  </a:lnTo>
                  <a:lnTo>
                    <a:pt x="888" y="780"/>
                  </a:lnTo>
                  <a:lnTo>
                    <a:pt x="888" y="780"/>
                  </a:lnTo>
                  <a:lnTo>
                    <a:pt x="888" y="778"/>
                  </a:lnTo>
                  <a:lnTo>
                    <a:pt x="888" y="776"/>
                  </a:lnTo>
                  <a:lnTo>
                    <a:pt x="888" y="776"/>
                  </a:lnTo>
                  <a:lnTo>
                    <a:pt x="888" y="776"/>
                  </a:lnTo>
                  <a:lnTo>
                    <a:pt x="888" y="773"/>
                  </a:lnTo>
                  <a:lnTo>
                    <a:pt x="888" y="771"/>
                  </a:lnTo>
                  <a:lnTo>
                    <a:pt x="885" y="771"/>
                  </a:lnTo>
                  <a:lnTo>
                    <a:pt x="885" y="771"/>
                  </a:lnTo>
                  <a:lnTo>
                    <a:pt x="883" y="771"/>
                  </a:lnTo>
                  <a:lnTo>
                    <a:pt x="883" y="771"/>
                  </a:lnTo>
                  <a:lnTo>
                    <a:pt x="883" y="768"/>
                  </a:lnTo>
                  <a:lnTo>
                    <a:pt x="883" y="768"/>
                  </a:lnTo>
                  <a:lnTo>
                    <a:pt x="883" y="768"/>
                  </a:lnTo>
                  <a:lnTo>
                    <a:pt x="885" y="766"/>
                  </a:lnTo>
                  <a:lnTo>
                    <a:pt x="885" y="766"/>
                  </a:lnTo>
                  <a:lnTo>
                    <a:pt x="885" y="768"/>
                  </a:lnTo>
                  <a:lnTo>
                    <a:pt x="888" y="768"/>
                  </a:lnTo>
                  <a:lnTo>
                    <a:pt x="888" y="771"/>
                  </a:lnTo>
                  <a:lnTo>
                    <a:pt x="888" y="771"/>
                  </a:lnTo>
                  <a:lnTo>
                    <a:pt x="888" y="771"/>
                  </a:lnTo>
                  <a:lnTo>
                    <a:pt x="888" y="771"/>
                  </a:lnTo>
                  <a:lnTo>
                    <a:pt x="890" y="773"/>
                  </a:lnTo>
                  <a:lnTo>
                    <a:pt x="890" y="773"/>
                  </a:lnTo>
                  <a:lnTo>
                    <a:pt x="890" y="776"/>
                  </a:lnTo>
                  <a:lnTo>
                    <a:pt x="892" y="773"/>
                  </a:lnTo>
                  <a:lnTo>
                    <a:pt x="892" y="771"/>
                  </a:lnTo>
                  <a:lnTo>
                    <a:pt x="892" y="771"/>
                  </a:lnTo>
                  <a:lnTo>
                    <a:pt x="895" y="768"/>
                  </a:lnTo>
                  <a:lnTo>
                    <a:pt x="895" y="766"/>
                  </a:lnTo>
                  <a:lnTo>
                    <a:pt x="895" y="764"/>
                  </a:lnTo>
                  <a:lnTo>
                    <a:pt x="895" y="761"/>
                  </a:lnTo>
                  <a:lnTo>
                    <a:pt x="895" y="761"/>
                  </a:lnTo>
                  <a:lnTo>
                    <a:pt x="895" y="761"/>
                  </a:lnTo>
                  <a:lnTo>
                    <a:pt x="895" y="761"/>
                  </a:lnTo>
                  <a:lnTo>
                    <a:pt x="895" y="759"/>
                  </a:lnTo>
                  <a:lnTo>
                    <a:pt x="895" y="759"/>
                  </a:lnTo>
                  <a:lnTo>
                    <a:pt x="895" y="757"/>
                  </a:lnTo>
                  <a:lnTo>
                    <a:pt x="895" y="757"/>
                  </a:lnTo>
                  <a:lnTo>
                    <a:pt x="895" y="757"/>
                  </a:lnTo>
                  <a:lnTo>
                    <a:pt x="897" y="754"/>
                  </a:lnTo>
                  <a:lnTo>
                    <a:pt x="897" y="757"/>
                  </a:lnTo>
                  <a:lnTo>
                    <a:pt x="897" y="759"/>
                  </a:lnTo>
                  <a:lnTo>
                    <a:pt x="899" y="761"/>
                  </a:lnTo>
                  <a:lnTo>
                    <a:pt x="899" y="764"/>
                  </a:lnTo>
                  <a:lnTo>
                    <a:pt x="899" y="764"/>
                  </a:lnTo>
                  <a:lnTo>
                    <a:pt x="906" y="761"/>
                  </a:lnTo>
                  <a:lnTo>
                    <a:pt x="906" y="759"/>
                  </a:lnTo>
                  <a:lnTo>
                    <a:pt x="906" y="761"/>
                  </a:lnTo>
                  <a:lnTo>
                    <a:pt x="909" y="761"/>
                  </a:lnTo>
                  <a:lnTo>
                    <a:pt x="909" y="761"/>
                  </a:lnTo>
                  <a:lnTo>
                    <a:pt x="909" y="761"/>
                  </a:lnTo>
                  <a:lnTo>
                    <a:pt x="911" y="761"/>
                  </a:lnTo>
                  <a:lnTo>
                    <a:pt x="911" y="761"/>
                  </a:lnTo>
                  <a:lnTo>
                    <a:pt x="909" y="761"/>
                  </a:lnTo>
                  <a:lnTo>
                    <a:pt x="906" y="764"/>
                  </a:lnTo>
                  <a:lnTo>
                    <a:pt x="904" y="766"/>
                  </a:lnTo>
                  <a:lnTo>
                    <a:pt x="902" y="766"/>
                  </a:lnTo>
                  <a:lnTo>
                    <a:pt x="899" y="766"/>
                  </a:lnTo>
                  <a:lnTo>
                    <a:pt x="899" y="768"/>
                  </a:lnTo>
                  <a:lnTo>
                    <a:pt x="899" y="768"/>
                  </a:lnTo>
                  <a:lnTo>
                    <a:pt x="897" y="773"/>
                  </a:lnTo>
                  <a:lnTo>
                    <a:pt x="895" y="778"/>
                  </a:lnTo>
                  <a:lnTo>
                    <a:pt x="897" y="780"/>
                  </a:lnTo>
                  <a:lnTo>
                    <a:pt x="897" y="780"/>
                  </a:lnTo>
                  <a:lnTo>
                    <a:pt x="899" y="778"/>
                  </a:lnTo>
                  <a:lnTo>
                    <a:pt x="902" y="778"/>
                  </a:lnTo>
                  <a:lnTo>
                    <a:pt x="902" y="778"/>
                  </a:lnTo>
                  <a:lnTo>
                    <a:pt x="897" y="780"/>
                  </a:lnTo>
                  <a:lnTo>
                    <a:pt x="895" y="783"/>
                  </a:lnTo>
                  <a:lnTo>
                    <a:pt x="895" y="783"/>
                  </a:lnTo>
                  <a:lnTo>
                    <a:pt x="895" y="783"/>
                  </a:lnTo>
                  <a:lnTo>
                    <a:pt x="895" y="787"/>
                  </a:lnTo>
                  <a:lnTo>
                    <a:pt x="895" y="787"/>
                  </a:lnTo>
                  <a:lnTo>
                    <a:pt x="899" y="790"/>
                  </a:lnTo>
                  <a:lnTo>
                    <a:pt x="899" y="790"/>
                  </a:lnTo>
                  <a:lnTo>
                    <a:pt x="899" y="787"/>
                  </a:lnTo>
                  <a:lnTo>
                    <a:pt x="902" y="787"/>
                  </a:lnTo>
                  <a:lnTo>
                    <a:pt x="902" y="787"/>
                  </a:lnTo>
                  <a:lnTo>
                    <a:pt x="904" y="787"/>
                  </a:lnTo>
                  <a:lnTo>
                    <a:pt x="906" y="787"/>
                  </a:lnTo>
                  <a:lnTo>
                    <a:pt x="909" y="787"/>
                  </a:lnTo>
                  <a:lnTo>
                    <a:pt x="911" y="787"/>
                  </a:lnTo>
                  <a:lnTo>
                    <a:pt x="911" y="785"/>
                  </a:lnTo>
                  <a:lnTo>
                    <a:pt x="911" y="783"/>
                  </a:lnTo>
                  <a:lnTo>
                    <a:pt x="911" y="783"/>
                  </a:lnTo>
                  <a:lnTo>
                    <a:pt x="911" y="787"/>
                  </a:lnTo>
                  <a:lnTo>
                    <a:pt x="914" y="787"/>
                  </a:lnTo>
                  <a:lnTo>
                    <a:pt x="914" y="787"/>
                  </a:lnTo>
                  <a:lnTo>
                    <a:pt x="916" y="787"/>
                  </a:lnTo>
                  <a:lnTo>
                    <a:pt x="921" y="785"/>
                  </a:lnTo>
                  <a:lnTo>
                    <a:pt x="921" y="785"/>
                  </a:lnTo>
                  <a:lnTo>
                    <a:pt x="921" y="785"/>
                  </a:lnTo>
                  <a:lnTo>
                    <a:pt x="921" y="783"/>
                  </a:lnTo>
                  <a:lnTo>
                    <a:pt x="921" y="783"/>
                  </a:lnTo>
                  <a:lnTo>
                    <a:pt x="921" y="780"/>
                  </a:lnTo>
                  <a:lnTo>
                    <a:pt x="921" y="780"/>
                  </a:lnTo>
                  <a:lnTo>
                    <a:pt x="921" y="778"/>
                  </a:lnTo>
                  <a:lnTo>
                    <a:pt x="921" y="776"/>
                  </a:lnTo>
                  <a:lnTo>
                    <a:pt x="921" y="776"/>
                  </a:lnTo>
                  <a:lnTo>
                    <a:pt x="923" y="776"/>
                  </a:lnTo>
                  <a:lnTo>
                    <a:pt x="923" y="776"/>
                  </a:lnTo>
                  <a:lnTo>
                    <a:pt x="923" y="773"/>
                  </a:lnTo>
                  <a:lnTo>
                    <a:pt x="923" y="773"/>
                  </a:lnTo>
                  <a:lnTo>
                    <a:pt x="923" y="773"/>
                  </a:lnTo>
                  <a:lnTo>
                    <a:pt x="923" y="776"/>
                  </a:lnTo>
                  <a:lnTo>
                    <a:pt x="923" y="776"/>
                  </a:lnTo>
                  <a:lnTo>
                    <a:pt x="923" y="778"/>
                  </a:lnTo>
                  <a:lnTo>
                    <a:pt x="923" y="778"/>
                  </a:lnTo>
                  <a:lnTo>
                    <a:pt x="923" y="778"/>
                  </a:lnTo>
                  <a:lnTo>
                    <a:pt x="923" y="778"/>
                  </a:lnTo>
                  <a:lnTo>
                    <a:pt x="923" y="780"/>
                  </a:lnTo>
                  <a:lnTo>
                    <a:pt x="923" y="780"/>
                  </a:lnTo>
                  <a:lnTo>
                    <a:pt x="923" y="780"/>
                  </a:lnTo>
                  <a:lnTo>
                    <a:pt x="923" y="783"/>
                  </a:lnTo>
                  <a:lnTo>
                    <a:pt x="925" y="783"/>
                  </a:lnTo>
                  <a:lnTo>
                    <a:pt x="925" y="783"/>
                  </a:lnTo>
                  <a:lnTo>
                    <a:pt x="925" y="780"/>
                  </a:lnTo>
                  <a:lnTo>
                    <a:pt x="925" y="780"/>
                  </a:lnTo>
                  <a:lnTo>
                    <a:pt x="925" y="780"/>
                  </a:lnTo>
                  <a:lnTo>
                    <a:pt x="925" y="780"/>
                  </a:lnTo>
                  <a:lnTo>
                    <a:pt x="925" y="780"/>
                  </a:lnTo>
                  <a:lnTo>
                    <a:pt x="925" y="778"/>
                  </a:lnTo>
                  <a:lnTo>
                    <a:pt x="925" y="778"/>
                  </a:lnTo>
                  <a:lnTo>
                    <a:pt x="928" y="778"/>
                  </a:lnTo>
                  <a:lnTo>
                    <a:pt x="928" y="778"/>
                  </a:lnTo>
                  <a:lnTo>
                    <a:pt x="928" y="778"/>
                  </a:lnTo>
                  <a:lnTo>
                    <a:pt x="928" y="778"/>
                  </a:lnTo>
                  <a:lnTo>
                    <a:pt x="928" y="780"/>
                  </a:lnTo>
                  <a:lnTo>
                    <a:pt x="928" y="780"/>
                  </a:lnTo>
                  <a:lnTo>
                    <a:pt x="928" y="780"/>
                  </a:lnTo>
                  <a:lnTo>
                    <a:pt x="928" y="780"/>
                  </a:lnTo>
                  <a:lnTo>
                    <a:pt x="928" y="780"/>
                  </a:lnTo>
                  <a:lnTo>
                    <a:pt x="930" y="780"/>
                  </a:lnTo>
                  <a:lnTo>
                    <a:pt x="928" y="783"/>
                  </a:lnTo>
                  <a:lnTo>
                    <a:pt x="928" y="783"/>
                  </a:lnTo>
                  <a:lnTo>
                    <a:pt x="925" y="783"/>
                  </a:lnTo>
                  <a:lnTo>
                    <a:pt x="925" y="785"/>
                  </a:lnTo>
                  <a:lnTo>
                    <a:pt x="925" y="785"/>
                  </a:lnTo>
                  <a:lnTo>
                    <a:pt x="925" y="787"/>
                  </a:lnTo>
                  <a:lnTo>
                    <a:pt x="928" y="787"/>
                  </a:lnTo>
                  <a:lnTo>
                    <a:pt x="930" y="787"/>
                  </a:lnTo>
                  <a:lnTo>
                    <a:pt x="932" y="785"/>
                  </a:lnTo>
                  <a:lnTo>
                    <a:pt x="937" y="787"/>
                  </a:lnTo>
                  <a:lnTo>
                    <a:pt x="937" y="787"/>
                  </a:lnTo>
                  <a:lnTo>
                    <a:pt x="940" y="783"/>
                  </a:lnTo>
                  <a:lnTo>
                    <a:pt x="940" y="783"/>
                  </a:lnTo>
                  <a:lnTo>
                    <a:pt x="940" y="783"/>
                  </a:lnTo>
                  <a:lnTo>
                    <a:pt x="940" y="783"/>
                  </a:lnTo>
                  <a:lnTo>
                    <a:pt x="940" y="783"/>
                  </a:lnTo>
                  <a:lnTo>
                    <a:pt x="942" y="785"/>
                  </a:lnTo>
                  <a:lnTo>
                    <a:pt x="942" y="787"/>
                  </a:lnTo>
                  <a:lnTo>
                    <a:pt x="944" y="787"/>
                  </a:lnTo>
                  <a:lnTo>
                    <a:pt x="944" y="785"/>
                  </a:lnTo>
                  <a:lnTo>
                    <a:pt x="942" y="785"/>
                  </a:lnTo>
                  <a:lnTo>
                    <a:pt x="942" y="785"/>
                  </a:lnTo>
                  <a:lnTo>
                    <a:pt x="944" y="785"/>
                  </a:lnTo>
                  <a:lnTo>
                    <a:pt x="944" y="785"/>
                  </a:lnTo>
                  <a:lnTo>
                    <a:pt x="944" y="785"/>
                  </a:lnTo>
                  <a:lnTo>
                    <a:pt x="947" y="785"/>
                  </a:lnTo>
                  <a:lnTo>
                    <a:pt x="947" y="785"/>
                  </a:lnTo>
                  <a:lnTo>
                    <a:pt x="949" y="783"/>
                  </a:lnTo>
                  <a:lnTo>
                    <a:pt x="949" y="783"/>
                  </a:lnTo>
                  <a:lnTo>
                    <a:pt x="949" y="780"/>
                  </a:lnTo>
                  <a:lnTo>
                    <a:pt x="951" y="778"/>
                  </a:lnTo>
                  <a:lnTo>
                    <a:pt x="951" y="778"/>
                  </a:lnTo>
                  <a:lnTo>
                    <a:pt x="954" y="778"/>
                  </a:lnTo>
                  <a:lnTo>
                    <a:pt x="956" y="780"/>
                  </a:lnTo>
                  <a:lnTo>
                    <a:pt x="956" y="780"/>
                  </a:lnTo>
                  <a:lnTo>
                    <a:pt x="956" y="783"/>
                  </a:lnTo>
                  <a:lnTo>
                    <a:pt x="956" y="783"/>
                  </a:lnTo>
                  <a:lnTo>
                    <a:pt x="956" y="783"/>
                  </a:lnTo>
                  <a:lnTo>
                    <a:pt x="956" y="783"/>
                  </a:lnTo>
                  <a:lnTo>
                    <a:pt x="956" y="783"/>
                  </a:lnTo>
                  <a:lnTo>
                    <a:pt x="954" y="783"/>
                  </a:lnTo>
                  <a:lnTo>
                    <a:pt x="954" y="785"/>
                  </a:lnTo>
                  <a:lnTo>
                    <a:pt x="954" y="785"/>
                  </a:lnTo>
                  <a:lnTo>
                    <a:pt x="954" y="785"/>
                  </a:lnTo>
                  <a:lnTo>
                    <a:pt x="954" y="787"/>
                  </a:lnTo>
                  <a:lnTo>
                    <a:pt x="951" y="787"/>
                  </a:lnTo>
                  <a:lnTo>
                    <a:pt x="951" y="787"/>
                  </a:lnTo>
                  <a:lnTo>
                    <a:pt x="951" y="790"/>
                  </a:lnTo>
                  <a:lnTo>
                    <a:pt x="951" y="790"/>
                  </a:lnTo>
                  <a:lnTo>
                    <a:pt x="949" y="790"/>
                  </a:lnTo>
                  <a:lnTo>
                    <a:pt x="949" y="790"/>
                  </a:lnTo>
                  <a:lnTo>
                    <a:pt x="949" y="790"/>
                  </a:lnTo>
                  <a:lnTo>
                    <a:pt x="949" y="790"/>
                  </a:lnTo>
                  <a:lnTo>
                    <a:pt x="949" y="790"/>
                  </a:lnTo>
                  <a:lnTo>
                    <a:pt x="949" y="790"/>
                  </a:lnTo>
                  <a:lnTo>
                    <a:pt x="947" y="790"/>
                  </a:lnTo>
                  <a:lnTo>
                    <a:pt x="947" y="790"/>
                  </a:lnTo>
                  <a:lnTo>
                    <a:pt x="947" y="790"/>
                  </a:lnTo>
                  <a:lnTo>
                    <a:pt x="949" y="790"/>
                  </a:lnTo>
                  <a:lnTo>
                    <a:pt x="949" y="792"/>
                  </a:lnTo>
                  <a:lnTo>
                    <a:pt x="949" y="792"/>
                  </a:lnTo>
                  <a:lnTo>
                    <a:pt x="947" y="794"/>
                  </a:lnTo>
                  <a:lnTo>
                    <a:pt x="944" y="794"/>
                  </a:lnTo>
                  <a:lnTo>
                    <a:pt x="944" y="792"/>
                  </a:lnTo>
                  <a:lnTo>
                    <a:pt x="944" y="792"/>
                  </a:lnTo>
                  <a:lnTo>
                    <a:pt x="942" y="794"/>
                  </a:lnTo>
                  <a:lnTo>
                    <a:pt x="942" y="794"/>
                  </a:lnTo>
                  <a:lnTo>
                    <a:pt x="944" y="794"/>
                  </a:lnTo>
                  <a:lnTo>
                    <a:pt x="944" y="794"/>
                  </a:lnTo>
                  <a:lnTo>
                    <a:pt x="944" y="794"/>
                  </a:lnTo>
                  <a:lnTo>
                    <a:pt x="942" y="797"/>
                  </a:lnTo>
                  <a:lnTo>
                    <a:pt x="942" y="797"/>
                  </a:lnTo>
                  <a:lnTo>
                    <a:pt x="940" y="797"/>
                  </a:lnTo>
                  <a:lnTo>
                    <a:pt x="937" y="799"/>
                  </a:lnTo>
                  <a:lnTo>
                    <a:pt x="935" y="797"/>
                  </a:lnTo>
                  <a:lnTo>
                    <a:pt x="932" y="797"/>
                  </a:lnTo>
                  <a:lnTo>
                    <a:pt x="928" y="797"/>
                  </a:lnTo>
                  <a:lnTo>
                    <a:pt x="923" y="797"/>
                  </a:lnTo>
                  <a:lnTo>
                    <a:pt x="918" y="797"/>
                  </a:lnTo>
                  <a:lnTo>
                    <a:pt x="916" y="797"/>
                  </a:lnTo>
                  <a:lnTo>
                    <a:pt x="914" y="797"/>
                  </a:lnTo>
                  <a:lnTo>
                    <a:pt x="911" y="799"/>
                  </a:lnTo>
                  <a:lnTo>
                    <a:pt x="911" y="799"/>
                  </a:lnTo>
                  <a:lnTo>
                    <a:pt x="909" y="802"/>
                  </a:lnTo>
                  <a:lnTo>
                    <a:pt x="909" y="802"/>
                  </a:lnTo>
                  <a:lnTo>
                    <a:pt x="909" y="804"/>
                  </a:lnTo>
                  <a:lnTo>
                    <a:pt x="909" y="804"/>
                  </a:lnTo>
                  <a:lnTo>
                    <a:pt x="906" y="804"/>
                  </a:lnTo>
                  <a:lnTo>
                    <a:pt x="906" y="804"/>
                  </a:lnTo>
                  <a:lnTo>
                    <a:pt x="906" y="804"/>
                  </a:lnTo>
                  <a:lnTo>
                    <a:pt x="904" y="804"/>
                  </a:lnTo>
                  <a:lnTo>
                    <a:pt x="906" y="804"/>
                  </a:lnTo>
                  <a:lnTo>
                    <a:pt x="909" y="806"/>
                  </a:lnTo>
                  <a:lnTo>
                    <a:pt x="906" y="806"/>
                  </a:lnTo>
                  <a:lnTo>
                    <a:pt x="906" y="806"/>
                  </a:lnTo>
                  <a:lnTo>
                    <a:pt x="904" y="806"/>
                  </a:lnTo>
                  <a:lnTo>
                    <a:pt x="904" y="806"/>
                  </a:lnTo>
                  <a:lnTo>
                    <a:pt x="902" y="806"/>
                  </a:lnTo>
                  <a:lnTo>
                    <a:pt x="899" y="806"/>
                  </a:lnTo>
                  <a:lnTo>
                    <a:pt x="897" y="806"/>
                  </a:lnTo>
                  <a:lnTo>
                    <a:pt x="895" y="809"/>
                  </a:lnTo>
                  <a:lnTo>
                    <a:pt x="892" y="809"/>
                  </a:lnTo>
                  <a:lnTo>
                    <a:pt x="885" y="811"/>
                  </a:lnTo>
                  <a:lnTo>
                    <a:pt x="883" y="813"/>
                  </a:lnTo>
                  <a:lnTo>
                    <a:pt x="883" y="813"/>
                  </a:lnTo>
                  <a:lnTo>
                    <a:pt x="880" y="816"/>
                  </a:lnTo>
                  <a:lnTo>
                    <a:pt x="880" y="816"/>
                  </a:lnTo>
                  <a:lnTo>
                    <a:pt x="880" y="818"/>
                  </a:lnTo>
                  <a:lnTo>
                    <a:pt x="880" y="818"/>
                  </a:lnTo>
                  <a:lnTo>
                    <a:pt x="880" y="820"/>
                  </a:lnTo>
                  <a:lnTo>
                    <a:pt x="885" y="825"/>
                  </a:lnTo>
                  <a:lnTo>
                    <a:pt x="885" y="825"/>
                  </a:lnTo>
                  <a:lnTo>
                    <a:pt x="885" y="825"/>
                  </a:lnTo>
                  <a:lnTo>
                    <a:pt x="885" y="825"/>
                  </a:lnTo>
                  <a:lnTo>
                    <a:pt x="885" y="825"/>
                  </a:lnTo>
                  <a:lnTo>
                    <a:pt x="885" y="825"/>
                  </a:lnTo>
                  <a:lnTo>
                    <a:pt x="892" y="835"/>
                  </a:lnTo>
                  <a:lnTo>
                    <a:pt x="895" y="837"/>
                  </a:lnTo>
                  <a:lnTo>
                    <a:pt x="899" y="839"/>
                  </a:lnTo>
                  <a:lnTo>
                    <a:pt x="904" y="842"/>
                  </a:lnTo>
                  <a:lnTo>
                    <a:pt x="906" y="842"/>
                  </a:lnTo>
                  <a:lnTo>
                    <a:pt x="916" y="842"/>
                  </a:lnTo>
                  <a:lnTo>
                    <a:pt x="918" y="842"/>
                  </a:lnTo>
                  <a:lnTo>
                    <a:pt x="921" y="842"/>
                  </a:lnTo>
                  <a:lnTo>
                    <a:pt x="923" y="842"/>
                  </a:lnTo>
                  <a:lnTo>
                    <a:pt x="923" y="839"/>
                  </a:lnTo>
                  <a:lnTo>
                    <a:pt x="930" y="839"/>
                  </a:lnTo>
                  <a:lnTo>
                    <a:pt x="937" y="837"/>
                  </a:lnTo>
                  <a:lnTo>
                    <a:pt x="937" y="835"/>
                  </a:lnTo>
                  <a:lnTo>
                    <a:pt x="942" y="832"/>
                  </a:lnTo>
                  <a:lnTo>
                    <a:pt x="944" y="832"/>
                  </a:lnTo>
                  <a:lnTo>
                    <a:pt x="944" y="832"/>
                  </a:lnTo>
                  <a:lnTo>
                    <a:pt x="944" y="832"/>
                  </a:lnTo>
                  <a:lnTo>
                    <a:pt x="947" y="830"/>
                  </a:lnTo>
                  <a:lnTo>
                    <a:pt x="947" y="830"/>
                  </a:lnTo>
                  <a:lnTo>
                    <a:pt x="949" y="830"/>
                  </a:lnTo>
                  <a:lnTo>
                    <a:pt x="951" y="830"/>
                  </a:lnTo>
                  <a:lnTo>
                    <a:pt x="951" y="830"/>
                  </a:lnTo>
                  <a:lnTo>
                    <a:pt x="951" y="828"/>
                  </a:lnTo>
                  <a:lnTo>
                    <a:pt x="951" y="828"/>
                  </a:lnTo>
                  <a:lnTo>
                    <a:pt x="951" y="828"/>
                  </a:lnTo>
                  <a:lnTo>
                    <a:pt x="954" y="828"/>
                  </a:lnTo>
                  <a:lnTo>
                    <a:pt x="954" y="828"/>
                  </a:lnTo>
                  <a:lnTo>
                    <a:pt x="956" y="825"/>
                  </a:lnTo>
                  <a:lnTo>
                    <a:pt x="959" y="823"/>
                  </a:lnTo>
                  <a:lnTo>
                    <a:pt x="961" y="823"/>
                  </a:lnTo>
                  <a:lnTo>
                    <a:pt x="959" y="820"/>
                  </a:lnTo>
                  <a:lnTo>
                    <a:pt x="959" y="818"/>
                  </a:lnTo>
                  <a:lnTo>
                    <a:pt x="959" y="818"/>
                  </a:lnTo>
                  <a:lnTo>
                    <a:pt x="959" y="816"/>
                  </a:lnTo>
                  <a:lnTo>
                    <a:pt x="959" y="816"/>
                  </a:lnTo>
                  <a:lnTo>
                    <a:pt x="961" y="818"/>
                  </a:lnTo>
                  <a:lnTo>
                    <a:pt x="966" y="816"/>
                  </a:lnTo>
                  <a:lnTo>
                    <a:pt x="966" y="816"/>
                  </a:lnTo>
                  <a:lnTo>
                    <a:pt x="966" y="816"/>
                  </a:lnTo>
                  <a:lnTo>
                    <a:pt x="963" y="816"/>
                  </a:lnTo>
                  <a:lnTo>
                    <a:pt x="963" y="813"/>
                  </a:lnTo>
                  <a:lnTo>
                    <a:pt x="966" y="813"/>
                  </a:lnTo>
                  <a:lnTo>
                    <a:pt x="966" y="813"/>
                  </a:lnTo>
                  <a:lnTo>
                    <a:pt x="966" y="813"/>
                  </a:lnTo>
                  <a:lnTo>
                    <a:pt x="966" y="813"/>
                  </a:lnTo>
                  <a:lnTo>
                    <a:pt x="966" y="813"/>
                  </a:lnTo>
                  <a:lnTo>
                    <a:pt x="966" y="813"/>
                  </a:lnTo>
                  <a:lnTo>
                    <a:pt x="966" y="813"/>
                  </a:lnTo>
                  <a:lnTo>
                    <a:pt x="970" y="816"/>
                  </a:lnTo>
                  <a:lnTo>
                    <a:pt x="970" y="813"/>
                  </a:lnTo>
                  <a:lnTo>
                    <a:pt x="970" y="813"/>
                  </a:lnTo>
                  <a:lnTo>
                    <a:pt x="970" y="816"/>
                  </a:lnTo>
                  <a:lnTo>
                    <a:pt x="970" y="816"/>
                  </a:lnTo>
                  <a:lnTo>
                    <a:pt x="973" y="816"/>
                  </a:lnTo>
                  <a:lnTo>
                    <a:pt x="973" y="813"/>
                  </a:lnTo>
                  <a:lnTo>
                    <a:pt x="973" y="813"/>
                  </a:lnTo>
                  <a:lnTo>
                    <a:pt x="973" y="813"/>
                  </a:lnTo>
                  <a:lnTo>
                    <a:pt x="975" y="811"/>
                  </a:lnTo>
                  <a:lnTo>
                    <a:pt x="982" y="813"/>
                  </a:lnTo>
                  <a:lnTo>
                    <a:pt x="982" y="813"/>
                  </a:lnTo>
                  <a:lnTo>
                    <a:pt x="985" y="811"/>
                  </a:lnTo>
                  <a:lnTo>
                    <a:pt x="987" y="811"/>
                  </a:lnTo>
                  <a:lnTo>
                    <a:pt x="985" y="811"/>
                  </a:lnTo>
                  <a:lnTo>
                    <a:pt x="985" y="809"/>
                  </a:lnTo>
                  <a:lnTo>
                    <a:pt x="985" y="809"/>
                  </a:lnTo>
                  <a:lnTo>
                    <a:pt x="987" y="809"/>
                  </a:lnTo>
                  <a:lnTo>
                    <a:pt x="987" y="806"/>
                  </a:lnTo>
                  <a:lnTo>
                    <a:pt x="992" y="804"/>
                  </a:lnTo>
                  <a:lnTo>
                    <a:pt x="994" y="804"/>
                  </a:lnTo>
                  <a:lnTo>
                    <a:pt x="994" y="804"/>
                  </a:lnTo>
                  <a:lnTo>
                    <a:pt x="996" y="804"/>
                  </a:lnTo>
                  <a:lnTo>
                    <a:pt x="996" y="802"/>
                  </a:lnTo>
                  <a:lnTo>
                    <a:pt x="996" y="802"/>
                  </a:lnTo>
                  <a:lnTo>
                    <a:pt x="996" y="802"/>
                  </a:lnTo>
                  <a:lnTo>
                    <a:pt x="994" y="802"/>
                  </a:lnTo>
                  <a:lnTo>
                    <a:pt x="996" y="799"/>
                  </a:lnTo>
                  <a:lnTo>
                    <a:pt x="996" y="799"/>
                  </a:lnTo>
                  <a:lnTo>
                    <a:pt x="996" y="799"/>
                  </a:lnTo>
                  <a:lnTo>
                    <a:pt x="999" y="797"/>
                  </a:lnTo>
                  <a:lnTo>
                    <a:pt x="1001" y="799"/>
                  </a:lnTo>
                  <a:lnTo>
                    <a:pt x="1003" y="802"/>
                  </a:lnTo>
                  <a:lnTo>
                    <a:pt x="1003" y="804"/>
                  </a:lnTo>
                  <a:lnTo>
                    <a:pt x="1003" y="806"/>
                  </a:lnTo>
                  <a:lnTo>
                    <a:pt x="999" y="804"/>
                  </a:lnTo>
                  <a:lnTo>
                    <a:pt x="999" y="804"/>
                  </a:lnTo>
                  <a:lnTo>
                    <a:pt x="1003" y="806"/>
                  </a:lnTo>
                  <a:lnTo>
                    <a:pt x="1003" y="809"/>
                  </a:lnTo>
                  <a:lnTo>
                    <a:pt x="1003" y="809"/>
                  </a:lnTo>
                  <a:lnTo>
                    <a:pt x="1003" y="809"/>
                  </a:lnTo>
                  <a:lnTo>
                    <a:pt x="1006" y="811"/>
                  </a:lnTo>
                  <a:lnTo>
                    <a:pt x="1013" y="809"/>
                  </a:lnTo>
                  <a:lnTo>
                    <a:pt x="1015" y="811"/>
                  </a:lnTo>
                  <a:lnTo>
                    <a:pt x="1015" y="811"/>
                  </a:lnTo>
                  <a:lnTo>
                    <a:pt x="1015" y="809"/>
                  </a:lnTo>
                  <a:lnTo>
                    <a:pt x="1015" y="809"/>
                  </a:lnTo>
                  <a:lnTo>
                    <a:pt x="1013" y="809"/>
                  </a:lnTo>
                  <a:lnTo>
                    <a:pt x="1015" y="809"/>
                  </a:lnTo>
                  <a:lnTo>
                    <a:pt x="1015" y="806"/>
                  </a:lnTo>
                  <a:lnTo>
                    <a:pt x="1015" y="806"/>
                  </a:lnTo>
                  <a:lnTo>
                    <a:pt x="1015" y="806"/>
                  </a:lnTo>
                  <a:lnTo>
                    <a:pt x="1015" y="804"/>
                  </a:lnTo>
                  <a:lnTo>
                    <a:pt x="1015" y="804"/>
                  </a:lnTo>
                  <a:lnTo>
                    <a:pt x="1015" y="804"/>
                  </a:lnTo>
                  <a:lnTo>
                    <a:pt x="1015" y="804"/>
                  </a:lnTo>
                  <a:lnTo>
                    <a:pt x="1015" y="804"/>
                  </a:lnTo>
                  <a:lnTo>
                    <a:pt x="1018" y="804"/>
                  </a:lnTo>
                  <a:lnTo>
                    <a:pt x="1015" y="804"/>
                  </a:lnTo>
                  <a:lnTo>
                    <a:pt x="1015" y="804"/>
                  </a:lnTo>
                  <a:lnTo>
                    <a:pt x="1015" y="804"/>
                  </a:lnTo>
                  <a:lnTo>
                    <a:pt x="1018" y="804"/>
                  </a:lnTo>
                  <a:lnTo>
                    <a:pt x="1020" y="802"/>
                  </a:lnTo>
                  <a:lnTo>
                    <a:pt x="1020" y="802"/>
                  </a:lnTo>
                  <a:lnTo>
                    <a:pt x="1020" y="799"/>
                  </a:lnTo>
                  <a:lnTo>
                    <a:pt x="1020" y="799"/>
                  </a:lnTo>
                  <a:lnTo>
                    <a:pt x="1020" y="799"/>
                  </a:lnTo>
                  <a:lnTo>
                    <a:pt x="1020" y="797"/>
                  </a:lnTo>
                  <a:lnTo>
                    <a:pt x="1020" y="797"/>
                  </a:lnTo>
                  <a:lnTo>
                    <a:pt x="1020" y="797"/>
                  </a:lnTo>
                  <a:lnTo>
                    <a:pt x="1020" y="797"/>
                  </a:lnTo>
                  <a:lnTo>
                    <a:pt x="1020" y="799"/>
                  </a:lnTo>
                  <a:lnTo>
                    <a:pt x="1022" y="799"/>
                  </a:lnTo>
                  <a:lnTo>
                    <a:pt x="1022" y="802"/>
                  </a:lnTo>
                  <a:lnTo>
                    <a:pt x="1022" y="802"/>
                  </a:lnTo>
                  <a:lnTo>
                    <a:pt x="1020" y="804"/>
                  </a:lnTo>
                  <a:lnTo>
                    <a:pt x="1020" y="804"/>
                  </a:lnTo>
                  <a:lnTo>
                    <a:pt x="1020" y="804"/>
                  </a:lnTo>
                  <a:lnTo>
                    <a:pt x="1020" y="806"/>
                  </a:lnTo>
                  <a:lnTo>
                    <a:pt x="1020" y="806"/>
                  </a:lnTo>
                  <a:lnTo>
                    <a:pt x="1025" y="811"/>
                  </a:lnTo>
                  <a:lnTo>
                    <a:pt x="1030" y="811"/>
                  </a:lnTo>
                  <a:lnTo>
                    <a:pt x="1030" y="813"/>
                  </a:lnTo>
                  <a:lnTo>
                    <a:pt x="1034" y="813"/>
                  </a:lnTo>
                  <a:lnTo>
                    <a:pt x="1039" y="809"/>
                  </a:lnTo>
                  <a:lnTo>
                    <a:pt x="1039" y="809"/>
                  </a:lnTo>
                  <a:lnTo>
                    <a:pt x="1039" y="806"/>
                  </a:lnTo>
                  <a:lnTo>
                    <a:pt x="1039" y="806"/>
                  </a:lnTo>
                  <a:lnTo>
                    <a:pt x="1039" y="806"/>
                  </a:lnTo>
                  <a:lnTo>
                    <a:pt x="1039" y="806"/>
                  </a:lnTo>
                  <a:lnTo>
                    <a:pt x="1048" y="804"/>
                  </a:lnTo>
                  <a:lnTo>
                    <a:pt x="1056" y="804"/>
                  </a:lnTo>
                  <a:lnTo>
                    <a:pt x="1056" y="804"/>
                  </a:lnTo>
                  <a:lnTo>
                    <a:pt x="1056" y="802"/>
                  </a:lnTo>
                  <a:lnTo>
                    <a:pt x="1056" y="802"/>
                  </a:lnTo>
                  <a:lnTo>
                    <a:pt x="1056" y="802"/>
                  </a:lnTo>
                  <a:lnTo>
                    <a:pt x="1056" y="799"/>
                  </a:lnTo>
                  <a:lnTo>
                    <a:pt x="1056" y="799"/>
                  </a:lnTo>
                  <a:lnTo>
                    <a:pt x="1056" y="799"/>
                  </a:lnTo>
                  <a:lnTo>
                    <a:pt x="1056" y="797"/>
                  </a:lnTo>
                  <a:lnTo>
                    <a:pt x="1056" y="797"/>
                  </a:lnTo>
                  <a:lnTo>
                    <a:pt x="1058" y="797"/>
                  </a:lnTo>
                  <a:lnTo>
                    <a:pt x="1058" y="794"/>
                  </a:lnTo>
                  <a:lnTo>
                    <a:pt x="1058" y="794"/>
                  </a:lnTo>
                  <a:lnTo>
                    <a:pt x="1058" y="794"/>
                  </a:lnTo>
                  <a:lnTo>
                    <a:pt x="1060" y="792"/>
                  </a:lnTo>
                  <a:lnTo>
                    <a:pt x="1058" y="792"/>
                  </a:lnTo>
                  <a:lnTo>
                    <a:pt x="1058" y="790"/>
                  </a:lnTo>
                  <a:lnTo>
                    <a:pt x="1058" y="787"/>
                  </a:lnTo>
                  <a:lnTo>
                    <a:pt x="1060" y="787"/>
                  </a:lnTo>
                  <a:lnTo>
                    <a:pt x="1060" y="787"/>
                  </a:lnTo>
                  <a:lnTo>
                    <a:pt x="1060" y="785"/>
                  </a:lnTo>
                  <a:lnTo>
                    <a:pt x="1063" y="783"/>
                  </a:lnTo>
                  <a:lnTo>
                    <a:pt x="1063" y="783"/>
                  </a:lnTo>
                  <a:lnTo>
                    <a:pt x="1063" y="780"/>
                  </a:lnTo>
                  <a:lnTo>
                    <a:pt x="1063" y="780"/>
                  </a:lnTo>
                  <a:lnTo>
                    <a:pt x="1063" y="780"/>
                  </a:lnTo>
                  <a:lnTo>
                    <a:pt x="1065" y="780"/>
                  </a:lnTo>
                  <a:lnTo>
                    <a:pt x="1065" y="778"/>
                  </a:lnTo>
                  <a:lnTo>
                    <a:pt x="1065" y="778"/>
                  </a:lnTo>
                  <a:lnTo>
                    <a:pt x="1065" y="778"/>
                  </a:lnTo>
                  <a:lnTo>
                    <a:pt x="1063" y="776"/>
                  </a:lnTo>
                  <a:lnTo>
                    <a:pt x="1063" y="776"/>
                  </a:lnTo>
                  <a:lnTo>
                    <a:pt x="1063" y="776"/>
                  </a:lnTo>
                  <a:lnTo>
                    <a:pt x="1065" y="773"/>
                  </a:lnTo>
                  <a:lnTo>
                    <a:pt x="1065" y="773"/>
                  </a:lnTo>
                  <a:lnTo>
                    <a:pt x="1065" y="771"/>
                  </a:lnTo>
                  <a:lnTo>
                    <a:pt x="1065" y="771"/>
                  </a:lnTo>
                  <a:lnTo>
                    <a:pt x="1065" y="771"/>
                  </a:lnTo>
                  <a:lnTo>
                    <a:pt x="1063" y="768"/>
                  </a:lnTo>
                  <a:lnTo>
                    <a:pt x="1063" y="768"/>
                  </a:lnTo>
                  <a:lnTo>
                    <a:pt x="1063" y="768"/>
                  </a:lnTo>
                  <a:lnTo>
                    <a:pt x="1065" y="768"/>
                  </a:lnTo>
                  <a:lnTo>
                    <a:pt x="1065" y="768"/>
                  </a:lnTo>
                  <a:lnTo>
                    <a:pt x="1065" y="766"/>
                  </a:lnTo>
                  <a:lnTo>
                    <a:pt x="1065" y="766"/>
                  </a:lnTo>
                  <a:lnTo>
                    <a:pt x="1065" y="766"/>
                  </a:lnTo>
                  <a:lnTo>
                    <a:pt x="1065" y="766"/>
                  </a:lnTo>
                  <a:lnTo>
                    <a:pt x="1067" y="764"/>
                  </a:lnTo>
                  <a:lnTo>
                    <a:pt x="1067" y="764"/>
                  </a:lnTo>
                  <a:lnTo>
                    <a:pt x="1067" y="764"/>
                  </a:lnTo>
                  <a:lnTo>
                    <a:pt x="1067" y="764"/>
                  </a:lnTo>
                  <a:lnTo>
                    <a:pt x="1067" y="761"/>
                  </a:lnTo>
                  <a:lnTo>
                    <a:pt x="1070" y="761"/>
                  </a:lnTo>
                  <a:lnTo>
                    <a:pt x="1070" y="759"/>
                  </a:lnTo>
                  <a:lnTo>
                    <a:pt x="1070" y="759"/>
                  </a:lnTo>
                  <a:lnTo>
                    <a:pt x="1070" y="759"/>
                  </a:lnTo>
                  <a:lnTo>
                    <a:pt x="1070" y="757"/>
                  </a:lnTo>
                  <a:lnTo>
                    <a:pt x="1070" y="757"/>
                  </a:lnTo>
                  <a:lnTo>
                    <a:pt x="1070" y="757"/>
                  </a:lnTo>
                  <a:lnTo>
                    <a:pt x="1070" y="754"/>
                  </a:lnTo>
                  <a:lnTo>
                    <a:pt x="1070" y="754"/>
                  </a:lnTo>
                  <a:lnTo>
                    <a:pt x="1070" y="752"/>
                  </a:lnTo>
                  <a:lnTo>
                    <a:pt x="1070" y="752"/>
                  </a:lnTo>
                  <a:lnTo>
                    <a:pt x="1070" y="750"/>
                  </a:lnTo>
                  <a:lnTo>
                    <a:pt x="1070" y="750"/>
                  </a:lnTo>
                  <a:lnTo>
                    <a:pt x="1070" y="750"/>
                  </a:lnTo>
                  <a:lnTo>
                    <a:pt x="1070" y="745"/>
                  </a:lnTo>
                  <a:lnTo>
                    <a:pt x="1070" y="745"/>
                  </a:lnTo>
                  <a:lnTo>
                    <a:pt x="1070" y="742"/>
                  </a:lnTo>
                  <a:lnTo>
                    <a:pt x="1070" y="740"/>
                  </a:lnTo>
                  <a:lnTo>
                    <a:pt x="1070" y="738"/>
                  </a:lnTo>
                  <a:lnTo>
                    <a:pt x="1067" y="733"/>
                  </a:lnTo>
                  <a:lnTo>
                    <a:pt x="1065" y="728"/>
                  </a:lnTo>
                  <a:lnTo>
                    <a:pt x="1060" y="726"/>
                  </a:lnTo>
                  <a:lnTo>
                    <a:pt x="1053" y="721"/>
                  </a:lnTo>
                  <a:lnTo>
                    <a:pt x="1048" y="721"/>
                  </a:lnTo>
                  <a:lnTo>
                    <a:pt x="1048" y="721"/>
                  </a:lnTo>
                  <a:lnTo>
                    <a:pt x="1048" y="723"/>
                  </a:lnTo>
                  <a:lnTo>
                    <a:pt x="1046" y="726"/>
                  </a:lnTo>
                  <a:lnTo>
                    <a:pt x="1046" y="726"/>
                  </a:lnTo>
                  <a:lnTo>
                    <a:pt x="1044" y="728"/>
                  </a:lnTo>
                  <a:lnTo>
                    <a:pt x="1044" y="728"/>
                  </a:lnTo>
                  <a:lnTo>
                    <a:pt x="1041" y="731"/>
                  </a:lnTo>
                  <a:lnTo>
                    <a:pt x="1041" y="733"/>
                  </a:lnTo>
                  <a:lnTo>
                    <a:pt x="1041" y="735"/>
                  </a:lnTo>
                  <a:lnTo>
                    <a:pt x="1041" y="735"/>
                  </a:lnTo>
                  <a:lnTo>
                    <a:pt x="1041" y="738"/>
                  </a:lnTo>
                  <a:lnTo>
                    <a:pt x="1041" y="740"/>
                  </a:lnTo>
                  <a:lnTo>
                    <a:pt x="1041" y="740"/>
                  </a:lnTo>
                  <a:lnTo>
                    <a:pt x="1046" y="742"/>
                  </a:lnTo>
                  <a:lnTo>
                    <a:pt x="1046" y="742"/>
                  </a:lnTo>
                  <a:lnTo>
                    <a:pt x="1044" y="742"/>
                  </a:lnTo>
                  <a:lnTo>
                    <a:pt x="1044" y="745"/>
                  </a:lnTo>
                  <a:lnTo>
                    <a:pt x="1041" y="745"/>
                  </a:lnTo>
                  <a:lnTo>
                    <a:pt x="1041" y="745"/>
                  </a:lnTo>
                  <a:lnTo>
                    <a:pt x="1041" y="747"/>
                  </a:lnTo>
                  <a:lnTo>
                    <a:pt x="1041" y="747"/>
                  </a:lnTo>
                  <a:lnTo>
                    <a:pt x="1041" y="750"/>
                  </a:lnTo>
                  <a:lnTo>
                    <a:pt x="1041" y="752"/>
                  </a:lnTo>
                  <a:lnTo>
                    <a:pt x="1041" y="752"/>
                  </a:lnTo>
                  <a:lnTo>
                    <a:pt x="1041" y="752"/>
                  </a:lnTo>
                  <a:lnTo>
                    <a:pt x="1041" y="752"/>
                  </a:lnTo>
                  <a:lnTo>
                    <a:pt x="1041" y="752"/>
                  </a:lnTo>
                  <a:lnTo>
                    <a:pt x="1041" y="754"/>
                  </a:lnTo>
                  <a:lnTo>
                    <a:pt x="1041" y="754"/>
                  </a:lnTo>
                  <a:lnTo>
                    <a:pt x="1041" y="754"/>
                  </a:lnTo>
                  <a:lnTo>
                    <a:pt x="1041" y="754"/>
                  </a:lnTo>
                  <a:lnTo>
                    <a:pt x="1039" y="752"/>
                  </a:lnTo>
                  <a:lnTo>
                    <a:pt x="1039" y="752"/>
                  </a:lnTo>
                  <a:lnTo>
                    <a:pt x="1039" y="750"/>
                  </a:lnTo>
                  <a:lnTo>
                    <a:pt x="1039" y="747"/>
                  </a:lnTo>
                  <a:lnTo>
                    <a:pt x="1039" y="747"/>
                  </a:lnTo>
                  <a:lnTo>
                    <a:pt x="1039" y="745"/>
                  </a:lnTo>
                  <a:lnTo>
                    <a:pt x="1039" y="745"/>
                  </a:lnTo>
                  <a:lnTo>
                    <a:pt x="1039" y="745"/>
                  </a:lnTo>
                  <a:lnTo>
                    <a:pt x="1039" y="742"/>
                  </a:lnTo>
                  <a:lnTo>
                    <a:pt x="1039" y="742"/>
                  </a:lnTo>
                  <a:lnTo>
                    <a:pt x="1039" y="742"/>
                  </a:lnTo>
                  <a:lnTo>
                    <a:pt x="1039" y="742"/>
                  </a:lnTo>
                  <a:lnTo>
                    <a:pt x="1039" y="742"/>
                  </a:lnTo>
                  <a:lnTo>
                    <a:pt x="1039" y="740"/>
                  </a:lnTo>
                  <a:lnTo>
                    <a:pt x="1037" y="740"/>
                  </a:lnTo>
                  <a:lnTo>
                    <a:pt x="1037" y="738"/>
                  </a:lnTo>
                  <a:lnTo>
                    <a:pt x="1037" y="738"/>
                  </a:lnTo>
                  <a:lnTo>
                    <a:pt x="1037" y="738"/>
                  </a:lnTo>
                  <a:lnTo>
                    <a:pt x="1039" y="735"/>
                  </a:lnTo>
                  <a:lnTo>
                    <a:pt x="1039" y="735"/>
                  </a:lnTo>
                  <a:lnTo>
                    <a:pt x="1039" y="735"/>
                  </a:lnTo>
                  <a:lnTo>
                    <a:pt x="1037" y="735"/>
                  </a:lnTo>
                  <a:lnTo>
                    <a:pt x="1037" y="733"/>
                  </a:lnTo>
                  <a:lnTo>
                    <a:pt x="1034" y="733"/>
                  </a:lnTo>
                  <a:lnTo>
                    <a:pt x="1032" y="733"/>
                  </a:lnTo>
                  <a:lnTo>
                    <a:pt x="1025" y="735"/>
                  </a:lnTo>
                  <a:lnTo>
                    <a:pt x="1025" y="735"/>
                  </a:lnTo>
                  <a:lnTo>
                    <a:pt x="1025" y="735"/>
                  </a:lnTo>
                  <a:lnTo>
                    <a:pt x="1022" y="738"/>
                  </a:lnTo>
                  <a:lnTo>
                    <a:pt x="1022" y="740"/>
                  </a:lnTo>
                  <a:lnTo>
                    <a:pt x="1020" y="742"/>
                  </a:lnTo>
                  <a:lnTo>
                    <a:pt x="1020" y="742"/>
                  </a:lnTo>
                  <a:lnTo>
                    <a:pt x="1018" y="742"/>
                  </a:lnTo>
                  <a:lnTo>
                    <a:pt x="1020" y="742"/>
                  </a:lnTo>
                  <a:lnTo>
                    <a:pt x="1018" y="740"/>
                  </a:lnTo>
                  <a:lnTo>
                    <a:pt x="1018" y="740"/>
                  </a:lnTo>
                  <a:lnTo>
                    <a:pt x="1020" y="738"/>
                  </a:lnTo>
                  <a:lnTo>
                    <a:pt x="1020" y="735"/>
                  </a:lnTo>
                  <a:lnTo>
                    <a:pt x="1020" y="735"/>
                  </a:lnTo>
                  <a:lnTo>
                    <a:pt x="1020" y="735"/>
                  </a:lnTo>
                  <a:lnTo>
                    <a:pt x="1020" y="735"/>
                  </a:lnTo>
                  <a:lnTo>
                    <a:pt x="1020" y="735"/>
                  </a:lnTo>
                  <a:lnTo>
                    <a:pt x="1020" y="735"/>
                  </a:lnTo>
                  <a:lnTo>
                    <a:pt x="1022" y="733"/>
                  </a:lnTo>
                  <a:lnTo>
                    <a:pt x="1025" y="733"/>
                  </a:lnTo>
                  <a:lnTo>
                    <a:pt x="1025" y="733"/>
                  </a:lnTo>
                  <a:lnTo>
                    <a:pt x="1025" y="731"/>
                  </a:lnTo>
                  <a:lnTo>
                    <a:pt x="1025" y="731"/>
                  </a:lnTo>
                  <a:lnTo>
                    <a:pt x="1025" y="731"/>
                  </a:lnTo>
                  <a:lnTo>
                    <a:pt x="1027" y="728"/>
                  </a:lnTo>
                  <a:lnTo>
                    <a:pt x="1027" y="728"/>
                  </a:lnTo>
                  <a:lnTo>
                    <a:pt x="1027" y="728"/>
                  </a:lnTo>
                  <a:lnTo>
                    <a:pt x="1027" y="726"/>
                  </a:lnTo>
                  <a:lnTo>
                    <a:pt x="1027" y="726"/>
                  </a:lnTo>
                  <a:lnTo>
                    <a:pt x="1027" y="723"/>
                  </a:lnTo>
                  <a:lnTo>
                    <a:pt x="1027" y="723"/>
                  </a:lnTo>
                  <a:lnTo>
                    <a:pt x="1027" y="723"/>
                  </a:lnTo>
                  <a:lnTo>
                    <a:pt x="1027" y="721"/>
                  </a:lnTo>
                  <a:lnTo>
                    <a:pt x="1025" y="719"/>
                  </a:lnTo>
                  <a:lnTo>
                    <a:pt x="1022" y="719"/>
                  </a:lnTo>
                  <a:lnTo>
                    <a:pt x="1020" y="719"/>
                  </a:lnTo>
                  <a:lnTo>
                    <a:pt x="1018" y="721"/>
                  </a:lnTo>
                  <a:lnTo>
                    <a:pt x="1013" y="721"/>
                  </a:lnTo>
                  <a:lnTo>
                    <a:pt x="1011" y="721"/>
                  </a:lnTo>
                  <a:lnTo>
                    <a:pt x="1011" y="719"/>
                  </a:lnTo>
                  <a:lnTo>
                    <a:pt x="1013" y="719"/>
                  </a:lnTo>
                  <a:lnTo>
                    <a:pt x="1013" y="716"/>
                  </a:lnTo>
                  <a:lnTo>
                    <a:pt x="1013" y="716"/>
                  </a:lnTo>
                  <a:lnTo>
                    <a:pt x="1013" y="716"/>
                  </a:lnTo>
                  <a:lnTo>
                    <a:pt x="1013" y="716"/>
                  </a:lnTo>
                  <a:lnTo>
                    <a:pt x="1013" y="716"/>
                  </a:lnTo>
                  <a:lnTo>
                    <a:pt x="1013" y="714"/>
                  </a:lnTo>
                  <a:lnTo>
                    <a:pt x="1013" y="714"/>
                  </a:lnTo>
                  <a:lnTo>
                    <a:pt x="1013" y="714"/>
                  </a:lnTo>
                  <a:lnTo>
                    <a:pt x="1013" y="712"/>
                  </a:lnTo>
                  <a:lnTo>
                    <a:pt x="1015" y="709"/>
                  </a:lnTo>
                  <a:lnTo>
                    <a:pt x="1015" y="709"/>
                  </a:lnTo>
                  <a:lnTo>
                    <a:pt x="1020" y="707"/>
                  </a:lnTo>
                  <a:lnTo>
                    <a:pt x="1020" y="707"/>
                  </a:lnTo>
                  <a:lnTo>
                    <a:pt x="1018" y="705"/>
                  </a:lnTo>
                  <a:lnTo>
                    <a:pt x="1018" y="705"/>
                  </a:lnTo>
                  <a:lnTo>
                    <a:pt x="1018" y="702"/>
                  </a:lnTo>
                  <a:lnTo>
                    <a:pt x="1020" y="705"/>
                  </a:lnTo>
                  <a:lnTo>
                    <a:pt x="1020" y="702"/>
                  </a:lnTo>
                  <a:lnTo>
                    <a:pt x="1020" y="702"/>
                  </a:lnTo>
                  <a:lnTo>
                    <a:pt x="1020" y="702"/>
                  </a:lnTo>
                  <a:lnTo>
                    <a:pt x="1020" y="702"/>
                  </a:lnTo>
                  <a:lnTo>
                    <a:pt x="1020" y="702"/>
                  </a:lnTo>
                  <a:lnTo>
                    <a:pt x="1018" y="697"/>
                  </a:lnTo>
                  <a:lnTo>
                    <a:pt x="1018" y="697"/>
                  </a:lnTo>
                  <a:lnTo>
                    <a:pt x="1018" y="697"/>
                  </a:lnTo>
                  <a:lnTo>
                    <a:pt x="1020" y="695"/>
                  </a:lnTo>
                  <a:lnTo>
                    <a:pt x="1020" y="695"/>
                  </a:lnTo>
                  <a:lnTo>
                    <a:pt x="1020" y="695"/>
                  </a:lnTo>
                  <a:lnTo>
                    <a:pt x="1018" y="695"/>
                  </a:lnTo>
                  <a:lnTo>
                    <a:pt x="1018" y="695"/>
                  </a:lnTo>
                  <a:lnTo>
                    <a:pt x="1018" y="695"/>
                  </a:lnTo>
                  <a:lnTo>
                    <a:pt x="1018" y="695"/>
                  </a:lnTo>
                  <a:lnTo>
                    <a:pt x="1018" y="693"/>
                  </a:lnTo>
                  <a:lnTo>
                    <a:pt x="1015" y="690"/>
                  </a:lnTo>
                  <a:lnTo>
                    <a:pt x="1013" y="690"/>
                  </a:lnTo>
                  <a:lnTo>
                    <a:pt x="1013" y="690"/>
                  </a:lnTo>
                  <a:lnTo>
                    <a:pt x="1013" y="690"/>
                  </a:lnTo>
                  <a:lnTo>
                    <a:pt x="1013" y="690"/>
                  </a:lnTo>
                  <a:lnTo>
                    <a:pt x="1011" y="690"/>
                  </a:lnTo>
                  <a:lnTo>
                    <a:pt x="1011" y="690"/>
                  </a:lnTo>
                  <a:lnTo>
                    <a:pt x="1013" y="688"/>
                  </a:lnTo>
                  <a:lnTo>
                    <a:pt x="1013" y="688"/>
                  </a:lnTo>
                  <a:lnTo>
                    <a:pt x="1013" y="686"/>
                  </a:lnTo>
                  <a:lnTo>
                    <a:pt x="1013" y="686"/>
                  </a:lnTo>
                  <a:lnTo>
                    <a:pt x="1013" y="686"/>
                  </a:lnTo>
                  <a:lnTo>
                    <a:pt x="1013" y="686"/>
                  </a:lnTo>
                  <a:lnTo>
                    <a:pt x="1013" y="683"/>
                  </a:lnTo>
                  <a:lnTo>
                    <a:pt x="1013" y="683"/>
                  </a:lnTo>
                  <a:lnTo>
                    <a:pt x="1013" y="681"/>
                  </a:lnTo>
                  <a:lnTo>
                    <a:pt x="1013" y="681"/>
                  </a:lnTo>
                  <a:lnTo>
                    <a:pt x="1013" y="681"/>
                  </a:lnTo>
                  <a:lnTo>
                    <a:pt x="1011" y="681"/>
                  </a:lnTo>
                  <a:lnTo>
                    <a:pt x="1013" y="681"/>
                  </a:lnTo>
                  <a:lnTo>
                    <a:pt x="1013" y="681"/>
                  </a:lnTo>
                  <a:lnTo>
                    <a:pt x="1013" y="679"/>
                  </a:lnTo>
                  <a:lnTo>
                    <a:pt x="1013" y="679"/>
                  </a:lnTo>
                  <a:lnTo>
                    <a:pt x="1013" y="676"/>
                  </a:lnTo>
                  <a:lnTo>
                    <a:pt x="1013" y="676"/>
                  </a:lnTo>
                  <a:lnTo>
                    <a:pt x="1013" y="676"/>
                  </a:lnTo>
                  <a:lnTo>
                    <a:pt x="1011" y="674"/>
                  </a:lnTo>
                  <a:lnTo>
                    <a:pt x="1011" y="674"/>
                  </a:lnTo>
                  <a:lnTo>
                    <a:pt x="1011" y="674"/>
                  </a:lnTo>
                  <a:lnTo>
                    <a:pt x="1011" y="671"/>
                  </a:lnTo>
                  <a:lnTo>
                    <a:pt x="1011" y="671"/>
                  </a:lnTo>
                  <a:lnTo>
                    <a:pt x="1013" y="671"/>
                  </a:lnTo>
                  <a:lnTo>
                    <a:pt x="1013" y="671"/>
                  </a:lnTo>
                  <a:lnTo>
                    <a:pt x="1013" y="671"/>
                  </a:lnTo>
                  <a:lnTo>
                    <a:pt x="1015" y="669"/>
                  </a:lnTo>
                  <a:lnTo>
                    <a:pt x="1015" y="667"/>
                  </a:lnTo>
                  <a:lnTo>
                    <a:pt x="1015" y="667"/>
                  </a:lnTo>
                  <a:lnTo>
                    <a:pt x="1015" y="664"/>
                  </a:lnTo>
                  <a:lnTo>
                    <a:pt x="1015" y="662"/>
                  </a:lnTo>
                  <a:lnTo>
                    <a:pt x="1015" y="662"/>
                  </a:lnTo>
                  <a:lnTo>
                    <a:pt x="1013" y="662"/>
                  </a:lnTo>
                  <a:lnTo>
                    <a:pt x="1013" y="660"/>
                  </a:lnTo>
                  <a:lnTo>
                    <a:pt x="1013" y="660"/>
                  </a:lnTo>
                  <a:lnTo>
                    <a:pt x="1013" y="657"/>
                  </a:lnTo>
                  <a:lnTo>
                    <a:pt x="1013" y="657"/>
                  </a:lnTo>
                  <a:lnTo>
                    <a:pt x="1013" y="655"/>
                  </a:lnTo>
                  <a:lnTo>
                    <a:pt x="1013" y="655"/>
                  </a:lnTo>
                  <a:lnTo>
                    <a:pt x="1011" y="653"/>
                  </a:lnTo>
                  <a:lnTo>
                    <a:pt x="1011" y="653"/>
                  </a:lnTo>
                  <a:lnTo>
                    <a:pt x="1011" y="653"/>
                  </a:lnTo>
                  <a:lnTo>
                    <a:pt x="1011" y="653"/>
                  </a:lnTo>
                  <a:lnTo>
                    <a:pt x="1011" y="653"/>
                  </a:lnTo>
                  <a:lnTo>
                    <a:pt x="1011" y="655"/>
                  </a:lnTo>
                  <a:lnTo>
                    <a:pt x="1011" y="655"/>
                  </a:lnTo>
                  <a:lnTo>
                    <a:pt x="1008" y="657"/>
                  </a:lnTo>
                  <a:lnTo>
                    <a:pt x="1008" y="657"/>
                  </a:lnTo>
                  <a:lnTo>
                    <a:pt x="1006" y="655"/>
                  </a:lnTo>
                  <a:lnTo>
                    <a:pt x="1003" y="655"/>
                  </a:lnTo>
                  <a:lnTo>
                    <a:pt x="1003" y="655"/>
                  </a:lnTo>
                  <a:lnTo>
                    <a:pt x="1003" y="655"/>
                  </a:lnTo>
                  <a:lnTo>
                    <a:pt x="1001" y="657"/>
                  </a:lnTo>
                  <a:lnTo>
                    <a:pt x="1001" y="657"/>
                  </a:lnTo>
                  <a:lnTo>
                    <a:pt x="1001" y="657"/>
                  </a:lnTo>
                  <a:lnTo>
                    <a:pt x="999" y="660"/>
                  </a:lnTo>
                  <a:lnTo>
                    <a:pt x="999" y="660"/>
                  </a:lnTo>
                  <a:lnTo>
                    <a:pt x="999" y="660"/>
                  </a:lnTo>
                  <a:lnTo>
                    <a:pt x="999" y="660"/>
                  </a:lnTo>
                  <a:lnTo>
                    <a:pt x="996" y="662"/>
                  </a:lnTo>
                  <a:lnTo>
                    <a:pt x="996" y="664"/>
                  </a:lnTo>
                  <a:lnTo>
                    <a:pt x="996" y="664"/>
                  </a:lnTo>
                  <a:lnTo>
                    <a:pt x="996" y="667"/>
                  </a:lnTo>
                  <a:lnTo>
                    <a:pt x="994" y="667"/>
                  </a:lnTo>
                  <a:lnTo>
                    <a:pt x="994" y="669"/>
                  </a:lnTo>
                  <a:lnTo>
                    <a:pt x="994" y="671"/>
                  </a:lnTo>
                  <a:lnTo>
                    <a:pt x="994" y="671"/>
                  </a:lnTo>
                  <a:lnTo>
                    <a:pt x="992" y="671"/>
                  </a:lnTo>
                  <a:lnTo>
                    <a:pt x="992" y="671"/>
                  </a:lnTo>
                  <a:lnTo>
                    <a:pt x="992" y="674"/>
                  </a:lnTo>
                  <a:lnTo>
                    <a:pt x="992" y="674"/>
                  </a:lnTo>
                  <a:lnTo>
                    <a:pt x="989" y="674"/>
                  </a:lnTo>
                  <a:lnTo>
                    <a:pt x="989" y="674"/>
                  </a:lnTo>
                  <a:lnTo>
                    <a:pt x="989" y="674"/>
                  </a:lnTo>
                  <a:lnTo>
                    <a:pt x="989" y="676"/>
                  </a:lnTo>
                  <a:lnTo>
                    <a:pt x="989" y="676"/>
                  </a:lnTo>
                  <a:lnTo>
                    <a:pt x="989" y="676"/>
                  </a:lnTo>
                  <a:lnTo>
                    <a:pt x="989" y="679"/>
                  </a:lnTo>
                  <a:lnTo>
                    <a:pt x="989" y="679"/>
                  </a:lnTo>
                  <a:lnTo>
                    <a:pt x="989" y="679"/>
                  </a:lnTo>
                  <a:lnTo>
                    <a:pt x="989" y="679"/>
                  </a:lnTo>
                  <a:lnTo>
                    <a:pt x="992" y="679"/>
                  </a:lnTo>
                  <a:lnTo>
                    <a:pt x="989" y="681"/>
                  </a:lnTo>
                  <a:lnTo>
                    <a:pt x="989" y="681"/>
                  </a:lnTo>
                  <a:lnTo>
                    <a:pt x="987" y="681"/>
                  </a:lnTo>
                  <a:lnTo>
                    <a:pt x="987" y="681"/>
                  </a:lnTo>
                  <a:lnTo>
                    <a:pt x="987" y="683"/>
                  </a:lnTo>
                  <a:lnTo>
                    <a:pt x="985" y="681"/>
                  </a:lnTo>
                  <a:lnTo>
                    <a:pt x="985" y="681"/>
                  </a:lnTo>
                  <a:lnTo>
                    <a:pt x="985" y="683"/>
                  </a:lnTo>
                  <a:lnTo>
                    <a:pt x="982" y="683"/>
                  </a:lnTo>
                  <a:lnTo>
                    <a:pt x="977" y="686"/>
                  </a:lnTo>
                  <a:lnTo>
                    <a:pt x="977" y="686"/>
                  </a:lnTo>
                  <a:lnTo>
                    <a:pt x="977" y="686"/>
                  </a:lnTo>
                  <a:lnTo>
                    <a:pt x="977" y="686"/>
                  </a:lnTo>
                  <a:lnTo>
                    <a:pt x="977" y="686"/>
                  </a:lnTo>
                  <a:lnTo>
                    <a:pt x="977" y="686"/>
                  </a:lnTo>
                  <a:lnTo>
                    <a:pt x="977" y="688"/>
                  </a:lnTo>
                  <a:lnTo>
                    <a:pt x="977" y="688"/>
                  </a:lnTo>
                  <a:lnTo>
                    <a:pt x="977" y="688"/>
                  </a:lnTo>
                  <a:lnTo>
                    <a:pt x="977" y="690"/>
                  </a:lnTo>
                  <a:lnTo>
                    <a:pt x="977" y="690"/>
                  </a:lnTo>
                  <a:lnTo>
                    <a:pt x="977" y="690"/>
                  </a:lnTo>
                  <a:lnTo>
                    <a:pt x="977" y="690"/>
                  </a:lnTo>
                  <a:lnTo>
                    <a:pt x="977" y="693"/>
                  </a:lnTo>
                  <a:lnTo>
                    <a:pt x="977" y="693"/>
                  </a:lnTo>
                  <a:lnTo>
                    <a:pt x="977" y="693"/>
                  </a:lnTo>
                  <a:lnTo>
                    <a:pt x="977" y="693"/>
                  </a:lnTo>
                  <a:lnTo>
                    <a:pt x="977" y="695"/>
                  </a:lnTo>
                  <a:lnTo>
                    <a:pt x="977" y="695"/>
                  </a:lnTo>
                  <a:lnTo>
                    <a:pt x="975" y="697"/>
                  </a:lnTo>
                  <a:lnTo>
                    <a:pt x="980" y="700"/>
                  </a:lnTo>
                  <a:lnTo>
                    <a:pt x="982" y="702"/>
                  </a:lnTo>
                  <a:lnTo>
                    <a:pt x="985" y="705"/>
                  </a:lnTo>
                  <a:lnTo>
                    <a:pt x="985" y="707"/>
                  </a:lnTo>
                  <a:lnTo>
                    <a:pt x="985" y="707"/>
                  </a:lnTo>
                  <a:lnTo>
                    <a:pt x="985" y="705"/>
                  </a:lnTo>
                  <a:lnTo>
                    <a:pt x="985" y="705"/>
                  </a:lnTo>
                  <a:lnTo>
                    <a:pt x="985" y="705"/>
                  </a:lnTo>
                  <a:lnTo>
                    <a:pt x="985" y="702"/>
                  </a:lnTo>
                  <a:lnTo>
                    <a:pt x="985" y="702"/>
                  </a:lnTo>
                  <a:lnTo>
                    <a:pt x="987" y="702"/>
                  </a:lnTo>
                  <a:lnTo>
                    <a:pt x="989" y="705"/>
                  </a:lnTo>
                  <a:lnTo>
                    <a:pt x="989" y="705"/>
                  </a:lnTo>
                  <a:lnTo>
                    <a:pt x="989" y="705"/>
                  </a:lnTo>
                  <a:lnTo>
                    <a:pt x="989" y="705"/>
                  </a:lnTo>
                  <a:lnTo>
                    <a:pt x="989" y="705"/>
                  </a:lnTo>
                  <a:lnTo>
                    <a:pt x="989" y="705"/>
                  </a:lnTo>
                  <a:lnTo>
                    <a:pt x="989" y="707"/>
                  </a:lnTo>
                  <a:lnTo>
                    <a:pt x="992" y="707"/>
                  </a:lnTo>
                  <a:lnTo>
                    <a:pt x="992" y="707"/>
                  </a:lnTo>
                  <a:lnTo>
                    <a:pt x="992" y="707"/>
                  </a:lnTo>
                  <a:lnTo>
                    <a:pt x="992" y="709"/>
                  </a:lnTo>
                  <a:lnTo>
                    <a:pt x="992" y="709"/>
                  </a:lnTo>
                  <a:lnTo>
                    <a:pt x="992" y="709"/>
                  </a:lnTo>
                  <a:lnTo>
                    <a:pt x="992" y="709"/>
                  </a:lnTo>
                  <a:lnTo>
                    <a:pt x="994" y="712"/>
                  </a:lnTo>
                  <a:lnTo>
                    <a:pt x="994" y="712"/>
                  </a:lnTo>
                  <a:lnTo>
                    <a:pt x="994" y="714"/>
                  </a:lnTo>
                  <a:lnTo>
                    <a:pt x="996" y="714"/>
                  </a:lnTo>
                  <a:lnTo>
                    <a:pt x="996" y="714"/>
                  </a:lnTo>
                  <a:lnTo>
                    <a:pt x="996" y="714"/>
                  </a:lnTo>
                  <a:lnTo>
                    <a:pt x="994" y="716"/>
                  </a:lnTo>
                  <a:lnTo>
                    <a:pt x="994" y="716"/>
                  </a:lnTo>
                  <a:lnTo>
                    <a:pt x="994" y="716"/>
                  </a:lnTo>
                  <a:lnTo>
                    <a:pt x="994" y="716"/>
                  </a:lnTo>
                  <a:lnTo>
                    <a:pt x="994" y="716"/>
                  </a:lnTo>
                  <a:lnTo>
                    <a:pt x="996" y="719"/>
                  </a:lnTo>
                  <a:lnTo>
                    <a:pt x="996" y="719"/>
                  </a:lnTo>
                  <a:lnTo>
                    <a:pt x="996" y="719"/>
                  </a:lnTo>
                  <a:lnTo>
                    <a:pt x="994" y="719"/>
                  </a:lnTo>
                  <a:lnTo>
                    <a:pt x="992" y="721"/>
                  </a:lnTo>
                  <a:lnTo>
                    <a:pt x="992" y="721"/>
                  </a:lnTo>
                  <a:lnTo>
                    <a:pt x="994" y="721"/>
                  </a:lnTo>
                  <a:lnTo>
                    <a:pt x="992" y="723"/>
                  </a:lnTo>
                  <a:lnTo>
                    <a:pt x="989" y="723"/>
                  </a:lnTo>
                  <a:lnTo>
                    <a:pt x="989" y="723"/>
                  </a:lnTo>
                  <a:lnTo>
                    <a:pt x="987" y="726"/>
                  </a:lnTo>
                  <a:lnTo>
                    <a:pt x="987" y="726"/>
                  </a:lnTo>
                  <a:lnTo>
                    <a:pt x="982" y="728"/>
                  </a:lnTo>
                  <a:lnTo>
                    <a:pt x="980" y="728"/>
                  </a:lnTo>
                  <a:lnTo>
                    <a:pt x="980" y="731"/>
                  </a:lnTo>
                  <a:lnTo>
                    <a:pt x="980" y="731"/>
                  </a:lnTo>
                  <a:lnTo>
                    <a:pt x="982" y="733"/>
                  </a:lnTo>
                  <a:lnTo>
                    <a:pt x="982" y="733"/>
                  </a:lnTo>
                  <a:lnTo>
                    <a:pt x="985" y="733"/>
                  </a:lnTo>
                  <a:lnTo>
                    <a:pt x="985" y="733"/>
                  </a:lnTo>
                  <a:lnTo>
                    <a:pt x="985" y="733"/>
                  </a:lnTo>
                  <a:lnTo>
                    <a:pt x="985" y="733"/>
                  </a:lnTo>
                  <a:lnTo>
                    <a:pt x="987" y="731"/>
                  </a:lnTo>
                  <a:lnTo>
                    <a:pt x="987" y="733"/>
                  </a:lnTo>
                  <a:lnTo>
                    <a:pt x="987" y="733"/>
                  </a:lnTo>
                  <a:lnTo>
                    <a:pt x="987" y="733"/>
                  </a:lnTo>
                  <a:lnTo>
                    <a:pt x="987" y="733"/>
                  </a:lnTo>
                  <a:lnTo>
                    <a:pt x="987" y="735"/>
                  </a:lnTo>
                  <a:lnTo>
                    <a:pt x="987" y="735"/>
                  </a:lnTo>
                  <a:lnTo>
                    <a:pt x="987" y="735"/>
                  </a:lnTo>
                  <a:lnTo>
                    <a:pt x="987" y="735"/>
                  </a:lnTo>
                  <a:lnTo>
                    <a:pt x="987" y="735"/>
                  </a:lnTo>
                  <a:lnTo>
                    <a:pt x="987" y="738"/>
                  </a:lnTo>
                  <a:lnTo>
                    <a:pt x="987" y="738"/>
                  </a:lnTo>
                  <a:lnTo>
                    <a:pt x="992" y="738"/>
                  </a:lnTo>
                  <a:lnTo>
                    <a:pt x="992" y="740"/>
                  </a:lnTo>
                  <a:lnTo>
                    <a:pt x="989" y="740"/>
                  </a:lnTo>
                  <a:lnTo>
                    <a:pt x="992" y="740"/>
                  </a:lnTo>
                  <a:lnTo>
                    <a:pt x="996" y="742"/>
                  </a:lnTo>
                  <a:lnTo>
                    <a:pt x="999" y="745"/>
                  </a:lnTo>
                  <a:lnTo>
                    <a:pt x="999" y="745"/>
                  </a:lnTo>
                  <a:lnTo>
                    <a:pt x="999" y="745"/>
                  </a:lnTo>
                  <a:lnTo>
                    <a:pt x="999" y="747"/>
                  </a:lnTo>
                  <a:lnTo>
                    <a:pt x="999" y="745"/>
                  </a:lnTo>
                  <a:lnTo>
                    <a:pt x="999" y="747"/>
                  </a:lnTo>
                  <a:lnTo>
                    <a:pt x="999" y="747"/>
                  </a:lnTo>
                  <a:lnTo>
                    <a:pt x="999" y="747"/>
                  </a:lnTo>
                  <a:lnTo>
                    <a:pt x="1001" y="747"/>
                  </a:lnTo>
                  <a:lnTo>
                    <a:pt x="1003" y="750"/>
                  </a:lnTo>
                  <a:lnTo>
                    <a:pt x="1001" y="750"/>
                  </a:lnTo>
                  <a:lnTo>
                    <a:pt x="1001" y="750"/>
                  </a:lnTo>
                  <a:lnTo>
                    <a:pt x="1001" y="750"/>
                  </a:lnTo>
                  <a:lnTo>
                    <a:pt x="1001" y="750"/>
                  </a:lnTo>
                  <a:lnTo>
                    <a:pt x="1001" y="750"/>
                  </a:lnTo>
                  <a:lnTo>
                    <a:pt x="1001" y="750"/>
                  </a:lnTo>
                  <a:lnTo>
                    <a:pt x="1001" y="750"/>
                  </a:lnTo>
                  <a:lnTo>
                    <a:pt x="1001" y="754"/>
                  </a:lnTo>
                  <a:lnTo>
                    <a:pt x="1001" y="754"/>
                  </a:lnTo>
                  <a:lnTo>
                    <a:pt x="1001" y="757"/>
                  </a:lnTo>
                  <a:lnTo>
                    <a:pt x="1001" y="757"/>
                  </a:lnTo>
                  <a:lnTo>
                    <a:pt x="1001" y="757"/>
                  </a:lnTo>
                  <a:lnTo>
                    <a:pt x="1001" y="759"/>
                  </a:lnTo>
                  <a:lnTo>
                    <a:pt x="1001" y="759"/>
                  </a:lnTo>
                  <a:lnTo>
                    <a:pt x="1001" y="759"/>
                  </a:lnTo>
                  <a:lnTo>
                    <a:pt x="1001" y="759"/>
                  </a:lnTo>
                  <a:lnTo>
                    <a:pt x="999" y="759"/>
                  </a:lnTo>
                  <a:lnTo>
                    <a:pt x="999" y="759"/>
                  </a:lnTo>
                  <a:lnTo>
                    <a:pt x="996" y="759"/>
                  </a:lnTo>
                  <a:lnTo>
                    <a:pt x="999" y="759"/>
                  </a:lnTo>
                  <a:lnTo>
                    <a:pt x="999" y="761"/>
                  </a:lnTo>
                  <a:lnTo>
                    <a:pt x="999" y="761"/>
                  </a:lnTo>
                  <a:lnTo>
                    <a:pt x="999" y="764"/>
                  </a:lnTo>
                  <a:lnTo>
                    <a:pt x="999" y="764"/>
                  </a:lnTo>
                  <a:lnTo>
                    <a:pt x="999" y="766"/>
                  </a:lnTo>
                  <a:lnTo>
                    <a:pt x="999" y="766"/>
                  </a:lnTo>
                  <a:lnTo>
                    <a:pt x="996" y="764"/>
                  </a:lnTo>
                  <a:lnTo>
                    <a:pt x="987" y="761"/>
                  </a:lnTo>
                  <a:lnTo>
                    <a:pt x="977" y="759"/>
                  </a:lnTo>
                  <a:lnTo>
                    <a:pt x="977" y="759"/>
                  </a:lnTo>
                  <a:lnTo>
                    <a:pt x="975" y="759"/>
                  </a:lnTo>
                  <a:lnTo>
                    <a:pt x="975" y="759"/>
                  </a:lnTo>
                  <a:lnTo>
                    <a:pt x="973" y="759"/>
                  </a:lnTo>
                  <a:lnTo>
                    <a:pt x="970" y="759"/>
                  </a:lnTo>
                  <a:lnTo>
                    <a:pt x="970" y="757"/>
                  </a:lnTo>
                  <a:lnTo>
                    <a:pt x="970" y="757"/>
                  </a:lnTo>
                  <a:lnTo>
                    <a:pt x="970" y="757"/>
                  </a:lnTo>
                  <a:lnTo>
                    <a:pt x="970" y="757"/>
                  </a:lnTo>
                  <a:lnTo>
                    <a:pt x="968" y="754"/>
                  </a:lnTo>
                  <a:lnTo>
                    <a:pt x="961" y="757"/>
                  </a:lnTo>
                  <a:lnTo>
                    <a:pt x="959" y="757"/>
                  </a:lnTo>
                  <a:lnTo>
                    <a:pt x="954" y="757"/>
                  </a:lnTo>
                  <a:lnTo>
                    <a:pt x="954" y="759"/>
                  </a:lnTo>
                  <a:lnTo>
                    <a:pt x="954" y="759"/>
                  </a:lnTo>
                  <a:lnTo>
                    <a:pt x="951" y="757"/>
                  </a:lnTo>
                  <a:lnTo>
                    <a:pt x="951" y="757"/>
                  </a:lnTo>
                  <a:lnTo>
                    <a:pt x="951" y="757"/>
                  </a:lnTo>
                  <a:lnTo>
                    <a:pt x="951" y="757"/>
                  </a:lnTo>
                  <a:lnTo>
                    <a:pt x="951" y="757"/>
                  </a:lnTo>
                  <a:lnTo>
                    <a:pt x="951" y="757"/>
                  </a:lnTo>
                  <a:lnTo>
                    <a:pt x="951" y="757"/>
                  </a:lnTo>
                  <a:lnTo>
                    <a:pt x="951" y="754"/>
                  </a:lnTo>
                  <a:lnTo>
                    <a:pt x="951" y="754"/>
                  </a:lnTo>
                  <a:lnTo>
                    <a:pt x="951" y="754"/>
                  </a:lnTo>
                  <a:lnTo>
                    <a:pt x="951" y="754"/>
                  </a:lnTo>
                  <a:lnTo>
                    <a:pt x="951" y="754"/>
                  </a:lnTo>
                  <a:lnTo>
                    <a:pt x="951" y="752"/>
                  </a:lnTo>
                  <a:lnTo>
                    <a:pt x="951" y="750"/>
                  </a:lnTo>
                  <a:lnTo>
                    <a:pt x="951" y="750"/>
                  </a:lnTo>
                  <a:lnTo>
                    <a:pt x="951" y="750"/>
                  </a:lnTo>
                  <a:lnTo>
                    <a:pt x="951" y="747"/>
                  </a:lnTo>
                  <a:lnTo>
                    <a:pt x="951" y="747"/>
                  </a:lnTo>
                  <a:lnTo>
                    <a:pt x="951" y="747"/>
                  </a:lnTo>
                  <a:lnTo>
                    <a:pt x="951" y="745"/>
                  </a:lnTo>
                  <a:lnTo>
                    <a:pt x="951" y="745"/>
                  </a:lnTo>
                  <a:lnTo>
                    <a:pt x="951" y="745"/>
                  </a:lnTo>
                  <a:lnTo>
                    <a:pt x="951" y="745"/>
                  </a:lnTo>
                  <a:lnTo>
                    <a:pt x="951" y="742"/>
                  </a:lnTo>
                  <a:lnTo>
                    <a:pt x="951" y="742"/>
                  </a:lnTo>
                  <a:lnTo>
                    <a:pt x="951" y="740"/>
                  </a:lnTo>
                  <a:lnTo>
                    <a:pt x="951" y="740"/>
                  </a:lnTo>
                  <a:lnTo>
                    <a:pt x="951" y="740"/>
                  </a:lnTo>
                  <a:lnTo>
                    <a:pt x="951" y="740"/>
                  </a:lnTo>
                  <a:lnTo>
                    <a:pt x="951" y="740"/>
                  </a:lnTo>
                  <a:lnTo>
                    <a:pt x="951" y="738"/>
                  </a:lnTo>
                  <a:lnTo>
                    <a:pt x="951" y="738"/>
                  </a:lnTo>
                  <a:lnTo>
                    <a:pt x="951" y="738"/>
                  </a:lnTo>
                  <a:lnTo>
                    <a:pt x="951" y="735"/>
                  </a:lnTo>
                  <a:lnTo>
                    <a:pt x="949" y="733"/>
                  </a:lnTo>
                  <a:lnTo>
                    <a:pt x="949" y="733"/>
                  </a:lnTo>
                  <a:lnTo>
                    <a:pt x="951" y="733"/>
                  </a:lnTo>
                  <a:lnTo>
                    <a:pt x="951" y="733"/>
                  </a:lnTo>
                  <a:lnTo>
                    <a:pt x="951" y="733"/>
                  </a:lnTo>
                  <a:lnTo>
                    <a:pt x="951" y="733"/>
                  </a:lnTo>
                  <a:lnTo>
                    <a:pt x="951" y="731"/>
                  </a:lnTo>
                  <a:lnTo>
                    <a:pt x="944" y="733"/>
                  </a:lnTo>
                  <a:lnTo>
                    <a:pt x="942" y="733"/>
                  </a:lnTo>
                  <a:lnTo>
                    <a:pt x="942" y="733"/>
                  </a:lnTo>
                  <a:lnTo>
                    <a:pt x="942" y="733"/>
                  </a:lnTo>
                  <a:lnTo>
                    <a:pt x="940" y="733"/>
                  </a:lnTo>
                  <a:lnTo>
                    <a:pt x="940" y="731"/>
                  </a:lnTo>
                  <a:lnTo>
                    <a:pt x="940" y="731"/>
                  </a:lnTo>
                  <a:lnTo>
                    <a:pt x="942" y="731"/>
                  </a:lnTo>
                  <a:lnTo>
                    <a:pt x="940" y="731"/>
                  </a:lnTo>
                  <a:lnTo>
                    <a:pt x="940" y="731"/>
                  </a:lnTo>
                  <a:lnTo>
                    <a:pt x="940" y="731"/>
                  </a:lnTo>
                  <a:lnTo>
                    <a:pt x="940" y="731"/>
                  </a:lnTo>
                  <a:lnTo>
                    <a:pt x="940" y="731"/>
                  </a:lnTo>
                  <a:lnTo>
                    <a:pt x="940" y="731"/>
                  </a:lnTo>
                  <a:lnTo>
                    <a:pt x="940" y="733"/>
                  </a:lnTo>
                  <a:lnTo>
                    <a:pt x="937" y="733"/>
                  </a:lnTo>
                  <a:lnTo>
                    <a:pt x="937" y="733"/>
                  </a:lnTo>
                  <a:lnTo>
                    <a:pt x="935" y="733"/>
                  </a:lnTo>
                  <a:lnTo>
                    <a:pt x="937" y="731"/>
                  </a:lnTo>
                  <a:lnTo>
                    <a:pt x="937" y="731"/>
                  </a:lnTo>
                  <a:lnTo>
                    <a:pt x="937" y="731"/>
                  </a:lnTo>
                  <a:lnTo>
                    <a:pt x="937" y="731"/>
                  </a:lnTo>
                  <a:lnTo>
                    <a:pt x="940" y="728"/>
                  </a:lnTo>
                  <a:lnTo>
                    <a:pt x="944" y="726"/>
                  </a:lnTo>
                  <a:lnTo>
                    <a:pt x="947" y="726"/>
                  </a:lnTo>
                  <a:lnTo>
                    <a:pt x="947" y="723"/>
                  </a:lnTo>
                  <a:lnTo>
                    <a:pt x="947" y="723"/>
                  </a:lnTo>
                  <a:lnTo>
                    <a:pt x="944" y="721"/>
                  </a:lnTo>
                  <a:lnTo>
                    <a:pt x="940" y="716"/>
                  </a:lnTo>
                  <a:lnTo>
                    <a:pt x="935" y="714"/>
                  </a:lnTo>
                  <a:lnTo>
                    <a:pt x="935" y="712"/>
                  </a:lnTo>
                  <a:lnTo>
                    <a:pt x="935" y="712"/>
                  </a:lnTo>
                  <a:lnTo>
                    <a:pt x="935" y="712"/>
                  </a:lnTo>
                  <a:lnTo>
                    <a:pt x="935" y="709"/>
                  </a:lnTo>
                  <a:lnTo>
                    <a:pt x="932" y="707"/>
                  </a:lnTo>
                  <a:lnTo>
                    <a:pt x="932" y="707"/>
                  </a:lnTo>
                  <a:lnTo>
                    <a:pt x="932" y="707"/>
                  </a:lnTo>
                  <a:lnTo>
                    <a:pt x="932" y="705"/>
                  </a:lnTo>
                  <a:lnTo>
                    <a:pt x="935" y="705"/>
                  </a:lnTo>
                  <a:lnTo>
                    <a:pt x="935" y="705"/>
                  </a:lnTo>
                  <a:lnTo>
                    <a:pt x="935" y="702"/>
                  </a:lnTo>
                  <a:lnTo>
                    <a:pt x="935" y="702"/>
                  </a:lnTo>
                  <a:lnTo>
                    <a:pt x="935" y="702"/>
                  </a:lnTo>
                  <a:lnTo>
                    <a:pt x="932" y="702"/>
                  </a:lnTo>
                  <a:lnTo>
                    <a:pt x="932" y="700"/>
                  </a:lnTo>
                  <a:lnTo>
                    <a:pt x="930" y="700"/>
                  </a:lnTo>
                  <a:lnTo>
                    <a:pt x="930" y="700"/>
                  </a:lnTo>
                  <a:lnTo>
                    <a:pt x="930" y="697"/>
                  </a:lnTo>
                  <a:lnTo>
                    <a:pt x="928" y="697"/>
                  </a:lnTo>
                  <a:lnTo>
                    <a:pt x="928" y="697"/>
                  </a:lnTo>
                  <a:lnTo>
                    <a:pt x="928" y="695"/>
                  </a:lnTo>
                  <a:lnTo>
                    <a:pt x="928" y="695"/>
                  </a:lnTo>
                  <a:lnTo>
                    <a:pt x="925" y="693"/>
                  </a:lnTo>
                  <a:lnTo>
                    <a:pt x="921" y="695"/>
                  </a:lnTo>
                  <a:lnTo>
                    <a:pt x="921" y="695"/>
                  </a:lnTo>
                  <a:lnTo>
                    <a:pt x="921" y="693"/>
                  </a:lnTo>
                  <a:lnTo>
                    <a:pt x="918" y="693"/>
                  </a:lnTo>
                  <a:lnTo>
                    <a:pt x="918" y="693"/>
                  </a:lnTo>
                  <a:lnTo>
                    <a:pt x="916" y="695"/>
                  </a:lnTo>
                  <a:lnTo>
                    <a:pt x="916" y="695"/>
                  </a:lnTo>
                  <a:lnTo>
                    <a:pt x="914" y="695"/>
                  </a:lnTo>
                  <a:lnTo>
                    <a:pt x="914" y="695"/>
                  </a:lnTo>
                  <a:lnTo>
                    <a:pt x="911" y="697"/>
                  </a:lnTo>
                  <a:lnTo>
                    <a:pt x="906" y="697"/>
                  </a:lnTo>
                  <a:lnTo>
                    <a:pt x="906" y="697"/>
                  </a:lnTo>
                  <a:lnTo>
                    <a:pt x="904" y="697"/>
                  </a:lnTo>
                  <a:lnTo>
                    <a:pt x="904" y="695"/>
                  </a:lnTo>
                  <a:lnTo>
                    <a:pt x="904" y="695"/>
                  </a:lnTo>
                  <a:lnTo>
                    <a:pt x="904" y="695"/>
                  </a:lnTo>
                  <a:lnTo>
                    <a:pt x="906" y="693"/>
                  </a:lnTo>
                  <a:lnTo>
                    <a:pt x="906" y="693"/>
                  </a:lnTo>
                  <a:lnTo>
                    <a:pt x="906" y="690"/>
                  </a:lnTo>
                  <a:lnTo>
                    <a:pt x="904" y="688"/>
                  </a:lnTo>
                  <a:lnTo>
                    <a:pt x="904" y="688"/>
                  </a:lnTo>
                  <a:lnTo>
                    <a:pt x="904" y="688"/>
                  </a:lnTo>
                  <a:lnTo>
                    <a:pt x="904" y="688"/>
                  </a:lnTo>
                  <a:lnTo>
                    <a:pt x="904" y="688"/>
                  </a:lnTo>
                  <a:lnTo>
                    <a:pt x="904" y="686"/>
                  </a:lnTo>
                  <a:lnTo>
                    <a:pt x="904" y="686"/>
                  </a:lnTo>
                  <a:lnTo>
                    <a:pt x="904" y="686"/>
                  </a:lnTo>
                  <a:lnTo>
                    <a:pt x="904" y="686"/>
                  </a:lnTo>
                  <a:lnTo>
                    <a:pt x="904" y="686"/>
                  </a:lnTo>
                  <a:lnTo>
                    <a:pt x="904" y="683"/>
                  </a:lnTo>
                  <a:lnTo>
                    <a:pt x="904" y="683"/>
                  </a:lnTo>
                  <a:lnTo>
                    <a:pt x="904" y="683"/>
                  </a:lnTo>
                  <a:lnTo>
                    <a:pt x="904" y="683"/>
                  </a:lnTo>
                  <a:lnTo>
                    <a:pt x="904" y="683"/>
                  </a:lnTo>
                  <a:lnTo>
                    <a:pt x="904" y="681"/>
                  </a:lnTo>
                  <a:lnTo>
                    <a:pt x="904" y="679"/>
                  </a:lnTo>
                  <a:lnTo>
                    <a:pt x="904" y="676"/>
                  </a:lnTo>
                  <a:lnTo>
                    <a:pt x="904" y="676"/>
                  </a:lnTo>
                  <a:lnTo>
                    <a:pt x="904" y="674"/>
                  </a:lnTo>
                  <a:lnTo>
                    <a:pt x="899" y="671"/>
                  </a:lnTo>
                  <a:lnTo>
                    <a:pt x="892" y="671"/>
                  </a:lnTo>
                  <a:lnTo>
                    <a:pt x="895" y="671"/>
                  </a:lnTo>
                  <a:lnTo>
                    <a:pt x="895" y="669"/>
                  </a:lnTo>
                  <a:lnTo>
                    <a:pt x="895" y="669"/>
                  </a:lnTo>
                  <a:lnTo>
                    <a:pt x="892" y="669"/>
                  </a:lnTo>
                  <a:lnTo>
                    <a:pt x="890" y="669"/>
                  </a:lnTo>
                  <a:lnTo>
                    <a:pt x="890" y="671"/>
                  </a:lnTo>
                  <a:lnTo>
                    <a:pt x="888" y="671"/>
                  </a:lnTo>
                  <a:close/>
                  <a:moveTo>
                    <a:pt x="821" y="723"/>
                  </a:moveTo>
                  <a:lnTo>
                    <a:pt x="821" y="723"/>
                  </a:lnTo>
                  <a:lnTo>
                    <a:pt x="824" y="723"/>
                  </a:lnTo>
                  <a:lnTo>
                    <a:pt x="824" y="723"/>
                  </a:lnTo>
                  <a:lnTo>
                    <a:pt x="824" y="721"/>
                  </a:lnTo>
                  <a:lnTo>
                    <a:pt x="824" y="721"/>
                  </a:lnTo>
                  <a:lnTo>
                    <a:pt x="824" y="721"/>
                  </a:lnTo>
                  <a:lnTo>
                    <a:pt x="824" y="721"/>
                  </a:lnTo>
                  <a:lnTo>
                    <a:pt x="824" y="721"/>
                  </a:lnTo>
                  <a:lnTo>
                    <a:pt x="824" y="719"/>
                  </a:lnTo>
                  <a:lnTo>
                    <a:pt x="824" y="719"/>
                  </a:lnTo>
                  <a:lnTo>
                    <a:pt x="824" y="719"/>
                  </a:lnTo>
                  <a:lnTo>
                    <a:pt x="824" y="716"/>
                  </a:lnTo>
                  <a:lnTo>
                    <a:pt x="824" y="716"/>
                  </a:lnTo>
                  <a:lnTo>
                    <a:pt x="826" y="716"/>
                  </a:lnTo>
                  <a:lnTo>
                    <a:pt x="826" y="716"/>
                  </a:lnTo>
                  <a:lnTo>
                    <a:pt x="826" y="714"/>
                  </a:lnTo>
                  <a:lnTo>
                    <a:pt x="826" y="714"/>
                  </a:lnTo>
                  <a:lnTo>
                    <a:pt x="826" y="714"/>
                  </a:lnTo>
                  <a:lnTo>
                    <a:pt x="826" y="714"/>
                  </a:lnTo>
                  <a:lnTo>
                    <a:pt x="826" y="714"/>
                  </a:lnTo>
                  <a:lnTo>
                    <a:pt x="826" y="714"/>
                  </a:lnTo>
                  <a:lnTo>
                    <a:pt x="828" y="712"/>
                  </a:lnTo>
                  <a:lnTo>
                    <a:pt x="828" y="709"/>
                  </a:lnTo>
                  <a:lnTo>
                    <a:pt x="831" y="709"/>
                  </a:lnTo>
                  <a:lnTo>
                    <a:pt x="831" y="709"/>
                  </a:lnTo>
                  <a:lnTo>
                    <a:pt x="831" y="707"/>
                  </a:lnTo>
                  <a:lnTo>
                    <a:pt x="831" y="707"/>
                  </a:lnTo>
                  <a:lnTo>
                    <a:pt x="833" y="705"/>
                  </a:lnTo>
                  <a:lnTo>
                    <a:pt x="833" y="705"/>
                  </a:lnTo>
                  <a:lnTo>
                    <a:pt x="833" y="705"/>
                  </a:lnTo>
                  <a:lnTo>
                    <a:pt x="833" y="702"/>
                  </a:lnTo>
                  <a:lnTo>
                    <a:pt x="833" y="702"/>
                  </a:lnTo>
                  <a:lnTo>
                    <a:pt x="835" y="700"/>
                  </a:lnTo>
                  <a:lnTo>
                    <a:pt x="835" y="700"/>
                  </a:lnTo>
                  <a:lnTo>
                    <a:pt x="835" y="697"/>
                  </a:lnTo>
                  <a:lnTo>
                    <a:pt x="835" y="697"/>
                  </a:lnTo>
                  <a:lnTo>
                    <a:pt x="835" y="697"/>
                  </a:lnTo>
                  <a:lnTo>
                    <a:pt x="835" y="695"/>
                  </a:lnTo>
                  <a:lnTo>
                    <a:pt x="835" y="693"/>
                  </a:lnTo>
                  <a:lnTo>
                    <a:pt x="833" y="693"/>
                  </a:lnTo>
                  <a:lnTo>
                    <a:pt x="833" y="693"/>
                  </a:lnTo>
                  <a:lnTo>
                    <a:pt x="831" y="693"/>
                  </a:lnTo>
                  <a:lnTo>
                    <a:pt x="828" y="695"/>
                  </a:lnTo>
                  <a:lnTo>
                    <a:pt x="828" y="697"/>
                  </a:lnTo>
                  <a:lnTo>
                    <a:pt x="828" y="697"/>
                  </a:lnTo>
                  <a:lnTo>
                    <a:pt x="826" y="697"/>
                  </a:lnTo>
                  <a:lnTo>
                    <a:pt x="824" y="697"/>
                  </a:lnTo>
                  <a:lnTo>
                    <a:pt x="824" y="697"/>
                  </a:lnTo>
                  <a:lnTo>
                    <a:pt x="824" y="700"/>
                  </a:lnTo>
                  <a:lnTo>
                    <a:pt x="821" y="702"/>
                  </a:lnTo>
                  <a:lnTo>
                    <a:pt x="821" y="702"/>
                  </a:lnTo>
                  <a:lnTo>
                    <a:pt x="821" y="705"/>
                  </a:lnTo>
                  <a:lnTo>
                    <a:pt x="821" y="705"/>
                  </a:lnTo>
                  <a:lnTo>
                    <a:pt x="819" y="702"/>
                  </a:lnTo>
                  <a:lnTo>
                    <a:pt x="812" y="707"/>
                  </a:lnTo>
                  <a:lnTo>
                    <a:pt x="809" y="707"/>
                  </a:lnTo>
                  <a:lnTo>
                    <a:pt x="809" y="709"/>
                  </a:lnTo>
                  <a:lnTo>
                    <a:pt x="807" y="712"/>
                  </a:lnTo>
                  <a:lnTo>
                    <a:pt x="807" y="712"/>
                  </a:lnTo>
                  <a:lnTo>
                    <a:pt x="807" y="712"/>
                  </a:lnTo>
                  <a:lnTo>
                    <a:pt x="805" y="714"/>
                  </a:lnTo>
                  <a:lnTo>
                    <a:pt x="802" y="716"/>
                  </a:lnTo>
                  <a:lnTo>
                    <a:pt x="802" y="716"/>
                  </a:lnTo>
                  <a:lnTo>
                    <a:pt x="800" y="719"/>
                  </a:lnTo>
                  <a:lnTo>
                    <a:pt x="795" y="723"/>
                  </a:lnTo>
                  <a:lnTo>
                    <a:pt x="793" y="728"/>
                  </a:lnTo>
                  <a:lnTo>
                    <a:pt x="793" y="728"/>
                  </a:lnTo>
                  <a:lnTo>
                    <a:pt x="793" y="728"/>
                  </a:lnTo>
                  <a:lnTo>
                    <a:pt x="793" y="728"/>
                  </a:lnTo>
                  <a:lnTo>
                    <a:pt x="793" y="728"/>
                  </a:lnTo>
                  <a:lnTo>
                    <a:pt x="795" y="733"/>
                  </a:lnTo>
                  <a:lnTo>
                    <a:pt x="798" y="733"/>
                  </a:lnTo>
                  <a:lnTo>
                    <a:pt x="798" y="733"/>
                  </a:lnTo>
                  <a:lnTo>
                    <a:pt x="800" y="733"/>
                  </a:lnTo>
                  <a:lnTo>
                    <a:pt x="800" y="733"/>
                  </a:lnTo>
                  <a:lnTo>
                    <a:pt x="800" y="733"/>
                  </a:lnTo>
                  <a:lnTo>
                    <a:pt x="800" y="733"/>
                  </a:lnTo>
                  <a:lnTo>
                    <a:pt x="802" y="735"/>
                  </a:lnTo>
                  <a:lnTo>
                    <a:pt x="802" y="735"/>
                  </a:lnTo>
                  <a:lnTo>
                    <a:pt x="800" y="735"/>
                  </a:lnTo>
                  <a:lnTo>
                    <a:pt x="800" y="735"/>
                  </a:lnTo>
                  <a:lnTo>
                    <a:pt x="800" y="735"/>
                  </a:lnTo>
                  <a:lnTo>
                    <a:pt x="802" y="738"/>
                  </a:lnTo>
                  <a:lnTo>
                    <a:pt x="805" y="738"/>
                  </a:lnTo>
                  <a:lnTo>
                    <a:pt x="805" y="740"/>
                  </a:lnTo>
                  <a:lnTo>
                    <a:pt x="807" y="740"/>
                  </a:lnTo>
                  <a:lnTo>
                    <a:pt x="814" y="733"/>
                  </a:lnTo>
                  <a:lnTo>
                    <a:pt x="817" y="733"/>
                  </a:lnTo>
                  <a:lnTo>
                    <a:pt x="814" y="733"/>
                  </a:lnTo>
                  <a:lnTo>
                    <a:pt x="814" y="731"/>
                  </a:lnTo>
                  <a:lnTo>
                    <a:pt x="821" y="726"/>
                  </a:lnTo>
                  <a:lnTo>
                    <a:pt x="821" y="723"/>
                  </a:lnTo>
                  <a:close/>
                  <a:moveTo>
                    <a:pt x="762" y="707"/>
                  </a:moveTo>
                  <a:lnTo>
                    <a:pt x="762" y="707"/>
                  </a:lnTo>
                  <a:lnTo>
                    <a:pt x="762" y="707"/>
                  </a:lnTo>
                  <a:lnTo>
                    <a:pt x="762" y="707"/>
                  </a:lnTo>
                  <a:lnTo>
                    <a:pt x="762" y="707"/>
                  </a:lnTo>
                  <a:lnTo>
                    <a:pt x="757" y="709"/>
                  </a:lnTo>
                  <a:lnTo>
                    <a:pt x="757" y="709"/>
                  </a:lnTo>
                  <a:lnTo>
                    <a:pt x="757" y="712"/>
                  </a:lnTo>
                  <a:lnTo>
                    <a:pt x="760" y="712"/>
                  </a:lnTo>
                  <a:lnTo>
                    <a:pt x="760" y="712"/>
                  </a:lnTo>
                  <a:lnTo>
                    <a:pt x="762" y="712"/>
                  </a:lnTo>
                  <a:lnTo>
                    <a:pt x="762" y="709"/>
                  </a:lnTo>
                  <a:lnTo>
                    <a:pt x="764" y="707"/>
                  </a:lnTo>
                  <a:lnTo>
                    <a:pt x="767" y="705"/>
                  </a:lnTo>
                  <a:lnTo>
                    <a:pt x="767" y="705"/>
                  </a:lnTo>
                  <a:lnTo>
                    <a:pt x="767" y="702"/>
                  </a:lnTo>
                  <a:lnTo>
                    <a:pt x="767" y="702"/>
                  </a:lnTo>
                  <a:lnTo>
                    <a:pt x="767" y="700"/>
                  </a:lnTo>
                  <a:lnTo>
                    <a:pt x="767" y="700"/>
                  </a:lnTo>
                  <a:lnTo>
                    <a:pt x="767" y="700"/>
                  </a:lnTo>
                  <a:lnTo>
                    <a:pt x="767" y="697"/>
                  </a:lnTo>
                  <a:lnTo>
                    <a:pt x="767" y="697"/>
                  </a:lnTo>
                  <a:lnTo>
                    <a:pt x="767" y="697"/>
                  </a:lnTo>
                  <a:lnTo>
                    <a:pt x="767" y="697"/>
                  </a:lnTo>
                  <a:lnTo>
                    <a:pt x="764" y="697"/>
                  </a:lnTo>
                  <a:lnTo>
                    <a:pt x="764" y="697"/>
                  </a:lnTo>
                  <a:lnTo>
                    <a:pt x="764" y="697"/>
                  </a:lnTo>
                  <a:lnTo>
                    <a:pt x="764" y="700"/>
                  </a:lnTo>
                  <a:lnTo>
                    <a:pt x="764" y="702"/>
                  </a:lnTo>
                  <a:lnTo>
                    <a:pt x="764" y="702"/>
                  </a:lnTo>
                  <a:lnTo>
                    <a:pt x="764" y="705"/>
                  </a:lnTo>
                  <a:lnTo>
                    <a:pt x="764" y="705"/>
                  </a:lnTo>
                  <a:lnTo>
                    <a:pt x="764" y="705"/>
                  </a:lnTo>
                  <a:lnTo>
                    <a:pt x="764" y="705"/>
                  </a:lnTo>
                  <a:lnTo>
                    <a:pt x="762" y="707"/>
                  </a:lnTo>
                  <a:close/>
                  <a:moveTo>
                    <a:pt x="608" y="974"/>
                  </a:moveTo>
                  <a:lnTo>
                    <a:pt x="613" y="974"/>
                  </a:lnTo>
                  <a:lnTo>
                    <a:pt x="620" y="977"/>
                  </a:lnTo>
                  <a:lnTo>
                    <a:pt x="620" y="977"/>
                  </a:lnTo>
                  <a:lnTo>
                    <a:pt x="620" y="979"/>
                  </a:lnTo>
                  <a:lnTo>
                    <a:pt x="620" y="979"/>
                  </a:lnTo>
                  <a:lnTo>
                    <a:pt x="620" y="979"/>
                  </a:lnTo>
                  <a:lnTo>
                    <a:pt x="620" y="979"/>
                  </a:lnTo>
                  <a:lnTo>
                    <a:pt x="620" y="979"/>
                  </a:lnTo>
                  <a:lnTo>
                    <a:pt x="620" y="977"/>
                  </a:lnTo>
                  <a:lnTo>
                    <a:pt x="620" y="977"/>
                  </a:lnTo>
                  <a:lnTo>
                    <a:pt x="613" y="977"/>
                  </a:lnTo>
                  <a:lnTo>
                    <a:pt x="615" y="977"/>
                  </a:lnTo>
                  <a:lnTo>
                    <a:pt x="620" y="981"/>
                  </a:lnTo>
                  <a:lnTo>
                    <a:pt x="620" y="986"/>
                  </a:lnTo>
                  <a:lnTo>
                    <a:pt x="625" y="991"/>
                  </a:lnTo>
                  <a:lnTo>
                    <a:pt x="630" y="996"/>
                  </a:lnTo>
                  <a:lnTo>
                    <a:pt x="637" y="1000"/>
                  </a:lnTo>
                  <a:lnTo>
                    <a:pt x="639" y="1005"/>
                  </a:lnTo>
                  <a:lnTo>
                    <a:pt x="639" y="1010"/>
                  </a:lnTo>
                  <a:lnTo>
                    <a:pt x="639" y="1012"/>
                  </a:lnTo>
                  <a:lnTo>
                    <a:pt x="639" y="1012"/>
                  </a:lnTo>
                  <a:lnTo>
                    <a:pt x="639" y="1012"/>
                  </a:lnTo>
                  <a:lnTo>
                    <a:pt x="641" y="1014"/>
                  </a:lnTo>
                  <a:lnTo>
                    <a:pt x="641" y="1014"/>
                  </a:lnTo>
                  <a:lnTo>
                    <a:pt x="641" y="1017"/>
                  </a:lnTo>
                  <a:lnTo>
                    <a:pt x="641" y="1019"/>
                  </a:lnTo>
                  <a:lnTo>
                    <a:pt x="644" y="1024"/>
                  </a:lnTo>
                  <a:lnTo>
                    <a:pt x="644" y="1036"/>
                  </a:lnTo>
                  <a:lnTo>
                    <a:pt x="644" y="1040"/>
                  </a:lnTo>
                  <a:lnTo>
                    <a:pt x="646" y="1045"/>
                  </a:lnTo>
                  <a:lnTo>
                    <a:pt x="649" y="1048"/>
                  </a:lnTo>
                  <a:lnTo>
                    <a:pt x="649" y="1048"/>
                  </a:lnTo>
                  <a:lnTo>
                    <a:pt x="656" y="1050"/>
                  </a:lnTo>
                  <a:lnTo>
                    <a:pt x="656" y="1050"/>
                  </a:lnTo>
                  <a:lnTo>
                    <a:pt x="658" y="1048"/>
                  </a:lnTo>
                  <a:lnTo>
                    <a:pt x="658" y="1045"/>
                  </a:lnTo>
                  <a:lnTo>
                    <a:pt x="658" y="1045"/>
                  </a:lnTo>
                  <a:lnTo>
                    <a:pt x="660" y="1045"/>
                  </a:lnTo>
                  <a:lnTo>
                    <a:pt x="665" y="1040"/>
                  </a:lnTo>
                  <a:lnTo>
                    <a:pt x="667" y="1040"/>
                  </a:lnTo>
                  <a:lnTo>
                    <a:pt x="670" y="1040"/>
                  </a:lnTo>
                  <a:lnTo>
                    <a:pt x="672" y="1040"/>
                  </a:lnTo>
                  <a:lnTo>
                    <a:pt x="672" y="1040"/>
                  </a:lnTo>
                  <a:lnTo>
                    <a:pt x="675" y="1038"/>
                  </a:lnTo>
                  <a:lnTo>
                    <a:pt x="677" y="1036"/>
                  </a:lnTo>
                  <a:lnTo>
                    <a:pt x="679" y="1033"/>
                  </a:lnTo>
                  <a:lnTo>
                    <a:pt x="682" y="1031"/>
                  </a:lnTo>
                  <a:lnTo>
                    <a:pt x="684" y="1029"/>
                  </a:lnTo>
                  <a:lnTo>
                    <a:pt x="686" y="1029"/>
                  </a:lnTo>
                  <a:lnTo>
                    <a:pt x="686" y="1029"/>
                  </a:lnTo>
                  <a:lnTo>
                    <a:pt x="686" y="1029"/>
                  </a:lnTo>
                  <a:lnTo>
                    <a:pt x="689" y="1029"/>
                  </a:lnTo>
                  <a:lnTo>
                    <a:pt x="689" y="1031"/>
                  </a:lnTo>
                  <a:lnTo>
                    <a:pt x="689" y="1031"/>
                  </a:lnTo>
                  <a:lnTo>
                    <a:pt x="686" y="1033"/>
                  </a:lnTo>
                  <a:lnTo>
                    <a:pt x="691" y="1036"/>
                  </a:lnTo>
                  <a:lnTo>
                    <a:pt x="696" y="1033"/>
                  </a:lnTo>
                  <a:lnTo>
                    <a:pt x="701" y="1033"/>
                  </a:lnTo>
                  <a:lnTo>
                    <a:pt x="705" y="1031"/>
                  </a:lnTo>
                  <a:lnTo>
                    <a:pt x="710" y="1031"/>
                  </a:lnTo>
                  <a:lnTo>
                    <a:pt x="712" y="1029"/>
                  </a:lnTo>
                  <a:lnTo>
                    <a:pt x="717" y="1022"/>
                  </a:lnTo>
                  <a:lnTo>
                    <a:pt x="717" y="1019"/>
                  </a:lnTo>
                  <a:lnTo>
                    <a:pt x="717" y="1019"/>
                  </a:lnTo>
                  <a:lnTo>
                    <a:pt x="717" y="1017"/>
                  </a:lnTo>
                  <a:lnTo>
                    <a:pt x="717" y="1017"/>
                  </a:lnTo>
                  <a:lnTo>
                    <a:pt x="717" y="1017"/>
                  </a:lnTo>
                  <a:lnTo>
                    <a:pt x="717" y="1014"/>
                  </a:lnTo>
                  <a:lnTo>
                    <a:pt x="717" y="1014"/>
                  </a:lnTo>
                  <a:lnTo>
                    <a:pt x="717" y="1012"/>
                  </a:lnTo>
                  <a:lnTo>
                    <a:pt x="720" y="1010"/>
                  </a:lnTo>
                  <a:lnTo>
                    <a:pt x="720" y="1010"/>
                  </a:lnTo>
                  <a:lnTo>
                    <a:pt x="720" y="1007"/>
                  </a:lnTo>
                  <a:lnTo>
                    <a:pt x="720" y="1005"/>
                  </a:lnTo>
                  <a:lnTo>
                    <a:pt x="720" y="1005"/>
                  </a:lnTo>
                  <a:lnTo>
                    <a:pt x="720" y="1005"/>
                  </a:lnTo>
                  <a:lnTo>
                    <a:pt x="720" y="1003"/>
                  </a:lnTo>
                  <a:lnTo>
                    <a:pt x="720" y="1000"/>
                  </a:lnTo>
                  <a:lnTo>
                    <a:pt x="720" y="998"/>
                  </a:lnTo>
                  <a:lnTo>
                    <a:pt x="722" y="998"/>
                  </a:lnTo>
                  <a:lnTo>
                    <a:pt x="722" y="996"/>
                  </a:lnTo>
                  <a:lnTo>
                    <a:pt x="724" y="996"/>
                  </a:lnTo>
                  <a:lnTo>
                    <a:pt x="727" y="991"/>
                  </a:lnTo>
                  <a:lnTo>
                    <a:pt x="729" y="988"/>
                  </a:lnTo>
                  <a:lnTo>
                    <a:pt x="729" y="988"/>
                  </a:lnTo>
                  <a:lnTo>
                    <a:pt x="729" y="986"/>
                  </a:lnTo>
                  <a:lnTo>
                    <a:pt x="729" y="986"/>
                  </a:lnTo>
                  <a:lnTo>
                    <a:pt x="729" y="984"/>
                  </a:lnTo>
                  <a:lnTo>
                    <a:pt x="729" y="984"/>
                  </a:lnTo>
                  <a:lnTo>
                    <a:pt x="729" y="981"/>
                  </a:lnTo>
                  <a:lnTo>
                    <a:pt x="729" y="981"/>
                  </a:lnTo>
                  <a:lnTo>
                    <a:pt x="729" y="979"/>
                  </a:lnTo>
                  <a:lnTo>
                    <a:pt x="729" y="979"/>
                  </a:lnTo>
                  <a:lnTo>
                    <a:pt x="729" y="977"/>
                  </a:lnTo>
                  <a:lnTo>
                    <a:pt x="729" y="977"/>
                  </a:lnTo>
                  <a:lnTo>
                    <a:pt x="729" y="977"/>
                  </a:lnTo>
                  <a:lnTo>
                    <a:pt x="731" y="977"/>
                  </a:lnTo>
                  <a:lnTo>
                    <a:pt x="731" y="979"/>
                  </a:lnTo>
                  <a:lnTo>
                    <a:pt x="731" y="979"/>
                  </a:lnTo>
                  <a:lnTo>
                    <a:pt x="729" y="979"/>
                  </a:lnTo>
                  <a:lnTo>
                    <a:pt x="729" y="979"/>
                  </a:lnTo>
                  <a:lnTo>
                    <a:pt x="734" y="981"/>
                  </a:lnTo>
                  <a:lnTo>
                    <a:pt x="736" y="981"/>
                  </a:lnTo>
                  <a:lnTo>
                    <a:pt x="736" y="981"/>
                  </a:lnTo>
                  <a:lnTo>
                    <a:pt x="736" y="981"/>
                  </a:lnTo>
                  <a:lnTo>
                    <a:pt x="738" y="981"/>
                  </a:lnTo>
                  <a:lnTo>
                    <a:pt x="738" y="981"/>
                  </a:lnTo>
                  <a:lnTo>
                    <a:pt x="741" y="979"/>
                  </a:lnTo>
                  <a:lnTo>
                    <a:pt x="748" y="977"/>
                  </a:lnTo>
                  <a:lnTo>
                    <a:pt x="748" y="977"/>
                  </a:lnTo>
                  <a:lnTo>
                    <a:pt x="750" y="974"/>
                  </a:lnTo>
                  <a:lnTo>
                    <a:pt x="750" y="974"/>
                  </a:lnTo>
                  <a:lnTo>
                    <a:pt x="750" y="974"/>
                  </a:lnTo>
                  <a:lnTo>
                    <a:pt x="750" y="974"/>
                  </a:lnTo>
                  <a:lnTo>
                    <a:pt x="750" y="974"/>
                  </a:lnTo>
                  <a:lnTo>
                    <a:pt x="750" y="972"/>
                  </a:lnTo>
                  <a:lnTo>
                    <a:pt x="750" y="970"/>
                  </a:lnTo>
                  <a:lnTo>
                    <a:pt x="750" y="970"/>
                  </a:lnTo>
                  <a:lnTo>
                    <a:pt x="753" y="967"/>
                  </a:lnTo>
                  <a:lnTo>
                    <a:pt x="753" y="967"/>
                  </a:lnTo>
                  <a:lnTo>
                    <a:pt x="753" y="967"/>
                  </a:lnTo>
                  <a:lnTo>
                    <a:pt x="753" y="965"/>
                  </a:lnTo>
                  <a:lnTo>
                    <a:pt x="753" y="965"/>
                  </a:lnTo>
                  <a:lnTo>
                    <a:pt x="755" y="962"/>
                  </a:lnTo>
                  <a:lnTo>
                    <a:pt x="755" y="962"/>
                  </a:lnTo>
                  <a:lnTo>
                    <a:pt x="755" y="962"/>
                  </a:lnTo>
                  <a:lnTo>
                    <a:pt x="755" y="960"/>
                  </a:lnTo>
                  <a:lnTo>
                    <a:pt x="755" y="958"/>
                  </a:lnTo>
                  <a:lnTo>
                    <a:pt x="755" y="958"/>
                  </a:lnTo>
                  <a:lnTo>
                    <a:pt x="757" y="958"/>
                  </a:lnTo>
                  <a:lnTo>
                    <a:pt x="757" y="955"/>
                  </a:lnTo>
                  <a:lnTo>
                    <a:pt x="757" y="955"/>
                  </a:lnTo>
                  <a:lnTo>
                    <a:pt x="757" y="955"/>
                  </a:lnTo>
                  <a:lnTo>
                    <a:pt x="757" y="955"/>
                  </a:lnTo>
                  <a:lnTo>
                    <a:pt x="764" y="953"/>
                  </a:lnTo>
                  <a:lnTo>
                    <a:pt x="767" y="948"/>
                  </a:lnTo>
                  <a:lnTo>
                    <a:pt x="769" y="948"/>
                  </a:lnTo>
                  <a:lnTo>
                    <a:pt x="772" y="948"/>
                  </a:lnTo>
                  <a:lnTo>
                    <a:pt x="772" y="948"/>
                  </a:lnTo>
                  <a:lnTo>
                    <a:pt x="774" y="948"/>
                  </a:lnTo>
                  <a:lnTo>
                    <a:pt x="774" y="946"/>
                  </a:lnTo>
                  <a:lnTo>
                    <a:pt x="776" y="946"/>
                  </a:lnTo>
                  <a:lnTo>
                    <a:pt x="781" y="941"/>
                  </a:lnTo>
                  <a:lnTo>
                    <a:pt x="783" y="941"/>
                  </a:lnTo>
                  <a:lnTo>
                    <a:pt x="786" y="939"/>
                  </a:lnTo>
                  <a:lnTo>
                    <a:pt x="788" y="939"/>
                  </a:lnTo>
                  <a:lnTo>
                    <a:pt x="791" y="936"/>
                  </a:lnTo>
                  <a:lnTo>
                    <a:pt x="793" y="934"/>
                  </a:lnTo>
                  <a:lnTo>
                    <a:pt x="800" y="929"/>
                  </a:lnTo>
                  <a:lnTo>
                    <a:pt x="805" y="929"/>
                  </a:lnTo>
                  <a:lnTo>
                    <a:pt x="805" y="929"/>
                  </a:lnTo>
                  <a:lnTo>
                    <a:pt x="807" y="929"/>
                  </a:lnTo>
                  <a:lnTo>
                    <a:pt x="809" y="927"/>
                  </a:lnTo>
                  <a:lnTo>
                    <a:pt x="812" y="925"/>
                  </a:lnTo>
                  <a:lnTo>
                    <a:pt x="814" y="925"/>
                  </a:lnTo>
                  <a:lnTo>
                    <a:pt x="814" y="925"/>
                  </a:lnTo>
                  <a:lnTo>
                    <a:pt x="817" y="922"/>
                  </a:lnTo>
                  <a:lnTo>
                    <a:pt x="817" y="922"/>
                  </a:lnTo>
                  <a:lnTo>
                    <a:pt x="821" y="920"/>
                  </a:lnTo>
                  <a:lnTo>
                    <a:pt x="824" y="917"/>
                  </a:lnTo>
                  <a:lnTo>
                    <a:pt x="828" y="917"/>
                  </a:lnTo>
                  <a:lnTo>
                    <a:pt x="833" y="915"/>
                  </a:lnTo>
                  <a:lnTo>
                    <a:pt x="840" y="913"/>
                  </a:lnTo>
                  <a:lnTo>
                    <a:pt x="843" y="910"/>
                  </a:lnTo>
                  <a:lnTo>
                    <a:pt x="845" y="910"/>
                  </a:lnTo>
                  <a:lnTo>
                    <a:pt x="845" y="908"/>
                  </a:lnTo>
                  <a:lnTo>
                    <a:pt x="847" y="908"/>
                  </a:lnTo>
                  <a:lnTo>
                    <a:pt x="847" y="908"/>
                  </a:lnTo>
                  <a:lnTo>
                    <a:pt x="847" y="906"/>
                  </a:lnTo>
                  <a:lnTo>
                    <a:pt x="847" y="906"/>
                  </a:lnTo>
                  <a:lnTo>
                    <a:pt x="850" y="906"/>
                  </a:lnTo>
                  <a:lnTo>
                    <a:pt x="850" y="906"/>
                  </a:lnTo>
                  <a:lnTo>
                    <a:pt x="850" y="906"/>
                  </a:lnTo>
                  <a:lnTo>
                    <a:pt x="850" y="906"/>
                  </a:lnTo>
                  <a:lnTo>
                    <a:pt x="850" y="903"/>
                  </a:lnTo>
                  <a:lnTo>
                    <a:pt x="850" y="901"/>
                  </a:lnTo>
                  <a:lnTo>
                    <a:pt x="850" y="901"/>
                  </a:lnTo>
                  <a:lnTo>
                    <a:pt x="850" y="899"/>
                  </a:lnTo>
                  <a:lnTo>
                    <a:pt x="847" y="896"/>
                  </a:lnTo>
                  <a:lnTo>
                    <a:pt x="847" y="894"/>
                  </a:lnTo>
                  <a:lnTo>
                    <a:pt x="845" y="894"/>
                  </a:lnTo>
                  <a:lnTo>
                    <a:pt x="845" y="891"/>
                  </a:lnTo>
                  <a:lnTo>
                    <a:pt x="845" y="891"/>
                  </a:lnTo>
                  <a:lnTo>
                    <a:pt x="845" y="891"/>
                  </a:lnTo>
                  <a:lnTo>
                    <a:pt x="845" y="889"/>
                  </a:lnTo>
                  <a:lnTo>
                    <a:pt x="843" y="889"/>
                  </a:lnTo>
                  <a:lnTo>
                    <a:pt x="840" y="884"/>
                  </a:lnTo>
                  <a:lnTo>
                    <a:pt x="838" y="882"/>
                  </a:lnTo>
                  <a:lnTo>
                    <a:pt x="835" y="877"/>
                  </a:lnTo>
                  <a:lnTo>
                    <a:pt x="833" y="875"/>
                  </a:lnTo>
                  <a:lnTo>
                    <a:pt x="833" y="873"/>
                  </a:lnTo>
                  <a:lnTo>
                    <a:pt x="833" y="873"/>
                  </a:lnTo>
                  <a:lnTo>
                    <a:pt x="831" y="870"/>
                  </a:lnTo>
                  <a:lnTo>
                    <a:pt x="828" y="863"/>
                  </a:lnTo>
                  <a:lnTo>
                    <a:pt x="824" y="856"/>
                  </a:lnTo>
                  <a:lnTo>
                    <a:pt x="819" y="849"/>
                  </a:lnTo>
                  <a:lnTo>
                    <a:pt x="814" y="842"/>
                  </a:lnTo>
                  <a:lnTo>
                    <a:pt x="807" y="839"/>
                  </a:lnTo>
                  <a:lnTo>
                    <a:pt x="802" y="837"/>
                  </a:lnTo>
                  <a:lnTo>
                    <a:pt x="793" y="837"/>
                  </a:lnTo>
                  <a:lnTo>
                    <a:pt x="793" y="837"/>
                  </a:lnTo>
                  <a:lnTo>
                    <a:pt x="791" y="837"/>
                  </a:lnTo>
                  <a:lnTo>
                    <a:pt x="788" y="839"/>
                  </a:lnTo>
                  <a:lnTo>
                    <a:pt x="786" y="839"/>
                  </a:lnTo>
                  <a:lnTo>
                    <a:pt x="786" y="839"/>
                  </a:lnTo>
                  <a:lnTo>
                    <a:pt x="783" y="839"/>
                  </a:lnTo>
                  <a:lnTo>
                    <a:pt x="783" y="839"/>
                  </a:lnTo>
                  <a:lnTo>
                    <a:pt x="783" y="842"/>
                  </a:lnTo>
                  <a:lnTo>
                    <a:pt x="783" y="842"/>
                  </a:lnTo>
                  <a:lnTo>
                    <a:pt x="783" y="842"/>
                  </a:lnTo>
                  <a:lnTo>
                    <a:pt x="783" y="842"/>
                  </a:lnTo>
                  <a:lnTo>
                    <a:pt x="783" y="844"/>
                  </a:lnTo>
                  <a:lnTo>
                    <a:pt x="783" y="844"/>
                  </a:lnTo>
                  <a:lnTo>
                    <a:pt x="783" y="844"/>
                  </a:lnTo>
                  <a:lnTo>
                    <a:pt x="783" y="846"/>
                  </a:lnTo>
                  <a:lnTo>
                    <a:pt x="783" y="849"/>
                  </a:lnTo>
                  <a:lnTo>
                    <a:pt x="783" y="849"/>
                  </a:lnTo>
                  <a:lnTo>
                    <a:pt x="781" y="849"/>
                  </a:lnTo>
                  <a:lnTo>
                    <a:pt x="781" y="851"/>
                  </a:lnTo>
                  <a:lnTo>
                    <a:pt x="781" y="851"/>
                  </a:lnTo>
                  <a:lnTo>
                    <a:pt x="779" y="854"/>
                  </a:lnTo>
                  <a:lnTo>
                    <a:pt x="779" y="854"/>
                  </a:lnTo>
                  <a:lnTo>
                    <a:pt x="779" y="854"/>
                  </a:lnTo>
                  <a:lnTo>
                    <a:pt x="779" y="854"/>
                  </a:lnTo>
                  <a:lnTo>
                    <a:pt x="779" y="854"/>
                  </a:lnTo>
                  <a:lnTo>
                    <a:pt x="776" y="854"/>
                  </a:lnTo>
                  <a:lnTo>
                    <a:pt x="776" y="854"/>
                  </a:lnTo>
                  <a:lnTo>
                    <a:pt x="774" y="854"/>
                  </a:lnTo>
                  <a:lnTo>
                    <a:pt x="774" y="854"/>
                  </a:lnTo>
                  <a:lnTo>
                    <a:pt x="774" y="851"/>
                  </a:lnTo>
                  <a:lnTo>
                    <a:pt x="774" y="851"/>
                  </a:lnTo>
                  <a:lnTo>
                    <a:pt x="776" y="851"/>
                  </a:lnTo>
                  <a:lnTo>
                    <a:pt x="776" y="849"/>
                  </a:lnTo>
                  <a:lnTo>
                    <a:pt x="776" y="849"/>
                  </a:lnTo>
                  <a:lnTo>
                    <a:pt x="776" y="849"/>
                  </a:lnTo>
                  <a:lnTo>
                    <a:pt x="779" y="849"/>
                  </a:lnTo>
                  <a:lnTo>
                    <a:pt x="779" y="846"/>
                  </a:lnTo>
                  <a:lnTo>
                    <a:pt x="779" y="846"/>
                  </a:lnTo>
                  <a:lnTo>
                    <a:pt x="779" y="844"/>
                  </a:lnTo>
                  <a:lnTo>
                    <a:pt x="779" y="844"/>
                  </a:lnTo>
                  <a:lnTo>
                    <a:pt x="776" y="844"/>
                  </a:lnTo>
                  <a:lnTo>
                    <a:pt x="779" y="842"/>
                  </a:lnTo>
                  <a:lnTo>
                    <a:pt x="779" y="842"/>
                  </a:lnTo>
                  <a:lnTo>
                    <a:pt x="779" y="839"/>
                  </a:lnTo>
                  <a:lnTo>
                    <a:pt x="779" y="839"/>
                  </a:lnTo>
                  <a:lnTo>
                    <a:pt x="779" y="837"/>
                  </a:lnTo>
                  <a:lnTo>
                    <a:pt x="776" y="837"/>
                  </a:lnTo>
                  <a:lnTo>
                    <a:pt x="774" y="837"/>
                  </a:lnTo>
                  <a:lnTo>
                    <a:pt x="772" y="835"/>
                  </a:lnTo>
                  <a:lnTo>
                    <a:pt x="772" y="835"/>
                  </a:lnTo>
                  <a:lnTo>
                    <a:pt x="772" y="837"/>
                  </a:lnTo>
                  <a:lnTo>
                    <a:pt x="769" y="839"/>
                  </a:lnTo>
                  <a:lnTo>
                    <a:pt x="769" y="839"/>
                  </a:lnTo>
                  <a:lnTo>
                    <a:pt x="767" y="842"/>
                  </a:lnTo>
                  <a:lnTo>
                    <a:pt x="764" y="844"/>
                  </a:lnTo>
                  <a:lnTo>
                    <a:pt x="764" y="844"/>
                  </a:lnTo>
                  <a:lnTo>
                    <a:pt x="764" y="846"/>
                  </a:lnTo>
                  <a:lnTo>
                    <a:pt x="764" y="846"/>
                  </a:lnTo>
                  <a:lnTo>
                    <a:pt x="764" y="846"/>
                  </a:lnTo>
                  <a:lnTo>
                    <a:pt x="764" y="849"/>
                  </a:lnTo>
                  <a:lnTo>
                    <a:pt x="764" y="849"/>
                  </a:lnTo>
                  <a:lnTo>
                    <a:pt x="762" y="849"/>
                  </a:lnTo>
                  <a:lnTo>
                    <a:pt x="762" y="849"/>
                  </a:lnTo>
                  <a:lnTo>
                    <a:pt x="762" y="846"/>
                  </a:lnTo>
                  <a:lnTo>
                    <a:pt x="762" y="846"/>
                  </a:lnTo>
                  <a:lnTo>
                    <a:pt x="762" y="844"/>
                  </a:lnTo>
                  <a:lnTo>
                    <a:pt x="762" y="844"/>
                  </a:lnTo>
                  <a:lnTo>
                    <a:pt x="767" y="839"/>
                  </a:lnTo>
                  <a:lnTo>
                    <a:pt x="767" y="837"/>
                  </a:lnTo>
                  <a:lnTo>
                    <a:pt x="767" y="835"/>
                  </a:lnTo>
                  <a:lnTo>
                    <a:pt x="769" y="835"/>
                  </a:lnTo>
                  <a:lnTo>
                    <a:pt x="769" y="835"/>
                  </a:lnTo>
                  <a:lnTo>
                    <a:pt x="772" y="835"/>
                  </a:lnTo>
                  <a:lnTo>
                    <a:pt x="769" y="835"/>
                  </a:lnTo>
                  <a:lnTo>
                    <a:pt x="764" y="832"/>
                  </a:lnTo>
                  <a:lnTo>
                    <a:pt x="762" y="830"/>
                  </a:lnTo>
                  <a:lnTo>
                    <a:pt x="762" y="830"/>
                  </a:lnTo>
                  <a:lnTo>
                    <a:pt x="757" y="828"/>
                  </a:lnTo>
                  <a:lnTo>
                    <a:pt x="750" y="823"/>
                  </a:lnTo>
                  <a:lnTo>
                    <a:pt x="743" y="816"/>
                  </a:lnTo>
                  <a:lnTo>
                    <a:pt x="743" y="816"/>
                  </a:lnTo>
                  <a:lnTo>
                    <a:pt x="743" y="813"/>
                  </a:lnTo>
                  <a:lnTo>
                    <a:pt x="743" y="813"/>
                  </a:lnTo>
                  <a:lnTo>
                    <a:pt x="743" y="813"/>
                  </a:lnTo>
                  <a:lnTo>
                    <a:pt x="743" y="811"/>
                  </a:lnTo>
                  <a:lnTo>
                    <a:pt x="741" y="806"/>
                  </a:lnTo>
                  <a:lnTo>
                    <a:pt x="741" y="806"/>
                  </a:lnTo>
                  <a:lnTo>
                    <a:pt x="738" y="806"/>
                  </a:lnTo>
                  <a:lnTo>
                    <a:pt x="738" y="804"/>
                  </a:lnTo>
                  <a:lnTo>
                    <a:pt x="736" y="804"/>
                  </a:lnTo>
                  <a:lnTo>
                    <a:pt x="734" y="802"/>
                  </a:lnTo>
                  <a:lnTo>
                    <a:pt x="729" y="802"/>
                  </a:lnTo>
                  <a:lnTo>
                    <a:pt x="722" y="804"/>
                  </a:lnTo>
                  <a:lnTo>
                    <a:pt x="715" y="804"/>
                  </a:lnTo>
                  <a:lnTo>
                    <a:pt x="710" y="804"/>
                  </a:lnTo>
                  <a:lnTo>
                    <a:pt x="703" y="804"/>
                  </a:lnTo>
                  <a:lnTo>
                    <a:pt x="696" y="804"/>
                  </a:lnTo>
                  <a:lnTo>
                    <a:pt x="691" y="804"/>
                  </a:lnTo>
                  <a:lnTo>
                    <a:pt x="689" y="804"/>
                  </a:lnTo>
                  <a:lnTo>
                    <a:pt x="686" y="804"/>
                  </a:lnTo>
                  <a:lnTo>
                    <a:pt x="679" y="804"/>
                  </a:lnTo>
                  <a:lnTo>
                    <a:pt x="679" y="804"/>
                  </a:lnTo>
                  <a:lnTo>
                    <a:pt x="679" y="804"/>
                  </a:lnTo>
                  <a:lnTo>
                    <a:pt x="679" y="804"/>
                  </a:lnTo>
                  <a:lnTo>
                    <a:pt x="677" y="804"/>
                  </a:lnTo>
                  <a:lnTo>
                    <a:pt x="672" y="804"/>
                  </a:lnTo>
                  <a:lnTo>
                    <a:pt x="667" y="804"/>
                  </a:lnTo>
                  <a:lnTo>
                    <a:pt x="665" y="804"/>
                  </a:lnTo>
                  <a:lnTo>
                    <a:pt x="665" y="804"/>
                  </a:lnTo>
                  <a:lnTo>
                    <a:pt x="665" y="806"/>
                  </a:lnTo>
                  <a:lnTo>
                    <a:pt x="667" y="806"/>
                  </a:lnTo>
                  <a:lnTo>
                    <a:pt x="667" y="806"/>
                  </a:lnTo>
                  <a:lnTo>
                    <a:pt x="665" y="809"/>
                  </a:lnTo>
                  <a:lnTo>
                    <a:pt x="665" y="809"/>
                  </a:lnTo>
                  <a:lnTo>
                    <a:pt x="665" y="811"/>
                  </a:lnTo>
                  <a:lnTo>
                    <a:pt x="667" y="811"/>
                  </a:lnTo>
                  <a:lnTo>
                    <a:pt x="667" y="811"/>
                  </a:lnTo>
                  <a:lnTo>
                    <a:pt x="667" y="813"/>
                  </a:lnTo>
                  <a:lnTo>
                    <a:pt x="667" y="813"/>
                  </a:lnTo>
                  <a:lnTo>
                    <a:pt x="667" y="813"/>
                  </a:lnTo>
                  <a:lnTo>
                    <a:pt x="667" y="816"/>
                  </a:lnTo>
                  <a:lnTo>
                    <a:pt x="667" y="816"/>
                  </a:lnTo>
                  <a:lnTo>
                    <a:pt x="667" y="816"/>
                  </a:lnTo>
                  <a:lnTo>
                    <a:pt x="667" y="818"/>
                  </a:lnTo>
                  <a:lnTo>
                    <a:pt x="667" y="818"/>
                  </a:lnTo>
                  <a:lnTo>
                    <a:pt x="667" y="818"/>
                  </a:lnTo>
                  <a:lnTo>
                    <a:pt x="667" y="820"/>
                  </a:lnTo>
                  <a:lnTo>
                    <a:pt x="667" y="820"/>
                  </a:lnTo>
                  <a:lnTo>
                    <a:pt x="667" y="820"/>
                  </a:lnTo>
                  <a:lnTo>
                    <a:pt x="667" y="820"/>
                  </a:lnTo>
                  <a:lnTo>
                    <a:pt x="667" y="823"/>
                  </a:lnTo>
                  <a:lnTo>
                    <a:pt x="667" y="823"/>
                  </a:lnTo>
                  <a:lnTo>
                    <a:pt x="667" y="823"/>
                  </a:lnTo>
                  <a:lnTo>
                    <a:pt x="667" y="823"/>
                  </a:lnTo>
                  <a:lnTo>
                    <a:pt x="667" y="825"/>
                  </a:lnTo>
                  <a:lnTo>
                    <a:pt x="667" y="825"/>
                  </a:lnTo>
                  <a:lnTo>
                    <a:pt x="665" y="825"/>
                  </a:lnTo>
                  <a:lnTo>
                    <a:pt x="667" y="828"/>
                  </a:lnTo>
                  <a:lnTo>
                    <a:pt x="667" y="828"/>
                  </a:lnTo>
                  <a:lnTo>
                    <a:pt x="667" y="830"/>
                  </a:lnTo>
                  <a:lnTo>
                    <a:pt x="667" y="830"/>
                  </a:lnTo>
                  <a:lnTo>
                    <a:pt x="667" y="832"/>
                  </a:lnTo>
                  <a:lnTo>
                    <a:pt x="667" y="832"/>
                  </a:lnTo>
                  <a:lnTo>
                    <a:pt x="667" y="832"/>
                  </a:lnTo>
                  <a:lnTo>
                    <a:pt x="667" y="832"/>
                  </a:lnTo>
                  <a:lnTo>
                    <a:pt x="667" y="835"/>
                  </a:lnTo>
                  <a:lnTo>
                    <a:pt x="667" y="835"/>
                  </a:lnTo>
                  <a:lnTo>
                    <a:pt x="667" y="835"/>
                  </a:lnTo>
                  <a:lnTo>
                    <a:pt x="667" y="835"/>
                  </a:lnTo>
                  <a:lnTo>
                    <a:pt x="667" y="837"/>
                  </a:lnTo>
                  <a:lnTo>
                    <a:pt x="667" y="837"/>
                  </a:lnTo>
                  <a:lnTo>
                    <a:pt x="670" y="839"/>
                  </a:lnTo>
                  <a:lnTo>
                    <a:pt x="670" y="839"/>
                  </a:lnTo>
                  <a:lnTo>
                    <a:pt x="667" y="839"/>
                  </a:lnTo>
                  <a:lnTo>
                    <a:pt x="667" y="842"/>
                  </a:lnTo>
                  <a:lnTo>
                    <a:pt x="667" y="842"/>
                  </a:lnTo>
                  <a:lnTo>
                    <a:pt x="667" y="842"/>
                  </a:lnTo>
                  <a:lnTo>
                    <a:pt x="670" y="844"/>
                  </a:lnTo>
                  <a:lnTo>
                    <a:pt x="675" y="846"/>
                  </a:lnTo>
                  <a:lnTo>
                    <a:pt x="675" y="846"/>
                  </a:lnTo>
                  <a:lnTo>
                    <a:pt x="675" y="849"/>
                  </a:lnTo>
                  <a:lnTo>
                    <a:pt x="675" y="851"/>
                  </a:lnTo>
                  <a:lnTo>
                    <a:pt x="675" y="851"/>
                  </a:lnTo>
                  <a:lnTo>
                    <a:pt x="675" y="854"/>
                  </a:lnTo>
                  <a:lnTo>
                    <a:pt x="672" y="854"/>
                  </a:lnTo>
                  <a:lnTo>
                    <a:pt x="675" y="856"/>
                  </a:lnTo>
                  <a:lnTo>
                    <a:pt x="672" y="856"/>
                  </a:lnTo>
                  <a:lnTo>
                    <a:pt x="672" y="856"/>
                  </a:lnTo>
                  <a:lnTo>
                    <a:pt x="672" y="856"/>
                  </a:lnTo>
                  <a:lnTo>
                    <a:pt x="670" y="858"/>
                  </a:lnTo>
                  <a:lnTo>
                    <a:pt x="667" y="858"/>
                  </a:lnTo>
                  <a:lnTo>
                    <a:pt x="667" y="858"/>
                  </a:lnTo>
                  <a:lnTo>
                    <a:pt x="667" y="861"/>
                  </a:lnTo>
                  <a:lnTo>
                    <a:pt x="667" y="861"/>
                  </a:lnTo>
                  <a:lnTo>
                    <a:pt x="667" y="863"/>
                  </a:lnTo>
                  <a:lnTo>
                    <a:pt x="667" y="863"/>
                  </a:lnTo>
                  <a:lnTo>
                    <a:pt x="667" y="863"/>
                  </a:lnTo>
                  <a:lnTo>
                    <a:pt x="667" y="863"/>
                  </a:lnTo>
                  <a:lnTo>
                    <a:pt x="665" y="865"/>
                  </a:lnTo>
                  <a:lnTo>
                    <a:pt x="665" y="865"/>
                  </a:lnTo>
                  <a:lnTo>
                    <a:pt x="665" y="868"/>
                  </a:lnTo>
                  <a:lnTo>
                    <a:pt x="665" y="868"/>
                  </a:lnTo>
                  <a:lnTo>
                    <a:pt x="665" y="868"/>
                  </a:lnTo>
                  <a:lnTo>
                    <a:pt x="663" y="868"/>
                  </a:lnTo>
                  <a:lnTo>
                    <a:pt x="663" y="870"/>
                  </a:lnTo>
                  <a:lnTo>
                    <a:pt x="663" y="870"/>
                  </a:lnTo>
                  <a:lnTo>
                    <a:pt x="663" y="870"/>
                  </a:lnTo>
                  <a:lnTo>
                    <a:pt x="660" y="870"/>
                  </a:lnTo>
                  <a:lnTo>
                    <a:pt x="660" y="870"/>
                  </a:lnTo>
                  <a:lnTo>
                    <a:pt x="660" y="873"/>
                  </a:lnTo>
                  <a:lnTo>
                    <a:pt x="660" y="873"/>
                  </a:lnTo>
                  <a:lnTo>
                    <a:pt x="656" y="873"/>
                  </a:lnTo>
                  <a:lnTo>
                    <a:pt x="656" y="875"/>
                  </a:lnTo>
                  <a:lnTo>
                    <a:pt x="656" y="875"/>
                  </a:lnTo>
                  <a:lnTo>
                    <a:pt x="656" y="875"/>
                  </a:lnTo>
                  <a:lnTo>
                    <a:pt x="656" y="877"/>
                  </a:lnTo>
                  <a:lnTo>
                    <a:pt x="656" y="877"/>
                  </a:lnTo>
                  <a:lnTo>
                    <a:pt x="656" y="880"/>
                  </a:lnTo>
                  <a:lnTo>
                    <a:pt x="653" y="880"/>
                  </a:lnTo>
                  <a:lnTo>
                    <a:pt x="653" y="880"/>
                  </a:lnTo>
                  <a:lnTo>
                    <a:pt x="651" y="882"/>
                  </a:lnTo>
                  <a:lnTo>
                    <a:pt x="651" y="887"/>
                  </a:lnTo>
                  <a:lnTo>
                    <a:pt x="651" y="887"/>
                  </a:lnTo>
                  <a:lnTo>
                    <a:pt x="649" y="887"/>
                  </a:lnTo>
                  <a:lnTo>
                    <a:pt x="649" y="889"/>
                  </a:lnTo>
                  <a:lnTo>
                    <a:pt x="649" y="889"/>
                  </a:lnTo>
                  <a:lnTo>
                    <a:pt x="646" y="889"/>
                  </a:lnTo>
                  <a:lnTo>
                    <a:pt x="646" y="889"/>
                  </a:lnTo>
                  <a:lnTo>
                    <a:pt x="646" y="891"/>
                  </a:lnTo>
                  <a:lnTo>
                    <a:pt x="646" y="891"/>
                  </a:lnTo>
                  <a:lnTo>
                    <a:pt x="646" y="891"/>
                  </a:lnTo>
                  <a:lnTo>
                    <a:pt x="646" y="891"/>
                  </a:lnTo>
                  <a:lnTo>
                    <a:pt x="646" y="891"/>
                  </a:lnTo>
                  <a:lnTo>
                    <a:pt x="646" y="894"/>
                  </a:lnTo>
                  <a:lnTo>
                    <a:pt x="644" y="894"/>
                  </a:lnTo>
                  <a:lnTo>
                    <a:pt x="644" y="894"/>
                  </a:lnTo>
                  <a:lnTo>
                    <a:pt x="644" y="894"/>
                  </a:lnTo>
                  <a:lnTo>
                    <a:pt x="644" y="894"/>
                  </a:lnTo>
                  <a:lnTo>
                    <a:pt x="644" y="896"/>
                  </a:lnTo>
                  <a:lnTo>
                    <a:pt x="641" y="896"/>
                  </a:lnTo>
                  <a:lnTo>
                    <a:pt x="641" y="896"/>
                  </a:lnTo>
                  <a:lnTo>
                    <a:pt x="641" y="896"/>
                  </a:lnTo>
                  <a:lnTo>
                    <a:pt x="641" y="899"/>
                  </a:lnTo>
                  <a:lnTo>
                    <a:pt x="641" y="899"/>
                  </a:lnTo>
                  <a:lnTo>
                    <a:pt x="641" y="903"/>
                  </a:lnTo>
                  <a:lnTo>
                    <a:pt x="644" y="903"/>
                  </a:lnTo>
                  <a:lnTo>
                    <a:pt x="644" y="903"/>
                  </a:lnTo>
                  <a:lnTo>
                    <a:pt x="644" y="903"/>
                  </a:lnTo>
                  <a:lnTo>
                    <a:pt x="644" y="903"/>
                  </a:lnTo>
                  <a:lnTo>
                    <a:pt x="646" y="903"/>
                  </a:lnTo>
                  <a:lnTo>
                    <a:pt x="644" y="903"/>
                  </a:lnTo>
                  <a:lnTo>
                    <a:pt x="646" y="903"/>
                  </a:lnTo>
                  <a:lnTo>
                    <a:pt x="646" y="906"/>
                  </a:lnTo>
                  <a:lnTo>
                    <a:pt x="646" y="906"/>
                  </a:lnTo>
                  <a:lnTo>
                    <a:pt x="646" y="906"/>
                  </a:lnTo>
                  <a:lnTo>
                    <a:pt x="646" y="906"/>
                  </a:lnTo>
                  <a:lnTo>
                    <a:pt x="646" y="906"/>
                  </a:lnTo>
                  <a:lnTo>
                    <a:pt x="646" y="908"/>
                  </a:lnTo>
                  <a:lnTo>
                    <a:pt x="646" y="908"/>
                  </a:lnTo>
                  <a:lnTo>
                    <a:pt x="646" y="908"/>
                  </a:lnTo>
                  <a:lnTo>
                    <a:pt x="646" y="908"/>
                  </a:lnTo>
                  <a:lnTo>
                    <a:pt x="646" y="910"/>
                  </a:lnTo>
                  <a:lnTo>
                    <a:pt x="646" y="910"/>
                  </a:lnTo>
                  <a:lnTo>
                    <a:pt x="646" y="910"/>
                  </a:lnTo>
                  <a:lnTo>
                    <a:pt x="646" y="910"/>
                  </a:lnTo>
                  <a:lnTo>
                    <a:pt x="644" y="910"/>
                  </a:lnTo>
                  <a:lnTo>
                    <a:pt x="641" y="913"/>
                  </a:lnTo>
                  <a:lnTo>
                    <a:pt x="639" y="910"/>
                  </a:lnTo>
                  <a:lnTo>
                    <a:pt x="637" y="913"/>
                  </a:lnTo>
                  <a:lnTo>
                    <a:pt x="634" y="913"/>
                  </a:lnTo>
                  <a:lnTo>
                    <a:pt x="634" y="913"/>
                  </a:lnTo>
                  <a:lnTo>
                    <a:pt x="634" y="913"/>
                  </a:lnTo>
                  <a:lnTo>
                    <a:pt x="634" y="910"/>
                  </a:lnTo>
                  <a:lnTo>
                    <a:pt x="632" y="910"/>
                  </a:lnTo>
                  <a:lnTo>
                    <a:pt x="632" y="910"/>
                  </a:lnTo>
                  <a:lnTo>
                    <a:pt x="632" y="913"/>
                  </a:lnTo>
                  <a:lnTo>
                    <a:pt x="632" y="913"/>
                  </a:lnTo>
                  <a:lnTo>
                    <a:pt x="632" y="913"/>
                  </a:lnTo>
                  <a:lnTo>
                    <a:pt x="632" y="913"/>
                  </a:lnTo>
                  <a:lnTo>
                    <a:pt x="634" y="915"/>
                  </a:lnTo>
                  <a:lnTo>
                    <a:pt x="634" y="915"/>
                  </a:lnTo>
                  <a:lnTo>
                    <a:pt x="634" y="915"/>
                  </a:lnTo>
                  <a:lnTo>
                    <a:pt x="632" y="917"/>
                  </a:lnTo>
                  <a:lnTo>
                    <a:pt x="632" y="917"/>
                  </a:lnTo>
                  <a:lnTo>
                    <a:pt x="632" y="917"/>
                  </a:lnTo>
                  <a:lnTo>
                    <a:pt x="634" y="920"/>
                  </a:lnTo>
                  <a:lnTo>
                    <a:pt x="634" y="920"/>
                  </a:lnTo>
                  <a:lnTo>
                    <a:pt x="634" y="922"/>
                  </a:lnTo>
                  <a:lnTo>
                    <a:pt x="632" y="922"/>
                  </a:lnTo>
                  <a:lnTo>
                    <a:pt x="632" y="922"/>
                  </a:lnTo>
                  <a:lnTo>
                    <a:pt x="632" y="925"/>
                  </a:lnTo>
                  <a:lnTo>
                    <a:pt x="632" y="925"/>
                  </a:lnTo>
                  <a:lnTo>
                    <a:pt x="632" y="925"/>
                  </a:lnTo>
                  <a:lnTo>
                    <a:pt x="632" y="927"/>
                  </a:lnTo>
                  <a:lnTo>
                    <a:pt x="632" y="927"/>
                  </a:lnTo>
                  <a:lnTo>
                    <a:pt x="632" y="927"/>
                  </a:lnTo>
                  <a:lnTo>
                    <a:pt x="632" y="927"/>
                  </a:lnTo>
                  <a:lnTo>
                    <a:pt x="632" y="927"/>
                  </a:lnTo>
                  <a:lnTo>
                    <a:pt x="630" y="927"/>
                  </a:lnTo>
                  <a:lnTo>
                    <a:pt x="630" y="927"/>
                  </a:lnTo>
                  <a:lnTo>
                    <a:pt x="630" y="927"/>
                  </a:lnTo>
                  <a:lnTo>
                    <a:pt x="630" y="927"/>
                  </a:lnTo>
                  <a:lnTo>
                    <a:pt x="630" y="927"/>
                  </a:lnTo>
                  <a:lnTo>
                    <a:pt x="630" y="929"/>
                  </a:lnTo>
                  <a:lnTo>
                    <a:pt x="630" y="929"/>
                  </a:lnTo>
                  <a:lnTo>
                    <a:pt x="630" y="929"/>
                  </a:lnTo>
                  <a:lnTo>
                    <a:pt x="630" y="929"/>
                  </a:lnTo>
                  <a:lnTo>
                    <a:pt x="630" y="929"/>
                  </a:lnTo>
                  <a:lnTo>
                    <a:pt x="630" y="932"/>
                  </a:lnTo>
                  <a:lnTo>
                    <a:pt x="632" y="932"/>
                  </a:lnTo>
                  <a:lnTo>
                    <a:pt x="630" y="932"/>
                  </a:lnTo>
                  <a:lnTo>
                    <a:pt x="630" y="934"/>
                  </a:lnTo>
                  <a:lnTo>
                    <a:pt x="630" y="934"/>
                  </a:lnTo>
                  <a:lnTo>
                    <a:pt x="630" y="934"/>
                  </a:lnTo>
                  <a:lnTo>
                    <a:pt x="627" y="934"/>
                  </a:lnTo>
                  <a:lnTo>
                    <a:pt x="625" y="936"/>
                  </a:lnTo>
                  <a:lnTo>
                    <a:pt x="625" y="936"/>
                  </a:lnTo>
                  <a:lnTo>
                    <a:pt x="622" y="936"/>
                  </a:lnTo>
                  <a:lnTo>
                    <a:pt x="622" y="939"/>
                  </a:lnTo>
                  <a:lnTo>
                    <a:pt x="622" y="939"/>
                  </a:lnTo>
                  <a:lnTo>
                    <a:pt x="620" y="939"/>
                  </a:lnTo>
                  <a:lnTo>
                    <a:pt x="620" y="941"/>
                  </a:lnTo>
                  <a:lnTo>
                    <a:pt x="620" y="941"/>
                  </a:lnTo>
                  <a:lnTo>
                    <a:pt x="620" y="943"/>
                  </a:lnTo>
                  <a:lnTo>
                    <a:pt x="618" y="943"/>
                  </a:lnTo>
                  <a:lnTo>
                    <a:pt x="618" y="943"/>
                  </a:lnTo>
                  <a:lnTo>
                    <a:pt x="618" y="943"/>
                  </a:lnTo>
                  <a:lnTo>
                    <a:pt x="618" y="943"/>
                  </a:lnTo>
                  <a:lnTo>
                    <a:pt x="618" y="943"/>
                  </a:lnTo>
                  <a:lnTo>
                    <a:pt x="618" y="946"/>
                  </a:lnTo>
                  <a:lnTo>
                    <a:pt x="618" y="946"/>
                  </a:lnTo>
                  <a:lnTo>
                    <a:pt x="618" y="946"/>
                  </a:lnTo>
                  <a:lnTo>
                    <a:pt x="615" y="946"/>
                  </a:lnTo>
                  <a:lnTo>
                    <a:pt x="615" y="948"/>
                  </a:lnTo>
                  <a:lnTo>
                    <a:pt x="615" y="948"/>
                  </a:lnTo>
                  <a:lnTo>
                    <a:pt x="615" y="948"/>
                  </a:lnTo>
                  <a:lnTo>
                    <a:pt x="613" y="951"/>
                  </a:lnTo>
                  <a:lnTo>
                    <a:pt x="613" y="951"/>
                  </a:lnTo>
                  <a:lnTo>
                    <a:pt x="613" y="951"/>
                  </a:lnTo>
                  <a:lnTo>
                    <a:pt x="613" y="951"/>
                  </a:lnTo>
                  <a:lnTo>
                    <a:pt x="615" y="951"/>
                  </a:lnTo>
                  <a:lnTo>
                    <a:pt x="615" y="951"/>
                  </a:lnTo>
                  <a:lnTo>
                    <a:pt x="615" y="951"/>
                  </a:lnTo>
                  <a:lnTo>
                    <a:pt x="615" y="951"/>
                  </a:lnTo>
                  <a:lnTo>
                    <a:pt x="613" y="953"/>
                  </a:lnTo>
                  <a:lnTo>
                    <a:pt x="613" y="953"/>
                  </a:lnTo>
                  <a:lnTo>
                    <a:pt x="613" y="953"/>
                  </a:lnTo>
                  <a:lnTo>
                    <a:pt x="613" y="953"/>
                  </a:lnTo>
                  <a:lnTo>
                    <a:pt x="611" y="953"/>
                  </a:lnTo>
                  <a:lnTo>
                    <a:pt x="611" y="953"/>
                  </a:lnTo>
                  <a:lnTo>
                    <a:pt x="611" y="955"/>
                  </a:lnTo>
                  <a:lnTo>
                    <a:pt x="608" y="955"/>
                  </a:lnTo>
                  <a:lnTo>
                    <a:pt x="608" y="955"/>
                  </a:lnTo>
                  <a:lnTo>
                    <a:pt x="608" y="955"/>
                  </a:lnTo>
                  <a:lnTo>
                    <a:pt x="608" y="955"/>
                  </a:lnTo>
                  <a:lnTo>
                    <a:pt x="608" y="958"/>
                  </a:lnTo>
                  <a:lnTo>
                    <a:pt x="611" y="958"/>
                  </a:lnTo>
                  <a:lnTo>
                    <a:pt x="611" y="958"/>
                  </a:lnTo>
                  <a:lnTo>
                    <a:pt x="611" y="960"/>
                  </a:lnTo>
                  <a:lnTo>
                    <a:pt x="611" y="958"/>
                  </a:lnTo>
                  <a:lnTo>
                    <a:pt x="608" y="960"/>
                  </a:lnTo>
                  <a:lnTo>
                    <a:pt x="606" y="960"/>
                  </a:lnTo>
                  <a:lnTo>
                    <a:pt x="606" y="962"/>
                  </a:lnTo>
                  <a:lnTo>
                    <a:pt x="606" y="962"/>
                  </a:lnTo>
                  <a:lnTo>
                    <a:pt x="606" y="962"/>
                  </a:lnTo>
                  <a:lnTo>
                    <a:pt x="606" y="965"/>
                  </a:lnTo>
                  <a:lnTo>
                    <a:pt x="606" y="965"/>
                  </a:lnTo>
                  <a:lnTo>
                    <a:pt x="606" y="967"/>
                  </a:lnTo>
                  <a:lnTo>
                    <a:pt x="606" y="967"/>
                  </a:lnTo>
                  <a:lnTo>
                    <a:pt x="604" y="970"/>
                  </a:lnTo>
                  <a:lnTo>
                    <a:pt x="604" y="970"/>
                  </a:lnTo>
                  <a:lnTo>
                    <a:pt x="604" y="972"/>
                  </a:lnTo>
                  <a:lnTo>
                    <a:pt x="601" y="972"/>
                  </a:lnTo>
                  <a:lnTo>
                    <a:pt x="601" y="972"/>
                  </a:lnTo>
                  <a:lnTo>
                    <a:pt x="601" y="974"/>
                  </a:lnTo>
                  <a:lnTo>
                    <a:pt x="608" y="974"/>
                  </a:lnTo>
                  <a:close/>
                  <a:moveTo>
                    <a:pt x="731" y="676"/>
                  </a:moveTo>
                  <a:lnTo>
                    <a:pt x="731" y="676"/>
                  </a:lnTo>
                  <a:lnTo>
                    <a:pt x="734" y="674"/>
                  </a:lnTo>
                  <a:lnTo>
                    <a:pt x="734" y="674"/>
                  </a:lnTo>
                  <a:lnTo>
                    <a:pt x="734" y="671"/>
                  </a:lnTo>
                  <a:lnTo>
                    <a:pt x="734" y="671"/>
                  </a:lnTo>
                  <a:lnTo>
                    <a:pt x="734" y="671"/>
                  </a:lnTo>
                  <a:lnTo>
                    <a:pt x="734" y="671"/>
                  </a:lnTo>
                  <a:lnTo>
                    <a:pt x="736" y="671"/>
                  </a:lnTo>
                  <a:lnTo>
                    <a:pt x="738" y="671"/>
                  </a:lnTo>
                  <a:lnTo>
                    <a:pt x="738" y="671"/>
                  </a:lnTo>
                  <a:lnTo>
                    <a:pt x="738" y="674"/>
                  </a:lnTo>
                  <a:lnTo>
                    <a:pt x="738" y="674"/>
                  </a:lnTo>
                  <a:lnTo>
                    <a:pt x="741" y="674"/>
                  </a:lnTo>
                  <a:lnTo>
                    <a:pt x="741" y="674"/>
                  </a:lnTo>
                  <a:lnTo>
                    <a:pt x="736" y="674"/>
                  </a:lnTo>
                  <a:lnTo>
                    <a:pt x="736" y="676"/>
                  </a:lnTo>
                  <a:lnTo>
                    <a:pt x="738" y="676"/>
                  </a:lnTo>
                  <a:lnTo>
                    <a:pt x="741" y="676"/>
                  </a:lnTo>
                  <a:lnTo>
                    <a:pt x="738" y="679"/>
                  </a:lnTo>
                  <a:lnTo>
                    <a:pt x="738" y="679"/>
                  </a:lnTo>
                  <a:lnTo>
                    <a:pt x="738" y="681"/>
                  </a:lnTo>
                  <a:lnTo>
                    <a:pt x="738" y="681"/>
                  </a:lnTo>
                  <a:lnTo>
                    <a:pt x="736" y="683"/>
                  </a:lnTo>
                  <a:lnTo>
                    <a:pt x="734" y="683"/>
                  </a:lnTo>
                  <a:lnTo>
                    <a:pt x="734" y="683"/>
                  </a:lnTo>
                  <a:lnTo>
                    <a:pt x="736" y="683"/>
                  </a:lnTo>
                  <a:lnTo>
                    <a:pt x="736" y="683"/>
                  </a:lnTo>
                  <a:lnTo>
                    <a:pt x="736" y="683"/>
                  </a:lnTo>
                  <a:lnTo>
                    <a:pt x="736" y="683"/>
                  </a:lnTo>
                  <a:lnTo>
                    <a:pt x="736" y="686"/>
                  </a:lnTo>
                  <a:lnTo>
                    <a:pt x="734" y="686"/>
                  </a:lnTo>
                  <a:lnTo>
                    <a:pt x="734" y="686"/>
                  </a:lnTo>
                  <a:lnTo>
                    <a:pt x="734" y="686"/>
                  </a:lnTo>
                  <a:lnTo>
                    <a:pt x="734" y="690"/>
                  </a:lnTo>
                  <a:lnTo>
                    <a:pt x="738" y="690"/>
                  </a:lnTo>
                  <a:lnTo>
                    <a:pt x="738" y="690"/>
                  </a:lnTo>
                  <a:lnTo>
                    <a:pt x="743" y="688"/>
                  </a:lnTo>
                  <a:lnTo>
                    <a:pt x="743" y="688"/>
                  </a:lnTo>
                  <a:lnTo>
                    <a:pt x="743" y="688"/>
                  </a:lnTo>
                  <a:lnTo>
                    <a:pt x="746" y="688"/>
                  </a:lnTo>
                  <a:lnTo>
                    <a:pt x="746" y="688"/>
                  </a:lnTo>
                  <a:lnTo>
                    <a:pt x="746" y="688"/>
                  </a:lnTo>
                  <a:lnTo>
                    <a:pt x="746" y="688"/>
                  </a:lnTo>
                  <a:lnTo>
                    <a:pt x="743" y="688"/>
                  </a:lnTo>
                  <a:lnTo>
                    <a:pt x="746" y="686"/>
                  </a:lnTo>
                  <a:lnTo>
                    <a:pt x="746" y="686"/>
                  </a:lnTo>
                  <a:lnTo>
                    <a:pt x="746" y="686"/>
                  </a:lnTo>
                  <a:lnTo>
                    <a:pt x="746" y="683"/>
                  </a:lnTo>
                  <a:lnTo>
                    <a:pt x="746" y="683"/>
                  </a:lnTo>
                  <a:lnTo>
                    <a:pt x="746" y="683"/>
                  </a:lnTo>
                  <a:lnTo>
                    <a:pt x="746" y="683"/>
                  </a:lnTo>
                  <a:lnTo>
                    <a:pt x="748" y="686"/>
                  </a:lnTo>
                  <a:lnTo>
                    <a:pt x="750" y="686"/>
                  </a:lnTo>
                  <a:lnTo>
                    <a:pt x="750" y="686"/>
                  </a:lnTo>
                  <a:lnTo>
                    <a:pt x="753" y="688"/>
                  </a:lnTo>
                  <a:lnTo>
                    <a:pt x="755" y="690"/>
                  </a:lnTo>
                  <a:lnTo>
                    <a:pt x="757" y="690"/>
                  </a:lnTo>
                  <a:lnTo>
                    <a:pt x="757" y="690"/>
                  </a:lnTo>
                  <a:lnTo>
                    <a:pt x="757" y="693"/>
                  </a:lnTo>
                  <a:lnTo>
                    <a:pt x="757" y="693"/>
                  </a:lnTo>
                  <a:lnTo>
                    <a:pt x="757" y="693"/>
                  </a:lnTo>
                  <a:lnTo>
                    <a:pt x="757" y="695"/>
                  </a:lnTo>
                  <a:lnTo>
                    <a:pt x="757" y="695"/>
                  </a:lnTo>
                  <a:lnTo>
                    <a:pt x="757" y="695"/>
                  </a:lnTo>
                  <a:lnTo>
                    <a:pt x="760" y="695"/>
                  </a:lnTo>
                  <a:lnTo>
                    <a:pt x="760" y="697"/>
                  </a:lnTo>
                  <a:lnTo>
                    <a:pt x="760" y="697"/>
                  </a:lnTo>
                  <a:lnTo>
                    <a:pt x="760" y="697"/>
                  </a:lnTo>
                  <a:lnTo>
                    <a:pt x="760" y="695"/>
                  </a:lnTo>
                  <a:lnTo>
                    <a:pt x="762" y="693"/>
                  </a:lnTo>
                  <a:lnTo>
                    <a:pt x="762" y="693"/>
                  </a:lnTo>
                  <a:lnTo>
                    <a:pt x="764" y="690"/>
                  </a:lnTo>
                  <a:lnTo>
                    <a:pt x="767" y="690"/>
                  </a:lnTo>
                  <a:lnTo>
                    <a:pt x="767" y="693"/>
                  </a:lnTo>
                  <a:lnTo>
                    <a:pt x="767" y="693"/>
                  </a:lnTo>
                  <a:lnTo>
                    <a:pt x="764" y="695"/>
                  </a:lnTo>
                  <a:lnTo>
                    <a:pt x="764" y="695"/>
                  </a:lnTo>
                  <a:lnTo>
                    <a:pt x="767" y="695"/>
                  </a:lnTo>
                  <a:lnTo>
                    <a:pt x="767" y="695"/>
                  </a:lnTo>
                  <a:lnTo>
                    <a:pt x="767" y="695"/>
                  </a:lnTo>
                  <a:lnTo>
                    <a:pt x="767" y="695"/>
                  </a:lnTo>
                  <a:lnTo>
                    <a:pt x="767" y="693"/>
                  </a:lnTo>
                  <a:lnTo>
                    <a:pt x="767" y="693"/>
                  </a:lnTo>
                  <a:lnTo>
                    <a:pt x="767" y="693"/>
                  </a:lnTo>
                  <a:lnTo>
                    <a:pt x="767" y="690"/>
                  </a:lnTo>
                  <a:lnTo>
                    <a:pt x="767" y="690"/>
                  </a:lnTo>
                  <a:lnTo>
                    <a:pt x="767" y="688"/>
                  </a:lnTo>
                  <a:lnTo>
                    <a:pt x="767" y="686"/>
                  </a:lnTo>
                  <a:lnTo>
                    <a:pt x="767" y="686"/>
                  </a:lnTo>
                  <a:lnTo>
                    <a:pt x="767" y="683"/>
                  </a:lnTo>
                  <a:lnTo>
                    <a:pt x="767" y="683"/>
                  </a:lnTo>
                  <a:lnTo>
                    <a:pt x="769" y="683"/>
                  </a:lnTo>
                  <a:lnTo>
                    <a:pt x="769" y="681"/>
                  </a:lnTo>
                  <a:lnTo>
                    <a:pt x="769" y="679"/>
                  </a:lnTo>
                  <a:lnTo>
                    <a:pt x="769" y="676"/>
                  </a:lnTo>
                  <a:lnTo>
                    <a:pt x="772" y="676"/>
                  </a:lnTo>
                  <a:lnTo>
                    <a:pt x="772" y="676"/>
                  </a:lnTo>
                  <a:lnTo>
                    <a:pt x="772" y="676"/>
                  </a:lnTo>
                  <a:lnTo>
                    <a:pt x="774" y="679"/>
                  </a:lnTo>
                  <a:lnTo>
                    <a:pt x="774" y="679"/>
                  </a:lnTo>
                  <a:lnTo>
                    <a:pt x="776" y="681"/>
                  </a:lnTo>
                  <a:lnTo>
                    <a:pt x="774" y="681"/>
                  </a:lnTo>
                  <a:lnTo>
                    <a:pt x="774" y="681"/>
                  </a:lnTo>
                  <a:lnTo>
                    <a:pt x="774" y="683"/>
                  </a:lnTo>
                  <a:lnTo>
                    <a:pt x="774" y="683"/>
                  </a:lnTo>
                  <a:lnTo>
                    <a:pt x="774" y="686"/>
                  </a:lnTo>
                  <a:lnTo>
                    <a:pt x="774" y="683"/>
                  </a:lnTo>
                  <a:lnTo>
                    <a:pt x="774" y="683"/>
                  </a:lnTo>
                  <a:lnTo>
                    <a:pt x="774" y="686"/>
                  </a:lnTo>
                  <a:lnTo>
                    <a:pt x="772" y="688"/>
                  </a:lnTo>
                  <a:lnTo>
                    <a:pt x="772" y="690"/>
                  </a:lnTo>
                  <a:lnTo>
                    <a:pt x="774" y="693"/>
                  </a:lnTo>
                  <a:lnTo>
                    <a:pt x="774" y="693"/>
                  </a:lnTo>
                  <a:lnTo>
                    <a:pt x="774" y="693"/>
                  </a:lnTo>
                  <a:lnTo>
                    <a:pt x="774" y="693"/>
                  </a:lnTo>
                  <a:lnTo>
                    <a:pt x="774" y="693"/>
                  </a:lnTo>
                  <a:lnTo>
                    <a:pt x="774" y="693"/>
                  </a:lnTo>
                  <a:lnTo>
                    <a:pt x="774" y="693"/>
                  </a:lnTo>
                  <a:lnTo>
                    <a:pt x="776" y="693"/>
                  </a:lnTo>
                  <a:lnTo>
                    <a:pt x="779" y="693"/>
                  </a:lnTo>
                  <a:lnTo>
                    <a:pt x="776" y="693"/>
                  </a:lnTo>
                  <a:lnTo>
                    <a:pt x="776" y="695"/>
                  </a:lnTo>
                  <a:lnTo>
                    <a:pt x="776" y="695"/>
                  </a:lnTo>
                  <a:lnTo>
                    <a:pt x="776" y="695"/>
                  </a:lnTo>
                  <a:lnTo>
                    <a:pt x="779" y="695"/>
                  </a:lnTo>
                  <a:lnTo>
                    <a:pt x="779" y="697"/>
                  </a:lnTo>
                  <a:lnTo>
                    <a:pt x="776" y="697"/>
                  </a:lnTo>
                  <a:lnTo>
                    <a:pt x="776" y="700"/>
                  </a:lnTo>
                  <a:lnTo>
                    <a:pt x="776" y="700"/>
                  </a:lnTo>
                  <a:lnTo>
                    <a:pt x="776" y="700"/>
                  </a:lnTo>
                  <a:lnTo>
                    <a:pt x="776" y="700"/>
                  </a:lnTo>
                  <a:lnTo>
                    <a:pt x="776" y="702"/>
                  </a:lnTo>
                  <a:lnTo>
                    <a:pt x="774" y="705"/>
                  </a:lnTo>
                  <a:lnTo>
                    <a:pt x="774" y="705"/>
                  </a:lnTo>
                  <a:lnTo>
                    <a:pt x="774" y="707"/>
                  </a:lnTo>
                  <a:lnTo>
                    <a:pt x="774" y="709"/>
                  </a:lnTo>
                  <a:lnTo>
                    <a:pt x="776" y="709"/>
                  </a:lnTo>
                  <a:lnTo>
                    <a:pt x="776" y="709"/>
                  </a:lnTo>
                  <a:lnTo>
                    <a:pt x="779" y="709"/>
                  </a:lnTo>
                  <a:lnTo>
                    <a:pt x="779" y="707"/>
                  </a:lnTo>
                  <a:lnTo>
                    <a:pt x="779" y="707"/>
                  </a:lnTo>
                  <a:lnTo>
                    <a:pt x="781" y="705"/>
                  </a:lnTo>
                  <a:lnTo>
                    <a:pt x="781" y="705"/>
                  </a:lnTo>
                  <a:lnTo>
                    <a:pt x="781" y="702"/>
                  </a:lnTo>
                  <a:lnTo>
                    <a:pt x="781" y="702"/>
                  </a:lnTo>
                  <a:lnTo>
                    <a:pt x="781" y="702"/>
                  </a:lnTo>
                  <a:lnTo>
                    <a:pt x="781" y="705"/>
                  </a:lnTo>
                  <a:lnTo>
                    <a:pt x="783" y="705"/>
                  </a:lnTo>
                  <a:lnTo>
                    <a:pt x="783" y="705"/>
                  </a:lnTo>
                  <a:lnTo>
                    <a:pt x="783" y="705"/>
                  </a:lnTo>
                  <a:lnTo>
                    <a:pt x="783" y="707"/>
                  </a:lnTo>
                  <a:lnTo>
                    <a:pt x="783" y="707"/>
                  </a:lnTo>
                  <a:lnTo>
                    <a:pt x="786" y="707"/>
                  </a:lnTo>
                  <a:lnTo>
                    <a:pt x="788" y="705"/>
                  </a:lnTo>
                  <a:lnTo>
                    <a:pt x="791" y="705"/>
                  </a:lnTo>
                  <a:lnTo>
                    <a:pt x="791" y="702"/>
                  </a:lnTo>
                  <a:lnTo>
                    <a:pt x="791" y="702"/>
                  </a:lnTo>
                  <a:lnTo>
                    <a:pt x="791" y="702"/>
                  </a:lnTo>
                  <a:lnTo>
                    <a:pt x="793" y="702"/>
                  </a:lnTo>
                  <a:lnTo>
                    <a:pt x="793" y="702"/>
                  </a:lnTo>
                  <a:lnTo>
                    <a:pt x="793" y="702"/>
                  </a:lnTo>
                  <a:lnTo>
                    <a:pt x="793" y="702"/>
                  </a:lnTo>
                  <a:lnTo>
                    <a:pt x="791" y="700"/>
                  </a:lnTo>
                  <a:lnTo>
                    <a:pt x="793" y="697"/>
                  </a:lnTo>
                  <a:lnTo>
                    <a:pt x="793" y="697"/>
                  </a:lnTo>
                  <a:lnTo>
                    <a:pt x="793" y="697"/>
                  </a:lnTo>
                  <a:lnTo>
                    <a:pt x="793" y="697"/>
                  </a:lnTo>
                  <a:lnTo>
                    <a:pt x="795" y="700"/>
                  </a:lnTo>
                  <a:lnTo>
                    <a:pt x="795" y="700"/>
                  </a:lnTo>
                  <a:lnTo>
                    <a:pt x="795" y="700"/>
                  </a:lnTo>
                  <a:lnTo>
                    <a:pt x="795" y="697"/>
                  </a:lnTo>
                  <a:lnTo>
                    <a:pt x="795" y="693"/>
                  </a:lnTo>
                  <a:lnTo>
                    <a:pt x="795" y="693"/>
                  </a:lnTo>
                  <a:lnTo>
                    <a:pt x="793" y="688"/>
                  </a:lnTo>
                  <a:lnTo>
                    <a:pt x="793" y="688"/>
                  </a:lnTo>
                  <a:lnTo>
                    <a:pt x="791" y="688"/>
                  </a:lnTo>
                  <a:lnTo>
                    <a:pt x="791" y="686"/>
                  </a:lnTo>
                  <a:lnTo>
                    <a:pt x="795" y="688"/>
                  </a:lnTo>
                  <a:lnTo>
                    <a:pt x="795" y="686"/>
                  </a:lnTo>
                  <a:lnTo>
                    <a:pt x="795" y="686"/>
                  </a:lnTo>
                  <a:lnTo>
                    <a:pt x="795" y="686"/>
                  </a:lnTo>
                  <a:lnTo>
                    <a:pt x="795" y="686"/>
                  </a:lnTo>
                  <a:lnTo>
                    <a:pt x="795" y="683"/>
                  </a:lnTo>
                  <a:lnTo>
                    <a:pt x="795" y="683"/>
                  </a:lnTo>
                  <a:lnTo>
                    <a:pt x="795" y="683"/>
                  </a:lnTo>
                  <a:lnTo>
                    <a:pt x="798" y="683"/>
                  </a:lnTo>
                  <a:lnTo>
                    <a:pt x="798" y="683"/>
                  </a:lnTo>
                  <a:lnTo>
                    <a:pt x="798" y="681"/>
                  </a:lnTo>
                  <a:lnTo>
                    <a:pt x="798" y="681"/>
                  </a:lnTo>
                  <a:lnTo>
                    <a:pt x="798" y="681"/>
                  </a:lnTo>
                  <a:lnTo>
                    <a:pt x="798" y="681"/>
                  </a:lnTo>
                  <a:lnTo>
                    <a:pt x="798" y="681"/>
                  </a:lnTo>
                  <a:lnTo>
                    <a:pt x="795" y="676"/>
                  </a:lnTo>
                  <a:lnTo>
                    <a:pt x="795" y="674"/>
                  </a:lnTo>
                  <a:lnTo>
                    <a:pt x="795" y="674"/>
                  </a:lnTo>
                  <a:lnTo>
                    <a:pt x="798" y="674"/>
                  </a:lnTo>
                  <a:lnTo>
                    <a:pt x="798" y="671"/>
                  </a:lnTo>
                  <a:lnTo>
                    <a:pt x="798" y="671"/>
                  </a:lnTo>
                  <a:lnTo>
                    <a:pt x="798" y="669"/>
                  </a:lnTo>
                  <a:lnTo>
                    <a:pt x="798" y="669"/>
                  </a:lnTo>
                  <a:lnTo>
                    <a:pt x="795" y="669"/>
                  </a:lnTo>
                  <a:lnTo>
                    <a:pt x="795" y="669"/>
                  </a:lnTo>
                  <a:lnTo>
                    <a:pt x="798" y="669"/>
                  </a:lnTo>
                  <a:lnTo>
                    <a:pt x="800" y="671"/>
                  </a:lnTo>
                  <a:lnTo>
                    <a:pt x="800" y="669"/>
                  </a:lnTo>
                  <a:lnTo>
                    <a:pt x="800" y="669"/>
                  </a:lnTo>
                  <a:lnTo>
                    <a:pt x="800" y="667"/>
                  </a:lnTo>
                  <a:lnTo>
                    <a:pt x="800" y="667"/>
                  </a:lnTo>
                  <a:lnTo>
                    <a:pt x="800" y="667"/>
                  </a:lnTo>
                  <a:lnTo>
                    <a:pt x="800" y="667"/>
                  </a:lnTo>
                  <a:lnTo>
                    <a:pt x="800" y="669"/>
                  </a:lnTo>
                  <a:lnTo>
                    <a:pt x="800" y="674"/>
                  </a:lnTo>
                  <a:lnTo>
                    <a:pt x="800" y="676"/>
                  </a:lnTo>
                  <a:lnTo>
                    <a:pt x="800" y="676"/>
                  </a:lnTo>
                  <a:lnTo>
                    <a:pt x="802" y="679"/>
                  </a:lnTo>
                  <a:lnTo>
                    <a:pt x="802" y="679"/>
                  </a:lnTo>
                  <a:lnTo>
                    <a:pt x="802" y="681"/>
                  </a:lnTo>
                  <a:lnTo>
                    <a:pt x="802" y="681"/>
                  </a:lnTo>
                  <a:lnTo>
                    <a:pt x="802" y="683"/>
                  </a:lnTo>
                  <a:lnTo>
                    <a:pt x="802" y="686"/>
                  </a:lnTo>
                  <a:lnTo>
                    <a:pt x="802" y="688"/>
                  </a:lnTo>
                  <a:lnTo>
                    <a:pt x="802" y="688"/>
                  </a:lnTo>
                  <a:lnTo>
                    <a:pt x="802" y="688"/>
                  </a:lnTo>
                  <a:lnTo>
                    <a:pt x="802" y="688"/>
                  </a:lnTo>
                  <a:lnTo>
                    <a:pt x="802" y="688"/>
                  </a:lnTo>
                  <a:lnTo>
                    <a:pt x="805" y="690"/>
                  </a:lnTo>
                  <a:lnTo>
                    <a:pt x="805" y="690"/>
                  </a:lnTo>
                  <a:lnTo>
                    <a:pt x="805" y="690"/>
                  </a:lnTo>
                  <a:lnTo>
                    <a:pt x="805" y="690"/>
                  </a:lnTo>
                  <a:lnTo>
                    <a:pt x="805" y="690"/>
                  </a:lnTo>
                  <a:lnTo>
                    <a:pt x="805" y="690"/>
                  </a:lnTo>
                  <a:lnTo>
                    <a:pt x="805" y="690"/>
                  </a:lnTo>
                  <a:lnTo>
                    <a:pt x="805" y="690"/>
                  </a:lnTo>
                  <a:lnTo>
                    <a:pt x="805" y="688"/>
                  </a:lnTo>
                  <a:lnTo>
                    <a:pt x="807" y="688"/>
                  </a:lnTo>
                  <a:lnTo>
                    <a:pt x="807" y="688"/>
                  </a:lnTo>
                  <a:lnTo>
                    <a:pt x="807" y="688"/>
                  </a:lnTo>
                  <a:lnTo>
                    <a:pt x="807" y="688"/>
                  </a:lnTo>
                  <a:lnTo>
                    <a:pt x="807" y="688"/>
                  </a:lnTo>
                  <a:lnTo>
                    <a:pt x="807" y="686"/>
                  </a:lnTo>
                  <a:lnTo>
                    <a:pt x="809" y="686"/>
                  </a:lnTo>
                  <a:lnTo>
                    <a:pt x="809" y="686"/>
                  </a:lnTo>
                  <a:lnTo>
                    <a:pt x="809" y="686"/>
                  </a:lnTo>
                  <a:lnTo>
                    <a:pt x="809" y="683"/>
                  </a:lnTo>
                  <a:lnTo>
                    <a:pt x="809" y="683"/>
                  </a:lnTo>
                  <a:lnTo>
                    <a:pt x="809" y="683"/>
                  </a:lnTo>
                  <a:lnTo>
                    <a:pt x="809" y="681"/>
                  </a:lnTo>
                  <a:lnTo>
                    <a:pt x="809" y="679"/>
                  </a:lnTo>
                  <a:lnTo>
                    <a:pt x="812" y="676"/>
                  </a:lnTo>
                  <a:lnTo>
                    <a:pt x="812" y="676"/>
                  </a:lnTo>
                  <a:lnTo>
                    <a:pt x="814" y="676"/>
                  </a:lnTo>
                  <a:lnTo>
                    <a:pt x="817" y="676"/>
                  </a:lnTo>
                  <a:lnTo>
                    <a:pt x="817" y="674"/>
                  </a:lnTo>
                  <a:lnTo>
                    <a:pt x="817" y="674"/>
                  </a:lnTo>
                  <a:lnTo>
                    <a:pt x="819" y="674"/>
                  </a:lnTo>
                  <a:lnTo>
                    <a:pt x="819" y="671"/>
                  </a:lnTo>
                  <a:lnTo>
                    <a:pt x="819" y="671"/>
                  </a:lnTo>
                  <a:lnTo>
                    <a:pt x="819" y="669"/>
                  </a:lnTo>
                  <a:lnTo>
                    <a:pt x="819" y="669"/>
                  </a:lnTo>
                  <a:lnTo>
                    <a:pt x="819" y="669"/>
                  </a:lnTo>
                  <a:lnTo>
                    <a:pt x="819" y="664"/>
                  </a:lnTo>
                  <a:lnTo>
                    <a:pt x="819" y="664"/>
                  </a:lnTo>
                  <a:lnTo>
                    <a:pt x="817" y="662"/>
                  </a:lnTo>
                  <a:lnTo>
                    <a:pt x="817" y="662"/>
                  </a:lnTo>
                  <a:lnTo>
                    <a:pt x="817" y="662"/>
                  </a:lnTo>
                  <a:lnTo>
                    <a:pt x="814" y="662"/>
                  </a:lnTo>
                  <a:lnTo>
                    <a:pt x="814" y="662"/>
                  </a:lnTo>
                  <a:lnTo>
                    <a:pt x="814" y="662"/>
                  </a:lnTo>
                  <a:lnTo>
                    <a:pt x="814" y="660"/>
                  </a:lnTo>
                  <a:lnTo>
                    <a:pt x="814" y="660"/>
                  </a:lnTo>
                  <a:lnTo>
                    <a:pt x="814" y="660"/>
                  </a:lnTo>
                  <a:lnTo>
                    <a:pt x="812" y="660"/>
                  </a:lnTo>
                  <a:lnTo>
                    <a:pt x="814" y="657"/>
                  </a:lnTo>
                  <a:lnTo>
                    <a:pt x="814" y="655"/>
                  </a:lnTo>
                  <a:lnTo>
                    <a:pt x="817" y="657"/>
                  </a:lnTo>
                  <a:lnTo>
                    <a:pt x="817" y="655"/>
                  </a:lnTo>
                  <a:lnTo>
                    <a:pt x="817" y="655"/>
                  </a:lnTo>
                  <a:lnTo>
                    <a:pt x="817" y="655"/>
                  </a:lnTo>
                  <a:lnTo>
                    <a:pt x="817" y="655"/>
                  </a:lnTo>
                  <a:lnTo>
                    <a:pt x="817" y="655"/>
                  </a:lnTo>
                  <a:lnTo>
                    <a:pt x="817" y="655"/>
                  </a:lnTo>
                  <a:lnTo>
                    <a:pt x="819" y="655"/>
                  </a:lnTo>
                  <a:lnTo>
                    <a:pt x="819" y="655"/>
                  </a:lnTo>
                  <a:lnTo>
                    <a:pt x="819" y="657"/>
                  </a:lnTo>
                  <a:lnTo>
                    <a:pt x="819" y="657"/>
                  </a:lnTo>
                  <a:lnTo>
                    <a:pt x="821" y="660"/>
                  </a:lnTo>
                  <a:lnTo>
                    <a:pt x="821" y="660"/>
                  </a:lnTo>
                  <a:lnTo>
                    <a:pt x="821" y="657"/>
                  </a:lnTo>
                  <a:lnTo>
                    <a:pt x="821" y="657"/>
                  </a:lnTo>
                  <a:lnTo>
                    <a:pt x="824" y="657"/>
                  </a:lnTo>
                  <a:lnTo>
                    <a:pt x="824" y="657"/>
                  </a:lnTo>
                  <a:lnTo>
                    <a:pt x="824" y="655"/>
                  </a:lnTo>
                  <a:lnTo>
                    <a:pt x="824" y="655"/>
                  </a:lnTo>
                  <a:lnTo>
                    <a:pt x="826" y="657"/>
                  </a:lnTo>
                  <a:lnTo>
                    <a:pt x="826" y="655"/>
                  </a:lnTo>
                  <a:lnTo>
                    <a:pt x="826" y="655"/>
                  </a:lnTo>
                  <a:lnTo>
                    <a:pt x="826" y="653"/>
                  </a:lnTo>
                  <a:lnTo>
                    <a:pt x="826" y="648"/>
                  </a:lnTo>
                  <a:lnTo>
                    <a:pt x="826" y="648"/>
                  </a:lnTo>
                  <a:lnTo>
                    <a:pt x="826" y="645"/>
                  </a:lnTo>
                  <a:lnTo>
                    <a:pt x="826" y="645"/>
                  </a:lnTo>
                  <a:lnTo>
                    <a:pt x="826" y="645"/>
                  </a:lnTo>
                  <a:lnTo>
                    <a:pt x="826" y="643"/>
                  </a:lnTo>
                  <a:lnTo>
                    <a:pt x="826" y="643"/>
                  </a:lnTo>
                  <a:lnTo>
                    <a:pt x="826" y="643"/>
                  </a:lnTo>
                  <a:lnTo>
                    <a:pt x="826" y="643"/>
                  </a:lnTo>
                  <a:lnTo>
                    <a:pt x="826" y="643"/>
                  </a:lnTo>
                  <a:lnTo>
                    <a:pt x="826" y="641"/>
                  </a:lnTo>
                  <a:lnTo>
                    <a:pt x="828" y="643"/>
                  </a:lnTo>
                  <a:lnTo>
                    <a:pt x="828" y="643"/>
                  </a:lnTo>
                  <a:lnTo>
                    <a:pt x="828" y="643"/>
                  </a:lnTo>
                  <a:lnTo>
                    <a:pt x="828" y="641"/>
                  </a:lnTo>
                  <a:lnTo>
                    <a:pt x="828" y="638"/>
                  </a:lnTo>
                  <a:lnTo>
                    <a:pt x="828" y="638"/>
                  </a:lnTo>
                  <a:lnTo>
                    <a:pt x="828" y="638"/>
                  </a:lnTo>
                  <a:lnTo>
                    <a:pt x="833" y="638"/>
                  </a:lnTo>
                  <a:lnTo>
                    <a:pt x="835" y="638"/>
                  </a:lnTo>
                  <a:lnTo>
                    <a:pt x="835" y="638"/>
                  </a:lnTo>
                  <a:lnTo>
                    <a:pt x="835" y="638"/>
                  </a:lnTo>
                  <a:lnTo>
                    <a:pt x="838" y="636"/>
                  </a:lnTo>
                  <a:lnTo>
                    <a:pt x="838" y="636"/>
                  </a:lnTo>
                  <a:lnTo>
                    <a:pt x="840" y="636"/>
                  </a:lnTo>
                  <a:lnTo>
                    <a:pt x="840" y="636"/>
                  </a:lnTo>
                  <a:lnTo>
                    <a:pt x="840" y="638"/>
                  </a:lnTo>
                  <a:lnTo>
                    <a:pt x="840" y="641"/>
                  </a:lnTo>
                  <a:lnTo>
                    <a:pt x="838" y="645"/>
                  </a:lnTo>
                  <a:lnTo>
                    <a:pt x="835" y="645"/>
                  </a:lnTo>
                  <a:lnTo>
                    <a:pt x="835" y="645"/>
                  </a:lnTo>
                  <a:lnTo>
                    <a:pt x="835" y="648"/>
                  </a:lnTo>
                  <a:lnTo>
                    <a:pt x="835" y="648"/>
                  </a:lnTo>
                  <a:lnTo>
                    <a:pt x="835" y="648"/>
                  </a:lnTo>
                  <a:lnTo>
                    <a:pt x="835" y="650"/>
                  </a:lnTo>
                  <a:lnTo>
                    <a:pt x="835" y="650"/>
                  </a:lnTo>
                  <a:lnTo>
                    <a:pt x="833" y="653"/>
                  </a:lnTo>
                  <a:lnTo>
                    <a:pt x="833" y="653"/>
                  </a:lnTo>
                  <a:lnTo>
                    <a:pt x="833" y="655"/>
                  </a:lnTo>
                  <a:lnTo>
                    <a:pt x="835" y="655"/>
                  </a:lnTo>
                  <a:lnTo>
                    <a:pt x="833" y="655"/>
                  </a:lnTo>
                  <a:lnTo>
                    <a:pt x="833" y="655"/>
                  </a:lnTo>
                  <a:lnTo>
                    <a:pt x="833" y="655"/>
                  </a:lnTo>
                  <a:lnTo>
                    <a:pt x="833" y="657"/>
                  </a:lnTo>
                  <a:lnTo>
                    <a:pt x="833" y="660"/>
                  </a:lnTo>
                  <a:lnTo>
                    <a:pt x="831" y="660"/>
                  </a:lnTo>
                  <a:lnTo>
                    <a:pt x="831" y="662"/>
                  </a:lnTo>
                  <a:lnTo>
                    <a:pt x="831" y="662"/>
                  </a:lnTo>
                  <a:lnTo>
                    <a:pt x="831" y="662"/>
                  </a:lnTo>
                  <a:lnTo>
                    <a:pt x="831" y="664"/>
                  </a:lnTo>
                  <a:lnTo>
                    <a:pt x="831" y="667"/>
                  </a:lnTo>
                  <a:lnTo>
                    <a:pt x="831" y="667"/>
                  </a:lnTo>
                  <a:lnTo>
                    <a:pt x="831" y="667"/>
                  </a:lnTo>
                  <a:lnTo>
                    <a:pt x="828" y="667"/>
                  </a:lnTo>
                  <a:lnTo>
                    <a:pt x="828" y="669"/>
                  </a:lnTo>
                  <a:lnTo>
                    <a:pt x="828" y="669"/>
                  </a:lnTo>
                  <a:lnTo>
                    <a:pt x="831" y="669"/>
                  </a:lnTo>
                  <a:lnTo>
                    <a:pt x="833" y="674"/>
                  </a:lnTo>
                  <a:lnTo>
                    <a:pt x="831" y="674"/>
                  </a:lnTo>
                  <a:lnTo>
                    <a:pt x="833" y="676"/>
                  </a:lnTo>
                  <a:lnTo>
                    <a:pt x="833" y="676"/>
                  </a:lnTo>
                  <a:lnTo>
                    <a:pt x="835" y="676"/>
                  </a:lnTo>
                  <a:lnTo>
                    <a:pt x="835" y="676"/>
                  </a:lnTo>
                  <a:lnTo>
                    <a:pt x="835" y="679"/>
                  </a:lnTo>
                  <a:lnTo>
                    <a:pt x="835" y="679"/>
                  </a:lnTo>
                  <a:lnTo>
                    <a:pt x="838" y="681"/>
                  </a:lnTo>
                  <a:lnTo>
                    <a:pt x="840" y="683"/>
                  </a:lnTo>
                  <a:lnTo>
                    <a:pt x="840" y="683"/>
                  </a:lnTo>
                  <a:lnTo>
                    <a:pt x="843" y="681"/>
                  </a:lnTo>
                  <a:lnTo>
                    <a:pt x="845" y="681"/>
                  </a:lnTo>
                  <a:lnTo>
                    <a:pt x="847" y="679"/>
                  </a:lnTo>
                  <a:lnTo>
                    <a:pt x="847" y="679"/>
                  </a:lnTo>
                  <a:lnTo>
                    <a:pt x="850" y="679"/>
                  </a:lnTo>
                  <a:lnTo>
                    <a:pt x="850" y="679"/>
                  </a:lnTo>
                  <a:lnTo>
                    <a:pt x="850" y="676"/>
                  </a:lnTo>
                  <a:lnTo>
                    <a:pt x="850" y="676"/>
                  </a:lnTo>
                  <a:lnTo>
                    <a:pt x="850" y="676"/>
                  </a:lnTo>
                  <a:lnTo>
                    <a:pt x="850" y="674"/>
                  </a:lnTo>
                  <a:lnTo>
                    <a:pt x="850" y="674"/>
                  </a:lnTo>
                  <a:lnTo>
                    <a:pt x="850" y="674"/>
                  </a:lnTo>
                  <a:lnTo>
                    <a:pt x="850" y="671"/>
                  </a:lnTo>
                  <a:lnTo>
                    <a:pt x="850" y="671"/>
                  </a:lnTo>
                  <a:lnTo>
                    <a:pt x="850" y="669"/>
                  </a:lnTo>
                  <a:lnTo>
                    <a:pt x="850" y="669"/>
                  </a:lnTo>
                  <a:lnTo>
                    <a:pt x="850" y="667"/>
                  </a:lnTo>
                  <a:lnTo>
                    <a:pt x="850" y="667"/>
                  </a:lnTo>
                  <a:lnTo>
                    <a:pt x="850" y="667"/>
                  </a:lnTo>
                  <a:lnTo>
                    <a:pt x="850" y="664"/>
                  </a:lnTo>
                  <a:lnTo>
                    <a:pt x="850" y="664"/>
                  </a:lnTo>
                  <a:lnTo>
                    <a:pt x="850" y="664"/>
                  </a:lnTo>
                  <a:lnTo>
                    <a:pt x="850" y="664"/>
                  </a:lnTo>
                  <a:lnTo>
                    <a:pt x="850" y="662"/>
                  </a:lnTo>
                  <a:lnTo>
                    <a:pt x="850" y="662"/>
                  </a:lnTo>
                  <a:lnTo>
                    <a:pt x="852" y="660"/>
                  </a:lnTo>
                  <a:lnTo>
                    <a:pt x="852" y="660"/>
                  </a:lnTo>
                  <a:lnTo>
                    <a:pt x="854" y="662"/>
                  </a:lnTo>
                  <a:lnTo>
                    <a:pt x="854" y="662"/>
                  </a:lnTo>
                  <a:lnTo>
                    <a:pt x="854" y="660"/>
                  </a:lnTo>
                  <a:lnTo>
                    <a:pt x="854" y="660"/>
                  </a:lnTo>
                  <a:lnTo>
                    <a:pt x="857" y="660"/>
                  </a:lnTo>
                  <a:lnTo>
                    <a:pt x="861" y="660"/>
                  </a:lnTo>
                  <a:lnTo>
                    <a:pt x="861" y="660"/>
                  </a:lnTo>
                  <a:lnTo>
                    <a:pt x="861" y="660"/>
                  </a:lnTo>
                  <a:lnTo>
                    <a:pt x="864" y="660"/>
                  </a:lnTo>
                  <a:lnTo>
                    <a:pt x="869" y="657"/>
                  </a:lnTo>
                  <a:lnTo>
                    <a:pt x="871" y="655"/>
                  </a:lnTo>
                  <a:lnTo>
                    <a:pt x="871" y="653"/>
                  </a:lnTo>
                  <a:lnTo>
                    <a:pt x="871" y="653"/>
                  </a:lnTo>
                  <a:lnTo>
                    <a:pt x="871" y="653"/>
                  </a:lnTo>
                  <a:lnTo>
                    <a:pt x="871" y="653"/>
                  </a:lnTo>
                  <a:lnTo>
                    <a:pt x="871" y="653"/>
                  </a:lnTo>
                  <a:lnTo>
                    <a:pt x="873" y="653"/>
                  </a:lnTo>
                  <a:lnTo>
                    <a:pt x="873" y="653"/>
                  </a:lnTo>
                  <a:lnTo>
                    <a:pt x="873" y="650"/>
                  </a:lnTo>
                  <a:lnTo>
                    <a:pt x="873" y="650"/>
                  </a:lnTo>
                  <a:lnTo>
                    <a:pt x="873" y="645"/>
                  </a:lnTo>
                  <a:lnTo>
                    <a:pt x="873" y="645"/>
                  </a:lnTo>
                  <a:lnTo>
                    <a:pt x="873" y="645"/>
                  </a:lnTo>
                  <a:lnTo>
                    <a:pt x="873" y="643"/>
                  </a:lnTo>
                  <a:lnTo>
                    <a:pt x="873" y="643"/>
                  </a:lnTo>
                  <a:lnTo>
                    <a:pt x="873" y="641"/>
                  </a:lnTo>
                  <a:lnTo>
                    <a:pt x="871" y="638"/>
                  </a:lnTo>
                  <a:lnTo>
                    <a:pt x="869" y="636"/>
                  </a:lnTo>
                  <a:lnTo>
                    <a:pt x="869" y="634"/>
                  </a:lnTo>
                  <a:lnTo>
                    <a:pt x="869" y="634"/>
                  </a:lnTo>
                  <a:lnTo>
                    <a:pt x="869" y="631"/>
                  </a:lnTo>
                  <a:lnTo>
                    <a:pt x="869" y="629"/>
                  </a:lnTo>
                  <a:lnTo>
                    <a:pt x="871" y="631"/>
                  </a:lnTo>
                  <a:lnTo>
                    <a:pt x="873" y="634"/>
                  </a:lnTo>
                  <a:lnTo>
                    <a:pt x="876" y="634"/>
                  </a:lnTo>
                  <a:lnTo>
                    <a:pt x="880" y="631"/>
                  </a:lnTo>
                  <a:lnTo>
                    <a:pt x="880" y="631"/>
                  </a:lnTo>
                  <a:lnTo>
                    <a:pt x="880" y="629"/>
                  </a:lnTo>
                  <a:lnTo>
                    <a:pt x="880" y="629"/>
                  </a:lnTo>
                  <a:lnTo>
                    <a:pt x="878" y="629"/>
                  </a:lnTo>
                  <a:lnTo>
                    <a:pt x="871" y="622"/>
                  </a:lnTo>
                  <a:lnTo>
                    <a:pt x="871" y="619"/>
                  </a:lnTo>
                  <a:lnTo>
                    <a:pt x="871" y="617"/>
                  </a:lnTo>
                  <a:lnTo>
                    <a:pt x="871" y="617"/>
                  </a:lnTo>
                  <a:lnTo>
                    <a:pt x="871" y="617"/>
                  </a:lnTo>
                  <a:lnTo>
                    <a:pt x="871" y="615"/>
                  </a:lnTo>
                  <a:lnTo>
                    <a:pt x="871" y="615"/>
                  </a:lnTo>
                  <a:lnTo>
                    <a:pt x="871" y="615"/>
                  </a:lnTo>
                  <a:lnTo>
                    <a:pt x="871" y="612"/>
                  </a:lnTo>
                  <a:lnTo>
                    <a:pt x="871" y="612"/>
                  </a:lnTo>
                  <a:lnTo>
                    <a:pt x="871" y="612"/>
                  </a:lnTo>
                  <a:lnTo>
                    <a:pt x="873" y="612"/>
                  </a:lnTo>
                  <a:lnTo>
                    <a:pt x="873" y="610"/>
                  </a:lnTo>
                  <a:lnTo>
                    <a:pt x="873" y="610"/>
                  </a:lnTo>
                  <a:lnTo>
                    <a:pt x="873" y="610"/>
                  </a:lnTo>
                  <a:lnTo>
                    <a:pt x="873" y="608"/>
                  </a:lnTo>
                  <a:lnTo>
                    <a:pt x="880" y="608"/>
                  </a:lnTo>
                  <a:lnTo>
                    <a:pt x="880" y="608"/>
                  </a:lnTo>
                  <a:lnTo>
                    <a:pt x="880" y="608"/>
                  </a:lnTo>
                  <a:lnTo>
                    <a:pt x="883" y="605"/>
                  </a:lnTo>
                  <a:lnTo>
                    <a:pt x="883" y="605"/>
                  </a:lnTo>
                  <a:lnTo>
                    <a:pt x="883" y="605"/>
                  </a:lnTo>
                  <a:lnTo>
                    <a:pt x="885" y="605"/>
                  </a:lnTo>
                  <a:lnTo>
                    <a:pt x="888" y="605"/>
                  </a:lnTo>
                  <a:lnTo>
                    <a:pt x="888" y="605"/>
                  </a:lnTo>
                  <a:lnTo>
                    <a:pt x="888" y="603"/>
                  </a:lnTo>
                  <a:lnTo>
                    <a:pt x="888" y="603"/>
                  </a:lnTo>
                  <a:lnTo>
                    <a:pt x="888" y="603"/>
                  </a:lnTo>
                  <a:lnTo>
                    <a:pt x="890" y="603"/>
                  </a:lnTo>
                  <a:lnTo>
                    <a:pt x="890" y="600"/>
                  </a:lnTo>
                  <a:lnTo>
                    <a:pt x="890" y="600"/>
                  </a:lnTo>
                  <a:lnTo>
                    <a:pt x="890" y="600"/>
                  </a:lnTo>
                  <a:lnTo>
                    <a:pt x="890" y="600"/>
                  </a:lnTo>
                  <a:lnTo>
                    <a:pt x="890" y="600"/>
                  </a:lnTo>
                  <a:lnTo>
                    <a:pt x="890" y="598"/>
                  </a:lnTo>
                  <a:lnTo>
                    <a:pt x="890" y="598"/>
                  </a:lnTo>
                  <a:lnTo>
                    <a:pt x="890" y="598"/>
                  </a:lnTo>
                  <a:lnTo>
                    <a:pt x="890" y="598"/>
                  </a:lnTo>
                  <a:lnTo>
                    <a:pt x="890" y="598"/>
                  </a:lnTo>
                  <a:lnTo>
                    <a:pt x="890" y="598"/>
                  </a:lnTo>
                  <a:lnTo>
                    <a:pt x="888" y="596"/>
                  </a:lnTo>
                  <a:lnTo>
                    <a:pt x="888" y="593"/>
                  </a:lnTo>
                  <a:lnTo>
                    <a:pt x="885" y="591"/>
                  </a:lnTo>
                  <a:lnTo>
                    <a:pt x="885" y="591"/>
                  </a:lnTo>
                  <a:lnTo>
                    <a:pt x="883" y="591"/>
                  </a:lnTo>
                  <a:lnTo>
                    <a:pt x="883" y="589"/>
                  </a:lnTo>
                  <a:lnTo>
                    <a:pt x="880" y="586"/>
                  </a:lnTo>
                  <a:lnTo>
                    <a:pt x="878" y="586"/>
                  </a:lnTo>
                  <a:lnTo>
                    <a:pt x="880" y="586"/>
                  </a:lnTo>
                  <a:lnTo>
                    <a:pt x="880" y="584"/>
                  </a:lnTo>
                  <a:lnTo>
                    <a:pt x="880" y="584"/>
                  </a:lnTo>
                  <a:lnTo>
                    <a:pt x="878" y="582"/>
                  </a:lnTo>
                  <a:lnTo>
                    <a:pt x="878" y="582"/>
                  </a:lnTo>
                  <a:lnTo>
                    <a:pt x="876" y="582"/>
                  </a:lnTo>
                  <a:lnTo>
                    <a:pt x="876" y="579"/>
                  </a:lnTo>
                  <a:lnTo>
                    <a:pt x="876" y="579"/>
                  </a:lnTo>
                  <a:lnTo>
                    <a:pt x="876" y="579"/>
                  </a:lnTo>
                  <a:lnTo>
                    <a:pt x="876" y="577"/>
                  </a:lnTo>
                  <a:lnTo>
                    <a:pt x="876" y="577"/>
                  </a:lnTo>
                  <a:lnTo>
                    <a:pt x="866" y="579"/>
                  </a:lnTo>
                  <a:lnTo>
                    <a:pt x="866" y="579"/>
                  </a:lnTo>
                  <a:lnTo>
                    <a:pt x="869" y="579"/>
                  </a:lnTo>
                  <a:lnTo>
                    <a:pt x="869" y="582"/>
                  </a:lnTo>
                  <a:lnTo>
                    <a:pt x="864" y="584"/>
                  </a:lnTo>
                  <a:lnTo>
                    <a:pt x="864" y="584"/>
                  </a:lnTo>
                  <a:lnTo>
                    <a:pt x="864" y="584"/>
                  </a:lnTo>
                  <a:lnTo>
                    <a:pt x="864" y="584"/>
                  </a:lnTo>
                  <a:lnTo>
                    <a:pt x="861" y="584"/>
                  </a:lnTo>
                  <a:lnTo>
                    <a:pt x="861" y="584"/>
                  </a:lnTo>
                  <a:lnTo>
                    <a:pt x="861" y="584"/>
                  </a:lnTo>
                  <a:lnTo>
                    <a:pt x="861" y="582"/>
                  </a:lnTo>
                  <a:lnTo>
                    <a:pt x="861" y="584"/>
                  </a:lnTo>
                  <a:lnTo>
                    <a:pt x="861" y="584"/>
                  </a:lnTo>
                  <a:lnTo>
                    <a:pt x="859" y="584"/>
                  </a:lnTo>
                  <a:lnTo>
                    <a:pt x="861" y="586"/>
                  </a:lnTo>
                  <a:lnTo>
                    <a:pt x="861" y="589"/>
                  </a:lnTo>
                  <a:lnTo>
                    <a:pt x="861" y="589"/>
                  </a:lnTo>
                  <a:lnTo>
                    <a:pt x="864" y="589"/>
                  </a:lnTo>
                  <a:lnTo>
                    <a:pt x="864" y="589"/>
                  </a:lnTo>
                  <a:lnTo>
                    <a:pt x="864" y="591"/>
                  </a:lnTo>
                  <a:lnTo>
                    <a:pt x="866" y="591"/>
                  </a:lnTo>
                  <a:lnTo>
                    <a:pt x="866" y="591"/>
                  </a:lnTo>
                  <a:lnTo>
                    <a:pt x="866" y="591"/>
                  </a:lnTo>
                  <a:lnTo>
                    <a:pt x="869" y="591"/>
                  </a:lnTo>
                  <a:lnTo>
                    <a:pt x="869" y="591"/>
                  </a:lnTo>
                  <a:lnTo>
                    <a:pt x="869" y="593"/>
                  </a:lnTo>
                  <a:lnTo>
                    <a:pt x="866" y="593"/>
                  </a:lnTo>
                  <a:lnTo>
                    <a:pt x="864" y="596"/>
                  </a:lnTo>
                  <a:lnTo>
                    <a:pt x="866" y="596"/>
                  </a:lnTo>
                  <a:lnTo>
                    <a:pt x="866" y="596"/>
                  </a:lnTo>
                  <a:lnTo>
                    <a:pt x="864" y="598"/>
                  </a:lnTo>
                  <a:lnTo>
                    <a:pt x="864" y="596"/>
                  </a:lnTo>
                  <a:lnTo>
                    <a:pt x="861" y="593"/>
                  </a:lnTo>
                  <a:lnTo>
                    <a:pt x="859" y="591"/>
                  </a:lnTo>
                  <a:lnTo>
                    <a:pt x="859" y="593"/>
                  </a:lnTo>
                  <a:lnTo>
                    <a:pt x="859" y="593"/>
                  </a:lnTo>
                  <a:lnTo>
                    <a:pt x="859" y="593"/>
                  </a:lnTo>
                  <a:lnTo>
                    <a:pt x="859" y="593"/>
                  </a:lnTo>
                  <a:lnTo>
                    <a:pt x="859" y="593"/>
                  </a:lnTo>
                  <a:lnTo>
                    <a:pt x="859" y="593"/>
                  </a:lnTo>
                  <a:lnTo>
                    <a:pt x="859" y="596"/>
                  </a:lnTo>
                  <a:lnTo>
                    <a:pt x="861" y="598"/>
                  </a:lnTo>
                  <a:lnTo>
                    <a:pt x="859" y="598"/>
                  </a:lnTo>
                  <a:lnTo>
                    <a:pt x="859" y="598"/>
                  </a:lnTo>
                  <a:lnTo>
                    <a:pt x="857" y="598"/>
                  </a:lnTo>
                  <a:lnTo>
                    <a:pt x="857" y="598"/>
                  </a:lnTo>
                  <a:lnTo>
                    <a:pt x="854" y="596"/>
                  </a:lnTo>
                  <a:lnTo>
                    <a:pt x="854" y="596"/>
                  </a:lnTo>
                  <a:lnTo>
                    <a:pt x="852" y="596"/>
                  </a:lnTo>
                  <a:lnTo>
                    <a:pt x="852" y="596"/>
                  </a:lnTo>
                  <a:lnTo>
                    <a:pt x="852" y="596"/>
                  </a:lnTo>
                  <a:lnTo>
                    <a:pt x="852" y="593"/>
                  </a:lnTo>
                  <a:lnTo>
                    <a:pt x="852" y="593"/>
                  </a:lnTo>
                  <a:lnTo>
                    <a:pt x="850" y="593"/>
                  </a:lnTo>
                  <a:lnTo>
                    <a:pt x="850" y="593"/>
                  </a:lnTo>
                  <a:lnTo>
                    <a:pt x="850" y="593"/>
                  </a:lnTo>
                  <a:lnTo>
                    <a:pt x="847" y="593"/>
                  </a:lnTo>
                  <a:lnTo>
                    <a:pt x="847" y="591"/>
                  </a:lnTo>
                  <a:lnTo>
                    <a:pt x="847" y="591"/>
                  </a:lnTo>
                  <a:lnTo>
                    <a:pt x="847" y="591"/>
                  </a:lnTo>
                  <a:lnTo>
                    <a:pt x="847" y="589"/>
                  </a:lnTo>
                  <a:lnTo>
                    <a:pt x="847" y="589"/>
                  </a:lnTo>
                  <a:lnTo>
                    <a:pt x="845" y="591"/>
                  </a:lnTo>
                  <a:lnTo>
                    <a:pt x="845" y="589"/>
                  </a:lnTo>
                  <a:lnTo>
                    <a:pt x="845" y="589"/>
                  </a:lnTo>
                  <a:lnTo>
                    <a:pt x="845" y="589"/>
                  </a:lnTo>
                  <a:lnTo>
                    <a:pt x="847" y="589"/>
                  </a:lnTo>
                  <a:lnTo>
                    <a:pt x="847" y="589"/>
                  </a:lnTo>
                  <a:lnTo>
                    <a:pt x="843" y="589"/>
                  </a:lnTo>
                  <a:lnTo>
                    <a:pt x="840" y="589"/>
                  </a:lnTo>
                  <a:lnTo>
                    <a:pt x="835" y="589"/>
                  </a:lnTo>
                  <a:lnTo>
                    <a:pt x="831" y="586"/>
                  </a:lnTo>
                  <a:lnTo>
                    <a:pt x="828" y="589"/>
                  </a:lnTo>
                  <a:lnTo>
                    <a:pt x="828" y="589"/>
                  </a:lnTo>
                  <a:lnTo>
                    <a:pt x="828" y="586"/>
                  </a:lnTo>
                  <a:lnTo>
                    <a:pt x="828" y="589"/>
                  </a:lnTo>
                  <a:lnTo>
                    <a:pt x="826" y="589"/>
                  </a:lnTo>
                  <a:lnTo>
                    <a:pt x="826" y="589"/>
                  </a:lnTo>
                  <a:lnTo>
                    <a:pt x="824" y="591"/>
                  </a:lnTo>
                  <a:lnTo>
                    <a:pt x="821" y="589"/>
                  </a:lnTo>
                  <a:lnTo>
                    <a:pt x="821" y="589"/>
                  </a:lnTo>
                  <a:lnTo>
                    <a:pt x="821" y="589"/>
                  </a:lnTo>
                  <a:lnTo>
                    <a:pt x="819" y="591"/>
                  </a:lnTo>
                  <a:lnTo>
                    <a:pt x="819" y="591"/>
                  </a:lnTo>
                  <a:lnTo>
                    <a:pt x="819" y="591"/>
                  </a:lnTo>
                  <a:lnTo>
                    <a:pt x="817" y="596"/>
                  </a:lnTo>
                  <a:lnTo>
                    <a:pt x="817" y="596"/>
                  </a:lnTo>
                  <a:lnTo>
                    <a:pt x="817" y="596"/>
                  </a:lnTo>
                  <a:lnTo>
                    <a:pt x="817" y="598"/>
                  </a:lnTo>
                  <a:lnTo>
                    <a:pt x="814" y="600"/>
                  </a:lnTo>
                  <a:lnTo>
                    <a:pt x="814" y="600"/>
                  </a:lnTo>
                  <a:lnTo>
                    <a:pt x="809" y="603"/>
                  </a:lnTo>
                  <a:lnTo>
                    <a:pt x="809" y="603"/>
                  </a:lnTo>
                  <a:lnTo>
                    <a:pt x="809" y="605"/>
                  </a:lnTo>
                  <a:lnTo>
                    <a:pt x="809" y="605"/>
                  </a:lnTo>
                  <a:lnTo>
                    <a:pt x="807" y="605"/>
                  </a:lnTo>
                  <a:lnTo>
                    <a:pt x="805" y="605"/>
                  </a:lnTo>
                  <a:lnTo>
                    <a:pt x="805" y="608"/>
                  </a:lnTo>
                  <a:lnTo>
                    <a:pt x="805" y="608"/>
                  </a:lnTo>
                  <a:lnTo>
                    <a:pt x="805" y="608"/>
                  </a:lnTo>
                  <a:lnTo>
                    <a:pt x="805" y="610"/>
                  </a:lnTo>
                  <a:lnTo>
                    <a:pt x="802" y="610"/>
                  </a:lnTo>
                  <a:lnTo>
                    <a:pt x="802" y="610"/>
                  </a:lnTo>
                  <a:lnTo>
                    <a:pt x="802" y="610"/>
                  </a:lnTo>
                  <a:lnTo>
                    <a:pt x="802" y="612"/>
                  </a:lnTo>
                  <a:lnTo>
                    <a:pt x="802" y="612"/>
                  </a:lnTo>
                  <a:lnTo>
                    <a:pt x="800" y="612"/>
                  </a:lnTo>
                  <a:lnTo>
                    <a:pt x="800" y="612"/>
                  </a:lnTo>
                  <a:lnTo>
                    <a:pt x="800" y="612"/>
                  </a:lnTo>
                  <a:lnTo>
                    <a:pt x="798" y="615"/>
                  </a:lnTo>
                  <a:lnTo>
                    <a:pt x="798" y="617"/>
                  </a:lnTo>
                  <a:lnTo>
                    <a:pt x="798" y="617"/>
                  </a:lnTo>
                  <a:lnTo>
                    <a:pt x="798" y="617"/>
                  </a:lnTo>
                  <a:lnTo>
                    <a:pt x="798" y="617"/>
                  </a:lnTo>
                  <a:lnTo>
                    <a:pt x="798" y="617"/>
                  </a:lnTo>
                  <a:lnTo>
                    <a:pt x="798" y="619"/>
                  </a:lnTo>
                  <a:lnTo>
                    <a:pt x="798" y="619"/>
                  </a:lnTo>
                  <a:lnTo>
                    <a:pt x="795" y="622"/>
                  </a:lnTo>
                  <a:lnTo>
                    <a:pt x="793" y="622"/>
                  </a:lnTo>
                  <a:lnTo>
                    <a:pt x="791" y="622"/>
                  </a:lnTo>
                  <a:lnTo>
                    <a:pt x="791" y="624"/>
                  </a:lnTo>
                  <a:lnTo>
                    <a:pt x="791" y="624"/>
                  </a:lnTo>
                  <a:lnTo>
                    <a:pt x="791" y="624"/>
                  </a:lnTo>
                  <a:lnTo>
                    <a:pt x="791" y="624"/>
                  </a:lnTo>
                  <a:lnTo>
                    <a:pt x="791" y="627"/>
                  </a:lnTo>
                  <a:lnTo>
                    <a:pt x="791" y="627"/>
                  </a:lnTo>
                  <a:lnTo>
                    <a:pt x="791" y="627"/>
                  </a:lnTo>
                  <a:lnTo>
                    <a:pt x="791" y="627"/>
                  </a:lnTo>
                  <a:lnTo>
                    <a:pt x="791" y="627"/>
                  </a:lnTo>
                  <a:lnTo>
                    <a:pt x="791" y="627"/>
                  </a:lnTo>
                  <a:lnTo>
                    <a:pt x="788" y="629"/>
                  </a:lnTo>
                  <a:lnTo>
                    <a:pt x="788" y="631"/>
                  </a:lnTo>
                  <a:lnTo>
                    <a:pt x="786" y="631"/>
                  </a:lnTo>
                  <a:lnTo>
                    <a:pt x="781" y="634"/>
                  </a:lnTo>
                  <a:lnTo>
                    <a:pt x="779" y="636"/>
                  </a:lnTo>
                  <a:lnTo>
                    <a:pt x="776" y="636"/>
                  </a:lnTo>
                  <a:lnTo>
                    <a:pt x="776" y="636"/>
                  </a:lnTo>
                  <a:lnTo>
                    <a:pt x="774" y="636"/>
                  </a:lnTo>
                  <a:lnTo>
                    <a:pt x="774" y="636"/>
                  </a:lnTo>
                  <a:lnTo>
                    <a:pt x="774" y="636"/>
                  </a:lnTo>
                  <a:lnTo>
                    <a:pt x="774" y="636"/>
                  </a:lnTo>
                  <a:lnTo>
                    <a:pt x="774" y="636"/>
                  </a:lnTo>
                  <a:lnTo>
                    <a:pt x="774" y="636"/>
                  </a:lnTo>
                  <a:lnTo>
                    <a:pt x="772" y="638"/>
                  </a:lnTo>
                  <a:lnTo>
                    <a:pt x="772" y="641"/>
                  </a:lnTo>
                  <a:lnTo>
                    <a:pt x="772" y="641"/>
                  </a:lnTo>
                  <a:lnTo>
                    <a:pt x="769" y="643"/>
                  </a:lnTo>
                  <a:lnTo>
                    <a:pt x="769" y="643"/>
                  </a:lnTo>
                  <a:lnTo>
                    <a:pt x="769" y="643"/>
                  </a:lnTo>
                  <a:lnTo>
                    <a:pt x="767" y="645"/>
                  </a:lnTo>
                  <a:lnTo>
                    <a:pt x="767" y="648"/>
                  </a:lnTo>
                  <a:lnTo>
                    <a:pt x="767" y="650"/>
                  </a:lnTo>
                  <a:lnTo>
                    <a:pt x="764" y="653"/>
                  </a:lnTo>
                  <a:lnTo>
                    <a:pt x="764" y="653"/>
                  </a:lnTo>
                  <a:lnTo>
                    <a:pt x="764" y="653"/>
                  </a:lnTo>
                  <a:lnTo>
                    <a:pt x="764" y="653"/>
                  </a:lnTo>
                  <a:lnTo>
                    <a:pt x="764" y="653"/>
                  </a:lnTo>
                  <a:lnTo>
                    <a:pt x="764" y="653"/>
                  </a:lnTo>
                  <a:lnTo>
                    <a:pt x="762" y="655"/>
                  </a:lnTo>
                  <a:lnTo>
                    <a:pt x="757" y="655"/>
                  </a:lnTo>
                  <a:lnTo>
                    <a:pt x="755" y="653"/>
                  </a:lnTo>
                  <a:lnTo>
                    <a:pt x="746" y="653"/>
                  </a:lnTo>
                  <a:lnTo>
                    <a:pt x="746" y="653"/>
                  </a:lnTo>
                  <a:lnTo>
                    <a:pt x="746" y="655"/>
                  </a:lnTo>
                  <a:lnTo>
                    <a:pt x="741" y="657"/>
                  </a:lnTo>
                  <a:lnTo>
                    <a:pt x="741" y="657"/>
                  </a:lnTo>
                  <a:lnTo>
                    <a:pt x="741" y="660"/>
                  </a:lnTo>
                  <a:lnTo>
                    <a:pt x="741" y="662"/>
                  </a:lnTo>
                  <a:lnTo>
                    <a:pt x="741" y="662"/>
                  </a:lnTo>
                  <a:lnTo>
                    <a:pt x="741" y="662"/>
                  </a:lnTo>
                  <a:lnTo>
                    <a:pt x="738" y="664"/>
                  </a:lnTo>
                  <a:lnTo>
                    <a:pt x="738" y="664"/>
                  </a:lnTo>
                  <a:lnTo>
                    <a:pt x="738" y="664"/>
                  </a:lnTo>
                  <a:lnTo>
                    <a:pt x="738" y="664"/>
                  </a:lnTo>
                  <a:lnTo>
                    <a:pt x="736" y="667"/>
                  </a:lnTo>
                  <a:lnTo>
                    <a:pt x="738" y="667"/>
                  </a:lnTo>
                  <a:lnTo>
                    <a:pt x="736" y="667"/>
                  </a:lnTo>
                  <a:lnTo>
                    <a:pt x="736" y="664"/>
                  </a:lnTo>
                  <a:lnTo>
                    <a:pt x="736" y="664"/>
                  </a:lnTo>
                  <a:lnTo>
                    <a:pt x="734" y="669"/>
                  </a:lnTo>
                  <a:lnTo>
                    <a:pt x="734" y="669"/>
                  </a:lnTo>
                  <a:lnTo>
                    <a:pt x="731" y="669"/>
                  </a:lnTo>
                  <a:lnTo>
                    <a:pt x="731" y="669"/>
                  </a:lnTo>
                  <a:lnTo>
                    <a:pt x="731" y="669"/>
                  </a:lnTo>
                  <a:lnTo>
                    <a:pt x="731" y="669"/>
                  </a:lnTo>
                  <a:lnTo>
                    <a:pt x="731" y="671"/>
                  </a:lnTo>
                  <a:lnTo>
                    <a:pt x="731" y="671"/>
                  </a:lnTo>
                  <a:lnTo>
                    <a:pt x="731" y="671"/>
                  </a:lnTo>
                  <a:lnTo>
                    <a:pt x="731" y="671"/>
                  </a:lnTo>
                  <a:lnTo>
                    <a:pt x="731" y="671"/>
                  </a:lnTo>
                  <a:lnTo>
                    <a:pt x="731" y="671"/>
                  </a:lnTo>
                  <a:lnTo>
                    <a:pt x="731" y="674"/>
                  </a:lnTo>
                  <a:lnTo>
                    <a:pt x="729" y="674"/>
                  </a:lnTo>
                  <a:lnTo>
                    <a:pt x="729" y="674"/>
                  </a:lnTo>
                  <a:lnTo>
                    <a:pt x="729" y="674"/>
                  </a:lnTo>
                  <a:lnTo>
                    <a:pt x="729" y="676"/>
                  </a:lnTo>
                  <a:lnTo>
                    <a:pt x="729" y="676"/>
                  </a:lnTo>
                  <a:lnTo>
                    <a:pt x="729" y="676"/>
                  </a:lnTo>
                  <a:lnTo>
                    <a:pt x="729" y="676"/>
                  </a:lnTo>
                  <a:lnTo>
                    <a:pt x="731" y="676"/>
                  </a:lnTo>
                  <a:close/>
                  <a:moveTo>
                    <a:pt x="204" y="2010"/>
                  </a:moveTo>
                  <a:lnTo>
                    <a:pt x="204" y="2010"/>
                  </a:lnTo>
                  <a:lnTo>
                    <a:pt x="204" y="2010"/>
                  </a:lnTo>
                  <a:lnTo>
                    <a:pt x="204" y="2010"/>
                  </a:lnTo>
                  <a:lnTo>
                    <a:pt x="204" y="2010"/>
                  </a:lnTo>
                  <a:lnTo>
                    <a:pt x="206" y="2010"/>
                  </a:lnTo>
                  <a:lnTo>
                    <a:pt x="206" y="2008"/>
                  </a:lnTo>
                  <a:lnTo>
                    <a:pt x="206" y="2006"/>
                  </a:lnTo>
                  <a:lnTo>
                    <a:pt x="206" y="2006"/>
                  </a:lnTo>
                  <a:lnTo>
                    <a:pt x="204" y="2006"/>
                  </a:lnTo>
                  <a:lnTo>
                    <a:pt x="204" y="2008"/>
                  </a:lnTo>
                  <a:lnTo>
                    <a:pt x="204" y="2008"/>
                  </a:lnTo>
                  <a:lnTo>
                    <a:pt x="204" y="2008"/>
                  </a:lnTo>
                  <a:lnTo>
                    <a:pt x="204" y="2010"/>
                  </a:lnTo>
                  <a:lnTo>
                    <a:pt x="204" y="2010"/>
                  </a:lnTo>
                  <a:lnTo>
                    <a:pt x="204" y="2010"/>
                  </a:lnTo>
                  <a:close/>
                  <a:moveTo>
                    <a:pt x="277" y="2237"/>
                  </a:moveTo>
                  <a:lnTo>
                    <a:pt x="277" y="2237"/>
                  </a:lnTo>
                  <a:lnTo>
                    <a:pt x="277" y="2237"/>
                  </a:lnTo>
                  <a:lnTo>
                    <a:pt x="277" y="2237"/>
                  </a:lnTo>
                  <a:lnTo>
                    <a:pt x="279" y="2237"/>
                  </a:lnTo>
                  <a:lnTo>
                    <a:pt x="279" y="2237"/>
                  </a:lnTo>
                  <a:lnTo>
                    <a:pt x="282" y="2237"/>
                  </a:lnTo>
                  <a:lnTo>
                    <a:pt x="282" y="2237"/>
                  </a:lnTo>
                  <a:lnTo>
                    <a:pt x="282" y="2235"/>
                  </a:lnTo>
                  <a:lnTo>
                    <a:pt x="279" y="2235"/>
                  </a:lnTo>
                  <a:lnTo>
                    <a:pt x="277" y="2235"/>
                  </a:lnTo>
                  <a:lnTo>
                    <a:pt x="275" y="2235"/>
                  </a:lnTo>
                  <a:lnTo>
                    <a:pt x="275" y="2235"/>
                  </a:lnTo>
                  <a:lnTo>
                    <a:pt x="275" y="2235"/>
                  </a:lnTo>
                  <a:lnTo>
                    <a:pt x="275" y="2235"/>
                  </a:lnTo>
                  <a:lnTo>
                    <a:pt x="275" y="2235"/>
                  </a:lnTo>
                  <a:lnTo>
                    <a:pt x="275" y="2237"/>
                  </a:lnTo>
                  <a:lnTo>
                    <a:pt x="277" y="2237"/>
                  </a:lnTo>
                  <a:lnTo>
                    <a:pt x="277" y="2237"/>
                  </a:lnTo>
                  <a:lnTo>
                    <a:pt x="277" y="2237"/>
                  </a:lnTo>
                  <a:lnTo>
                    <a:pt x="277" y="2237"/>
                  </a:lnTo>
                  <a:close/>
                  <a:moveTo>
                    <a:pt x="279" y="2240"/>
                  </a:moveTo>
                  <a:lnTo>
                    <a:pt x="279" y="2240"/>
                  </a:lnTo>
                  <a:lnTo>
                    <a:pt x="282" y="2242"/>
                  </a:lnTo>
                  <a:lnTo>
                    <a:pt x="282" y="2242"/>
                  </a:lnTo>
                  <a:lnTo>
                    <a:pt x="284" y="2240"/>
                  </a:lnTo>
                  <a:lnTo>
                    <a:pt x="284" y="2240"/>
                  </a:lnTo>
                  <a:lnTo>
                    <a:pt x="284" y="2240"/>
                  </a:lnTo>
                  <a:lnTo>
                    <a:pt x="284" y="2240"/>
                  </a:lnTo>
                  <a:lnTo>
                    <a:pt x="284" y="2240"/>
                  </a:lnTo>
                  <a:lnTo>
                    <a:pt x="284" y="2240"/>
                  </a:lnTo>
                  <a:lnTo>
                    <a:pt x="284" y="2240"/>
                  </a:lnTo>
                  <a:lnTo>
                    <a:pt x="284" y="2240"/>
                  </a:lnTo>
                  <a:lnTo>
                    <a:pt x="284" y="2237"/>
                  </a:lnTo>
                  <a:lnTo>
                    <a:pt x="282" y="2237"/>
                  </a:lnTo>
                  <a:lnTo>
                    <a:pt x="282" y="2237"/>
                  </a:lnTo>
                  <a:lnTo>
                    <a:pt x="282" y="2237"/>
                  </a:lnTo>
                  <a:lnTo>
                    <a:pt x="282" y="2237"/>
                  </a:lnTo>
                  <a:lnTo>
                    <a:pt x="282" y="2237"/>
                  </a:lnTo>
                  <a:lnTo>
                    <a:pt x="272" y="2237"/>
                  </a:lnTo>
                  <a:lnTo>
                    <a:pt x="272" y="2237"/>
                  </a:lnTo>
                  <a:lnTo>
                    <a:pt x="277" y="2240"/>
                  </a:lnTo>
                  <a:lnTo>
                    <a:pt x="279" y="2240"/>
                  </a:lnTo>
                  <a:close/>
                  <a:moveTo>
                    <a:pt x="320" y="2259"/>
                  </a:moveTo>
                  <a:lnTo>
                    <a:pt x="317" y="2259"/>
                  </a:lnTo>
                  <a:lnTo>
                    <a:pt x="317" y="2259"/>
                  </a:lnTo>
                  <a:lnTo>
                    <a:pt x="317" y="2259"/>
                  </a:lnTo>
                  <a:lnTo>
                    <a:pt x="317" y="2256"/>
                  </a:lnTo>
                  <a:lnTo>
                    <a:pt x="317" y="2256"/>
                  </a:lnTo>
                  <a:lnTo>
                    <a:pt x="317" y="2256"/>
                  </a:lnTo>
                  <a:lnTo>
                    <a:pt x="317" y="2256"/>
                  </a:lnTo>
                  <a:lnTo>
                    <a:pt x="317" y="2256"/>
                  </a:lnTo>
                  <a:lnTo>
                    <a:pt x="315" y="2254"/>
                  </a:lnTo>
                  <a:lnTo>
                    <a:pt x="315" y="2254"/>
                  </a:lnTo>
                  <a:lnTo>
                    <a:pt x="315" y="2256"/>
                  </a:lnTo>
                  <a:lnTo>
                    <a:pt x="312" y="2256"/>
                  </a:lnTo>
                  <a:lnTo>
                    <a:pt x="312" y="2256"/>
                  </a:lnTo>
                  <a:lnTo>
                    <a:pt x="312" y="2259"/>
                  </a:lnTo>
                  <a:lnTo>
                    <a:pt x="312" y="2259"/>
                  </a:lnTo>
                  <a:lnTo>
                    <a:pt x="312" y="2259"/>
                  </a:lnTo>
                  <a:lnTo>
                    <a:pt x="310" y="2259"/>
                  </a:lnTo>
                  <a:lnTo>
                    <a:pt x="310" y="2259"/>
                  </a:lnTo>
                  <a:lnTo>
                    <a:pt x="310" y="2259"/>
                  </a:lnTo>
                  <a:lnTo>
                    <a:pt x="310" y="2261"/>
                  </a:lnTo>
                  <a:lnTo>
                    <a:pt x="310" y="2261"/>
                  </a:lnTo>
                  <a:lnTo>
                    <a:pt x="310" y="2261"/>
                  </a:lnTo>
                  <a:lnTo>
                    <a:pt x="312" y="2261"/>
                  </a:lnTo>
                  <a:lnTo>
                    <a:pt x="312" y="2261"/>
                  </a:lnTo>
                  <a:lnTo>
                    <a:pt x="312" y="2261"/>
                  </a:lnTo>
                  <a:lnTo>
                    <a:pt x="312" y="2261"/>
                  </a:lnTo>
                  <a:lnTo>
                    <a:pt x="315" y="2261"/>
                  </a:lnTo>
                  <a:lnTo>
                    <a:pt x="315" y="2261"/>
                  </a:lnTo>
                  <a:lnTo>
                    <a:pt x="315" y="2261"/>
                  </a:lnTo>
                  <a:lnTo>
                    <a:pt x="315" y="2261"/>
                  </a:lnTo>
                  <a:lnTo>
                    <a:pt x="315" y="2261"/>
                  </a:lnTo>
                  <a:lnTo>
                    <a:pt x="315" y="2261"/>
                  </a:lnTo>
                  <a:lnTo>
                    <a:pt x="315" y="2261"/>
                  </a:lnTo>
                  <a:lnTo>
                    <a:pt x="317" y="2261"/>
                  </a:lnTo>
                  <a:lnTo>
                    <a:pt x="317" y="2261"/>
                  </a:lnTo>
                  <a:lnTo>
                    <a:pt x="317" y="2263"/>
                  </a:lnTo>
                  <a:lnTo>
                    <a:pt x="317" y="2266"/>
                  </a:lnTo>
                  <a:lnTo>
                    <a:pt x="317" y="2266"/>
                  </a:lnTo>
                  <a:lnTo>
                    <a:pt x="317" y="2268"/>
                  </a:lnTo>
                  <a:lnTo>
                    <a:pt x="317" y="2268"/>
                  </a:lnTo>
                  <a:lnTo>
                    <a:pt x="317" y="2271"/>
                  </a:lnTo>
                  <a:lnTo>
                    <a:pt x="315" y="2271"/>
                  </a:lnTo>
                  <a:lnTo>
                    <a:pt x="315" y="2271"/>
                  </a:lnTo>
                  <a:lnTo>
                    <a:pt x="317" y="2273"/>
                  </a:lnTo>
                  <a:lnTo>
                    <a:pt x="317" y="2273"/>
                  </a:lnTo>
                  <a:lnTo>
                    <a:pt x="317" y="2271"/>
                  </a:lnTo>
                  <a:lnTo>
                    <a:pt x="317" y="2271"/>
                  </a:lnTo>
                  <a:lnTo>
                    <a:pt x="317" y="2271"/>
                  </a:lnTo>
                  <a:lnTo>
                    <a:pt x="320" y="2268"/>
                  </a:lnTo>
                  <a:lnTo>
                    <a:pt x="320" y="2268"/>
                  </a:lnTo>
                  <a:lnTo>
                    <a:pt x="320" y="2268"/>
                  </a:lnTo>
                  <a:lnTo>
                    <a:pt x="320" y="2268"/>
                  </a:lnTo>
                  <a:lnTo>
                    <a:pt x="320" y="2268"/>
                  </a:lnTo>
                  <a:lnTo>
                    <a:pt x="320" y="2268"/>
                  </a:lnTo>
                  <a:lnTo>
                    <a:pt x="320" y="2266"/>
                  </a:lnTo>
                  <a:lnTo>
                    <a:pt x="320" y="2266"/>
                  </a:lnTo>
                  <a:lnTo>
                    <a:pt x="320" y="2266"/>
                  </a:lnTo>
                  <a:lnTo>
                    <a:pt x="320" y="2266"/>
                  </a:lnTo>
                  <a:lnTo>
                    <a:pt x="320" y="2263"/>
                  </a:lnTo>
                  <a:lnTo>
                    <a:pt x="320" y="2261"/>
                  </a:lnTo>
                  <a:lnTo>
                    <a:pt x="320" y="2261"/>
                  </a:lnTo>
                  <a:lnTo>
                    <a:pt x="317" y="2259"/>
                  </a:lnTo>
                  <a:lnTo>
                    <a:pt x="320" y="2259"/>
                  </a:lnTo>
                  <a:lnTo>
                    <a:pt x="320" y="2259"/>
                  </a:lnTo>
                  <a:close/>
                  <a:moveTo>
                    <a:pt x="277" y="2223"/>
                  </a:moveTo>
                  <a:lnTo>
                    <a:pt x="275" y="2223"/>
                  </a:lnTo>
                  <a:lnTo>
                    <a:pt x="275" y="2223"/>
                  </a:lnTo>
                  <a:lnTo>
                    <a:pt x="275" y="2223"/>
                  </a:lnTo>
                  <a:lnTo>
                    <a:pt x="275" y="2221"/>
                  </a:lnTo>
                  <a:lnTo>
                    <a:pt x="275" y="2221"/>
                  </a:lnTo>
                  <a:lnTo>
                    <a:pt x="275" y="2221"/>
                  </a:lnTo>
                  <a:lnTo>
                    <a:pt x="275" y="2223"/>
                  </a:lnTo>
                  <a:lnTo>
                    <a:pt x="275" y="2223"/>
                  </a:lnTo>
                  <a:lnTo>
                    <a:pt x="275" y="2223"/>
                  </a:lnTo>
                  <a:lnTo>
                    <a:pt x="270" y="2221"/>
                  </a:lnTo>
                  <a:lnTo>
                    <a:pt x="270" y="2221"/>
                  </a:lnTo>
                  <a:lnTo>
                    <a:pt x="270" y="2223"/>
                  </a:lnTo>
                  <a:lnTo>
                    <a:pt x="270" y="2223"/>
                  </a:lnTo>
                  <a:lnTo>
                    <a:pt x="270" y="2223"/>
                  </a:lnTo>
                  <a:lnTo>
                    <a:pt x="270" y="2221"/>
                  </a:lnTo>
                  <a:lnTo>
                    <a:pt x="270" y="2221"/>
                  </a:lnTo>
                  <a:lnTo>
                    <a:pt x="268" y="2221"/>
                  </a:lnTo>
                  <a:lnTo>
                    <a:pt x="268" y="2221"/>
                  </a:lnTo>
                  <a:lnTo>
                    <a:pt x="268" y="2221"/>
                  </a:lnTo>
                  <a:lnTo>
                    <a:pt x="265" y="2221"/>
                  </a:lnTo>
                  <a:lnTo>
                    <a:pt x="265" y="2221"/>
                  </a:lnTo>
                  <a:lnTo>
                    <a:pt x="268" y="2221"/>
                  </a:lnTo>
                  <a:lnTo>
                    <a:pt x="268" y="2223"/>
                  </a:lnTo>
                  <a:lnTo>
                    <a:pt x="270" y="2226"/>
                  </a:lnTo>
                  <a:lnTo>
                    <a:pt x="270" y="2226"/>
                  </a:lnTo>
                  <a:lnTo>
                    <a:pt x="270" y="2226"/>
                  </a:lnTo>
                  <a:lnTo>
                    <a:pt x="270" y="2223"/>
                  </a:lnTo>
                  <a:lnTo>
                    <a:pt x="270" y="2223"/>
                  </a:lnTo>
                  <a:lnTo>
                    <a:pt x="270" y="2223"/>
                  </a:lnTo>
                  <a:lnTo>
                    <a:pt x="270" y="2223"/>
                  </a:lnTo>
                  <a:lnTo>
                    <a:pt x="270" y="2226"/>
                  </a:lnTo>
                  <a:lnTo>
                    <a:pt x="270" y="2226"/>
                  </a:lnTo>
                  <a:lnTo>
                    <a:pt x="272" y="2226"/>
                  </a:lnTo>
                  <a:lnTo>
                    <a:pt x="275" y="2226"/>
                  </a:lnTo>
                  <a:lnTo>
                    <a:pt x="275" y="2223"/>
                  </a:lnTo>
                  <a:lnTo>
                    <a:pt x="275" y="2223"/>
                  </a:lnTo>
                  <a:lnTo>
                    <a:pt x="277" y="2226"/>
                  </a:lnTo>
                  <a:lnTo>
                    <a:pt x="277" y="2226"/>
                  </a:lnTo>
                  <a:lnTo>
                    <a:pt x="277" y="2226"/>
                  </a:lnTo>
                  <a:lnTo>
                    <a:pt x="277" y="2223"/>
                  </a:lnTo>
                  <a:lnTo>
                    <a:pt x="277" y="2223"/>
                  </a:lnTo>
                  <a:close/>
                  <a:moveTo>
                    <a:pt x="331" y="2273"/>
                  </a:moveTo>
                  <a:lnTo>
                    <a:pt x="331" y="2273"/>
                  </a:lnTo>
                  <a:lnTo>
                    <a:pt x="331" y="2273"/>
                  </a:lnTo>
                  <a:lnTo>
                    <a:pt x="334" y="2273"/>
                  </a:lnTo>
                  <a:lnTo>
                    <a:pt x="334" y="2271"/>
                  </a:lnTo>
                  <a:lnTo>
                    <a:pt x="334" y="2268"/>
                  </a:lnTo>
                  <a:lnTo>
                    <a:pt x="334" y="2266"/>
                  </a:lnTo>
                  <a:lnTo>
                    <a:pt x="331" y="2266"/>
                  </a:lnTo>
                  <a:lnTo>
                    <a:pt x="331" y="2266"/>
                  </a:lnTo>
                  <a:lnTo>
                    <a:pt x="331" y="2266"/>
                  </a:lnTo>
                  <a:lnTo>
                    <a:pt x="331" y="2266"/>
                  </a:lnTo>
                  <a:lnTo>
                    <a:pt x="329" y="2266"/>
                  </a:lnTo>
                  <a:lnTo>
                    <a:pt x="329" y="2268"/>
                  </a:lnTo>
                  <a:lnTo>
                    <a:pt x="329" y="2268"/>
                  </a:lnTo>
                  <a:lnTo>
                    <a:pt x="329" y="2268"/>
                  </a:lnTo>
                  <a:lnTo>
                    <a:pt x="329" y="2268"/>
                  </a:lnTo>
                  <a:lnTo>
                    <a:pt x="329" y="2271"/>
                  </a:lnTo>
                  <a:lnTo>
                    <a:pt x="329" y="2271"/>
                  </a:lnTo>
                  <a:lnTo>
                    <a:pt x="331" y="2271"/>
                  </a:lnTo>
                  <a:lnTo>
                    <a:pt x="331" y="2268"/>
                  </a:lnTo>
                  <a:lnTo>
                    <a:pt x="331" y="2268"/>
                  </a:lnTo>
                  <a:lnTo>
                    <a:pt x="331" y="2268"/>
                  </a:lnTo>
                  <a:lnTo>
                    <a:pt x="331" y="2266"/>
                  </a:lnTo>
                  <a:lnTo>
                    <a:pt x="331" y="2266"/>
                  </a:lnTo>
                  <a:lnTo>
                    <a:pt x="331" y="2266"/>
                  </a:lnTo>
                  <a:lnTo>
                    <a:pt x="331" y="2266"/>
                  </a:lnTo>
                  <a:lnTo>
                    <a:pt x="334" y="2268"/>
                  </a:lnTo>
                  <a:lnTo>
                    <a:pt x="331" y="2268"/>
                  </a:lnTo>
                  <a:lnTo>
                    <a:pt x="331" y="2268"/>
                  </a:lnTo>
                  <a:lnTo>
                    <a:pt x="331" y="2271"/>
                  </a:lnTo>
                  <a:lnTo>
                    <a:pt x="331" y="2271"/>
                  </a:lnTo>
                  <a:lnTo>
                    <a:pt x="331" y="2273"/>
                  </a:lnTo>
                  <a:lnTo>
                    <a:pt x="331" y="2273"/>
                  </a:lnTo>
                  <a:lnTo>
                    <a:pt x="331" y="2273"/>
                  </a:lnTo>
                  <a:lnTo>
                    <a:pt x="331" y="2273"/>
                  </a:lnTo>
                  <a:close/>
                  <a:moveTo>
                    <a:pt x="322" y="2271"/>
                  </a:moveTo>
                  <a:lnTo>
                    <a:pt x="320" y="2273"/>
                  </a:lnTo>
                  <a:lnTo>
                    <a:pt x="320" y="2273"/>
                  </a:lnTo>
                  <a:lnTo>
                    <a:pt x="320" y="2273"/>
                  </a:lnTo>
                  <a:lnTo>
                    <a:pt x="320" y="2273"/>
                  </a:lnTo>
                  <a:lnTo>
                    <a:pt x="320" y="2275"/>
                  </a:lnTo>
                  <a:lnTo>
                    <a:pt x="320" y="2275"/>
                  </a:lnTo>
                  <a:lnTo>
                    <a:pt x="320" y="2275"/>
                  </a:lnTo>
                  <a:lnTo>
                    <a:pt x="320" y="2278"/>
                  </a:lnTo>
                  <a:lnTo>
                    <a:pt x="320" y="2278"/>
                  </a:lnTo>
                  <a:lnTo>
                    <a:pt x="320" y="2278"/>
                  </a:lnTo>
                  <a:lnTo>
                    <a:pt x="320" y="2278"/>
                  </a:lnTo>
                  <a:lnTo>
                    <a:pt x="320" y="2280"/>
                  </a:lnTo>
                  <a:lnTo>
                    <a:pt x="320" y="2278"/>
                  </a:lnTo>
                  <a:lnTo>
                    <a:pt x="322" y="2278"/>
                  </a:lnTo>
                  <a:lnTo>
                    <a:pt x="322" y="2278"/>
                  </a:lnTo>
                  <a:lnTo>
                    <a:pt x="322" y="2278"/>
                  </a:lnTo>
                  <a:lnTo>
                    <a:pt x="324" y="2278"/>
                  </a:lnTo>
                  <a:lnTo>
                    <a:pt x="324" y="2275"/>
                  </a:lnTo>
                  <a:lnTo>
                    <a:pt x="324" y="2275"/>
                  </a:lnTo>
                  <a:lnTo>
                    <a:pt x="324" y="2275"/>
                  </a:lnTo>
                  <a:lnTo>
                    <a:pt x="324" y="2275"/>
                  </a:lnTo>
                  <a:lnTo>
                    <a:pt x="324" y="2275"/>
                  </a:lnTo>
                  <a:lnTo>
                    <a:pt x="324" y="2273"/>
                  </a:lnTo>
                  <a:lnTo>
                    <a:pt x="324" y="2273"/>
                  </a:lnTo>
                  <a:lnTo>
                    <a:pt x="324" y="2273"/>
                  </a:lnTo>
                  <a:lnTo>
                    <a:pt x="324" y="2273"/>
                  </a:lnTo>
                  <a:lnTo>
                    <a:pt x="324" y="2273"/>
                  </a:lnTo>
                  <a:lnTo>
                    <a:pt x="324" y="2273"/>
                  </a:lnTo>
                  <a:lnTo>
                    <a:pt x="324" y="2273"/>
                  </a:lnTo>
                  <a:lnTo>
                    <a:pt x="324" y="2271"/>
                  </a:lnTo>
                  <a:lnTo>
                    <a:pt x="322" y="2268"/>
                  </a:lnTo>
                  <a:lnTo>
                    <a:pt x="322" y="2268"/>
                  </a:lnTo>
                  <a:lnTo>
                    <a:pt x="322" y="2268"/>
                  </a:lnTo>
                  <a:lnTo>
                    <a:pt x="322" y="2268"/>
                  </a:lnTo>
                  <a:lnTo>
                    <a:pt x="322" y="2268"/>
                  </a:lnTo>
                  <a:lnTo>
                    <a:pt x="322" y="2268"/>
                  </a:lnTo>
                  <a:lnTo>
                    <a:pt x="322" y="2271"/>
                  </a:lnTo>
                  <a:lnTo>
                    <a:pt x="322" y="2271"/>
                  </a:lnTo>
                  <a:close/>
                  <a:moveTo>
                    <a:pt x="279" y="2315"/>
                  </a:moveTo>
                  <a:lnTo>
                    <a:pt x="279" y="2318"/>
                  </a:lnTo>
                  <a:lnTo>
                    <a:pt x="279" y="2318"/>
                  </a:lnTo>
                  <a:lnTo>
                    <a:pt x="282" y="2318"/>
                  </a:lnTo>
                  <a:lnTo>
                    <a:pt x="282" y="2315"/>
                  </a:lnTo>
                  <a:lnTo>
                    <a:pt x="284" y="2315"/>
                  </a:lnTo>
                  <a:lnTo>
                    <a:pt x="284" y="2313"/>
                  </a:lnTo>
                  <a:lnTo>
                    <a:pt x="282" y="2313"/>
                  </a:lnTo>
                  <a:lnTo>
                    <a:pt x="282" y="2313"/>
                  </a:lnTo>
                  <a:lnTo>
                    <a:pt x="279" y="2313"/>
                  </a:lnTo>
                  <a:lnTo>
                    <a:pt x="279" y="2313"/>
                  </a:lnTo>
                  <a:lnTo>
                    <a:pt x="279" y="2313"/>
                  </a:lnTo>
                  <a:lnTo>
                    <a:pt x="279" y="2315"/>
                  </a:lnTo>
                  <a:lnTo>
                    <a:pt x="279" y="2315"/>
                  </a:lnTo>
                  <a:lnTo>
                    <a:pt x="279" y="2315"/>
                  </a:lnTo>
                  <a:close/>
                  <a:moveTo>
                    <a:pt x="360" y="2372"/>
                  </a:moveTo>
                  <a:lnTo>
                    <a:pt x="360" y="2370"/>
                  </a:lnTo>
                  <a:lnTo>
                    <a:pt x="360" y="2370"/>
                  </a:lnTo>
                  <a:lnTo>
                    <a:pt x="360" y="2370"/>
                  </a:lnTo>
                  <a:lnTo>
                    <a:pt x="360" y="2368"/>
                  </a:lnTo>
                  <a:lnTo>
                    <a:pt x="357" y="2363"/>
                  </a:lnTo>
                  <a:lnTo>
                    <a:pt x="357" y="2363"/>
                  </a:lnTo>
                  <a:lnTo>
                    <a:pt x="357" y="2363"/>
                  </a:lnTo>
                  <a:lnTo>
                    <a:pt x="357" y="2363"/>
                  </a:lnTo>
                  <a:lnTo>
                    <a:pt x="357" y="2363"/>
                  </a:lnTo>
                  <a:lnTo>
                    <a:pt x="357" y="2363"/>
                  </a:lnTo>
                  <a:lnTo>
                    <a:pt x="360" y="2360"/>
                  </a:lnTo>
                  <a:lnTo>
                    <a:pt x="360" y="2360"/>
                  </a:lnTo>
                  <a:lnTo>
                    <a:pt x="357" y="2360"/>
                  </a:lnTo>
                  <a:lnTo>
                    <a:pt x="357" y="2360"/>
                  </a:lnTo>
                  <a:lnTo>
                    <a:pt x="357" y="2360"/>
                  </a:lnTo>
                  <a:lnTo>
                    <a:pt x="357" y="2360"/>
                  </a:lnTo>
                  <a:lnTo>
                    <a:pt x="357" y="2360"/>
                  </a:lnTo>
                  <a:lnTo>
                    <a:pt x="355" y="2360"/>
                  </a:lnTo>
                  <a:lnTo>
                    <a:pt x="355" y="2360"/>
                  </a:lnTo>
                  <a:lnTo>
                    <a:pt x="357" y="2360"/>
                  </a:lnTo>
                  <a:lnTo>
                    <a:pt x="357" y="2363"/>
                  </a:lnTo>
                  <a:lnTo>
                    <a:pt x="355" y="2363"/>
                  </a:lnTo>
                  <a:lnTo>
                    <a:pt x="355" y="2363"/>
                  </a:lnTo>
                  <a:lnTo>
                    <a:pt x="355" y="2365"/>
                  </a:lnTo>
                  <a:lnTo>
                    <a:pt x="355" y="2365"/>
                  </a:lnTo>
                  <a:lnTo>
                    <a:pt x="353" y="2368"/>
                  </a:lnTo>
                  <a:lnTo>
                    <a:pt x="353" y="2368"/>
                  </a:lnTo>
                  <a:lnTo>
                    <a:pt x="353" y="2365"/>
                  </a:lnTo>
                  <a:lnTo>
                    <a:pt x="353" y="2365"/>
                  </a:lnTo>
                  <a:lnTo>
                    <a:pt x="353" y="2365"/>
                  </a:lnTo>
                  <a:lnTo>
                    <a:pt x="353" y="2365"/>
                  </a:lnTo>
                  <a:lnTo>
                    <a:pt x="353" y="2365"/>
                  </a:lnTo>
                  <a:lnTo>
                    <a:pt x="353" y="2363"/>
                  </a:lnTo>
                  <a:lnTo>
                    <a:pt x="353" y="2363"/>
                  </a:lnTo>
                  <a:lnTo>
                    <a:pt x="353" y="2363"/>
                  </a:lnTo>
                  <a:lnTo>
                    <a:pt x="353" y="2363"/>
                  </a:lnTo>
                  <a:lnTo>
                    <a:pt x="353" y="2360"/>
                  </a:lnTo>
                  <a:lnTo>
                    <a:pt x="353" y="2360"/>
                  </a:lnTo>
                  <a:lnTo>
                    <a:pt x="355" y="2360"/>
                  </a:lnTo>
                  <a:lnTo>
                    <a:pt x="355" y="2360"/>
                  </a:lnTo>
                  <a:lnTo>
                    <a:pt x="355" y="2360"/>
                  </a:lnTo>
                  <a:lnTo>
                    <a:pt x="353" y="2358"/>
                  </a:lnTo>
                  <a:lnTo>
                    <a:pt x="353" y="2358"/>
                  </a:lnTo>
                  <a:lnTo>
                    <a:pt x="350" y="2356"/>
                  </a:lnTo>
                  <a:lnTo>
                    <a:pt x="350" y="2356"/>
                  </a:lnTo>
                  <a:lnTo>
                    <a:pt x="350" y="2356"/>
                  </a:lnTo>
                  <a:lnTo>
                    <a:pt x="350" y="2353"/>
                  </a:lnTo>
                  <a:lnTo>
                    <a:pt x="353" y="2356"/>
                  </a:lnTo>
                  <a:lnTo>
                    <a:pt x="353" y="2356"/>
                  </a:lnTo>
                  <a:lnTo>
                    <a:pt x="353" y="2356"/>
                  </a:lnTo>
                  <a:lnTo>
                    <a:pt x="353" y="2356"/>
                  </a:lnTo>
                  <a:lnTo>
                    <a:pt x="353" y="2356"/>
                  </a:lnTo>
                  <a:lnTo>
                    <a:pt x="355" y="2353"/>
                  </a:lnTo>
                  <a:lnTo>
                    <a:pt x="355" y="2353"/>
                  </a:lnTo>
                  <a:lnTo>
                    <a:pt x="355" y="2353"/>
                  </a:lnTo>
                  <a:lnTo>
                    <a:pt x="353" y="2353"/>
                  </a:lnTo>
                  <a:lnTo>
                    <a:pt x="353" y="2353"/>
                  </a:lnTo>
                  <a:lnTo>
                    <a:pt x="353" y="2353"/>
                  </a:lnTo>
                  <a:lnTo>
                    <a:pt x="353" y="2353"/>
                  </a:lnTo>
                  <a:lnTo>
                    <a:pt x="353" y="2353"/>
                  </a:lnTo>
                  <a:lnTo>
                    <a:pt x="353" y="2353"/>
                  </a:lnTo>
                  <a:lnTo>
                    <a:pt x="353" y="2353"/>
                  </a:lnTo>
                  <a:lnTo>
                    <a:pt x="355" y="2351"/>
                  </a:lnTo>
                  <a:lnTo>
                    <a:pt x="353" y="2351"/>
                  </a:lnTo>
                  <a:lnTo>
                    <a:pt x="350" y="2346"/>
                  </a:lnTo>
                  <a:lnTo>
                    <a:pt x="350" y="2344"/>
                  </a:lnTo>
                  <a:lnTo>
                    <a:pt x="350" y="2344"/>
                  </a:lnTo>
                  <a:lnTo>
                    <a:pt x="348" y="2344"/>
                  </a:lnTo>
                  <a:lnTo>
                    <a:pt x="348" y="2342"/>
                  </a:lnTo>
                  <a:lnTo>
                    <a:pt x="348" y="2342"/>
                  </a:lnTo>
                  <a:lnTo>
                    <a:pt x="348" y="2339"/>
                  </a:lnTo>
                  <a:lnTo>
                    <a:pt x="348" y="2342"/>
                  </a:lnTo>
                  <a:lnTo>
                    <a:pt x="348" y="2342"/>
                  </a:lnTo>
                  <a:lnTo>
                    <a:pt x="348" y="2342"/>
                  </a:lnTo>
                  <a:lnTo>
                    <a:pt x="350" y="2342"/>
                  </a:lnTo>
                  <a:lnTo>
                    <a:pt x="350" y="2342"/>
                  </a:lnTo>
                  <a:lnTo>
                    <a:pt x="350" y="2342"/>
                  </a:lnTo>
                  <a:lnTo>
                    <a:pt x="350" y="2339"/>
                  </a:lnTo>
                  <a:lnTo>
                    <a:pt x="350" y="2339"/>
                  </a:lnTo>
                  <a:lnTo>
                    <a:pt x="350" y="2339"/>
                  </a:lnTo>
                  <a:lnTo>
                    <a:pt x="350" y="2337"/>
                  </a:lnTo>
                  <a:lnTo>
                    <a:pt x="350" y="2337"/>
                  </a:lnTo>
                  <a:lnTo>
                    <a:pt x="350" y="2334"/>
                  </a:lnTo>
                  <a:lnTo>
                    <a:pt x="350" y="2334"/>
                  </a:lnTo>
                  <a:lnTo>
                    <a:pt x="348" y="2334"/>
                  </a:lnTo>
                  <a:lnTo>
                    <a:pt x="348" y="2334"/>
                  </a:lnTo>
                  <a:lnTo>
                    <a:pt x="348" y="2332"/>
                  </a:lnTo>
                  <a:lnTo>
                    <a:pt x="346" y="2332"/>
                  </a:lnTo>
                  <a:lnTo>
                    <a:pt x="346" y="2332"/>
                  </a:lnTo>
                  <a:lnTo>
                    <a:pt x="346" y="2332"/>
                  </a:lnTo>
                  <a:lnTo>
                    <a:pt x="346" y="2330"/>
                  </a:lnTo>
                  <a:lnTo>
                    <a:pt x="346" y="2330"/>
                  </a:lnTo>
                  <a:lnTo>
                    <a:pt x="346" y="2330"/>
                  </a:lnTo>
                  <a:lnTo>
                    <a:pt x="346" y="2330"/>
                  </a:lnTo>
                  <a:lnTo>
                    <a:pt x="346" y="2330"/>
                  </a:lnTo>
                  <a:lnTo>
                    <a:pt x="346" y="2327"/>
                  </a:lnTo>
                  <a:lnTo>
                    <a:pt x="346" y="2327"/>
                  </a:lnTo>
                  <a:lnTo>
                    <a:pt x="346" y="2327"/>
                  </a:lnTo>
                  <a:lnTo>
                    <a:pt x="343" y="2327"/>
                  </a:lnTo>
                  <a:lnTo>
                    <a:pt x="341" y="2325"/>
                  </a:lnTo>
                  <a:lnTo>
                    <a:pt x="341" y="2325"/>
                  </a:lnTo>
                  <a:lnTo>
                    <a:pt x="341" y="2325"/>
                  </a:lnTo>
                  <a:lnTo>
                    <a:pt x="341" y="2325"/>
                  </a:lnTo>
                  <a:lnTo>
                    <a:pt x="339" y="2325"/>
                  </a:lnTo>
                  <a:lnTo>
                    <a:pt x="339" y="2325"/>
                  </a:lnTo>
                  <a:lnTo>
                    <a:pt x="339" y="2325"/>
                  </a:lnTo>
                  <a:lnTo>
                    <a:pt x="339" y="2325"/>
                  </a:lnTo>
                  <a:lnTo>
                    <a:pt x="341" y="2325"/>
                  </a:lnTo>
                  <a:lnTo>
                    <a:pt x="341" y="2325"/>
                  </a:lnTo>
                  <a:lnTo>
                    <a:pt x="341" y="2323"/>
                  </a:lnTo>
                  <a:lnTo>
                    <a:pt x="339" y="2323"/>
                  </a:lnTo>
                  <a:lnTo>
                    <a:pt x="339" y="2323"/>
                  </a:lnTo>
                  <a:lnTo>
                    <a:pt x="339" y="2323"/>
                  </a:lnTo>
                  <a:lnTo>
                    <a:pt x="339" y="2323"/>
                  </a:lnTo>
                  <a:lnTo>
                    <a:pt x="334" y="2320"/>
                  </a:lnTo>
                  <a:lnTo>
                    <a:pt x="334" y="2320"/>
                  </a:lnTo>
                  <a:lnTo>
                    <a:pt x="334" y="2318"/>
                  </a:lnTo>
                  <a:lnTo>
                    <a:pt x="334" y="2318"/>
                  </a:lnTo>
                  <a:lnTo>
                    <a:pt x="334" y="2318"/>
                  </a:lnTo>
                  <a:lnTo>
                    <a:pt x="331" y="2318"/>
                  </a:lnTo>
                  <a:lnTo>
                    <a:pt x="327" y="2315"/>
                  </a:lnTo>
                  <a:lnTo>
                    <a:pt x="327" y="2315"/>
                  </a:lnTo>
                  <a:lnTo>
                    <a:pt x="324" y="2313"/>
                  </a:lnTo>
                  <a:lnTo>
                    <a:pt x="324" y="2313"/>
                  </a:lnTo>
                  <a:lnTo>
                    <a:pt x="324" y="2311"/>
                  </a:lnTo>
                  <a:lnTo>
                    <a:pt x="324" y="2311"/>
                  </a:lnTo>
                  <a:lnTo>
                    <a:pt x="324" y="2311"/>
                  </a:lnTo>
                  <a:lnTo>
                    <a:pt x="322" y="2311"/>
                  </a:lnTo>
                  <a:lnTo>
                    <a:pt x="322" y="2311"/>
                  </a:lnTo>
                  <a:lnTo>
                    <a:pt x="320" y="2308"/>
                  </a:lnTo>
                  <a:lnTo>
                    <a:pt x="320" y="2308"/>
                  </a:lnTo>
                  <a:lnTo>
                    <a:pt x="320" y="2308"/>
                  </a:lnTo>
                  <a:lnTo>
                    <a:pt x="320" y="2306"/>
                  </a:lnTo>
                  <a:lnTo>
                    <a:pt x="320" y="2306"/>
                  </a:lnTo>
                  <a:lnTo>
                    <a:pt x="320" y="2306"/>
                  </a:lnTo>
                  <a:lnTo>
                    <a:pt x="320" y="2306"/>
                  </a:lnTo>
                  <a:lnTo>
                    <a:pt x="317" y="2299"/>
                  </a:lnTo>
                  <a:lnTo>
                    <a:pt x="317" y="2299"/>
                  </a:lnTo>
                  <a:lnTo>
                    <a:pt x="317" y="2299"/>
                  </a:lnTo>
                  <a:lnTo>
                    <a:pt x="317" y="2299"/>
                  </a:lnTo>
                  <a:lnTo>
                    <a:pt x="317" y="2297"/>
                  </a:lnTo>
                  <a:lnTo>
                    <a:pt x="317" y="2297"/>
                  </a:lnTo>
                  <a:lnTo>
                    <a:pt x="317" y="2297"/>
                  </a:lnTo>
                  <a:lnTo>
                    <a:pt x="317" y="2297"/>
                  </a:lnTo>
                  <a:lnTo>
                    <a:pt x="317" y="2297"/>
                  </a:lnTo>
                  <a:lnTo>
                    <a:pt x="320" y="2297"/>
                  </a:lnTo>
                  <a:lnTo>
                    <a:pt x="320" y="2297"/>
                  </a:lnTo>
                  <a:lnTo>
                    <a:pt x="320" y="2297"/>
                  </a:lnTo>
                  <a:lnTo>
                    <a:pt x="320" y="2297"/>
                  </a:lnTo>
                  <a:lnTo>
                    <a:pt x="320" y="2294"/>
                  </a:lnTo>
                  <a:lnTo>
                    <a:pt x="312" y="2282"/>
                  </a:lnTo>
                  <a:lnTo>
                    <a:pt x="312" y="2282"/>
                  </a:lnTo>
                  <a:lnTo>
                    <a:pt x="312" y="2280"/>
                  </a:lnTo>
                  <a:lnTo>
                    <a:pt x="312" y="2278"/>
                  </a:lnTo>
                  <a:lnTo>
                    <a:pt x="312" y="2278"/>
                  </a:lnTo>
                  <a:lnTo>
                    <a:pt x="312" y="2278"/>
                  </a:lnTo>
                  <a:lnTo>
                    <a:pt x="312" y="2278"/>
                  </a:lnTo>
                  <a:lnTo>
                    <a:pt x="310" y="2275"/>
                  </a:lnTo>
                  <a:lnTo>
                    <a:pt x="312" y="2275"/>
                  </a:lnTo>
                  <a:lnTo>
                    <a:pt x="310" y="2273"/>
                  </a:lnTo>
                  <a:lnTo>
                    <a:pt x="310" y="2271"/>
                  </a:lnTo>
                  <a:lnTo>
                    <a:pt x="310" y="2271"/>
                  </a:lnTo>
                  <a:lnTo>
                    <a:pt x="310" y="2271"/>
                  </a:lnTo>
                  <a:lnTo>
                    <a:pt x="308" y="2271"/>
                  </a:lnTo>
                  <a:lnTo>
                    <a:pt x="310" y="2268"/>
                  </a:lnTo>
                  <a:lnTo>
                    <a:pt x="308" y="2266"/>
                  </a:lnTo>
                  <a:lnTo>
                    <a:pt x="308" y="2263"/>
                  </a:lnTo>
                  <a:lnTo>
                    <a:pt x="308" y="2261"/>
                  </a:lnTo>
                  <a:lnTo>
                    <a:pt x="308" y="2261"/>
                  </a:lnTo>
                  <a:lnTo>
                    <a:pt x="308" y="2261"/>
                  </a:lnTo>
                  <a:lnTo>
                    <a:pt x="308" y="2259"/>
                  </a:lnTo>
                  <a:lnTo>
                    <a:pt x="308" y="2259"/>
                  </a:lnTo>
                  <a:lnTo>
                    <a:pt x="308" y="2259"/>
                  </a:lnTo>
                  <a:lnTo>
                    <a:pt x="305" y="2256"/>
                  </a:lnTo>
                  <a:lnTo>
                    <a:pt x="305" y="2256"/>
                  </a:lnTo>
                  <a:lnTo>
                    <a:pt x="303" y="2256"/>
                  </a:lnTo>
                  <a:lnTo>
                    <a:pt x="298" y="2254"/>
                  </a:lnTo>
                  <a:lnTo>
                    <a:pt x="298" y="2254"/>
                  </a:lnTo>
                  <a:lnTo>
                    <a:pt x="298" y="2254"/>
                  </a:lnTo>
                  <a:lnTo>
                    <a:pt x="296" y="2252"/>
                  </a:lnTo>
                  <a:lnTo>
                    <a:pt x="294" y="2252"/>
                  </a:lnTo>
                  <a:lnTo>
                    <a:pt x="291" y="2252"/>
                  </a:lnTo>
                  <a:lnTo>
                    <a:pt x="291" y="2249"/>
                  </a:lnTo>
                  <a:lnTo>
                    <a:pt x="286" y="2247"/>
                  </a:lnTo>
                  <a:lnTo>
                    <a:pt x="284" y="2245"/>
                  </a:lnTo>
                  <a:lnTo>
                    <a:pt x="282" y="2245"/>
                  </a:lnTo>
                  <a:lnTo>
                    <a:pt x="282" y="2245"/>
                  </a:lnTo>
                  <a:lnTo>
                    <a:pt x="279" y="2245"/>
                  </a:lnTo>
                  <a:lnTo>
                    <a:pt x="279" y="2242"/>
                  </a:lnTo>
                  <a:lnTo>
                    <a:pt x="277" y="2242"/>
                  </a:lnTo>
                  <a:lnTo>
                    <a:pt x="275" y="2242"/>
                  </a:lnTo>
                  <a:lnTo>
                    <a:pt x="275" y="2242"/>
                  </a:lnTo>
                  <a:lnTo>
                    <a:pt x="275" y="2242"/>
                  </a:lnTo>
                  <a:lnTo>
                    <a:pt x="275" y="2242"/>
                  </a:lnTo>
                  <a:lnTo>
                    <a:pt x="275" y="2242"/>
                  </a:lnTo>
                  <a:lnTo>
                    <a:pt x="275" y="2242"/>
                  </a:lnTo>
                  <a:lnTo>
                    <a:pt x="272" y="2240"/>
                  </a:lnTo>
                  <a:lnTo>
                    <a:pt x="272" y="2240"/>
                  </a:lnTo>
                  <a:lnTo>
                    <a:pt x="272" y="2242"/>
                  </a:lnTo>
                  <a:lnTo>
                    <a:pt x="272" y="2242"/>
                  </a:lnTo>
                  <a:lnTo>
                    <a:pt x="272" y="2242"/>
                  </a:lnTo>
                  <a:lnTo>
                    <a:pt x="270" y="2240"/>
                  </a:lnTo>
                  <a:lnTo>
                    <a:pt x="270" y="2240"/>
                  </a:lnTo>
                  <a:lnTo>
                    <a:pt x="270" y="2240"/>
                  </a:lnTo>
                  <a:lnTo>
                    <a:pt x="268" y="2237"/>
                  </a:lnTo>
                  <a:lnTo>
                    <a:pt x="265" y="2237"/>
                  </a:lnTo>
                  <a:lnTo>
                    <a:pt x="265" y="2235"/>
                  </a:lnTo>
                  <a:lnTo>
                    <a:pt x="265" y="2235"/>
                  </a:lnTo>
                  <a:lnTo>
                    <a:pt x="265" y="2237"/>
                  </a:lnTo>
                  <a:lnTo>
                    <a:pt x="265" y="2237"/>
                  </a:lnTo>
                  <a:lnTo>
                    <a:pt x="263" y="2237"/>
                  </a:lnTo>
                  <a:lnTo>
                    <a:pt x="263" y="2237"/>
                  </a:lnTo>
                  <a:lnTo>
                    <a:pt x="263" y="2237"/>
                  </a:lnTo>
                  <a:lnTo>
                    <a:pt x="263" y="2235"/>
                  </a:lnTo>
                  <a:lnTo>
                    <a:pt x="265" y="2235"/>
                  </a:lnTo>
                  <a:lnTo>
                    <a:pt x="265" y="2235"/>
                  </a:lnTo>
                  <a:lnTo>
                    <a:pt x="263" y="2235"/>
                  </a:lnTo>
                  <a:lnTo>
                    <a:pt x="260" y="2235"/>
                  </a:lnTo>
                  <a:lnTo>
                    <a:pt x="260" y="2233"/>
                  </a:lnTo>
                  <a:lnTo>
                    <a:pt x="260" y="2233"/>
                  </a:lnTo>
                  <a:lnTo>
                    <a:pt x="260" y="2233"/>
                  </a:lnTo>
                  <a:lnTo>
                    <a:pt x="260" y="2233"/>
                  </a:lnTo>
                  <a:lnTo>
                    <a:pt x="260" y="2233"/>
                  </a:lnTo>
                  <a:lnTo>
                    <a:pt x="260" y="2233"/>
                  </a:lnTo>
                  <a:lnTo>
                    <a:pt x="260" y="2233"/>
                  </a:lnTo>
                  <a:lnTo>
                    <a:pt x="260" y="2233"/>
                  </a:lnTo>
                  <a:lnTo>
                    <a:pt x="260" y="2233"/>
                  </a:lnTo>
                  <a:lnTo>
                    <a:pt x="260" y="2233"/>
                  </a:lnTo>
                  <a:lnTo>
                    <a:pt x="258" y="2233"/>
                  </a:lnTo>
                  <a:lnTo>
                    <a:pt x="258" y="2233"/>
                  </a:lnTo>
                  <a:lnTo>
                    <a:pt x="258" y="2233"/>
                  </a:lnTo>
                  <a:lnTo>
                    <a:pt x="258" y="2233"/>
                  </a:lnTo>
                  <a:lnTo>
                    <a:pt x="256" y="2230"/>
                  </a:lnTo>
                  <a:lnTo>
                    <a:pt x="256" y="2230"/>
                  </a:lnTo>
                  <a:lnTo>
                    <a:pt x="256" y="2230"/>
                  </a:lnTo>
                  <a:lnTo>
                    <a:pt x="256" y="2230"/>
                  </a:lnTo>
                  <a:lnTo>
                    <a:pt x="256" y="2230"/>
                  </a:lnTo>
                  <a:lnTo>
                    <a:pt x="256" y="2230"/>
                  </a:lnTo>
                  <a:lnTo>
                    <a:pt x="253" y="2230"/>
                  </a:lnTo>
                  <a:lnTo>
                    <a:pt x="253" y="2230"/>
                  </a:lnTo>
                  <a:lnTo>
                    <a:pt x="253" y="2228"/>
                  </a:lnTo>
                  <a:lnTo>
                    <a:pt x="253" y="2228"/>
                  </a:lnTo>
                  <a:lnTo>
                    <a:pt x="253" y="2228"/>
                  </a:lnTo>
                  <a:lnTo>
                    <a:pt x="251" y="2228"/>
                  </a:lnTo>
                  <a:lnTo>
                    <a:pt x="249" y="2226"/>
                  </a:lnTo>
                  <a:lnTo>
                    <a:pt x="249" y="2223"/>
                  </a:lnTo>
                  <a:lnTo>
                    <a:pt x="249" y="2223"/>
                  </a:lnTo>
                  <a:lnTo>
                    <a:pt x="249" y="2221"/>
                  </a:lnTo>
                  <a:lnTo>
                    <a:pt x="249" y="2221"/>
                  </a:lnTo>
                  <a:lnTo>
                    <a:pt x="249" y="2221"/>
                  </a:lnTo>
                  <a:lnTo>
                    <a:pt x="246" y="2221"/>
                  </a:lnTo>
                  <a:lnTo>
                    <a:pt x="246" y="2223"/>
                  </a:lnTo>
                  <a:lnTo>
                    <a:pt x="246" y="2223"/>
                  </a:lnTo>
                  <a:lnTo>
                    <a:pt x="246" y="2223"/>
                  </a:lnTo>
                  <a:lnTo>
                    <a:pt x="246" y="2221"/>
                  </a:lnTo>
                  <a:lnTo>
                    <a:pt x="246" y="2221"/>
                  </a:lnTo>
                  <a:lnTo>
                    <a:pt x="246" y="2221"/>
                  </a:lnTo>
                  <a:lnTo>
                    <a:pt x="246" y="2221"/>
                  </a:lnTo>
                  <a:lnTo>
                    <a:pt x="246" y="2221"/>
                  </a:lnTo>
                  <a:lnTo>
                    <a:pt x="246" y="2221"/>
                  </a:lnTo>
                  <a:lnTo>
                    <a:pt x="246" y="2219"/>
                  </a:lnTo>
                  <a:lnTo>
                    <a:pt x="246" y="2219"/>
                  </a:lnTo>
                  <a:lnTo>
                    <a:pt x="244" y="2219"/>
                  </a:lnTo>
                  <a:lnTo>
                    <a:pt x="244" y="2219"/>
                  </a:lnTo>
                  <a:lnTo>
                    <a:pt x="244" y="2216"/>
                  </a:lnTo>
                  <a:lnTo>
                    <a:pt x="234" y="2211"/>
                  </a:lnTo>
                  <a:lnTo>
                    <a:pt x="232" y="2209"/>
                  </a:lnTo>
                  <a:lnTo>
                    <a:pt x="230" y="2209"/>
                  </a:lnTo>
                  <a:lnTo>
                    <a:pt x="227" y="2209"/>
                  </a:lnTo>
                  <a:lnTo>
                    <a:pt x="227" y="2209"/>
                  </a:lnTo>
                  <a:lnTo>
                    <a:pt x="227" y="2209"/>
                  </a:lnTo>
                  <a:lnTo>
                    <a:pt x="225" y="2209"/>
                  </a:lnTo>
                  <a:lnTo>
                    <a:pt x="223" y="2209"/>
                  </a:lnTo>
                  <a:lnTo>
                    <a:pt x="223" y="2209"/>
                  </a:lnTo>
                  <a:lnTo>
                    <a:pt x="220" y="2209"/>
                  </a:lnTo>
                  <a:lnTo>
                    <a:pt x="220" y="2211"/>
                  </a:lnTo>
                  <a:lnTo>
                    <a:pt x="218" y="2209"/>
                  </a:lnTo>
                  <a:lnTo>
                    <a:pt x="218" y="2209"/>
                  </a:lnTo>
                  <a:lnTo>
                    <a:pt x="218" y="2211"/>
                  </a:lnTo>
                  <a:lnTo>
                    <a:pt x="218" y="2211"/>
                  </a:lnTo>
                  <a:lnTo>
                    <a:pt x="215" y="2211"/>
                  </a:lnTo>
                  <a:lnTo>
                    <a:pt x="215" y="2211"/>
                  </a:lnTo>
                  <a:lnTo>
                    <a:pt x="215" y="2211"/>
                  </a:lnTo>
                  <a:lnTo>
                    <a:pt x="215" y="2211"/>
                  </a:lnTo>
                  <a:lnTo>
                    <a:pt x="215" y="2211"/>
                  </a:lnTo>
                  <a:lnTo>
                    <a:pt x="215" y="2214"/>
                  </a:lnTo>
                  <a:lnTo>
                    <a:pt x="215" y="2216"/>
                  </a:lnTo>
                  <a:lnTo>
                    <a:pt x="215" y="2216"/>
                  </a:lnTo>
                  <a:lnTo>
                    <a:pt x="215" y="2216"/>
                  </a:lnTo>
                  <a:lnTo>
                    <a:pt x="215" y="2216"/>
                  </a:lnTo>
                  <a:lnTo>
                    <a:pt x="215" y="2216"/>
                  </a:lnTo>
                  <a:lnTo>
                    <a:pt x="215" y="2216"/>
                  </a:lnTo>
                  <a:lnTo>
                    <a:pt x="218" y="2216"/>
                  </a:lnTo>
                  <a:lnTo>
                    <a:pt x="218" y="2216"/>
                  </a:lnTo>
                  <a:lnTo>
                    <a:pt x="218" y="2219"/>
                  </a:lnTo>
                  <a:lnTo>
                    <a:pt x="218" y="2219"/>
                  </a:lnTo>
                  <a:lnTo>
                    <a:pt x="218" y="2219"/>
                  </a:lnTo>
                  <a:lnTo>
                    <a:pt x="215" y="2219"/>
                  </a:lnTo>
                  <a:lnTo>
                    <a:pt x="215" y="2219"/>
                  </a:lnTo>
                  <a:lnTo>
                    <a:pt x="215" y="2219"/>
                  </a:lnTo>
                  <a:lnTo>
                    <a:pt x="215" y="2219"/>
                  </a:lnTo>
                  <a:lnTo>
                    <a:pt x="215" y="2221"/>
                  </a:lnTo>
                  <a:lnTo>
                    <a:pt x="215" y="2221"/>
                  </a:lnTo>
                  <a:lnTo>
                    <a:pt x="218" y="2221"/>
                  </a:lnTo>
                  <a:lnTo>
                    <a:pt x="218" y="2221"/>
                  </a:lnTo>
                  <a:lnTo>
                    <a:pt x="218" y="2223"/>
                  </a:lnTo>
                  <a:lnTo>
                    <a:pt x="218" y="2223"/>
                  </a:lnTo>
                  <a:lnTo>
                    <a:pt x="218" y="2226"/>
                  </a:lnTo>
                  <a:lnTo>
                    <a:pt x="218" y="2226"/>
                  </a:lnTo>
                  <a:lnTo>
                    <a:pt x="218" y="2226"/>
                  </a:lnTo>
                  <a:lnTo>
                    <a:pt x="218" y="2226"/>
                  </a:lnTo>
                  <a:lnTo>
                    <a:pt x="218" y="2226"/>
                  </a:lnTo>
                  <a:lnTo>
                    <a:pt x="220" y="2226"/>
                  </a:lnTo>
                  <a:lnTo>
                    <a:pt x="220" y="2226"/>
                  </a:lnTo>
                  <a:lnTo>
                    <a:pt x="220" y="2228"/>
                  </a:lnTo>
                  <a:lnTo>
                    <a:pt x="220" y="2228"/>
                  </a:lnTo>
                  <a:lnTo>
                    <a:pt x="220" y="2228"/>
                  </a:lnTo>
                  <a:lnTo>
                    <a:pt x="220" y="2228"/>
                  </a:lnTo>
                  <a:lnTo>
                    <a:pt x="223" y="2228"/>
                  </a:lnTo>
                  <a:lnTo>
                    <a:pt x="223" y="2230"/>
                  </a:lnTo>
                  <a:lnTo>
                    <a:pt x="223" y="2230"/>
                  </a:lnTo>
                  <a:lnTo>
                    <a:pt x="223" y="2230"/>
                  </a:lnTo>
                  <a:lnTo>
                    <a:pt x="223" y="2230"/>
                  </a:lnTo>
                  <a:lnTo>
                    <a:pt x="223" y="2230"/>
                  </a:lnTo>
                  <a:lnTo>
                    <a:pt x="223" y="2230"/>
                  </a:lnTo>
                  <a:lnTo>
                    <a:pt x="223" y="2230"/>
                  </a:lnTo>
                  <a:lnTo>
                    <a:pt x="223" y="2230"/>
                  </a:lnTo>
                  <a:lnTo>
                    <a:pt x="223" y="2230"/>
                  </a:lnTo>
                  <a:lnTo>
                    <a:pt x="223" y="2230"/>
                  </a:lnTo>
                  <a:lnTo>
                    <a:pt x="223" y="2228"/>
                  </a:lnTo>
                  <a:lnTo>
                    <a:pt x="225" y="2228"/>
                  </a:lnTo>
                  <a:lnTo>
                    <a:pt x="225" y="2230"/>
                  </a:lnTo>
                  <a:lnTo>
                    <a:pt x="225" y="2230"/>
                  </a:lnTo>
                  <a:lnTo>
                    <a:pt x="227" y="2230"/>
                  </a:lnTo>
                  <a:lnTo>
                    <a:pt x="227" y="2230"/>
                  </a:lnTo>
                  <a:lnTo>
                    <a:pt x="230" y="2230"/>
                  </a:lnTo>
                  <a:lnTo>
                    <a:pt x="230" y="2230"/>
                  </a:lnTo>
                  <a:lnTo>
                    <a:pt x="230" y="2230"/>
                  </a:lnTo>
                  <a:lnTo>
                    <a:pt x="237" y="2230"/>
                  </a:lnTo>
                  <a:lnTo>
                    <a:pt x="239" y="2230"/>
                  </a:lnTo>
                  <a:lnTo>
                    <a:pt x="239" y="2230"/>
                  </a:lnTo>
                  <a:lnTo>
                    <a:pt x="239" y="2230"/>
                  </a:lnTo>
                  <a:lnTo>
                    <a:pt x="239" y="2228"/>
                  </a:lnTo>
                  <a:lnTo>
                    <a:pt x="239" y="2228"/>
                  </a:lnTo>
                  <a:lnTo>
                    <a:pt x="237" y="2228"/>
                  </a:lnTo>
                  <a:lnTo>
                    <a:pt x="232" y="2226"/>
                  </a:lnTo>
                  <a:lnTo>
                    <a:pt x="232" y="2226"/>
                  </a:lnTo>
                  <a:lnTo>
                    <a:pt x="232" y="2226"/>
                  </a:lnTo>
                  <a:lnTo>
                    <a:pt x="232" y="2223"/>
                  </a:lnTo>
                  <a:lnTo>
                    <a:pt x="232" y="2223"/>
                  </a:lnTo>
                  <a:lnTo>
                    <a:pt x="232" y="2226"/>
                  </a:lnTo>
                  <a:lnTo>
                    <a:pt x="239" y="2226"/>
                  </a:lnTo>
                  <a:lnTo>
                    <a:pt x="239" y="2228"/>
                  </a:lnTo>
                  <a:lnTo>
                    <a:pt x="239" y="2228"/>
                  </a:lnTo>
                  <a:lnTo>
                    <a:pt x="242" y="2228"/>
                  </a:lnTo>
                  <a:lnTo>
                    <a:pt x="242" y="2228"/>
                  </a:lnTo>
                  <a:lnTo>
                    <a:pt x="242" y="2228"/>
                  </a:lnTo>
                  <a:lnTo>
                    <a:pt x="242" y="2228"/>
                  </a:lnTo>
                  <a:lnTo>
                    <a:pt x="242" y="2228"/>
                  </a:lnTo>
                  <a:lnTo>
                    <a:pt x="242" y="2228"/>
                  </a:lnTo>
                  <a:lnTo>
                    <a:pt x="246" y="2228"/>
                  </a:lnTo>
                  <a:lnTo>
                    <a:pt x="246" y="2230"/>
                  </a:lnTo>
                  <a:lnTo>
                    <a:pt x="244" y="2230"/>
                  </a:lnTo>
                  <a:lnTo>
                    <a:pt x="242" y="2230"/>
                  </a:lnTo>
                  <a:lnTo>
                    <a:pt x="242" y="2230"/>
                  </a:lnTo>
                  <a:lnTo>
                    <a:pt x="239" y="2230"/>
                  </a:lnTo>
                  <a:lnTo>
                    <a:pt x="239" y="2233"/>
                  </a:lnTo>
                  <a:lnTo>
                    <a:pt x="242" y="2235"/>
                  </a:lnTo>
                  <a:lnTo>
                    <a:pt x="242" y="2237"/>
                  </a:lnTo>
                  <a:lnTo>
                    <a:pt x="242" y="2240"/>
                  </a:lnTo>
                  <a:lnTo>
                    <a:pt x="242" y="2240"/>
                  </a:lnTo>
                  <a:lnTo>
                    <a:pt x="242" y="2237"/>
                  </a:lnTo>
                  <a:lnTo>
                    <a:pt x="239" y="2235"/>
                  </a:lnTo>
                  <a:lnTo>
                    <a:pt x="239" y="2233"/>
                  </a:lnTo>
                  <a:lnTo>
                    <a:pt x="239" y="2233"/>
                  </a:lnTo>
                  <a:lnTo>
                    <a:pt x="234" y="2233"/>
                  </a:lnTo>
                  <a:lnTo>
                    <a:pt x="232" y="2233"/>
                  </a:lnTo>
                  <a:lnTo>
                    <a:pt x="232" y="2233"/>
                  </a:lnTo>
                  <a:lnTo>
                    <a:pt x="230" y="2233"/>
                  </a:lnTo>
                  <a:lnTo>
                    <a:pt x="230" y="2230"/>
                  </a:lnTo>
                  <a:lnTo>
                    <a:pt x="230" y="2233"/>
                  </a:lnTo>
                  <a:lnTo>
                    <a:pt x="230" y="2233"/>
                  </a:lnTo>
                  <a:lnTo>
                    <a:pt x="227" y="2230"/>
                  </a:lnTo>
                  <a:lnTo>
                    <a:pt x="227" y="2230"/>
                  </a:lnTo>
                  <a:lnTo>
                    <a:pt x="227" y="2233"/>
                  </a:lnTo>
                  <a:lnTo>
                    <a:pt x="227" y="2233"/>
                  </a:lnTo>
                  <a:lnTo>
                    <a:pt x="227" y="2233"/>
                  </a:lnTo>
                  <a:lnTo>
                    <a:pt x="227" y="2233"/>
                  </a:lnTo>
                  <a:lnTo>
                    <a:pt x="225" y="2233"/>
                  </a:lnTo>
                  <a:lnTo>
                    <a:pt x="225" y="2235"/>
                  </a:lnTo>
                  <a:lnTo>
                    <a:pt x="225" y="2235"/>
                  </a:lnTo>
                  <a:lnTo>
                    <a:pt x="225" y="2237"/>
                  </a:lnTo>
                  <a:lnTo>
                    <a:pt x="225" y="2237"/>
                  </a:lnTo>
                  <a:lnTo>
                    <a:pt x="225" y="2237"/>
                  </a:lnTo>
                  <a:lnTo>
                    <a:pt x="225" y="2240"/>
                  </a:lnTo>
                  <a:lnTo>
                    <a:pt x="225" y="2240"/>
                  </a:lnTo>
                  <a:lnTo>
                    <a:pt x="227" y="2237"/>
                  </a:lnTo>
                  <a:lnTo>
                    <a:pt x="227" y="2237"/>
                  </a:lnTo>
                  <a:lnTo>
                    <a:pt x="227" y="2237"/>
                  </a:lnTo>
                  <a:lnTo>
                    <a:pt x="227" y="2240"/>
                  </a:lnTo>
                  <a:lnTo>
                    <a:pt x="227" y="2240"/>
                  </a:lnTo>
                  <a:lnTo>
                    <a:pt x="230" y="2240"/>
                  </a:lnTo>
                  <a:lnTo>
                    <a:pt x="230" y="2240"/>
                  </a:lnTo>
                  <a:lnTo>
                    <a:pt x="230" y="2240"/>
                  </a:lnTo>
                  <a:lnTo>
                    <a:pt x="230" y="2240"/>
                  </a:lnTo>
                  <a:lnTo>
                    <a:pt x="230" y="2242"/>
                  </a:lnTo>
                  <a:lnTo>
                    <a:pt x="227" y="2242"/>
                  </a:lnTo>
                  <a:lnTo>
                    <a:pt x="227" y="2242"/>
                  </a:lnTo>
                  <a:lnTo>
                    <a:pt x="227" y="2242"/>
                  </a:lnTo>
                  <a:lnTo>
                    <a:pt x="227" y="2242"/>
                  </a:lnTo>
                  <a:lnTo>
                    <a:pt x="227" y="2242"/>
                  </a:lnTo>
                  <a:lnTo>
                    <a:pt x="227" y="2245"/>
                  </a:lnTo>
                  <a:lnTo>
                    <a:pt x="230" y="2245"/>
                  </a:lnTo>
                  <a:lnTo>
                    <a:pt x="230" y="2245"/>
                  </a:lnTo>
                  <a:lnTo>
                    <a:pt x="230" y="2245"/>
                  </a:lnTo>
                  <a:lnTo>
                    <a:pt x="230" y="2245"/>
                  </a:lnTo>
                  <a:lnTo>
                    <a:pt x="230" y="2245"/>
                  </a:lnTo>
                  <a:lnTo>
                    <a:pt x="230" y="2245"/>
                  </a:lnTo>
                  <a:lnTo>
                    <a:pt x="230" y="2245"/>
                  </a:lnTo>
                  <a:lnTo>
                    <a:pt x="227" y="2247"/>
                  </a:lnTo>
                  <a:lnTo>
                    <a:pt x="225" y="2249"/>
                  </a:lnTo>
                  <a:lnTo>
                    <a:pt x="223" y="2249"/>
                  </a:lnTo>
                  <a:lnTo>
                    <a:pt x="223" y="2249"/>
                  </a:lnTo>
                  <a:lnTo>
                    <a:pt x="225" y="2249"/>
                  </a:lnTo>
                  <a:lnTo>
                    <a:pt x="225" y="2252"/>
                  </a:lnTo>
                  <a:lnTo>
                    <a:pt x="225" y="2252"/>
                  </a:lnTo>
                  <a:lnTo>
                    <a:pt x="227" y="2252"/>
                  </a:lnTo>
                  <a:lnTo>
                    <a:pt x="227" y="2252"/>
                  </a:lnTo>
                  <a:lnTo>
                    <a:pt x="227" y="2252"/>
                  </a:lnTo>
                  <a:lnTo>
                    <a:pt x="227" y="2252"/>
                  </a:lnTo>
                  <a:lnTo>
                    <a:pt x="230" y="2249"/>
                  </a:lnTo>
                  <a:lnTo>
                    <a:pt x="232" y="2249"/>
                  </a:lnTo>
                  <a:lnTo>
                    <a:pt x="232" y="2249"/>
                  </a:lnTo>
                  <a:lnTo>
                    <a:pt x="234" y="2249"/>
                  </a:lnTo>
                  <a:lnTo>
                    <a:pt x="234" y="2249"/>
                  </a:lnTo>
                  <a:lnTo>
                    <a:pt x="232" y="2249"/>
                  </a:lnTo>
                  <a:lnTo>
                    <a:pt x="232" y="2249"/>
                  </a:lnTo>
                  <a:lnTo>
                    <a:pt x="232" y="2252"/>
                  </a:lnTo>
                  <a:lnTo>
                    <a:pt x="232" y="2252"/>
                  </a:lnTo>
                  <a:lnTo>
                    <a:pt x="234" y="2252"/>
                  </a:lnTo>
                  <a:lnTo>
                    <a:pt x="234" y="2252"/>
                  </a:lnTo>
                  <a:lnTo>
                    <a:pt x="237" y="2252"/>
                  </a:lnTo>
                  <a:lnTo>
                    <a:pt x="237" y="2249"/>
                  </a:lnTo>
                  <a:lnTo>
                    <a:pt x="239" y="2249"/>
                  </a:lnTo>
                  <a:lnTo>
                    <a:pt x="239" y="2249"/>
                  </a:lnTo>
                  <a:lnTo>
                    <a:pt x="239" y="2252"/>
                  </a:lnTo>
                  <a:lnTo>
                    <a:pt x="237" y="2252"/>
                  </a:lnTo>
                  <a:lnTo>
                    <a:pt x="237" y="2252"/>
                  </a:lnTo>
                  <a:lnTo>
                    <a:pt x="239" y="2254"/>
                  </a:lnTo>
                  <a:lnTo>
                    <a:pt x="239" y="2254"/>
                  </a:lnTo>
                  <a:lnTo>
                    <a:pt x="237" y="2254"/>
                  </a:lnTo>
                  <a:lnTo>
                    <a:pt x="237" y="2254"/>
                  </a:lnTo>
                  <a:lnTo>
                    <a:pt x="237" y="2256"/>
                  </a:lnTo>
                  <a:lnTo>
                    <a:pt x="239" y="2256"/>
                  </a:lnTo>
                  <a:lnTo>
                    <a:pt x="239" y="2259"/>
                  </a:lnTo>
                  <a:lnTo>
                    <a:pt x="239" y="2259"/>
                  </a:lnTo>
                  <a:lnTo>
                    <a:pt x="239" y="2259"/>
                  </a:lnTo>
                  <a:lnTo>
                    <a:pt x="242" y="2259"/>
                  </a:lnTo>
                  <a:lnTo>
                    <a:pt x="242" y="2259"/>
                  </a:lnTo>
                  <a:lnTo>
                    <a:pt x="244" y="2259"/>
                  </a:lnTo>
                  <a:lnTo>
                    <a:pt x="244" y="2259"/>
                  </a:lnTo>
                  <a:lnTo>
                    <a:pt x="244" y="2256"/>
                  </a:lnTo>
                  <a:lnTo>
                    <a:pt x="244" y="2256"/>
                  </a:lnTo>
                  <a:lnTo>
                    <a:pt x="244" y="2256"/>
                  </a:lnTo>
                  <a:lnTo>
                    <a:pt x="244" y="2254"/>
                  </a:lnTo>
                  <a:lnTo>
                    <a:pt x="244" y="2254"/>
                  </a:lnTo>
                  <a:lnTo>
                    <a:pt x="244" y="2254"/>
                  </a:lnTo>
                  <a:lnTo>
                    <a:pt x="244" y="2254"/>
                  </a:lnTo>
                  <a:lnTo>
                    <a:pt x="246" y="2254"/>
                  </a:lnTo>
                  <a:lnTo>
                    <a:pt x="246" y="2256"/>
                  </a:lnTo>
                  <a:lnTo>
                    <a:pt x="246" y="2256"/>
                  </a:lnTo>
                  <a:lnTo>
                    <a:pt x="246" y="2256"/>
                  </a:lnTo>
                  <a:lnTo>
                    <a:pt x="246" y="2256"/>
                  </a:lnTo>
                  <a:lnTo>
                    <a:pt x="249" y="2256"/>
                  </a:lnTo>
                  <a:lnTo>
                    <a:pt x="249" y="2256"/>
                  </a:lnTo>
                  <a:lnTo>
                    <a:pt x="249" y="2256"/>
                  </a:lnTo>
                  <a:lnTo>
                    <a:pt x="249" y="2256"/>
                  </a:lnTo>
                  <a:lnTo>
                    <a:pt x="251" y="2256"/>
                  </a:lnTo>
                  <a:lnTo>
                    <a:pt x="251" y="2256"/>
                  </a:lnTo>
                  <a:lnTo>
                    <a:pt x="251" y="2254"/>
                  </a:lnTo>
                  <a:lnTo>
                    <a:pt x="251" y="2254"/>
                  </a:lnTo>
                  <a:lnTo>
                    <a:pt x="251" y="2256"/>
                  </a:lnTo>
                  <a:lnTo>
                    <a:pt x="251" y="2256"/>
                  </a:lnTo>
                  <a:lnTo>
                    <a:pt x="249" y="2256"/>
                  </a:lnTo>
                  <a:lnTo>
                    <a:pt x="249" y="2259"/>
                  </a:lnTo>
                  <a:lnTo>
                    <a:pt x="249" y="2259"/>
                  </a:lnTo>
                  <a:lnTo>
                    <a:pt x="246" y="2259"/>
                  </a:lnTo>
                  <a:lnTo>
                    <a:pt x="246" y="2261"/>
                  </a:lnTo>
                  <a:lnTo>
                    <a:pt x="246" y="2261"/>
                  </a:lnTo>
                  <a:lnTo>
                    <a:pt x="246" y="2261"/>
                  </a:lnTo>
                  <a:lnTo>
                    <a:pt x="246" y="2261"/>
                  </a:lnTo>
                  <a:lnTo>
                    <a:pt x="246" y="2261"/>
                  </a:lnTo>
                  <a:lnTo>
                    <a:pt x="246" y="2261"/>
                  </a:lnTo>
                  <a:lnTo>
                    <a:pt x="246" y="2261"/>
                  </a:lnTo>
                  <a:lnTo>
                    <a:pt x="246" y="2261"/>
                  </a:lnTo>
                  <a:lnTo>
                    <a:pt x="244" y="2263"/>
                  </a:lnTo>
                  <a:lnTo>
                    <a:pt x="244" y="2263"/>
                  </a:lnTo>
                  <a:lnTo>
                    <a:pt x="244" y="2263"/>
                  </a:lnTo>
                  <a:lnTo>
                    <a:pt x="246" y="2268"/>
                  </a:lnTo>
                  <a:lnTo>
                    <a:pt x="246" y="2271"/>
                  </a:lnTo>
                  <a:lnTo>
                    <a:pt x="246" y="2271"/>
                  </a:lnTo>
                  <a:lnTo>
                    <a:pt x="249" y="2271"/>
                  </a:lnTo>
                  <a:lnTo>
                    <a:pt x="251" y="2271"/>
                  </a:lnTo>
                  <a:lnTo>
                    <a:pt x="253" y="2271"/>
                  </a:lnTo>
                  <a:lnTo>
                    <a:pt x="253" y="2271"/>
                  </a:lnTo>
                  <a:lnTo>
                    <a:pt x="253" y="2268"/>
                  </a:lnTo>
                  <a:lnTo>
                    <a:pt x="253" y="2266"/>
                  </a:lnTo>
                  <a:lnTo>
                    <a:pt x="253" y="2266"/>
                  </a:lnTo>
                  <a:lnTo>
                    <a:pt x="253" y="2266"/>
                  </a:lnTo>
                  <a:lnTo>
                    <a:pt x="253" y="2266"/>
                  </a:lnTo>
                  <a:lnTo>
                    <a:pt x="253" y="2266"/>
                  </a:lnTo>
                  <a:lnTo>
                    <a:pt x="253" y="2271"/>
                  </a:lnTo>
                  <a:lnTo>
                    <a:pt x="253" y="2271"/>
                  </a:lnTo>
                  <a:lnTo>
                    <a:pt x="256" y="2271"/>
                  </a:lnTo>
                  <a:lnTo>
                    <a:pt x="256" y="2271"/>
                  </a:lnTo>
                  <a:lnTo>
                    <a:pt x="256" y="2271"/>
                  </a:lnTo>
                  <a:lnTo>
                    <a:pt x="256" y="2271"/>
                  </a:lnTo>
                  <a:lnTo>
                    <a:pt x="258" y="2271"/>
                  </a:lnTo>
                  <a:lnTo>
                    <a:pt x="258" y="2268"/>
                  </a:lnTo>
                  <a:lnTo>
                    <a:pt x="258" y="2268"/>
                  </a:lnTo>
                  <a:lnTo>
                    <a:pt x="256" y="2266"/>
                  </a:lnTo>
                  <a:lnTo>
                    <a:pt x="258" y="2266"/>
                  </a:lnTo>
                  <a:lnTo>
                    <a:pt x="258" y="2268"/>
                  </a:lnTo>
                  <a:lnTo>
                    <a:pt x="258" y="2268"/>
                  </a:lnTo>
                  <a:lnTo>
                    <a:pt x="258" y="2271"/>
                  </a:lnTo>
                  <a:lnTo>
                    <a:pt x="258" y="2271"/>
                  </a:lnTo>
                  <a:lnTo>
                    <a:pt x="260" y="2273"/>
                  </a:lnTo>
                  <a:lnTo>
                    <a:pt x="260" y="2273"/>
                  </a:lnTo>
                  <a:lnTo>
                    <a:pt x="260" y="2273"/>
                  </a:lnTo>
                  <a:lnTo>
                    <a:pt x="263" y="2271"/>
                  </a:lnTo>
                  <a:lnTo>
                    <a:pt x="263" y="2271"/>
                  </a:lnTo>
                  <a:lnTo>
                    <a:pt x="263" y="2273"/>
                  </a:lnTo>
                  <a:lnTo>
                    <a:pt x="263" y="2275"/>
                  </a:lnTo>
                  <a:lnTo>
                    <a:pt x="263" y="2275"/>
                  </a:lnTo>
                  <a:lnTo>
                    <a:pt x="263" y="2280"/>
                  </a:lnTo>
                  <a:lnTo>
                    <a:pt x="263" y="2282"/>
                  </a:lnTo>
                  <a:lnTo>
                    <a:pt x="263" y="2282"/>
                  </a:lnTo>
                  <a:lnTo>
                    <a:pt x="263" y="2282"/>
                  </a:lnTo>
                  <a:lnTo>
                    <a:pt x="265" y="2282"/>
                  </a:lnTo>
                  <a:lnTo>
                    <a:pt x="265" y="2282"/>
                  </a:lnTo>
                  <a:lnTo>
                    <a:pt x="265" y="2282"/>
                  </a:lnTo>
                  <a:lnTo>
                    <a:pt x="268" y="2280"/>
                  </a:lnTo>
                  <a:lnTo>
                    <a:pt x="268" y="2280"/>
                  </a:lnTo>
                  <a:lnTo>
                    <a:pt x="268" y="2278"/>
                  </a:lnTo>
                  <a:lnTo>
                    <a:pt x="268" y="2280"/>
                  </a:lnTo>
                  <a:lnTo>
                    <a:pt x="268" y="2280"/>
                  </a:lnTo>
                  <a:lnTo>
                    <a:pt x="270" y="2280"/>
                  </a:lnTo>
                  <a:lnTo>
                    <a:pt x="270" y="2280"/>
                  </a:lnTo>
                  <a:lnTo>
                    <a:pt x="265" y="2282"/>
                  </a:lnTo>
                  <a:lnTo>
                    <a:pt x="265" y="2282"/>
                  </a:lnTo>
                  <a:lnTo>
                    <a:pt x="265" y="2285"/>
                  </a:lnTo>
                  <a:lnTo>
                    <a:pt x="265" y="2285"/>
                  </a:lnTo>
                  <a:lnTo>
                    <a:pt x="270" y="2287"/>
                  </a:lnTo>
                  <a:lnTo>
                    <a:pt x="270" y="2287"/>
                  </a:lnTo>
                  <a:lnTo>
                    <a:pt x="272" y="2287"/>
                  </a:lnTo>
                  <a:lnTo>
                    <a:pt x="275" y="2287"/>
                  </a:lnTo>
                  <a:lnTo>
                    <a:pt x="277" y="2287"/>
                  </a:lnTo>
                  <a:lnTo>
                    <a:pt x="277" y="2287"/>
                  </a:lnTo>
                  <a:lnTo>
                    <a:pt x="279" y="2287"/>
                  </a:lnTo>
                  <a:lnTo>
                    <a:pt x="279" y="2287"/>
                  </a:lnTo>
                  <a:lnTo>
                    <a:pt x="279" y="2289"/>
                  </a:lnTo>
                  <a:lnTo>
                    <a:pt x="277" y="2289"/>
                  </a:lnTo>
                  <a:lnTo>
                    <a:pt x="277" y="2289"/>
                  </a:lnTo>
                  <a:lnTo>
                    <a:pt x="275" y="2287"/>
                  </a:lnTo>
                  <a:lnTo>
                    <a:pt x="275" y="2287"/>
                  </a:lnTo>
                  <a:lnTo>
                    <a:pt x="275" y="2287"/>
                  </a:lnTo>
                  <a:lnTo>
                    <a:pt x="275" y="2289"/>
                  </a:lnTo>
                  <a:lnTo>
                    <a:pt x="270" y="2287"/>
                  </a:lnTo>
                  <a:lnTo>
                    <a:pt x="268" y="2287"/>
                  </a:lnTo>
                  <a:lnTo>
                    <a:pt x="265" y="2287"/>
                  </a:lnTo>
                  <a:lnTo>
                    <a:pt x="263" y="2287"/>
                  </a:lnTo>
                  <a:lnTo>
                    <a:pt x="263" y="2287"/>
                  </a:lnTo>
                  <a:lnTo>
                    <a:pt x="263" y="2287"/>
                  </a:lnTo>
                  <a:lnTo>
                    <a:pt x="260" y="2289"/>
                  </a:lnTo>
                  <a:lnTo>
                    <a:pt x="260" y="2289"/>
                  </a:lnTo>
                  <a:lnTo>
                    <a:pt x="260" y="2289"/>
                  </a:lnTo>
                  <a:lnTo>
                    <a:pt x="260" y="2289"/>
                  </a:lnTo>
                  <a:lnTo>
                    <a:pt x="260" y="2289"/>
                  </a:lnTo>
                  <a:lnTo>
                    <a:pt x="260" y="2289"/>
                  </a:lnTo>
                  <a:lnTo>
                    <a:pt x="260" y="2289"/>
                  </a:lnTo>
                  <a:lnTo>
                    <a:pt x="260" y="2292"/>
                  </a:lnTo>
                  <a:lnTo>
                    <a:pt x="260" y="2292"/>
                  </a:lnTo>
                  <a:lnTo>
                    <a:pt x="260" y="2292"/>
                  </a:lnTo>
                  <a:lnTo>
                    <a:pt x="260" y="2292"/>
                  </a:lnTo>
                  <a:lnTo>
                    <a:pt x="260" y="2292"/>
                  </a:lnTo>
                  <a:lnTo>
                    <a:pt x="260" y="2292"/>
                  </a:lnTo>
                  <a:lnTo>
                    <a:pt x="260" y="2292"/>
                  </a:lnTo>
                  <a:lnTo>
                    <a:pt x="260" y="2294"/>
                  </a:lnTo>
                  <a:lnTo>
                    <a:pt x="260" y="2294"/>
                  </a:lnTo>
                  <a:lnTo>
                    <a:pt x="260" y="2294"/>
                  </a:lnTo>
                  <a:lnTo>
                    <a:pt x="260" y="2294"/>
                  </a:lnTo>
                  <a:lnTo>
                    <a:pt x="260" y="2297"/>
                  </a:lnTo>
                  <a:lnTo>
                    <a:pt x="258" y="2297"/>
                  </a:lnTo>
                  <a:lnTo>
                    <a:pt x="258" y="2297"/>
                  </a:lnTo>
                  <a:lnTo>
                    <a:pt x="260" y="2299"/>
                  </a:lnTo>
                  <a:lnTo>
                    <a:pt x="260" y="2299"/>
                  </a:lnTo>
                  <a:lnTo>
                    <a:pt x="260" y="2299"/>
                  </a:lnTo>
                  <a:lnTo>
                    <a:pt x="260" y="2299"/>
                  </a:lnTo>
                  <a:lnTo>
                    <a:pt x="260" y="2299"/>
                  </a:lnTo>
                  <a:lnTo>
                    <a:pt x="263" y="2299"/>
                  </a:lnTo>
                  <a:lnTo>
                    <a:pt x="263" y="2299"/>
                  </a:lnTo>
                  <a:lnTo>
                    <a:pt x="263" y="2299"/>
                  </a:lnTo>
                  <a:lnTo>
                    <a:pt x="263" y="2297"/>
                  </a:lnTo>
                  <a:lnTo>
                    <a:pt x="263" y="2297"/>
                  </a:lnTo>
                  <a:lnTo>
                    <a:pt x="263" y="2297"/>
                  </a:lnTo>
                  <a:lnTo>
                    <a:pt x="263" y="2297"/>
                  </a:lnTo>
                  <a:lnTo>
                    <a:pt x="265" y="2297"/>
                  </a:lnTo>
                  <a:lnTo>
                    <a:pt x="265" y="2297"/>
                  </a:lnTo>
                  <a:lnTo>
                    <a:pt x="265" y="2297"/>
                  </a:lnTo>
                  <a:lnTo>
                    <a:pt x="265" y="2299"/>
                  </a:lnTo>
                  <a:lnTo>
                    <a:pt x="265" y="2299"/>
                  </a:lnTo>
                  <a:lnTo>
                    <a:pt x="265" y="2299"/>
                  </a:lnTo>
                  <a:lnTo>
                    <a:pt x="265" y="2299"/>
                  </a:lnTo>
                  <a:lnTo>
                    <a:pt x="265" y="2299"/>
                  </a:lnTo>
                  <a:lnTo>
                    <a:pt x="265" y="2301"/>
                  </a:lnTo>
                  <a:lnTo>
                    <a:pt x="268" y="2301"/>
                  </a:lnTo>
                  <a:lnTo>
                    <a:pt x="268" y="2301"/>
                  </a:lnTo>
                  <a:lnTo>
                    <a:pt x="268" y="2301"/>
                  </a:lnTo>
                  <a:lnTo>
                    <a:pt x="268" y="2301"/>
                  </a:lnTo>
                  <a:lnTo>
                    <a:pt x="268" y="2301"/>
                  </a:lnTo>
                  <a:lnTo>
                    <a:pt x="268" y="2301"/>
                  </a:lnTo>
                  <a:lnTo>
                    <a:pt x="268" y="2301"/>
                  </a:lnTo>
                  <a:lnTo>
                    <a:pt x="268" y="2301"/>
                  </a:lnTo>
                  <a:lnTo>
                    <a:pt x="270" y="2301"/>
                  </a:lnTo>
                  <a:lnTo>
                    <a:pt x="270" y="2299"/>
                  </a:lnTo>
                  <a:lnTo>
                    <a:pt x="270" y="2299"/>
                  </a:lnTo>
                  <a:lnTo>
                    <a:pt x="270" y="2299"/>
                  </a:lnTo>
                  <a:lnTo>
                    <a:pt x="270" y="2299"/>
                  </a:lnTo>
                  <a:lnTo>
                    <a:pt x="270" y="2299"/>
                  </a:lnTo>
                  <a:lnTo>
                    <a:pt x="270" y="2299"/>
                  </a:lnTo>
                  <a:lnTo>
                    <a:pt x="270" y="2299"/>
                  </a:lnTo>
                  <a:lnTo>
                    <a:pt x="270" y="2301"/>
                  </a:lnTo>
                  <a:lnTo>
                    <a:pt x="270" y="2301"/>
                  </a:lnTo>
                  <a:lnTo>
                    <a:pt x="272" y="2301"/>
                  </a:lnTo>
                  <a:lnTo>
                    <a:pt x="272" y="2301"/>
                  </a:lnTo>
                  <a:lnTo>
                    <a:pt x="272" y="2301"/>
                  </a:lnTo>
                  <a:lnTo>
                    <a:pt x="272" y="2301"/>
                  </a:lnTo>
                  <a:lnTo>
                    <a:pt x="272" y="2301"/>
                  </a:lnTo>
                  <a:lnTo>
                    <a:pt x="272" y="2301"/>
                  </a:lnTo>
                  <a:lnTo>
                    <a:pt x="275" y="2301"/>
                  </a:lnTo>
                  <a:lnTo>
                    <a:pt x="275" y="2301"/>
                  </a:lnTo>
                  <a:lnTo>
                    <a:pt x="277" y="2299"/>
                  </a:lnTo>
                  <a:lnTo>
                    <a:pt x="277" y="2299"/>
                  </a:lnTo>
                  <a:lnTo>
                    <a:pt x="277" y="2301"/>
                  </a:lnTo>
                  <a:lnTo>
                    <a:pt x="277" y="2301"/>
                  </a:lnTo>
                  <a:lnTo>
                    <a:pt x="277" y="2301"/>
                  </a:lnTo>
                  <a:lnTo>
                    <a:pt x="275" y="2304"/>
                  </a:lnTo>
                  <a:lnTo>
                    <a:pt x="275" y="2304"/>
                  </a:lnTo>
                  <a:lnTo>
                    <a:pt x="275" y="2306"/>
                  </a:lnTo>
                  <a:lnTo>
                    <a:pt x="277" y="2306"/>
                  </a:lnTo>
                  <a:lnTo>
                    <a:pt x="277" y="2306"/>
                  </a:lnTo>
                  <a:lnTo>
                    <a:pt x="277" y="2306"/>
                  </a:lnTo>
                  <a:lnTo>
                    <a:pt x="277" y="2306"/>
                  </a:lnTo>
                  <a:lnTo>
                    <a:pt x="277" y="2306"/>
                  </a:lnTo>
                  <a:lnTo>
                    <a:pt x="279" y="2306"/>
                  </a:lnTo>
                  <a:lnTo>
                    <a:pt x="279" y="2304"/>
                  </a:lnTo>
                  <a:lnTo>
                    <a:pt x="279" y="2304"/>
                  </a:lnTo>
                  <a:lnTo>
                    <a:pt x="282" y="2304"/>
                  </a:lnTo>
                  <a:lnTo>
                    <a:pt x="282" y="2301"/>
                  </a:lnTo>
                  <a:lnTo>
                    <a:pt x="282" y="2304"/>
                  </a:lnTo>
                  <a:lnTo>
                    <a:pt x="282" y="2304"/>
                  </a:lnTo>
                  <a:lnTo>
                    <a:pt x="279" y="2306"/>
                  </a:lnTo>
                  <a:lnTo>
                    <a:pt x="279" y="2308"/>
                  </a:lnTo>
                  <a:lnTo>
                    <a:pt x="277" y="2308"/>
                  </a:lnTo>
                  <a:lnTo>
                    <a:pt x="277" y="2308"/>
                  </a:lnTo>
                  <a:lnTo>
                    <a:pt x="275" y="2308"/>
                  </a:lnTo>
                  <a:lnTo>
                    <a:pt x="277" y="2311"/>
                  </a:lnTo>
                  <a:lnTo>
                    <a:pt x="277" y="2311"/>
                  </a:lnTo>
                  <a:lnTo>
                    <a:pt x="277" y="2311"/>
                  </a:lnTo>
                  <a:lnTo>
                    <a:pt x="277" y="2311"/>
                  </a:lnTo>
                  <a:lnTo>
                    <a:pt x="279" y="2311"/>
                  </a:lnTo>
                  <a:lnTo>
                    <a:pt x="279" y="2311"/>
                  </a:lnTo>
                  <a:lnTo>
                    <a:pt x="282" y="2311"/>
                  </a:lnTo>
                  <a:lnTo>
                    <a:pt x="282" y="2311"/>
                  </a:lnTo>
                  <a:lnTo>
                    <a:pt x="282" y="2311"/>
                  </a:lnTo>
                  <a:lnTo>
                    <a:pt x="282" y="2311"/>
                  </a:lnTo>
                  <a:lnTo>
                    <a:pt x="282" y="2311"/>
                  </a:lnTo>
                  <a:lnTo>
                    <a:pt x="282" y="2311"/>
                  </a:lnTo>
                  <a:lnTo>
                    <a:pt x="282" y="2311"/>
                  </a:lnTo>
                  <a:lnTo>
                    <a:pt x="284" y="2308"/>
                  </a:lnTo>
                  <a:lnTo>
                    <a:pt x="284" y="2308"/>
                  </a:lnTo>
                  <a:lnTo>
                    <a:pt x="284" y="2306"/>
                  </a:lnTo>
                  <a:lnTo>
                    <a:pt x="284" y="2306"/>
                  </a:lnTo>
                  <a:lnTo>
                    <a:pt x="286" y="2306"/>
                  </a:lnTo>
                  <a:lnTo>
                    <a:pt x="284" y="2306"/>
                  </a:lnTo>
                  <a:lnTo>
                    <a:pt x="284" y="2308"/>
                  </a:lnTo>
                  <a:lnTo>
                    <a:pt x="284" y="2308"/>
                  </a:lnTo>
                  <a:lnTo>
                    <a:pt x="284" y="2308"/>
                  </a:lnTo>
                  <a:lnTo>
                    <a:pt x="284" y="2311"/>
                  </a:lnTo>
                  <a:lnTo>
                    <a:pt x="284" y="2311"/>
                  </a:lnTo>
                  <a:lnTo>
                    <a:pt x="284" y="2313"/>
                  </a:lnTo>
                  <a:lnTo>
                    <a:pt x="284" y="2313"/>
                  </a:lnTo>
                  <a:lnTo>
                    <a:pt x="284" y="2313"/>
                  </a:lnTo>
                  <a:lnTo>
                    <a:pt x="284" y="2313"/>
                  </a:lnTo>
                  <a:lnTo>
                    <a:pt x="284" y="2313"/>
                  </a:lnTo>
                  <a:lnTo>
                    <a:pt x="286" y="2311"/>
                  </a:lnTo>
                  <a:lnTo>
                    <a:pt x="284" y="2313"/>
                  </a:lnTo>
                  <a:lnTo>
                    <a:pt x="284" y="2313"/>
                  </a:lnTo>
                  <a:lnTo>
                    <a:pt x="284" y="2318"/>
                  </a:lnTo>
                  <a:lnTo>
                    <a:pt x="284" y="2318"/>
                  </a:lnTo>
                  <a:lnTo>
                    <a:pt x="284" y="2318"/>
                  </a:lnTo>
                  <a:lnTo>
                    <a:pt x="286" y="2318"/>
                  </a:lnTo>
                  <a:lnTo>
                    <a:pt x="289" y="2315"/>
                  </a:lnTo>
                  <a:lnTo>
                    <a:pt x="289" y="2315"/>
                  </a:lnTo>
                  <a:lnTo>
                    <a:pt x="289" y="2315"/>
                  </a:lnTo>
                  <a:lnTo>
                    <a:pt x="289" y="2318"/>
                  </a:lnTo>
                  <a:lnTo>
                    <a:pt x="289" y="2318"/>
                  </a:lnTo>
                  <a:lnTo>
                    <a:pt x="286" y="2318"/>
                  </a:lnTo>
                  <a:lnTo>
                    <a:pt x="286" y="2318"/>
                  </a:lnTo>
                  <a:lnTo>
                    <a:pt x="286" y="2320"/>
                  </a:lnTo>
                  <a:lnTo>
                    <a:pt x="284" y="2320"/>
                  </a:lnTo>
                  <a:lnTo>
                    <a:pt x="284" y="2320"/>
                  </a:lnTo>
                  <a:lnTo>
                    <a:pt x="284" y="2320"/>
                  </a:lnTo>
                  <a:lnTo>
                    <a:pt x="282" y="2320"/>
                  </a:lnTo>
                  <a:lnTo>
                    <a:pt x="282" y="2320"/>
                  </a:lnTo>
                  <a:lnTo>
                    <a:pt x="282" y="2320"/>
                  </a:lnTo>
                  <a:lnTo>
                    <a:pt x="282" y="2318"/>
                  </a:lnTo>
                  <a:lnTo>
                    <a:pt x="279" y="2320"/>
                  </a:lnTo>
                  <a:lnTo>
                    <a:pt x="279" y="2320"/>
                  </a:lnTo>
                  <a:lnTo>
                    <a:pt x="279" y="2320"/>
                  </a:lnTo>
                  <a:lnTo>
                    <a:pt x="279" y="2320"/>
                  </a:lnTo>
                  <a:lnTo>
                    <a:pt x="279" y="2320"/>
                  </a:lnTo>
                  <a:lnTo>
                    <a:pt x="279" y="2320"/>
                  </a:lnTo>
                  <a:lnTo>
                    <a:pt x="279" y="2323"/>
                  </a:lnTo>
                  <a:lnTo>
                    <a:pt x="282" y="2323"/>
                  </a:lnTo>
                  <a:lnTo>
                    <a:pt x="284" y="2325"/>
                  </a:lnTo>
                  <a:lnTo>
                    <a:pt x="284" y="2325"/>
                  </a:lnTo>
                  <a:lnTo>
                    <a:pt x="284" y="2325"/>
                  </a:lnTo>
                  <a:lnTo>
                    <a:pt x="286" y="2327"/>
                  </a:lnTo>
                  <a:lnTo>
                    <a:pt x="286" y="2327"/>
                  </a:lnTo>
                  <a:lnTo>
                    <a:pt x="286" y="2327"/>
                  </a:lnTo>
                  <a:lnTo>
                    <a:pt x="286" y="2327"/>
                  </a:lnTo>
                  <a:lnTo>
                    <a:pt x="286" y="2330"/>
                  </a:lnTo>
                  <a:lnTo>
                    <a:pt x="286" y="2330"/>
                  </a:lnTo>
                  <a:lnTo>
                    <a:pt x="286" y="2330"/>
                  </a:lnTo>
                  <a:lnTo>
                    <a:pt x="289" y="2330"/>
                  </a:lnTo>
                  <a:lnTo>
                    <a:pt x="289" y="2332"/>
                  </a:lnTo>
                  <a:lnTo>
                    <a:pt x="289" y="2332"/>
                  </a:lnTo>
                  <a:lnTo>
                    <a:pt x="289" y="2332"/>
                  </a:lnTo>
                  <a:lnTo>
                    <a:pt x="289" y="2332"/>
                  </a:lnTo>
                  <a:lnTo>
                    <a:pt x="289" y="2332"/>
                  </a:lnTo>
                  <a:lnTo>
                    <a:pt x="291" y="2332"/>
                  </a:lnTo>
                  <a:lnTo>
                    <a:pt x="291" y="2332"/>
                  </a:lnTo>
                  <a:lnTo>
                    <a:pt x="291" y="2332"/>
                  </a:lnTo>
                  <a:lnTo>
                    <a:pt x="291" y="2332"/>
                  </a:lnTo>
                  <a:lnTo>
                    <a:pt x="291" y="2332"/>
                  </a:lnTo>
                  <a:lnTo>
                    <a:pt x="291" y="2332"/>
                  </a:lnTo>
                  <a:lnTo>
                    <a:pt x="294" y="2330"/>
                  </a:lnTo>
                  <a:lnTo>
                    <a:pt x="294" y="2330"/>
                  </a:lnTo>
                  <a:lnTo>
                    <a:pt x="296" y="2330"/>
                  </a:lnTo>
                  <a:lnTo>
                    <a:pt x="296" y="2327"/>
                  </a:lnTo>
                  <a:lnTo>
                    <a:pt x="296" y="2327"/>
                  </a:lnTo>
                  <a:lnTo>
                    <a:pt x="296" y="2327"/>
                  </a:lnTo>
                  <a:lnTo>
                    <a:pt x="296" y="2327"/>
                  </a:lnTo>
                  <a:lnTo>
                    <a:pt x="296" y="2327"/>
                  </a:lnTo>
                  <a:lnTo>
                    <a:pt x="298" y="2327"/>
                  </a:lnTo>
                  <a:lnTo>
                    <a:pt x="298" y="2327"/>
                  </a:lnTo>
                  <a:lnTo>
                    <a:pt x="298" y="2327"/>
                  </a:lnTo>
                  <a:lnTo>
                    <a:pt x="298" y="2330"/>
                  </a:lnTo>
                  <a:lnTo>
                    <a:pt x="298" y="2330"/>
                  </a:lnTo>
                  <a:lnTo>
                    <a:pt x="296" y="2330"/>
                  </a:lnTo>
                  <a:lnTo>
                    <a:pt x="296" y="2330"/>
                  </a:lnTo>
                  <a:lnTo>
                    <a:pt x="296" y="2332"/>
                  </a:lnTo>
                  <a:lnTo>
                    <a:pt x="298" y="2332"/>
                  </a:lnTo>
                  <a:lnTo>
                    <a:pt x="298" y="2332"/>
                  </a:lnTo>
                  <a:lnTo>
                    <a:pt x="298" y="2332"/>
                  </a:lnTo>
                  <a:lnTo>
                    <a:pt x="301" y="2332"/>
                  </a:lnTo>
                  <a:lnTo>
                    <a:pt x="301" y="2330"/>
                  </a:lnTo>
                  <a:lnTo>
                    <a:pt x="303" y="2330"/>
                  </a:lnTo>
                  <a:lnTo>
                    <a:pt x="303" y="2332"/>
                  </a:lnTo>
                  <a:lnTo>
                    <a:pt x="303" y="2332"/>
                  </a:lnTo>
                  <a:lnTo>
                    <a:pt x="303" y="2332"/>
                  </a:lnTo>
                  <a:lnTo>
                    <a:pt x="305" y="2332"/>
                  </a:lnTo>
                  <a:lnTo>
                    <a:pt x="305" y="2332"/>
                  </a:lnTo>
                  <a:lnTo>
                    <a:pt x="305" y="2332"/>
                  </a:lnTo>
                  <a:lnTo>
                    <a:pt x="308" y="2332"/>
                  </a:lnTo>
                  <a:lnTo>
                    <a:pt x="308" y="2332"/>
                  </a:lnTo>
                  <a:lnTo>
                    <a:pt x="310" y="2332"/>
                  </a:lnTo>
                  <a:lnTo>
                    <a:pt x="310" y="2332"/>
                  </a:lnTo>
                  <a:lnTo>
                    <a:pt x="312" y="2332"/>
                  </a:lnTo>
                  <a:lnTo>
                    <a:pt x="312" y="2332"/>
                  </a:lnTo>
                  <a:lnTo>
                    <a:pt x="312" y="2330"/>
                  </a:lnTo>
                  <a:lnTo>
                    <a:pt x="312" y="2327"/>
                  </a:lnTo>
                  <a:lnTo>
                    <a:pt x="315" y="2327"/>
                  </a:lnTo>
                  <a:lnTo>
                    <a:pt x="315" y="2327"/>
                  </a:lnTo>
                  <a:lnTo>
                    <a:pt x="315" y="2325"/>
                  </a:lnTo>
                  <a:lnTo>
                    <a:pt x="315" y="2323"/>
                  </a:lnTo>
                  <a:lnTo>
                    <a:pt x="315" y="2323"/>
                  </a:lnTo>
                  <a:lnTo>
                    <a:pt x="315" y="2320"/>
                  </a:lnTo>
                  <a:lnTo>
                    <a:pt x="317" y="2320"/>
                  </a:lnTo>
                  <a:lnTo>
                    <a:pt x="317" y="2320"/>
                  </a:lnTo>
                  <a:lnTo>
                    <a:pt x="317" y="2320"/>
                  </a:lnTo>
                  <a:lnTo>
                    <a:pt x="317" y="2320"/>
                  </a:lnTo>
                  <a:lnTo>
                    <a:pt x="317" y="2323"/>
                  </a:lnTo>
                  <a:lnTo>
                    <a:pt x="317" y="2325"/>
                  </a:lnTo>
                  <a:lnTo>
                    <a:pt x="317" y="2327"/>
                  </a:lnTo>
                  <a:lnTo>
                    <a:pt x="315" y="2327"/>
                  </a:lnTo>
                  <a:lnTo>
                    <a:pt x="315" y="2327"/>
                  </a:lnTo>
                  <a:lnTo>
                    <a:pt x="315" y="2330"/>
                  </a:lnTo>
                  <a:lnTo>
                    <a:pt x="312" y="2332"/>
                  </a:lnTo>
                  <a:lnTo>
                    <a:pt x="310" y="2332"/>
                  </a:lnTo>
                  <a:lnTo>
                    <a:pt x="310" y="2334"/>
                  </a:lnTo>
                  <a:lnTo>
                    <a:pt x="308" y="2334"/>
                  </a:lnTo>
                  <a:lnTo>
                    <a:pt x="308" y="2334"/>
                  </a:lnTo>
                  <a:lnTo>
                    <a:pt x="305" y="2334"/>
                  </a:lnTo>
                  <a:lnTo>
                    <a:pt x="305" y="2334"/>
                  </a:lnTo>
                  <a:lnTo>
                    <a:pt x="305" y="2337"/>
                  </a:lnTo>
                  <a:lnTo>
                    <a:pt x="305" y="2337"/>
                  </a:lnTo>
                  <a:lnTo>
                    <a:pt x="305" y="2337"/>
                  </a:lnTo>
                  <a:lnTo>
                    <a:pt x="305" y="2337"/>
                  </a:lnTo>
                  <a:lnTo>
                    <a:pt x="305" y="2337"/>
                  </a:lnTo>
                  <a:lnTo>
                    <a:pt x="305" y="2337"/>
                  </a:lnTo>
                  <a:lnTo>
                    <a:pt x="303" y="2337"/>
                  </a:lnTo>
                  <a:lnTo>
                    <a:pt x="303" y="2337"/>
                  </a:lnTo>
                  <a:lnTo>
                    <a:pt x="303" y="2337"/>
                  </a:lnTo>
                  <a:lnTo>
                    <a:pt x="303" y="2337"/>
                  </a:lnTo>
                  <a:lnTo>
                    <a:pt x="303" y="2339"/>
                  </a:lnTo>
                  <a:lnTo>
                    <a:pt x="303" y="2339"/>
                  </a:lnTo>
                  <a:lnTo>
                    <a:pt x="301" y="2339"/>
                  </a:lnTo>
                  <a:lnTo>
                    <a:pt x="298" y="2339"/>
                  </a:lnTo>
                  <a:lnTo>
                    <a:pt x="298" y="2342"/>
                  </a:lnTo>
                  <a:lnTo>
                    <a:pt x="298" y="2342"/>
                  </a:lnTo>
                  <a:lnTo>
                    <a:pt x="301" y="2342"/>
                  </a:lnTo>
                  <a:lnTo>
                    <a:pt x="301" y="2344"/>
                  </a:lnTo>
                  <a:lnTo>
                    <a:pt x="301" y="2344"/>
                  </a:lnTo>
                  <a:lnTo>
                    <a:pt x="310" y="2351"/>
                  </a:lnTo>
                  <a:lnTo>
                    <a:pt x="310" y="2351"/>
                  </a:lnTo>
                  <a:lnTo>
                    <a:pt x="310" y="2353"/>
                  </a:lnTo>
                  <a:lnTo>
                    <a:pt x="312" y="2356"/>
                  </a:lnTo>
                  <a:lnTo>
                    <a:pt x="315" y="2356"/>
                  </a:lnTo>
                  <a:lnTo>
                    <a:pt x="320" y="2358"/>
                  </a:lnTo>
                  <a:lnTo>
                    <a:pt x="320" y="2360"/>
                  </a:lnTo>
                  <a:lnTo>
                    <a:pt x="320" y="2360"/>
                  </a:lnTo>
                  <a:lnTo>
                    <a:pt x="320" y="2358"/>
                  </a:lnTo>
                  <a:lnTo>
                    <a:pt x="322" y="2358"/>
                  </a:lnTo>
                  <a:lnTo>
                    <a:pt x="322" y="2358"/>
                  </a:lnTo>
                  <a:lnTo>
                    <a:pt x="322" y="2358"/>
                  </a:lnTo>
                  <a:lnTo>
                    <a:pt x="322" y="2358"/>
                  </a:lnTo>
                  <a:lnTo>
                    <a:pt x="322" y="2360"/>
                  </a:lnTo>
                  <a:lnTo>
                    <a:pt x="322" y="2360"/>
                  </a:lnTo>
                  <a:lnTo>
                    <a:pt x="322" y="2360"/>
                  </a:lnTo>
                  <a:lnTo>
                    <a:pt x="322" y="2360"/>
                  </a:lnTo>
                  <a:lnTo>
                    <a:pt x="322" y="2360"/>
                  </a:lnTo>
                  <a:lnTo>
                    <a:pt x="322" y="2360"/>
                  </a:lnTo>
                  <a:lnTo>
                    <a:pt x="331" y="2368"/>
                  </a:lnTo>
                  <a:lnTo>
                    <a:pt x="339" y="2372"/>
                  </a:lnTo>
                  <a:lnTo>
                    <a:pt x="341" y="2375"/>
                  </a:lnTo>
                  <a:lnTo>
                    <a:pt x="341" y="2375"/>
                  </a:lnTo>
                  <a:lnTo>
                    <a:pt x="343" y="2375"/>
                  </a:lnTo>
                  <a:lnTo>
                    <a:pt x="343" y="2377"/>
                  </a:lnTo>
                  <a:lnTo>
                    <a:pt x="346" y="2377"/>
                  </a:lnTo>
                  <a:lnTo>
                    <a:pt x="346" y="2377"/>
                  </a:lnTo>
                  <a:lnTo>
                    <a:pt x="346" y="2377"/>
                  </a:lnTo>
                  <a:lnTo>
                    <a:pt x="346" y="2377"/>
                  </a:lnTo>
                  <a:lnTo>
                    <a:pt x="348" y="2377"/>
                  </a:lnTo>
                  <a:lnTo>
                    <a:pt x="348" y="2377"/>
                  </a:lnTo>
                  <a:lnTo>
                    <a:pt x="348" y="2379"/>
                  </a:lnTo>
                  <a:lnTo>
                    <a:pt x="348" y="2379"/>
                  </a:lnTo>
                  <a:lnTo>
                    <a:pt x="350" y="2379"/>
                  </a:lnTo>
                  <a:lnTo>
                    <a:pt x="350" y="2377"/>
                  </a:lnTo>
                  <a:lnTo>
                    <a:pt x="350" y="2377"/>
                  </a:lnTo>
                  <a:lnTo>
                    <a:pt x="350" y="2377"/>
                  </a:lnTo>
                  <a:lnTo>
                    <a:pt x="350" y="2377"/>
                  </a:lnTo>
                  <a:lnTo>
                    <a:pt x="350" y="2377"/>
                  </a:lnTo>
                  <a:lnTo>
                    <a:pt x="350" y="2375"/>
                  </a:lnTo>
                  <a:lnTo>
                    <a:pt x="350" y="2375"/>
                  </a:lnTo>
                  <a:lnTo>
                    <a:pt x="353" y="2375"/>
                  </a:lnTo>
                  <a:lnTo>
                    <a:pt x="353" y="2375"/>
                  </a:lnTo>
                  <a:lnTo>
                    <a:pt x="355" y="2372"/>
                  </a:lnTo>
                  <a:lnTo>
                    <a:pt x="355" y="2372"/>
                  </a:lnTo>
                  <a:lnTo>
                    <a:pt x="357" y="2375"/>
                  </a:lnTo>
                  <a:lnTo>
                    <a:pt x="357" y="2375"/>
                  </a:lnTo>
                  <a:lnTo>
                    <a:pt x="360" y="2375"/>
                  </a:lnTo>
                  <a:lnTo>
                    <a:pt x="360" y="2375"/>
                  </a:lnTo>
                  <a:lnTo>
                    <a:pt x="360" y="2375"/>
                  </a:lnTo>
                  <a:lnTo>
                    <a:pt x="360" y="2372"/>
                  </a:lnTo>
                  <a:lnTo>
                    <a:pt x="360" y="2372"/>
                  </a:lnTo>
                  <a:close/>
                  <a:moveTo>
                    <a:pt x="246" y="2204"/>
                  </a:moveTo>
                  <a:lnTo>
                    <a:pt x="246" y="2204"/>
                  </a:lnTo>
                  <a:lnTo>
                    <a:pt x="246" y="2204"/>
                  </a:lnTo>
                  <a:lnTo>
                    <a:pt x="249" y="2204"/>
                  </a:lnTo>
                  <a:lnTo>
                    <a:pt x="249" y="2204"/>
                  </a:lnTo>
                  <a:lnTo>
                    <a:pt x="249" y="2202"/>
                  </a:lnTo>
                  <a:lnTo>
                    <a:pt x="249" y="2202"/>
                  </a:lnTo>
                  <a:lnTo>
                    <a:pt x="249" y="2202"/>
                  </a:lnTo>
                  <a:lnTo>
                    <a:pt x="246" y="2202"/>
                  </a:lnTo>
                  <a:lnTo>
                    <a:pt x="246" y="2202"/>
                  </a:lnTo>
                  <a:lnTo>
                    <a:pt x="246" y="2202"/>
                  </a:lnTo>
                  <a:lnTo>
                    <a:pt x="246" y="2202"/>
                  </a:lnTo>
                  <a:lnTo>
                    <a:pt x="246" y="2204"/>
                  </a:lnTo>
                  <a:lnTo>
                    <a:pt x="246" y="2204"/>
                  </a:lnTo>
                  <a:close/>
                  <a:moveTo>
                    <a:pt x="329" y="2266"/>
                  </a:moveTo>
                  <a:lnTo>
                    <a:pt x="327" y="2266"/>
                  </a:lnTo>
                  <a:lnTo>
                    <a:pt x="327" y="2263"/>
                  </a:lnTo>
                  <a:lnTo>
                    <a:pt x="324" y="2266"/>
                  </a:lnTo>
                  <a:lnTo>
                    <a:pt x="324" y="2266"/>
                  </a:lnTo>
                  <a:lnTo>
                    <a:pt x="324" y="2266"/>
                  </a:lnTo>
                  <a:lnTo>
                    <a:pt x="324" y="2266"/>
                  </a:lnTo>
                  <a:lnTo>
                    <a:pt x="324" y="2266"/>
                  </a:lnTo>
                  <a:lnTo>
                    <a:pt x="324" y="2268"/>
                  </a:lnTo>
                  <a:lnTo>
                    <a:pt x="324" y="2271"/>
                  </a:lnTo>
                  <a:lnTo>
                    <a:pt x="324" y="2271"/>
                  </a:lnTo>
                  <a:lnTo>
                    <a:pt x="324" y="2271"/>
                  </a:lnTo>
                  <a:lnTo>
                    <a:pt x="327" y="2271"/>
                  </a:lnTo>
                  <a:lnTo>
                    <a:pt x="327" y="2271"/>
                  </a:lnTo>
                  <a:lnTo>
                    <a:pt x="327" y="2271"/>
                  </a:lnTo>
                  <a:lnTo>
                    <a:pt x="327" y="2271"/>
                  </a:lnTo>
                  <a:lnTo>
                    <a:pt x="327" y="2271"/>
                  </a:lnTo>
                  <a:lnTo>
                    <a:pt x="327" y="2273"/>
                  </a:lnTo>
                  <a:lnTo>
                    <a:pt x="327" y="2273"/>
                  </a:lnTo>
                  <a:lnTo>
                    <a:pt x="327" y="2273"/>
                  </a:lnTo>
                  <a:lnTo>
                    <a:pt x="327" y="2275"/>
                  </a:lnTo>
                  <a:lnTo>
                    <a:pt x="327" y="2275"/>
                  </a:lnTo>
                  <a:lnTo>
                    <a:pt x="327" y="2275"/>
                  </a:lnTo>
                  <a:lnTo>
                    <a:pt x="329" y="2273"/>
                  </a:lnTo>
                  <a:lnTo>
                    <a:pt x="329" y="2273"/>
                  </a:lnTo>
                  <a:lnTo>
                    <a:pt x="329" y="2273"/>
                  </a:lnTo>
                  <a:lnTo>
                    <a:pt x="329" y="2271"/>
                  </a:lnTo>
                  <a:lnTo>
                    <a:pt x="329" y="2271"/>
                  </a:lnTo>
                  <a:lnTo>
                    <a:pt x="329" y="2271"/>
                  </a:lnTo>
                  <a:lnTo>
                    <a:pt x="329" y="2268"/>
                  </a:lnTo>
                  <a:lnTo>
                    <a:pt x="329" y="2268"/>
                  </a:lnTo>
                  <a:lnTo>
                    <a:pt x="329" y="2266"/>
                  </a:lnTo>
                  <a:lnTo>
                    <a:pt x="329" y="2266"/>
                  </a:lnTo>
                  <a:lnTo>
                    <a:pt x="329" y="2266"/>
                  </a:lnTo>
                  <a:close/>
                  <a:moveTo>
                    <a:pt x="289" y="2228"/>
                  </a:moveTo>
                  <a:lnTo>
                    <a:pt x="289" y="2228"/>
                  </a:lnTo>
                  <a:lnTo>
                    <a:pt x="286" y="2226"/>
                  </a:lnTo>
                  <a:lnTo>
                    <a:pt x="286" y="2226"/>
                  </a:lnTo>
                  <a:lnTo>
                    <a:pt x="284" y="2226"/>
                  </a:lnTo>
                  <a:lnTo>
                    <a:pt x="284" y="2226"/>
                  </a:lnTo>
                  <a:lnTo>
                    <a:pt x="284" y="2226"/>
                  </a:lnTo>
                  <a:lnTo>
                    <a:pt x="282" y="2226"/>
                  </a:lnTo>
                  <a:lnTo>
                    <a:pt x="282" y="2226"/>
                  </a:lnTo>
                  <a:lnTo>
                    <a:pt x="279" y="2228"/>
                  </a:lnTo>
                  <a:lnTo>
                    <a:pt x="277" y="2228"/>
                  </a:lnTo>
                  <a:lnTo>
                    <a:pt x="277" y="2228"/>
                  </a:lnTo>
                  <a:lnTo>
                    <a:pt x="277" y="2228"/>
                  </a:lnTo>
                  <a:lnTo>
                    <a:pt x="275" y="2230"/>
                  </a:lnTo>
                  <a:lnTo>
                    <a:pt x="275" y="2230"/>
                  </a:lnTo>
                  <a:lnTo>
                    <a:pt x="275" y="2230"/>
                  </a:lnTo>
                  <a:lnTo>
                    <a:pt x="275" y="2230"/>
                  </a:lnTo>
                  <a:lnTo>
                    <a:pt x="275" y="2230"/>
                  </a:lnTo>
                  <a:lnTo>
                    <a:pt x="275" y="2233"/>
                  </a:lnTo>
                  <a:lnTo>
                    <a:pt x="275" y="2233"/>
                  </a:lnTo>
                  <a:lnTo>
                    <a:pt x="277" y="2233"/>
                  </a:lnTo>
                  <a:lnTo>
                    <a:pt x="277" y="2233"/>
                  </a:lnTo>
                  <a:lnTo>
                    <a:pt x="277" y="2233"/>
                  </a:lnTo>
                  <a:lnTo>
                    <a:pt x="277" y="2235"/>
                  </a:lnTo>
                  <a:lnTo>
                    <a:pt x="279" y="2235"/>
                  </a:lnTo>
                  <a:lnTo>
                    <a:pt x="279" y="2235"/>
                  </a:lnTo>
                  <a:lnTo>
                    <a:pt x="279" y="2233"/>
                  </a:lnTo>
                  <a:lnTo>
                    <a:pt x="279" y="2233"/>
                  </a:lnTo>
                  <a:lnTo>
                    <a:pt x="279" y="2233"/>
                  </a:lnTo>
                  <a:lnTo>
                    <a:pt x="282" y="2235"/>
                  </a:lnTo>
                  <a:lnTo>
                    <a:pt x="284" y="2235"/>
                  </a:lnTo>
                  <a:lnTo>
                    <a:pt x="284" y="2235"/>
                  </a:lnTo>
                  <a:lnTo>
                    <a:pt x="286" y="2233"/>
                  </a:lnTo>
                  <a:lnTo>
                    <a:pt x="286" y="2233"/>
                  </a:lnTo>
                  <a:lnTo>
                    <a:pt x="286" y="2233"/>
                  </a:lnTo>
                  <a:lnTo>
                    <a:pt x="289" y="2230"/>
                  </a:lnTo>
                  <a:lnTo>
                    <a:pt x="289" y="2230"/>
                  </a:lnTo>
                  <a:lnTo>
                    <a:pt x="289" y="2230"/>
                  </a:lnTo>
                  <a:lnTo>
                    <a:pt x="289" y="2230"/>
                  </a:lnTo>
                  <a:lnTo>
                    <a:pt x="289" y="2228"/>
                  </a:lnTo>
                  <a:lnTo>
                    <a:pt x="289" y="2228"/>
                  </a:lnTo>
                  <a:lnTo>
                    <a:pt x="289" y="2228"/>
                  </a:lnTo>
                  <a:close/>
                  <a:moveTo>
                    <a:pt x="277" y="2313"/>
                  </a:moveTo>
                  <a:lnTo>
                    <a:pt x="277" y="2313"/>
                  </a:lnTo>
                  <a:lnTo>
                    <a:pt x="277" y="2313"/>
                  </a:lnTo>
                  <a:lnTo>
                    <a:pt x="275" y="2313"/>
                  </a:lnTo>
                  <a:lnTo>
                    <a:pt x="275" y="2313"/>
                  </a:lnTo>
                  <a:lnTo>
                    <a:pt x="275" y="2313"/>
                  </a:lnTo>
                  <a:lnTo>
                    <a:pt x="275" y="2313"/>
                  </a:lnTo>
                  <a:lnTo>
                    <a:pt x="275" y="2313"/>
                  </a:lnTo>
                  <a:lnTo>
                    <a:pt x="275" y="2315"/>
                  </a:lnTo>
                  <a:lnTo>
                    <a:pt x="275" y="2315"/>
                  </a:lnTo>
                  <a:lnTo>
                    <a:pt x="275" y="2315"/>
                  </a:lnTo>
                  <a:lnTo>
                    <a:pt x="277" y="2315"/>
                  </a:lnTo>
                  <a:lnTo>
                    <a:pt x="277" y="2315"/>
                  </a:lnTo>
                  <a:lnTo>
                    <a:pt x="277" y="2315"/>
                  </a:lnTo>
                  <a:lnTo>
                    <a:pt x="277" y="2315"/>
                  </a:lnTo>
                  <a:lnTo>
                    <a:pt x="277" y="2315"/>
                  </a:lnTo>
                  <a:lnTo>
                    <a:pt x="277" y="2315"/>
                  </a:lnTo>
                  <a:lnTo>
                    <a:pt x="277" y="2313"/>
                  </a:lnTo>
                  <a:lnTo>
                    <a:pt x="277" y="2313"/>
                  </a:lnTo>
                  <a:lnTo>
                    <a:pt x="277" y="2313"/>
                  </a:lnTo>
                  <a:close/>
                  <a:moveTo>
                    <a:pt x="270" y="2237"/>
                  </a:moveTo>
                  <a:lnTo>
                    <a:pt x="272" y="2237"/>
                  </a:lnTo>
                  <a:lnTo>
                    <a:pt x="272" y="2237"/>
                  </a:lnTo>
                  <a:lnTo>
                    <a:pt x="275" y="2237"/>
                  </a:lnTo>
                  <a:lnTo>
                    <a:pt x="275" y="2237"/>
                  </a:lnTo>
                  <a:lnTo>
                    <a:pt x="275" y="2237"/>
                  </a:lnTo>
                  <a:lnTo>
                    <a:pt x="275" y="2237"/>
                  </a:lnTo>
                  <a:lnTo>
                    <a:pt x="275" y="2237"/>
                  </a:lnTo>
                  <a:lnTo>
                    <a:pt x="275" y="2237"/>
                  </a:lnTo>
                  <a:lnTo>
                    <a:pt x="275" y="2235"/>
                  </a:lnTo>
                  <a:lnTo>
                    <a:pt x="275" y="2235"/>
                  </a:lnTo>
                  <a:lnTo>
                    <a:pt x="275" y="2235"/>
                  </a:lnTo>
                  <a:lnTo>
                    <a:pt x="272" y="2235"/>
                  </a:lnTo>
                  <a:lnTo>
                    <a:pt x="272" y="2235"/>
                  </a:lnTo>
                  <a:lnTo>
                    <a:pt x="272" y="2235"/>
                  </a:lnTo>
                  <a:lnTo>
                    <a:pt x="270" y="2235"/>
                  </a:lnTo>
                  <a:lnTo>
                    <a:pt x="270" y="2235"/>
                  </a:lnTo>
                  <a:lnTo>
                    <a:pt x="270" y="2235"/>
                  </a:lnTo>
                  <a:lnTo>
                    <a:pt x="272" y="2235"/>
                  </a:lnTo>
                  <a:lnTo>
                    <a:pt x="272" y="2237"/>
                  </a:lnTo>
                  <a:lnTo>
                    <a:pt x="270" y="2237"/>
                  </a:lnTo>
                  <a:lnTo>
                    <a:pt x="270" y="2237"/>
                  </a:lnTo>
                  <a:close/>
                  <a:moveTo>
                    <a:pt x="258" y="2230"/>
                  </a:moveTo>
                  <a:lnTo>
                    <a:pt x="258" y="2230"/>
                  </a:lnTo>
                  <a:lnTo>
                    <a:pt x="260" y="2230"/>
                  </a:lnTo>
                  <a:lnTo>
                    <a:pt x="263" y="2233"/>
                  </a:lnTo>
                  <a:lnTo>
                    <a:pt x="265" y="2233"/>
                  </a:lnTo>
                  <a:lnTo>
                    <a:pt x="265" y="2233"/>
                  </a:lnTo>
                  <a:lnTo>
                    <a:pt x="265" y="2233"/>
                  </a:lnTo>
                  <a:lnTo>
                    <a:pt x="265" y="2233"/>
                  </a:lnTo>
                  <a:lnTo>
                    <a:pt x="265" y="2233"/>
                  </a:lnTo>
                  <a:lnTo>
                    <a:pt x="265" y="2233"/>
                  </a:lnTo>
                  <a:lnTo>
                    <a:pt x="265" y="2233"/>
                  </a:lnTo>
                  <a:lnTo>
                    <a:pt x="265" y="2230"/>
                  </a:lnTo>
                  <a:lnTo>
                    <a:pt x="265" y="2230"/>
                  </a:lnTo>
                  <a:lnTo>
                    <a:pt x="265" y="2230"/>
                  </a:lnTo>
                  <a:lnTo>
                    <a:pt x="263" y="2230"/>
                  </a:lnTo>
                  <a:lnTo>
                    <a:pt x="260" y="2228"/>
                  </a:lnTo>
                  <a:lnTo>
                    <a:pt x="258" y="2228"/>
                  </a:lnTo>
                  <a:lnTo>
                    <a:pt x="258" y="2228"/>
                  </a:lnTo>
                  <a:lnTo>
                    <a:pt x="256" y="2228"/>
                  </a:lnTo>
                  <a:lnTo>
                    <a:pt x="256" y="2228"/>
                  </a:lnTo>
                  <a:lnTo>
                    <a:pt x="256" y="2228"/>
                  </a:lnTo>
                  <a:lnTo>
                    <a:pt x="256" y="2230"/>
                  </a:lnTo>
                  <a:lnTo>
                    <a:pt x="258" y="2230"/>
                  </a:lnTo>
                  <a:close/>
                  <a:moveTo>
                    <a:pt x="329" y="2294"/>
                  </a:moveTo>
                  <a:lnTo>
                    <a:pt x="327" y="2294"/>
                  </a:lnTo>
                  <a:lnTo>
                    <a:pt x="329" y="2297"/>
                  </a:lnTo>
                  <a:lnTo>
                    <a:pt x="329" y="2297"/>
                  </a:lnTo>
                  <a:lnTo>
                    <a:pt x="331" y="2299"/>
                  </a:lnTo>
                  <a:lnTo>
                    <a:pt x="331" y="2299"/>
                  </a:lnTo>
                  <a:lnTo>
                    <a:pt x="331" y="2299"/>
                  </a:lnTo>
                  <a:lnTo>
                    <a:pt x="331" y="2299"/>
                  </a:lnTo>
                  <a:lnTo>
                    <a:pt x="334" y="2301"/>
                  </a:lnTo>
                  <a:lnTo>
                    <a:pt x="334" y="2301"/>
                  </a:lnTo>
                  <a:lnTo>
                    <a:pt x="334" y="2301"/>
                  </a:lnTo>
                  <a:lnTo>
                    <a:pt x="334" y="2301"/>
                  </a:lnTo>
                  <a:lnTo>
                    <a:pt x="334" y="2301"/>
                  </a:lnTo>
                  <a:lnTo>
                    <a:pt x="334" y="2301"/>
                  </a:lnTo>
                  <a:lnTo>
                    <a:pt x="334" y="2304"/>
                  </a:lnTo>
                  <a:lnTo>
                    <a:pt x="334" y="2304"/>
                  </a:lnTo>
                  <a:lnTo>
                    <a:pt x="334" y="2304"/>
                  </a:lnTo>
                  <a:lnTo>
                    <a:pt x="334" y="2304"/>
                  </a:lnTo>
                  <a:lnTo>
                    <a:pt x="336" y="2306"/>
                  </a:lnTo>
                  <a:lnTo>
                    <a:pt x="341" y="2311"/>
                  </a:lnTo>
                  <a:lnTo>
                    <a:pt x="341" y="2313"/>
                  </a:lnTo>
                  <a:lnTo>
                    <a:pt x="343" y="2313"/>
                  </a:lnTo>
                  <a:lnTo>
                    <a:pt x="343" y="2313"/>
                  </a:lnTo>
                  <a:lnTo>
                    <a:pt x="343" y="2311"/>
                  </a:lnTo>
                  <a:lnTo>
                    <a:pt x="343" y="2308"/>
                  </a:lnTo>
                  <a:lnTo>
                    <a:pt x="339" y="2306"/>
                  </a:lnTo>
                  <a:lnTo>
                    <a:pt x="339" y="2304"/>
                  </a:lnTo>
                  <a:lnTo>
                    <a:pt x="339" y="2304"/>
                  </a:lnTo>
                  <a:lnTo>
                    <a:pt x="339" y="2304"/>
                  </a:lnTo>
                  <a:lnTo>
                    <a:pt x="339" y="2301"/>
                  </a:lnTo>
                  <a:lnTo>
                    <a:pt x="339" y="2301"/>
                  </a:lnTo>
                  <a:lnTo>
                    <a:pt x="339" y="2299"/>
                  </a:lnTo>
                  <a:lnTo>
                    <a:pt x="336" y="2299"/>
                  </a:lnTo>
                  <a:lnTo>
                    <a:pt x="334" y="2297"/>
                  </a:lnTo>
                  <a:lnTo>
                    <a:pt x="331" y="2297"/>
                  </a:lnTo>
                  <a:lnTo>
                    <a:pt x="331" y="2297"/>
                  </a:lnTo>
                  <a:lnTo>
                    <a:pt x="331" y="2294"/>
                  </a:lnTo>
                  <a:lnTo>
                    <a:pt x="331" y="2294"/>
                  </a:lnTo>
                  <a:lnTo>
                    <a:pt x="329" y="2294"/>
                  </a:lnTo>
                  <a:lnTo>
                    <a:pt x="329" y="2292"/>
                  </a:lnTo>
                  <a:lnTo>
                    <a:pt x="329" y="2292"/>
                  </a:lnTo>
                  <a:lnTo>
                    <a:pt x="329" y="2292"/>
                  </a:lnTo>
                  <a:lnTo>
                    <a:pt x="329" y="2292"/>
                  </a:lnTo>
                  <a:lnTo>
                    <a:pt x="329" y="2294"/>
                  </a:lnTo>
                  <a:lnTo>
                    <a:pt x="329" y="2294"/>
                  </a:lnTo>
                  <a:lnTo>
                    <a:pt x="329" y="2294"/>
                  </a:lnTo>
                  <a:lnTo>
                    <a:pt x="329" y="2294"/>
                  </a:lnTo>
                  <a:lnTo>
                    <a:pt x="329" y="2294"/>
                  </a:lnTo>
                  <a:lnTo>
                    <a:pt x="329" y="2294"/>
                  </a:lnTo>
                  <a:lnTo>
                    <a:pt x="329" y="2294"/>
                  </a:lnTo>
                  <a:close/>
                  <a:moveTo>
                    <a:pt x="334" y="2311"/>
                  </a:moveTo>
                  <a:lnTo>
                    <a:pt x="336" y="2313"/>
                  </a:lnTo>
                  <a:lnTo>
                    <a:pt x="336" y="2313"/>
                  </a:lnTo>
                  <a:lnTo>
                    <a:pt x="336" y="2313"/>
                  </a:lnTo>
                  <a:lnTo>
                    <a:pt x="339" y="2313"/>
                  </a:lnTo>
                  <a:lnTo>
                    <a:pt x="339" y="2313"/>
                  </a:lnTo>
                  <a:lnTo>
                    <a:pt x="339" y="2313"/>
                  </a:lnTo>
                  <a:lnTo>
                    <a:pt x="339" y="2313"/>
                  </a:lnTo>
                  <a:lnTo>
                    <a:pt x="341" y="2315"/>
                  </a:lnTo>
                  <a:lnTo>
                    <a:pt x="341" y="2315"/>
                  </a:lnTo>
                  <a:lnTo>
                    <a:pt x="341" y="2313"/>
                  </a:lnTo>
                  <a:lnTo>
                    <a:pt x="339" y="2311"/>
                  </a:lnTo>
                  <a:lnTo>
                    <a:pt x="339" y="2311"/>
                  </a:lnTo>
                  <a:lnTo>
                    <a:pt x="339" y="2311"/>
                  </a:lnTo>
                  <a:lnTo>
                    <a:pt x="339" y="2311"/>
                  </a:lnTo>
                  <a:lnTo>
                    <a:pt x="339" y="2311"/>
                  </a:lnTo>
                  <a:lnTo>
                    <a:pt x="336" y="2311"/>
                  </a:lnTo>
                  <a:lnTo>
                    <a:pt x="336" y="2311"/>
                  </a:lnTo>
                  <a:lnTo>
                    <a:pt x="336" y="2308"/>
                  </a:lnTo>
                  <a:lnTo>
                    <a:pt x="336" y="2308"/>
                  </a:lnTo>
                  <a:lnTo>
                    <a:pt x="334" y="2311"/>
                  </a:lnTo>
                  <a:lnTo>
                    <a:pt x="334" y="2311"/>
                  </a:lnTo>
                  <a:lnTo>
                    <a:pt x="334" y="2311"/>
                  </a:lnTo>
                  <a:lnTo>
                    <a:pt x="334" y="2311"/>
                  </a:lnTo>
                  <a:lnTo>
                    <a:pt x="336" y="2311"/>
                  </a:lnTo>
                  <a:lnTo>
                    <a:pt x="336" y="2311"/>
                  </a:lnTo>
                  <a:lnTo>
                    <a:pt x="334" y="2311"/>
                  </a:lnTo>
                  <a:close/>
                  <a:moveTo>
                    <a:pt x="343" y="2304"/>
                  </a:moveTo>
                  <a:lnTo>
                    <a:pt x="346" y="2304"/>
                  </a:lnTo>
                  <a:lnTo>
                    <a:pt x="346" y="2304"/>
                  </a:lnTo>
                  <a:lnTo>
                    <a:pt x="348" y="2301"/>
                  </a:lnTo>
                  <a:lnTo>
                    <a:pt x="348" y="2301"/>
                  </a:lnTo>
                  <a:lnTo>
                    <a:pt x="348" y="2301"/>
                  </a:lnTo>
                  <a:lnTo>
                    <a:pt x="350" y="2299"/>
                  </a:lnTo>
                  <a:lnTo>
                    <a:pt x="350" y="2299"/>
                  </a:lnTo>
                  <a:lnTo>
                    <a:pt x="350" y="2299"/>
                  </a:lnTo>
                  <a:lnTo>
                    <a:pt x="350" y="2299"/>
                  </a:lnTo>
                  <a:lnTo>
                    <a:pt x="350" y="2299"/>
                  </a:lnTo>
                  <a:lnTo>
                    <a:pt x="348" y="2299"/>
                  </a:lnTo>
                  <a:lnTo>
                    <a:pt x="348" y="2299"/>
                  </a:lnTo>
                  <a:lnTo>
                    <a:pt x="348" y="2299"/>
                  </a:lnTo>
                  <a:lnTo>
                    <a:pt x="348" y="2299"/>
                  </a:lnTo>
                  <a:lnTo>
                    <a:pt x="346" y="2299"/>
                  </a:lnTo>
                  <a:lnTo>
                    <a:pt x="346" y="2299"/>
                  </a:lnTo>
                  <a:lnTo>
                    <a:pt x="346" y="2299"/>
                  </a:lnTo>
                  <a:lnTo>
                    <a:pt x="346" y="2299"/>
                  </a:lnTo>
                  <a:lnTo>
                    <a:pt x="343" y="2301"/>
                  </a:lnTo>
                  <a:lnTo>
                    <a:pt x="343" y="2304"/>
                  </a:lnTo>
                  <a:lnTo>
                    <a:pt x="343" y="2304"/>
                  </a:lnTo>
                  <a:close/>
                  <a:moveTo>
                    <a:pt x="348" y="2332"/>
                  </a:moveTo>
                  <a:lnTo>
                    <a:pt x="348" y="2332"/>
                  </a:lnTo>
                  <a:lnTo>
                    <a:pt x="350" y="2334"/>
                  </a:lnTo>
                  <a:lnTo>
                    <a:pt x="353" y="2334"/>
                  </a:lnTo>
                  <a:lnTo>
                    <a:pt x="353" y="2334"/>
                  </a:lnTo>
                  <a:lnTo>
                    <a:pt x="353" y="2334"/>
                  </a:lnTo>
                  <a:lnTo>
                    <a:pt x="353" y="2334"/>
                  </a:lnTo>
                  <a:lnTo>
                    <a:pt x="353" y="2334"/>
                  </a:lnTo>
                  <a:lnTo>
                    <a:pt x="353" y="2334"/>
                  </a:lnTo>
                  <a:lnTo>
                    <a:pt x="353" y="2334"/>
                  </a:lnTo>
                  <a:lnTo>
                    <a:pt x="353" y="2334"/>
                  </a:lnTo>
                  <a:lnTo>
                    <a:pt x="353" y="2332"/>
                  </a:lnTo>
                  <a:lnTo>
                    <a:pt x="350" y="2332"/>
                  </a:lnTo>
                  <a:lnTo>
                    <a:pt x="350" y="2332"/>
                  </a:lnTo>
                  <a:lnTo>
                    <a:pt x="350" y="2332"/>
                  </a:lnTo>
                  <a:lnTo>
                    <a:pt x="350" y="2330"/>
                  </a:lnTo>
                  <a:lnTo>
                    <a:pt x="350" y="2330"/>
                  </a:lnTo>
                  <a:lnTo>
                    <a:pt x="348" y="2330"/>
                  </a:lnTo>
                  <a:lnTo>
                    <a:pt x="348" y="2330"/>
                  </a:lnTo>
                  <a:lnTo>
                    <a:pt x="348" y="2330"/>
                  </a:lnTo>
                  <a:lnTo>
                    <a:pt x="348" y="2332"/>
                  </a:lnTo>
                  <a:lnTo>
                    <a:pt x="348" y="2332"/>
                  </a:lnTo>
                  <a:lnTo>
                    <a:pt x="348" y="2332"/>
                  </a:lnTo>
                  <a:lnTo>
                    <a:pt x="348" y="2332"/>
                  </a:lnTo>
                  <a:close/>
                  <a:moveTo>
                    <a:pt x="362" y="2351"/>
                  </a:moveTo>
                  <a:lnTo>
                    <a:pt x="362" y="2351"/>
                  </a:lnTo>
                  <a:lnTo>
                    <a:pt x="362" y="2351"/>
                  </a:lnTo>
                  <a:lnTo>
                    <a:pt x="365" y="2351"/>
                  </a:lnTo>
                  <a:lnTo>
                    <a:pt x="365" y="2351"/>
                  </a:lnTo>
                  <a:lnTo>
                    <a:pt x="365" y="2351"/>
                  </a:lnTo>
                  <a:lnTo>
                    <a:pt x="365" y="2349"/>
                  </a:lnTo>
                  <a:lnTo>
                    <a:pt x="362" y="2349"/>
                  </a:lnTo>
                  <a:lnTo>
                    <a:pt x="362" y="2349"/>
                  </a:lnTo>
                  <a:lnTo>
                    <a:pt x="360" y="2346"/>
                  </a:lnTo>
                  <a:lnTo>
                    <a:pt x="360" y="2346"/>
                  </a:lnTo>
                  <a:lnTo>
                    <a:pt x="360" y="2346"/>
                  </a:lnTo>
                  <a:lnTo>
                    <a:pt x="357" y="2344"/>
                  </a:lnTo>
                  <a:lnTo>
                    <a:pt x="357" y="2344"/>
                  </a:lnTo>
                  <a:lnTo>
                    <a:pt x="355" y="2339"/>
                  </a:lnTo>
                  <a:lnTo>
                    <a:pt x="353" y="2337"/>
                  </a:lnTo>
                  <a:lnTo>
                    <a:pt x="353" y="2337"/>
                  </a:lnTo>
                  <a:lnTo>
                    <a:pt x="353" y="2337"/>
                  </a:lnTo>
                  <a:lnTo>
                    <a:pt x="353" y="2337"/>
                  </a:lnTo>
                  <a:lnTo>
                    <a:pt x="353" y="2339"/>
                  </a:lnTo>
                  <a:lnTo>
                    <a:pt x="355" y="2339"/>
                  </a:lnTo>
                  <a:lnTo>
                    <a:pt x="355" y="2342"/>
                  </a:lnTo>
                  <a:lnTo>
                    <a:pt x="357" y="2346"/>
                  </a:lnTo>
                  <a:lnTo>
                    <a:pt x="360" y="2349"/>
                  </a:lnTo>
                  <a:lnTo>
                    <a:pt x="362" y="2351"/>
                  </a:lnTo>
                  <a:lnTo>
                    <a:pt x="362" y="2351"/>
                  </a:lnTo>
                  <a:close/>
                  <a:moveTo>
                    <a:pt x="360" y="2356"/>
                  </a:moveTo>
                  <a:lnTo>
                    <a:pt x="360" y="2356"/>
                  </a:lnTo>
                  <a:lnTo>
                    <a:pt x="357" y="2353"/>
                  </a:lnTo>
                  <a:lnTo>
                    <a:pt x="357" y="2351"/>
                  </a:lnTo>
                  <a:lnTo>
                    <a:pt x="357" y="2351"/>
                  </a:lnTo>
                  <a:lnTo>
                    <a:pt x="357" y="2351"/>
                  </a:lnTo>
                  <a:lnTo>
                    <a:pt x="357" y="2351"/>
                  </a:lnTo>
                  <a:lnTo>
                    <a:pt x="357" y="2351"/>
                  </a:lnTo>
                  <a:lnTo>
                    <a:pt x="357" y="2351"/>
                  </a:lnTo>
                  <a:lnTo>
                    <a:pt x="357" y="2351"/>
                  </a:lnTo>
                  <a:lnTo>
                    <a:pt x="357" y="2351"/>
                  </a:lnTo>
                  <a:lnTo>
                    <a:pt x="360" y="2351"/>
                  </a:lnTo>
                  <a:lnTo>
                    <a:pt x="360" y="2351"/>
                  </a:lnTo>
                  <a:lnTo>
                    <a:pt x="357" y="2349"/>
                  </a:lnTo>
                  <a:lnTo>
                    <a:pt x="355" y="2346"/>
                  </a:lnTo>
                  <a:lnTo>
                    <a:pt x="355" y="2346"/>
                  </a:lnTo>
                  <a:lnTo>
                    <a:pt x="355" y="2346"/>
                  </a:lnTo>
                  <a:lnTo>
                    <a:pt x="355" y="2344"/>
                  </a:lnTo>
                  <a:lnTo>
                    <a:pt x="355" y="2346"/>
                  </a:lnTo>
                  <a:lnTo>
                    <a:pt x="355" y="2349"/>
                  </a:lnTo>
                  <a:lnTo>
                    <a:pt x="355" y="2349"/>
                  </a:lnTo>
                  <a:lnTo>
                    <a:pt x="355" y="2351"/>
                  </a:lnTo>
                  <a:lnTo>
                    <a:pt x="355" y="2351"/>
                  </a:lnTo>
                  <a:lnTo>
                    <a:pt x="355" y="2351"/>
                  </a:lnTo>
                  <a:lnTo>
                    <a:pt x="355" y="2353"/>
                  </a:lnTo>
                  <a:lnTo>
                    <a:pt x="355" y="2353"/>
                  </a:lnTo>
                  <a:lnTo>
                    <a:pt x="355" y="2353"/>
                  </a:lnTo>
                  <a:lnTo>
                    <a:pt x="355" y="2353"/>
                  </a:lnTo>
                  <a:lnTo>
                    <a:pt x="355" y="2356"/>
                  </a:lnTo>
                  <a:lnTo>
                    <a:pt x="355" y="2356"/>
                  </a:lnTo>
                  <a:lnTo>
                    <a:pt x="355" y="2356"/>
                  </a:lnTo>
                  <a:lnTo>
                    <a:pt x="355" y="2356"/>
                  </a:lnTo>
                  <a:lnTo>
                    <a:pt x="355" y="2358"/>
                  </a:lnTo>
                  <a:lnTo>
                    <a:pt x="355" y="2358"/>
                  </a:lnTo>
                  <a:lnTo>
                    <a:pt x="355" y="2358"/>
                  </a:lnTo>
                  <a:lnTo>
                    <a:pt x="355" y="2358"/>
                  </a:lnTo>
                  <a:lnTo>
                    <a:pt x="357" y="2358"/>
                  </a:lnTo>
                  <a:lnTo>
                    <a:pt x="357" y="2358"/>
                  </a:lnTo>
                  <a:lnTo>
                    <a:pt x="357" y="2358"/>
                  </a:lnTo>
                  <a:lnTo>
                    <a:pt x="357" y="2358"/>
                  </a:lnTo>
                  <a:lnTo>
                    <a:pt x="357" y="2356"/>
                  </a:lnTo>
                  <a:lnTo>
                    <a:pt x="357" y="2356"/>
                  </a:lnTo>
                  <a:lnTo>
                    <a:pt x="360" y="2356"/>
                  </a:lnTo>
                  <a:lnTo>
                    <a:pt x="360" y="2356"/>
                  </a:lnTo>
                  <a:close/>
                  <a:moveTo>
                    <a:pt x="324" y="2306"/>
                  </a:moveTo>
                  <a:lnTo>
                    <a:pt x="324" y="2306"/>
                  </a:lnTo>
                  <a:lnTo>
                    <a:pt x="324" y="2308"/>
                  </a:lnTo>
                  <a:lnTo>
                    <a:pt x="324" y="2308"/>
                  </a:lnTo>
                  <a:lnTo>
                    <a:pt x="324" y="2308"/>
                  </a:lnTo>
                  <a:lnTo>
                    <a:pt x="324" y="2308"/>
                  </a:lnTo>
                  <a:lnTo>
                    <a:pt x="327" y="2308"/>
                  </a:lnTo>
                  <a:lnTo>
                    <a:pt x="327" y="2308"/>
                  </a:lnTo>
                  <a:lnTo>
                    <a:pt x="327" y="2308"/>
                  </a:lnTo>
                  <a:lnTo>
                    <a:pt x="327" y="2308"/>
                  </a:lnTo>
                  <a:lnTo>
                    <a:pt x="327" y="2308"/>
                  </a:lnTo>
                  <a:lnTo>
                    <a:pt x="327" y="2308"/>
                  </a:lnTo>
                  <a:lnTo>
                    <a:pt x="327" y="2306"/>
                  </a:lnTo>
                  <a:lnTo>
                    <a:pt x="327" y="2306"/>
                  </a:lnTo>
                  <a:lnTo>
                    <a:pt x="324" y="2306"/>
                  </a:lnTo>
                  <a:lnTo>
                    <a:pt x="324" y="2306"/>
                  </a:lnTo>
                  <a:close/>
                  <a:moveTo>
                    <a:pt x="322" y="2308"/>
                  </a:moveTo>
                  <a:lnTo>
                    <a:pt x="322" y="2304"/>
                  </a:lnTo>
                  <a:lnTo>
                    <a:pt x="322" y="2304"/>
                  </a:lnTo>
                  <a:lnTo>
                    <a:pt x="320" y="2301"/>
                  </a:lnTo>
                  <a:lnTo>
                    <a:pt x="320" y="2301"/>
                  </a:lnTo>
                  <a:lnTo>
                    <a:pt x="320" y="2304"/>
                  </a:lnTo>
                  <a:lnTo>
                    <a:pt x="320" y="2304"/>
                  </a:lnTo>
                  <a:lnTo>
                    <a:pt x="320" y="2306"/>
                  </a:lnTo>
                  <a:lnTo>
                    <a:pt x="322" y="2308"/>
                  </a:lnTo>
                  <a:lnTo>
                    <a:pt x="322" y="2308"/>
                  </a:lnTo>
                  <a:lnTo>
                    <a:pt x="322" y="2308"/>
                  </a:lnTo>
                  <a:lnTo>
                    <a:pt x="324" y="2308"/>
                  </a:lnTo>
                  <a:lnTo>
                    <a:pt x="324" y="2308"/>
                  </a:lnTo>
                  <a:lnTo>
                    <a:pt x="324" y="2308"/>
                  </a:lnTo>
                  <a:lnTo>
                    <a:pt x="324" y="2308"/>
                  </a:lnTo>
                  <a:lnTo>
                    <a:pt x="322" y="2308"/>
                  </a:lnTo>
                  <a:close/>
                  <a:moveTo>
                    <a:pt x="315" y="2268"/>
                  </a:moveTo>
                  <a:lnTo>
                    <a:pt x="317" y="2268"/>
                  </a:lnTo>
                  <a:lnTo>
                    <a:pt x="317" y="2268"/>
                  </a:lnTo>
                  <a:lnTo>
                    <a:pt x="317" y="2266"/>
                  </a:lnTo>
                  <a:lnTo>
                    <a:pt x="317" y="2266"/>
                  </a:lnTo>
                  <a:lnTo>
                    <a:pt x="315" y="2266"/>
                  </a:lnTo>
                  <a:lnTo>
                    <a:pt x="315" y="2263"/>
                  </a:lnTo>
                  <a:lnTo>
                    <a:pt x="315" y="2263"/>
                  </a:lnTo>
                  <a:lnTo>
                    <a:pt x="315" y="2263"/>
                  </a:lnTo>
                  <a:lnTo>
                    <a:pt x="315" y="2263"/>
                  </a:lnTo>
                  <a:lnTo>
                    <a:pt x="315" y="2261"/>
                  </a:lnTo>
                  <a:lnTo>
                    <a:pt x="312" y="2261"/>
                  </a:lnTo>
                  <a:lnTo>
                    <a:pt x="312" y="2261"/>
                  </a:lnTo>
                  <a:lnTo>
                    <a:pt x="312" y="2263"/>
                  </a:lnTo>
                  <a:lnTo>
                    <a:pt x="310" y="2263"/>
                  </a:lnTo>
                  <a:lnTo>
                    <a:pt x="310" y="2263"/>
                  </a:lnTo>
                  <a:lnTo>
                    <a:pt x="310" y="2266"/>
                  </a:lnTo>
                  <a:lnTo>
                    <a:pt x="310" y="2266"/>
                  </a:lnTo>
                  <a:lnTo>
                    <a:pt x="310" y="2268"/>
                  </a:lnTo>
                  <a:lnTo>
                    <a:pt x="310" y="2268"/>
                  </a:lnTo>
                  <a:lnTo>
                    <a:pt x="310" y="2271"/>
                  </a:lnTo>
                  <a:lnTo>
                    <a:pt x="310" y="2271"/>
                  </a:lnTo>
                  <a:lnTo>
                    <a:pt x="310" y="2271"/>
                  </a:lnTo>
                  <a:lnTo>
                    <a:pt x="310" y="2271"/>
                  </a:lnTo>
                  <a:lnTo>
                    <a:pt x="310" y="2271"/>
                  </a:lnTo>
                  <a:lnTo>
                    <a:pt x="312" y="2273"/>
                  </a:lnTo>
                  <a:lnTo>
                    <a:pt x="312" y="2273"/>
                  </a:lnTo>
                  <a:lnTo>
                    <a:pt x="312" y="2275"/>
                  </a:lnTo>
                  <a:lnTo>
                    <a:pt x="312" y="2275"/>
                  </a:lnTo>
                  <a:lnTo>
                    <a:pt x="312" y="2275"/>
                  </a:lnTo>
                  <a:lnTo>
                    <a:pt x="312" y="2275"/>
                  </a:lnTo>
                  <a:lnTo>
                    <a:pt x="312" y="2275"/>
                  </a:lnTo>
                  <a:lnTo>
                    <a:pt x="312" y="2278"/>
                  </a:lnTo>
                  <a:lnTo>
                    <a:pt x="312" y="2278"/>
                  </a:lnTo>
                  <a:lnTo>
                    <a:pt x="315" y="2278"/>
                  </a:lnTo>
                  <a:lnTo>
                    <a:pt x="315" y="2278"/>
                  </a:lnTo>
                  <a:lnTo>
                    <a:pt x="315" y="2275"/>
                  </a:lnTo>
                  <a:lnTo>
                    <a:pt x="315" y="2275"/>
                  </a:lnTo>
                  <a:lnTo>
                    <a:pt x="315" y="2273"/>
                  </a:lnTo>
                  <a:lnTo>
                    <a:pt x="315" y="2273"/>
                  </a:lnTo>
                  <a:lnTo>
                    <a:pt x="315" y="2273"/>
                  </a:lnTo>
                  <a:lnTo>
                    <a:pt x="315" y="2273"/>
                  </a:lnTo>
                  <a:lnTo>
                    <a:pt x="312" y="2273"/>
                  </a:lnTo>
                  <a:lnTo>
                    <a:pt x="312" y="2271"/>
                  </a:lnTo>
                  <a:lnTo>
                    <a:pt x="312" y="2271"/>
                  </a:lnTo>
                  <a:lnTo>
                    <a:pt x="315" y="2271"/>
                  </a:lnTo>
                  <a:lnTo>
                    <a:pt x="315" y="2271"/>
                  </a:lnTo>
                  <a:lnTo>
                    <a:pt x="315" y="2271"/>
                  </a:lnTo>
                  <a:lnTo>
                    <a:pt x="315" y="2268"/>
                  </a:lnTo>
                  <a:lnTo>
                    <a:pt x="315" y="2268"/>
                  </a:lnTo>
                  <a:close/>
                  <a:moveTo>
                    <a:pt x="298" y="2249"/>
                  </a:moveTo>
                  <a:lnTo>
                    <a:pt x="298" y="2249"/>
                  </a:lnTo>
                  <a:lnTo>
                    <a:pt x="298" y="2249"/>
                  </a:lnTo>
                  <a:lnTo>
                    <a:pt x="298" y="2249"/>
                  </a:lnTo>
                  <a:lnTo>
                    <a:pt x="298" y="2249"/>
                  </a:lnTo>
                  <a:lnTo>
                    <a:pt x="298" y="2249"/>
                  </a:lnTo>
                  <a:lnTo>
                    <a:pt x="296" y="2249"/>
                  </a:lnTo>
                  <a:lnTo>
                    <a:pt x="296" y="2249"/>
                  </a:lnTo>
                  <a:lnTo>
                    <a:pt x="294" y="2249"/>
                  </a:lnTo>
                  <a:lnTo>
                    <a:pt x="294" y="2249"/>
                  </a:lnTo>
                  <a:lnTo>
                    <a:pt x="291" y="2249"/>
                  </a:lnTo>
                  <a:lnTo>
                    <a:pt x="294" y="2249"/>
                  </a:lnTo>
                  <a:lnTo>
                    <a:pt x="294" y="2252"/>
                  </a:lnTo>
                  <a:lnTo>
                    <a:pt x="296" y="2252"/>
                  </a:lnTo>
                  <a:lnTo>
                    <a:pt x="296" y="2252"/>
                  </a:lnTo>
                  <a:lnTo>
                    <a:pt x="298" y="2252"/>
                  </a:lnTo>
                  <a:lnTo>
                    <a:pt x="298" y="2252"/>
                  </a:lnTo>
                  <a:lnTo>
                    <a:pt x="298" y="2252"/>
                  </a:lnTo>
                  <a:lnTo>
                    <a:pt x="298" y="2252"/>
                  </a:lnTo>
                  <a:lnTo>
                    <a:pt x="301" y="2252"/>
                  </a:lnTo>
                  <a:lnTo>
                    <a:pt x="301" y="2252"/>
                  </a:lnTo>
                  <a:lnTo>
                    <a:pt x="298" y="2249"/>
                  </a:lnTo>
                  <a:close/>
                  <a:moveTo>
                    <a:pt x="305" y="2252"/>
                  </a:moveTo>
                  <a:lnTo>
                    <a:pt x="305" y="2252"/>
                  </a:lnTo>
                  <a:lnTo>
                    <a:pt x="305" y="2252"/>
                  </a:lnTo>
                  <a:lnTo>
                    <a:pt x="303" y="2252"/>
                  </a:lnTo>
                  <a:lnTo>
                    <a:pt x="303" y="2252"/>
                  </a:lnTo>
                  <a:lnTo>
                    <a:pt x="303" y="2252"/>
                  </a:lnTo>
                  <a:lnTo>
                    <a:pt x="301" y="2252"/>
                  </a:lnTo>
                  <a:lnTo>
                    <a:pt x="301" y="2252"/>
                  </a:lnTo>
                  <a:lnTo>
                    <a:pt x="298" y="2252"/>
                  </a:lnTo>
                  <a:lnTo>
                    <a:pt x="298" y="2252"/>
                  </a:lnTo>
                  <a:lnTo>
                    <a:pt x="298" y="2252"/>
                  </a:lnTo>
                  <a:lnTo>
                    <a:pt x="298" y="2252"/>
                  </a:lnTo>
                  <a:lnTo>
                    <a:pt x="298" y="2254"/>
                  </a:lnTo>
                  <a:lnTo>
                    <a:pt x="298" y="2254"/>
                  </a:lnTo>
                  <a:lnTo>
                    <a:pt x="298" y="2254"/>
                  </a:lnTo>
                  <a:lnTo>
                    <a:pt x="298" y="2254"/>
                  </a:lnTo>
                  <a:lnTo>
                    <a:pt x="298" y="2254"/>
                  </a:lnTo>
                  <a:lnTo>
                    <a:pt x="303" y="2254"/>
                  </a:lnTo>
                  <a:lnTo>
                    <a:pt x="303" y="2254"/>
                  </a:lnTo>
                  <a:lnTo>
                    <a:pt x="303" y="2254"/>
                  </a:lnTo>
                  <a:lnTo>
                    <a:pt x="305" y="2254"/>
                  </a:lnTo>
                  <a:lnTo>
                    <a:pt x="308" y="2254"/>
                  </a:lnTo>
                  <a:lnTo>
                    <a:pt x="308" y="2254"/>
                  </a:lnTo>
                  <a:lnTo>
                    <a:pt x="308" y="2254"/>
                  </a:lnTo>
                  <a:lnTo>
                    <a:pt x="308" y="2252"/>
                  </a:lnTo>
                  <a:lnTo>
                    <a:pt x="305" y="2252"/>
                  </a:lnTo>
                  <a:close/>
                  <a:moveTo>
                    <a:pt x="312" y="2252"/>
                  </a:moveTo>
                  <a:lnTo>
                    <a:pt x="312" y="2252"/>
                  </a:lnTo>
                  <a:lnTo>
                    <a:pt x="312" y="2252"/>
                  </a:lnTo>
                  <a:lnTo>
                    <a:pt x="310" y="2254"/>
                  </a:lnTo>
                  <a:lnTo>
                    <a:pt x="308" y="2254"/>
                  </a:lnTo>
                  <a:lnTo>
                    <a:pt x="308" y="2254"/>
                  </a:lnTo>
                  <a:lnTo>
                    <a:pt x="308" y="2254"/>
                  </a:lnTo>
                  <a:lnTo>
                    <a:pt x="308" y="2254"/>
                  </a:lnTo>
                  <a:lnTo>
                    <a:pt x="308" y="2254"/>
                  </a:lnTo>
                  <a:lnTo>
                    <a:pt x="305" y="2254"/>
                  </a:lnTo>
                  <a:lnTo>
                    <a:pt x="305" y="2256"/>
                  </a:lnTo>
                  <a:lnTo>
                    <a:pt x="305" y="2256"/>
                  </a:lnTo>
                  <a:lnTo>
                    <a:pt x="308" y="2256"/>
                  </a:lnTo>
                  <a:lnTo>
                    <a:pt x="308" y="2256"/>
                  </a:lnTo>
                  <a:lnTo>
                    <a:pt x="308" y="2256"/>
                  </a:lnTo>
                  <a:lnTo>
                    <a:pt x="310" y="2256"/>
                  </a:lnTo>
                  <a:lnTo>
                    <a:pt x="310" y="2256"/>
                  </a:lnTo>
                  <a:lnTo>
                    <a:pt x="310" y="2256"/>
                  </a:lnTo>
                  <a:lnTo>
                    <a:pt x="312" y="2256"/>
                  </a:lnTo>
                  <a:lnTo>
                    <a:pt x="312" y="2256"/>
                  </a:lnTo>
                  <a:lnTo>
                    <a:pt x="312" y="2256"/>
                  </a:lnTo>
                  <a:lnTo>
                    <a:pt x="312" y="2256"/>
                  </a:lnTo>
                  <a:lnTo>
                    <a:pt x="312" y="2256"/>
                  </a:lnTo>
                  <a:lnTo>
                    <a:pt x="312" y="2256"/>
                  </a:lnTo>
                  <a:lnTo>
                    <a:pt x="312" y="2254"/>
                  </a:lnTo>
                  <a:lnTo>
                    <a:pt x="312" y="2254"/>
                  </a:lnTo>
                  <a:lnTo>
                    <a:pt x="312" y="2252"/>
                  </a:lnTo>
                  <a:close/>
                  <a:moveTo>
                    <a:pt x="239" y="2136"/>
                  </a:moveTo>
                  <a:lnTo>
                    <a:pt x="237" y="2133"/>
                  </a:lnTo>
                  <a:lnTo>
                    <a:pt x="237" y="2136"/>
                  </a:lnTo>
                  <a:lnTo>
                    <a:pt x="237" y="2133"/>
                  </a:lnTo>
                  <a:lnTo>
                    <a:pt x="234" y="2133"/>
                  </a:lnTo>
                  <a:lnTo>
                    <a:pt x="234" y="2133"/>
                  </a:lnTo>
                  <a:lnTo>
                    <a:pt x="234" y="2136"/>
                  </a:lnTo>
                  <a:lnTo>
                    <a:pt x="232" y="2136"/>
                  </a:lnTo>
                  <a:lnTo>
                    <a:pt x="232" y="2136"/>
                  </a:lnTo>
                  <a:lnTo>
                    <a:pt x="232" y="2136"/>
                  </a:lnTo>
                  <a:lnTo>
                    <a:pt x="230" y="2138"/>
                  </a:lnTo>
                  <a:lnTo>
                    <a:pt x="232" y="2138"/>
                  </a:lnTo>
                  <a:lnTo>
                    <a:pt x="232" y="2138"/>
                  </a:lnTo>
                  <a:lnTo>
                    <a:pt x="234" y="2138"/>
                  </a:lnTo>
                  <a:lnTo>
                    <a:pt x="234" y="2138"/>
                  </a:lnTo>
                  <a:lnTo>
                    <a:pt x="232" y="2140"/>
                  </a:lnTo>
                  <a:lnTo>
                    <a:pt x="232" y="2140"/>
                  </a:lnTo>
                  <a:lnTo>
                    <a:pt x="234" y="2140"/>
                  </a:lnTo>
                  <a:lnTo>
                    <a:pt x="234" y="2138"/>
                  </a:lnTo>
                  <a:lnTo>
                    <a:pt x="234" y="2138"/>
                  </a:lnTo>
                  <a:lnTo>
                    <a:pt x="234" y="2138"/>
                  </a:lnTo>
                  <a:lnTo>
                    <a:pt x="237" y="2140"/>
                  </a:lnTo>
                  <a:lnTo>
                    <a:pt x="234" y="2140"/>
                  </a:lnTo>
                  <a:lnTo>
                    <a:pt x="234" y="2140"/>
                  </a:lnTo>
                  <a:lnTo>
                    <a:pt x="234" y="2143"/>
                  </a:lnTo>
                  <a:lnTo>
                    <a:pt x="237" y="2143"/>
                  </a:lnTo>
                  <a:lnTo>
                    <a:pt x="237" y="2143"/>
                  </a:lnTo>
                  <a:lnTo>
                    <a:pt x="237" y="2140"/>
                  </a:lnTo>
                  <a:lnTo>
                    <a:pt x="237" y="2140"/>
                  </a:lnTo>
                  <a:lnTo>
                    <a:pt x="237" y="2140"/>
                  </a:lnTo>
                  <a:lnTo>
                    <a:pt x="237" y="2140"/>
                  </a:lnTo>
                  <a:lnTo>
                    <a:pt x="239" y="2138"/>
                  </a:lnTo>
                  <a:lnTo>
                    <a:pt x="239" y="2138"/>
                  </a:lnTo>
                  <a:lnTo>
                    <a:pt x="239" y="2138"/>
                  </a:lnTo>
                  <a:lnTo>
                    <a:pt x="239" y="2138"/>
                  </a:lnTo>
                  <a:lnTo>
                    <a:pt x="242" y="2138"/>
                  </a:lnTo>
                  <a:lnTo>
                    <a:pt x="242" y="2136"/>
                  </a:lnTo>
                  <a:lnTo>
                    <a:pt x="242" y="2136"/>
                  </a:lnTo>
                  <a:lnTo>
                    <a:pt x="239" y="2136"/>
                  </a:lnTo>
                  <a:close/>
                  <a:moveTo>
                    <a:pt x="251" y="2143"/>
                  </a:moveTo>
                  <a:lnTo>
                    <a:pt x="251" y="2143"/>
                  </a:lnTo>
                  <a:lnTo>
                    <a:pt x="251" y="2143"/>
                  </a:lnTo>
                  <a:lnTo>
                    <a:pt x="251" y="2143"/>
                  </a:lnTo>
                  <a:lnTo>
                    <a:pt x="251" y="2143"/>
                  </a:lnTo>
                  <a:lnTo>
                    <a:pt x="249" y="2143"/>
                  </a:lnTo>
                  <a:lnTo>
                    <a:pt x="246" y="2140"/>
                  </a:lnTo>
                  <a:lnTo>
                    <a:pt x="246" y="2140"/>
                  </a:lnTo>
                  <a:lnTo>
                    <a:pt x="246" y="2143"/>
                  </a:lnTo>
                  <a:lnTo>
                    <a:pt x="246" y="2143"/>
                  </a:lnTo>
                  <a:lnTo>
                    <a:pt x="244" y="2140"/>
                  </a:lnTo>
                  <a:lnTo>
                    <a:pt x="244" y="2140"/>
                  </a:lnTo>
                  <a:lnTo>
                    <a:pt x="244" y="2140"/>
                  </a:lnTo>
                  <a:lnTo>
                    <a:pt x="244" y="2143"/>
                  </a:lnTo>
                  <a:lnTo>
                    <a:pt x="244" y="2143"/>
                  </a:lnTo>
                  <a:lnTo>
                    <a:pt x="244" y="2145"/>
                  </a:lnTo>
                  <a:lnTo>
                    <a:pt x="244" y="2145"/>
                  </a:lnTo>
                  <a:lnTo>
                    <a:pt x="244" y="2145"/>
                  </a:lnTo>
                  <a:lnTo>
                    <a:pt x="244" y="2145"/>
                  </a:lnTo>
                  <a:lnTo>
                    <a:pt x="246" y="2145"/>
                  </a:lnTo>
                  <a:lnTo>
                    <a:pt x="246" y="2145"/>
                  </a:lnTo>
                  <a:lnTo>
                    <a:pt x="249" y="2145"/>
                  </a:lnTo>
                  <a:lnTo>
                    <a:pt x="249" y="2145"/>
                  </a:lnTo>
                  <a:lnTo>
                    <a:pt x="249" y="2145"/>
                  </a:lnTo>
                  <a:lnTo>
                    <a:pt x="249" y="2145"/>
                  </a:lnTo>
                  <a:lnTo>
                    <a:pt x="251" y="2145"/>
                  </a:lnTo>
                  <a:lnTo>
                    <a:pt x="251" y="2143"/>
                  </a:lnTo>
                  <a:lnTo>
                    <a:pt x="251" y="2143"/>
                  </a:lnTo>
                  <a:lnTo>
                    <a:pt x="251" y="2143"/>
                  </a:lnTo>
                  <a:lnTo>
                    <a:pt x="251" y="2143"/>
                  </a:lnTo>
                  <a:lnTo>
                    <a:pt x="251" y="2143"/>
                  </a:lnTo>
                  <a:close/>
                  <a:moveTo>
                    <a:pt x="242" y="2138"/>
                  </a:moveTo>
                  <a:lnTo>
                    <a:pt x="242" y="2138"/>
                  </a:lnTo>
                  <a:lnTo>
                    <a:pt x="242" y="2138"/>
                  </a:lnTo>
                  <a:lnTo>
                    <a:pt x="242" y="2138"/>
                  </a:lnTo>
                  <a:lnTo>
                    <a:pt x="239" y="2138"/>
                  </a:lnTo>
                  <a:lnTo>
                    <a:pt x="239" y="2138"/>
                  </a:lnTo>
                  <a:lnTo>
                    <a:pt x="239" y="2138"/>
                  </a:lnTo>
                  <a:lnTo>
                    <a:pt x="239" y="2140"/>
                  </a:lnTo>
                  <a:lnTo>
                    <a:pt x="239" y="2140"/>
                  </a:lnTo>
                  <a:lnTo>
                    <a:pt x="239" y="2140"/>
                  </a:lnTo>
                  <a:lnTo>
                    <a:pt x="237" y="2140"/>
                  </a:lnTo>
                  <a:lnTo>
                    <a:pt x="237" y="2143"/>
                  </a:lnTo>
                  <a:lnTo>
                    <a:pt x="237" y="2143"/>
                  </a:lnTo>
                  <a:lnTo>
                    <a:pt x="239" y="2145"/>
                  </a:lnTo>
                  <a:lnTo>
                    <a:pt x="239" y="2145"/>
                  </a:lnTo>
                  <a:lnTo>
                    <a:pt x="237" y="2145"/>
                  </a:lnTo>
                  <a:lnTo>
                    <a:pt x="237" y="2148"/>
                  </a:lnTo>
                  <a:lnTo>
                    <a:pt x="237" y="2148"/>
                  </a:lnTo>
                  <a:lnTo>
                    <a:pt x="239" y="2148"/>
                  </a:lnTo>
                  <a:lnTo>
                    <a:pt x="239" y="2148"/>
                  </a:lnTo>
                  <a:lnTo>
                    <a:pt x="239" y="2148"/>
                  </a:lnTo>
                  <a:lnTo>
                    <a:pt x="239" y="2148"/>
                  </a:lnTo>
                  <a:lnTo>
                    <a:pt x="239" y="2148"/>
                  </a:lnTo>
                  <a:lnTo>
                    <a:pt x="239" y="2145"/>
                  </a:lnTo>
                  <a:lnTo>
                    <a:pt x="239" y="2145"/>
                  </a:lnTo>
                  <a:lnTo>
                    <a:pt x="242" y="2145"/>
                  </a:lnTo>
                  <a:lnTo>
                    <a:pt x="242" y="2145"/>
                  </a:lnTo>
                  <a:lnTo>
                    <a:pt x="242" y="2145"/>
                  </a:lnTo>
                  <a:lnTo>
                    <a:pt x="242" y="2143"/>
                  </a:lnTo>
                  <a:lnTo>
                    <a:pt x="244" y="2138"/>
                  </a:lnTo>
                  <a:lnTo>
                    <a:pt x="244" y="2138"/>
                  </a:lnTo>
                  <a:lnTo>
                    <a:pt x="244" y="2138"/>
                  </a:lnTo>
                  <a:lnTo>
                    <a:pt x="242" y="2138"/>
                  </a:lnTo>
                  <a:close/>
                  <a:moveTo>
                    <a:pt x="242" y="2100"/>
                  </a:moveTo>
                  <a:lnTo>
                    <a:pt x="242" y="2100"/>
                  </a:lnTo>
                  <a:lnTo>
                    <a:pt x="242" y="2100"/>
                  </a:lnTo>
                  <a:lnTo>
                    <a:pt x="239" y="2103"/>
                  </a:lnTo>
                  <a:lnTo>
                    <a:pt x="239" y="2105"/>
                  </a:lnTo>
                  <a:lnTo>
                    <a:pt x="239" y="2105"/>
                  </a:lnTo>
                  <a:lnTo>
                    <a:pt x="239" y="2107"/>
                  </a:lnTo>
                  <a:lnTo>
                    <a:pt x="239" y="2107"/>
                  </a:lnTo>
                  <a:lnTo>
                    <a:pt x="239" y="2107"/>
                  </a:lnTo>
                  <a:lnTo>
                    <a:pt x="239" y="2107"/>
                  </a:lnTo>
                  <a:lnTo>
                    <a:pt x="239" y="2110"/>
                  </a:lnTo>
                  <a:lnTo>
                    <a:pt x="239" y="2110"/>
                  </a:lnTo>
                  <a:lnTo>
                    <a:pt x="237" y="2110"/>
                  </a:lnTo>
                  <a:lnTo>
                    <a:pt x="237" y="2112"/>
                  </a:lnTo>
                  <a:lnTo>
                    <a:pt x="239" y="2112"/>
                  </a:lnTo>
                  <a:lnTo>
                    <a:pt x="239" y="2110"/>
                  </a:lnTo>
                  <a:lnTo>
                    <a:pt x="239" y="2110"/>
                  </a:lnTo>
                  <a:lnTo>
                    <a:pt x="239" y="2110"/>
                  </a:lnTo>
                  <a:lnTo>
                    <a:pt x="242" y="2105"/>
                  </a:lnTo>
                  <a:lnTo>
                    <a:pt x="242" y="2105"/>
                  </a:lnTo>
                  <a:lnTo>
                    <a:pt x="242" y="2105"/>
                  </a:lnTo>
                  <a:lnTo>
                    <a:pt x="242" y="2103"/>
                  </a:lnTo>
                  <a:lnTo>
                    <a:pt x="242" y="2103"/>
                  </a:lnTo>
                  <a:lnTo>
                    <a:pt x="242" y="2100"/>
                  </a:lnTo>
                  <a:lnTo>
                    <a:pt x="242" y="2100"/>
                  </a:lnTo>
                  <a:close/>
                  <a:moveTo>
                    <a:pt x="237" y="2211"/>
                  </a:moveTo>
                  <a:lnTo>
                    <a:pt x="239" y="2211"/>
                  </a:lnTo>
                  <a:lnTo>
                    <a:pt x="239" y="2214"/>
                  </a:lnTo>
                  <a:lnTo>
                    <a:pt x="242" y="2214"/>
                  </a:lnTo>
                  <a:lnTo>
                    <a:pt x="242" y="2214"/>
                  </a:lnTo>
                  <a:lnTo>
                    <a:pt x="242" y="2214"/>
                  </a:lnTo>
                  <a:lnTo>
                    <a:pt x="242" y="2211"/>
                  </a:lnTo>
                  <a:lnTo>
                    <a:pt x="242" y="2211"/>
                  </a:lnTo>
                  <a:lnTo>
                    <a:pt x="239" y="2209"/>
                  </a:lnTo>
                  <a:lnTo>
                    <a:pt x="239" y="2209"/>
                  </a:lnTo>
                  <a:lnTo>
                    <a:pt x="239" y="2209"/>
                  </a:lnTo>
                  <a:lnTo>
                    <a:pt x="237" y="2209"/>
                  </a:lnTo>
                  <a:lnTo>
                    <a:pt x="237" y="2211"/>
                  </a:lnTo>
                  <a:lnTo>
                    <a:pt x="237" y="2211"/>
                  </a:lnTo>
                  <a:lnTo>
                    <a:pt x="237" y="2211"/>
                  </a:lnTo>
                  <a:close/>
                  <a:moveTo>
                    <a:pt x="201" y="2043"/>
                  </a:moveTo>
                  <a:lnTo>
                    <a:pt x="201" y="2043"/>
                  </a:lnTo>
                  <a:lnTo>
                    <a:pt x="201" y="2041"/>
                  </a:lnTo>
                  <a:lnTo>
                    <a:pt x="201" y="2041"/>
                  </a:lnTo>
                  <a:lnTo>
                    <a:pt x="199" y="2041"/>
                  </a:lnTo>
                  <a:lnTo>
                    <a:pt x="199" y="2041"/>
                  </a:lnTo>
                  <a:lnTo>
                    <a:pt x="199" y="2039"/>
                  </a:lnTo>
                  <a:lnTo>
                    <a:pt x="199" y="2039"/>
                  </a:lnTo>
                  <a:lnTo>
                    <a:pt x="199" y="2039"/>
                  </a:lnTo>
                  <a:lnTo>
                    <a:pt x="199" y="2039"/>
                  </a:lnTo>
                  <a:lnTo>
                    <a:pt x="199" y="2036"/>
                  </a:lnTo>
                  <a:lnTo>
                    <a:pt x="199" y="2036"/>
                  </a:lnTo>
                  <a:lnTo>
                    <a:pt x="199" y="2036"/>
                  </a:lnTo>
                  <a:lnTo>
                    <a:pt x="199" y="2034"/>
                  </a:lnTo>
                  <a:lnTo>
                    <a:pt x="199" y="2034"/>
                  </a:lnTo>
                  <a:lnTo>
                    <a:pt x="199" y="2034"/>
                  </a:lnTo>
                  <a:lnTo>
                    <a:pt x="197" y="2036"/>
                  </a:lnTo>
                  <a:lnTo>
                    <a:pt x="197" y="2036"/>
                  </a:lnTo>
                  <a:lnTo>
                    <a:pt x="197" y="2036"/>
                  </a:lnTo>
                  <a:lnTo>
                    <a:pt x="197" y="2036"/>
                  </a:lnTo>
                  <a:lnTo>
                    <a:pt x="194" y="2039"/>
                  </a:lnTo>
                  <a:lnTo>
                    <a:pt x="192" y="2039"/>
                  </a:lnTo>
                  <a:lnTo>
                    <a:pt x="192" y="2041"/>
                  </a:lnTo>
                  <a:lnTo>
                    <a:pt x="194" y="2041"/>
                  </a:lnTo>
                  <a:lnTo>
                    <a:pt x="194" y="2041"/>
                  </a:lnTo>
                  <a:lnTo>
                    <a:pt x="194" y="2041"/>
                  </a:lnTo>
                  <a:lnTo>
                    <a:pt x="194" y="2043"/>
                  </a:lnTo>
                  <a:lnTo>
                    <a:pt x="194" y="2043"/>
                  </a:lnTo>
                  <a:lnTo>
                    <a:pt x="194" y="2043"/>
                  </a:lnTo>
                  <a:lnTo>
                    <a:pt x="197" y="2046"/>
                  </a:lnTo>
                  <a:lnTo>
                    <a:pt x="199" y="2046"/>
                  </a:lnTo>
                  <a:lnTo>
                    <a:pt x="199" y="2048"/>
                  </a:lnTo>
                  <a:lnTo>
                    <a:pt x="201" y="2048"/>
                  </a:lnTo>
                  <a:lnTo>
                    <a:pt x="201" y="2046"/>
                  </a:lnTo>
                  <a:lnTo>
                    <a:pt x="201" y="2046"/>
                  </a:lnTo>
                  <a:lnTo>
                    <a:pt x="201" y="2046"/>
                  </a:lnTo>
                  <a:lnTo>
                    <a:pt x="201" y="2046"/>
                  </a:lnTo>
                  <a:lnTo>
                    <a:pt x="201" y="2043"/>
                  </a:lnTo>
                  <a:lnTo>
                    <a:pt x="201" y="2043"/>
                  </a:lnTo>
                  <a:lnTo>
                    <a:pt x="201" y="2043"/>
                  </a:lnTo>
                  <a:close/>
                  <a:moveTo>
                    <a:pt x="204" y="2008"/>
                  </a:moveTo>
                  <a:lnTo>
                    <a:pt x="204" y="2008"/>
                  </a:lnTo>
                  <a:lnTo>
                    <a:pt x="204" y="2006"/>
                  </a:lnTo>
                  <a:lnTo>
                    <a:pt x="201" y="2006"/>
                  </a:lnTo>
                  <a:lnTo>
                    <a:pt x="201" y="2006"/>
                  </a:lnTo>
                  <a:lnTo>
                    <a:pt x="201" y="2006"/>
                  </a:lnTo>
                  <a:lnTo>
                    <a:pt x="201" y="2006"/>
                  </a:lnTo>
                  <a:lnTo>
                    <a:pt x="199" y="2006"/>
                  </a:lnTo>
                  <a:lnTo>
                    <a:pt x="201" y="2008"/>
                  </a:lnTo>
                  <a:lnTo>
                    <a:pt x="201" y="2010"/>
                  </a:lnTo>
                  <a:lnTo>
                    <a:pt x="201" y="2010"/>
                  </a:lnTo>
                  <a:lnTo>
                    <a:pt x="201" y="2010"/>
                  </a:lnTo>
                  <a:lnTo>
                    <a:pt x="201" y="2010"/>
                  </a:lnTo>
                  <a:lnTo>
                    <a:pt x="204" y="2010"/>
                  </a:lnTo>
                  <a:lnTo>
                    <a:pt x="204" y="2010"/>
                  </a:lnTo>
                  <a:lnTo>
                    <a:pt x="204" y="2010"/>
                  </a:lnTo>
                  <a:lnTo>
                    <a:pt x="204" y="2010"/>
                  </a:lnTo>
                  <a:lnTo>
                    <a:pt x="204" y="2010"/>
                  </a:lnTo>
                  <a:lnTo>
                    <a:pt x="204" y="2008"/>
                  </a:lnTo>
                  <a:lnTo>
                    <a:pt x="204" y="2008"/>
                  </a:lnTo>
                  <a:close/>
                  <a:moveTo>
                    <a:pt x="192" y="2034"/>
                  </a:moveTo>
                  <a:lnTo>
                    <a:pt x="192" y="2032"/>
                  </a:lnTo>
                  <a:lnTo>
                    <a:pt x="189" y="2029"/>
                  </a:lnTo>
                  <a:lnTo>
                    <a:pt x="187" y="2032"/>
                  </a:lnTo>
                  <a:lnTo>
                    <a:pt x="187" y="2032"/>
                  </a:lnTo>
                  <a:lnTo>
                    <a:pt x="189" y="2034"/>
                  </a:lnTo>
                  <a:lnTo>
                    <a:pt x="192" y="2034"/>
                  </a:lnTo>
                  <a:lnTo>
                    <a:pt x="192" y="2034"/>
                  </a:lnTo>
                  <a:lnTo>
                    <a:pt x="192" y="2036"/>
                  </a:lnTo>
                  <a:lnTo>
                    <a:pt x="194" y="2034"/>
                  </a:lnTo>
                  <a:lnTo>
                    <a:pt x="192" y="2034"/>
                  </a:lnTo>
                  <a:close/>
                  <a:moveTo>
                    <a:pt x="244" y="2171"/>
                  </a:moveTo>
                  <a:lnTo>
                    <a:pt x="242" y="2171"/>
                  </a:lnTo>
                  <a:lnTo>
                    <a:pt x="242" y="2169"/>
                  </a:lnTo>
                  <a:lnTo>
                    <a:pt x="242" y="2169"/>
                  </a:lnTo>
                  <a:lnTo>
                    <a:pt x="242" y="2166"/>
                  </a:lnTo>
                  <a:lnTo>
                    <a:pt x="242" y="2166"/>
                  </a:lnTo>
                  <a:lnTo>
                    <a:pt x="242" y="2164"/>
                  </a:lnTo>
                  <a:lnTo>
                    <a:pt x="242" y="2164"/>
                  </a:lnTo>
                  <a:lnTo>
                    <a:pt x="237" y="2166"/>
                  </a:lnTo>
                  <a:lnTo>
                    <a:pt x="237" y="2166"/>
                  </a:lnTo>
                  <a:lnTo>
                    <a:pt x="234" y="2169"/>
                  </a:lnTo>
                  <a:lnTo>
                    <a:pt x="234" y="2171"/>
                  </a:lnTo>
                  <a:lnTo>
                    <a:pt x="237" y="2174"/>
                  </a:lnTo>
                  <a:lnTo>
                    <a:pt x="237" y="2174"/>
                  </a:lnTo>
                  <a:lnTo>
                    <a:pt x="237" y="2176"/>
                  </a:lnTo>
                  <a:lnTo>
                    <a:pt x="237" y="2176"/>
                  </a:lnTo>
                  <a:lnTo>
                    <a:pt x="237" y="2178"/>
                  </a:lnTo>
                  <a:lnTo>
                    <a:pt x="237" y="2178"/>
                  </a:lnTo>
                  <a:lnTo>
                    <a:pt x="237" y="2178"/>
                  </a:lnTo>
                  <a:lnTo>
                    <a:pt x="237" y="2178"/>
                  </a:lnTo>
                  <a:lnTo>
                    <a:pt x="239" y="2178"/>
                  </a:lnTo>
                  <a:lnTo>
                    <a:pt x="239" y="2178"/>
                  </a:lnTo>
                  <a:lnTo>
                    <a:pt x="239" y="2181"/>
                  </a:lnTo>
                  <a:lnTo>
                    <a:pt x="239" y="2181"/>
                  </a:lnTo>
                  <a:lnTo>
                    <a:pt x="239" y="2181"/>
                  </a:lnTo>
                  <a:lnTo>
                    <a:pt x="239" y="2181"/>
                  </a:lnTo>
                  <a:lnTo>
                    <a:pt x="239" y="2181"/>
                  </a:lnTo>
                  <a:lnTo>
                    <a:pt x="242" y="2181"/>
                  </a:lnTo>
                  <a:lnTo>
                    <a:pt x="242" y="2181"/>
                  </a:lnTo>
                  <a:lnTo>
                    <a:pt x="242" y="2181"/>
                  </a:lnTo>
                  <a:lnTo>
                    <a:pt x="242" y="2181"/>
                  </a:lnTo>
                  <a:lnTo>
                    <a:pt x="242" y="2178"/>
                  </a:lnTo>
                  <a:lnTo>
                    <a:pt x="242" y="2178"/>
                  </a:lnTo>
                  <a:lnTo>
                    <a:pt x="242" y="2176"/>
                  </a:lnTo>
                  <a:lnTo>
                    <a:pt x="242" y="2176"/>
                  </a:lnTo>
                  <a:lnTo>
                    <a:pt x="244" y="2174"/>
                  </a:lnTo>
                  <a:lnTo>
                    <a:pt x="244" y="2171"/>
                  </a:lnTo>
                  <a:close/>
                  <a:moveTo>
                    <a:pt x="249" y="2148"/>
                  </a:moveTo>
                  <a:lnTo>
                    <a:pt x="249" y="2148"/>
                  </a:lnTo>
                  <a:lnTo>
                    <a:pt x="246" y="2148"/>
                  </a:lnTo>
                  <a:lnTo>
                    <a:pt x="244" y="2148"/>
                  </a:lnTo>
                  <a:lnTo>
                    <a:pt x="244" y="2145"/>
                  </a:lnTo>
                  <a:lnTo>
                    <a:pt x="244" y="2145"/>
                  </a:lnTo>
                  <a:lnTo>
                    <a:pt x="242" y="2148"/>
                  </a:lnTo>
                  <a:lnTo>
                    <a:pt x="242" y="2148"/>
                  </a:lnTo>
                  <a:lnTo>
                    <a:pt x="242" y="2148"/>
                  </a:lnTo>
                  <a:lnTo>
                    <a:pt x="239" y="2148"/>
                  </a:lnTo>
                  <a:lnTo>
                    <a:pt x="239" y="2150"/>
                  </a:lnTo>
                  <a:lnTo>
                    <a:pt x="239" y="2150"/>
                  </a:lnTo>
                  <a:lnTo>
                    <a:pt x="237" y="2150"/>
                  </a:lnTo>
                  <a:lnTo>
                    <a:pt x="237" y="2152"/>
                  </a:lnTo>
                  <a:lnTo>
                    <a:pt x="239" y="2152"/>
                  </a:lnTo>
                  <a:lnTo>
                    <a:pt x="239" y="2152"/>
                  </a:lnTo>
                  <a:lnTo>
                    <a:pt x="237" y="2152"/>
                  </a:lnTo>
                  <a:lnTo>
                    <a:pt x="237" y="2155"/>
                  </a:lnTo>
                  <a:lnTo>
                    <a:pt x="237" y="2155"/>
                  </a:lnTo>
                  <a:lnTo>
                    <a:pt x="237" y="2155"/>
                  </a:lnTo>
                  <a:lnTo>
                    <a:pt x="237" y="2155"/>
                  </a:lnTo>
                  <a:lnTo>
                    <a:pt x="237" y="2157"/>
                  </a:lnTo>
                  <a:lnTo>
                    <a:pt x="239" y="2157"/>
                  </a:lnTo>
                  <a:lnTo>
                    <a:pt x="239" y="2157"/>
                  </a:lnTo>
                  <a:lnTo>
                    <a:pt x="239" y="2157"/>
                  </a:lnTo>
                  <a:lnTo>
                    <a:pt x="239" y="2157"/>
                  </a:lnTo>
                  <a:lnTo>
                    <a:pt x="239" y="2157"/>
                  </a:lnTo>
                  <a:lnTo>
                    <a:pt x="239" y="2157"/>
                  </a:lnTo>
                  <a:lnTo>
                    <a:pt x="239" y="2157"/>
                  </a:lnTo>
                  <a:lnTo>
                    <a:pt x="239" y="2157"/>
                  </a:lnTo>
                  <a:lnTo>
                    <a:pt x="239" y="2159"/>
                  </a:lnTo>
                  <a:lnTo>
                    <a:pt x="239" y="2159"/>
                  </a:lnTo>
                  <a:lnTo>
                    <a:pt x="239" y="2159"/>
                  </a:lnTo>
                  <a:lnTo>
                    <a:pt x="239" y="2159"/>
                  </a:lnTo>
                  <a:lnTo>
                    <a:pt x="239" y="2159"/>
                  </a:lnTo>
                  <a:lnTo>
                    <a:pt x="239" y="2162"/>
                  </a:lnTo>
                  <a:lnTo>
                    <a:pt x="239" y="2162"/>
                  </a:lnTo>
                  <a:lnTo>
                    <a:pt x="237" y="2162"/>
                  </a:lnTo>
                  <a:lnTo>
                    <a:pt x="237" y="2162"/>
                  </a:lnTo>
                  <a:lnTo>
                    <a:pt x="237" y="2162"/>
                  </a:lnTo>
                  <a:lnTo>
                    <a:pt x="239" y="2162"/>
                  </a:lnTo>
                  <a:lnTo>
                    <a:pt x="239" y="2162"/>
                  </a:lnTo>
                  <a:lnTo>
                    <a:pt x="239" y="2162"/>
                  </a:lnTo>
                  <a:lnTo>
                    <a:pt x="239" y="2162"/>
                  </a:lnTo>
                  <a:lnTo>
                    <a:pt x="242" y="2162"/>
                  </a:lnTo>
                  <a:lnTo>
                    <a:pt x="242" y="2162"/>
                  </a:lnTo>
                  <a:lnTo>
                    <a:pt x="242" y="2162"/>
                  </a:lnTo>
                  <a:lnTo>
                    <a:pt x="242" y="2162"/>
                  </a:lnTo>
                  <a:lnTo>
                    <a:pt x="242" y="2159"/>
                  </a:lnTo>
                  <a:lnTo>
                    <a:pt x="242" y="2159"/>
                  </a:lnTo>
                  <a:lnTo>
                    <a:pt x="242" y="2159"/>
                  </a:lnTo>
                  <a:lnTo>
                    <a:pt x="242" y="2159"/>
                  </a:lnTo>
                  <a:lnTo>
                    <a:pt x="242" y="2157"/>
                  </a:lnTo>
                  <a:lnTo>
                    <a:pt x="244" y="2155"/>
                  </a:lnTo>
                  <a:lnTo>
                    <a:pt x="246" y="2155"/>
                  </a:lnTo>
                  <a:lnTo>
                    <a:pt x="246" y="2152"/>
                  </a:lnTo>
                  <a:lnTo>
                    <a:pt x="246" y="2152"/>
                  </a:lnTo>
                  <a:lnTo>
                    <a:pt x="246" y="2150"/>
                  </a:lnTo>
                  <a:lnTo>
                    <a:pt x="246" y="2150"/>
                  </a:lnTo>
                  <a:lnTo>
                    <a:pt x="249" y="2148"/>
                  </a:lnTo>
                  <a:close/>
                  <a:moveTo>
                    <a:pt x="230" y="2129"/>
                  </a:moveTo>
                  <a:lnTo>
                    <a:pt x="230" y="2126"/>
                  </a:lnTo>
                  <a:lnTo>
                    <a:pt x="232" y="2124"/>
                  </a:lnTo>
                  <a:lnTo>
                    <a:pt x="232" y="2122"/>
                  </a:lnTo>
                  <a:lnTo>
                    <a:pt x="232" y="2122"/>
                  </a:lnTo>
                  <a:lnTo>
                    <a:pt x="232" y="2122"/>
                  </a:lnTo>
                  <a:lnTo>
                    <a:pt x="232" y="2122"/>
                  </a:lnTo>
                  <a:lnTo>
                    <a:pt x="232" y="2119"/>
                  </a:lnTo>
                  <a:lnTo>
                    <a:pt x="232" y="2119"/>
                  </a:lnTo>
                  <a:lnTo>
                    <a:pt x="232" y="2119"/>
                  </a:lnTo>
                  <a:lnTo>
                    <a:pt x="230" y="2119"/>
                  </a:lnTo>
                  <a:lnTo>
                    <a:pt x="230" y="2119"/>
                  </a:lnTo>
                  <a:lnTo>
                    <a:pt x="230" y="2119"/>
                  </a:lnTo>
                  <a:lnTo>
                    <a:pt x="230" y="2119"/>
                  </a:lnTo>
                  <a:lnTo>
                    <a:pt x="230" y="2119"/>
                  </a:lnTo>
                  <a:lnTo>
                    <a:pt x="230" y="2119"/>
                  </a:lnTo>
                  <a:lnTo>
                    <a:pt x="230" y="2119"/>
                  </a:lnTo>
                  <a:lnTo>
                    <a:pt x="230" y="2119"/>
                  </a:lnTo>
                  <a:lnTo>
                    <a:pt x="227" y="2119"/>
                  </a:lnTo>
                  <a:lnTo>
                    <a:pt x="227" y="2119"/>
                  </a:lnTo>
                  <a:lnTo>
                    <a:pt x="227" y="2119"/>
                  </a:lnTo>
                  <a:lnTo>
                    <a:pt x="227" y="2122"/>
                  </a:lnTo>
                  <a:lnTo>
                    <a:pt x="227" y="2122"/>
                  </a:lnTo>
                  <a:lnTo>
                    <a:pt x="227" y="2124"/>
                  </a:lnTo>
                  <a:lnTo>
                    <a:pt x="227" y="2124"/>
                  </a:lnTo>
                  <a:lnTo>
                    <a:pt x="227" y="2124"/>
                  </a:lnTo>
                  <a:lnTo>
                    <a:pt x="227" y="2124"/>
                  </a:lnTo>
                  <a:lnTo>
                    <a:pt x="227" y="2124"/>
                  </a:lnTo>
                  <a:lnTo>
                    <a:pt x="227" y="2126"/>
                  </a:lnTo>
                  <a:lnTo>
                    <a:pt x="227" y="2126"/>
                  </a:lnTo>
                  <a:lnTo>
                    <a:pt x="227" y="2126"/>
                  </a:lnTo>
                  <a:lnTo>
                    <a:pt x="227" y="2129"/>
                  </a:lnTo>
                  <a:lnTo>
                    <a:pt x="227" y="2129"/>
                  </a:lnTo>
                  <a:lnTo>
                    <a:pt x="227" y="2131"/>
                  </a:lnTo>
                  <a:lnTo>
                    <a:pt x="230" y="2129"/>
                  </a:lnTo>
                  <a:close/>
                  <a:moveTo>
                    <a:pt x="230" y="2117"/>
                  </a:moveTo>
                  <a:lnTo>
                    <a:pt x="230" y="2117"/>
                  </a:lnTo>
                  <a:lnTo>
                    <a:pt x="230" y="2117"/>
                  </a:lnTo>
                  <a:lnTo>
                    <a:pt x="230" y="2117"/>
                  </a:lnTo>
                  <a:lnTo>
                    <a:pt x="230" y="2117"/>
                  </a:lnTo>
                  <a:lnTo>
                    <a:pt x="230" y="2117"/>
                  </a:lnTo>
                  <a:lnTo>
                    <a:pt x="227" y="2114"/>
                  </a:lnTo>
                  <a:lnTo>
                    <a:pt x="227" y="2114"/>
                  </a:lnTo>
                  <a:lnTo>
                    <a:pt x="227" y="2114"/>
                  </a:lnTo>
                  <a:lnTo>
                    <a:pt x="227" y="2114"/>
                  </a:lnTo>
                  <a:lnTo>
                    <a:pt x="227" y="2114"/>
                  </a:lnTo>
                  <a:lnTo>
                    <a:pt x="227" y="2114"/>
                  </a:lnTo>
                  <a:lnTo>
                    <a:pt x="227" y="2117"/>
                  </a:lnTo>
                  <a:lnTo>
                    <a:pt x="227" y="2117"/>
                  </a:lnTo>
                  <a:lnTo>
                    <a:pt x="227" y="2117"/>
                  </a:lnTo>
                  <a:lnTo>
                    <a:pt x="230" y="2117"/>
                  </a:lnTo>
                  <a:lnTo>
                    <a:pt x="230" y="2119"/>
                  </a:lnTo>
                  <a:lnTo>
                    <a:pt x="230" y="2119"/>
                  </a:lnTo>
                  <a:lnTo>
                    <a:pt x="230" y="2117"/>
                  </a:lnTo>
                  <a:lnTo>
                    <a:pt x="230" y="2117"/>
                  </a:lnTo>
                  <a:lnTo>
                    <a:pt x="230" y="2117"/>
                  </a:lnTo>
                  <a:lnTo>
                    <a:pt x="230" y="2117"/>
                  </a:lnTo>
                  <a:lnTo>
                    <a:pt x="230" y="2117"/>
                  </a:lnTo>
                  <a:lnTo>
                    <a:pt x="232" y="2119"/>
                  </a:lnTo>
                  <a:lnTo>
                    <a:pt x="232" y="2119"/>
                  </a:lnTo>
                  <a:lnTo>
                    <a:pt x="232" y="2119"/>
                  </a:lnTo>
                  <a:lnTo>
                    <a:pt x="232" y="2122"/>
                  </a:lnTo>
                  <a:lnTo>
                    <a:pt x="234" y="2122"/>
                  </a:lnTo>
                  <a:lnTo>
                    <a:pt x="234" y="2122"/>
                  </a:lnTo>
                  <a:lnTo>
                    <a:pt x="234" y="2122"/>
                  </a:lnTo>
                  <a:lnTo>
                    <a:pt x="234" y="2124"/>
                  </a:lnTo>
                  <a:lnTo>
                    <a:pt x="234" y="2124"/>
                  </a:lnTo>
                  <a:lnTo>
                    <a:pt x="237" y="2122"/>
                  </a:lnTo>
                  <a:lnTo>
                    <a:pt x="237" y="2119"/>
                  </a:lnTo>
                  <a:lnTo>
                    <a:pt x="237" y="2114"/>
                  </a:lnTo>
                  <a:lnTo>
                    <a:pt x="237" y="2112"/>
                  </a:lnTo>
                  <a:lnTo>
                    <a:pt x="237" y="2110"/>
                  </a:lnTo>
                  <a:lnTo>
                    <a:pt x="237" y="2110"/>
                  </a:lnTo>
                  <a:lnTo>
                    <a:pt x="237" y="2112"/>
                  </a:lnTo>
                  <a:lnTo>
                    <a:pt x="237" y="2112"/>
                  </a:lnTo>
                  <a:lnTo>
                    <a:pt x="234" y="2114"/>
                  </a:lnTo>
                  <a:lnTo>
                    <a:pt x="230" y="2112"/>
                  </a:lnTo>
                  <a:lnTo>
                    <a:pt x="230" y="2112"/>
                  </a:lnTo>
                  <a:lnTo>
                    <a:pt x="230" y="2112"/>
                  </a:lnTo>
                  <a:lnTo>
                    <a:pt x="230" y="2112"/>
                  </a:lnTo>
                  <a:lnTo>
                    <a:pt x="230" y="2112"/>
                  </a:lnTo>
                  <a:lnTo>
                    <a:pt x="230" y="2112"/>
                  </a:lnTo>
                  <a:lnTo>
                    <a:pt x="230" y="2114"/>
                  </a:lnTo>
                  <a:lnTo>
                    <a:pt x="230" y="2114"/>
                  </a:lnTo>
                  <a:lnTo>
                    <a:pt x="230" y="2114"/>
                  </a:lnTo>
                  <a:lnTo>
                    <a:pt x="230" y="2114"/>
                  </a:lnTo>
                  <a:lnTo>
                    <a:pt x="230" y="2114"/>
                  </a:lnTo>
                  <a:lnTo>
                    <a:pt x="230" y="2114"/>
                  </a:lnTo>
                  <a:lnTo>
                    <a:pt x="230" y="2114"/>
                  </a:lnTo>
                  <a:lnTo>
                    <a:pt x="230" y="2117"/>
                  </a:lnTo>
                  <a:lnTo>
                    <a:pt x="230" y="2117"/>
                  </a:lnTo>
                  <a:lnTo>
                    <a:pt x="230" y="2117"/>
                  </a:lnTo>
                  <a:lnTo>
                    <a:pt x="230" y="2117"/>
                  </a:lnTo>
                  <a:close/>
                  <a:moveTo>
                    <a:pt x="232" y="2209"/>
                  </a:moveTo>
                  <a:lnTo>
                    <a:pt x="232" y="2209"/>
                  </a:lnTo>
                  <a:lnTo>
                    <a:pt x="234" y="2209"/>
                  </a:lnTo>
                  <a:lnTo>
                    <a:pt x="234" y="2209"/>
                  </a:lnTo>
                  <a:lnTo>
                    <a:pt x="234" y="2209"/>
                  </a:lnTo>
                  <a:lnTo>
                    <a:pt x="234" y="2209"/>
                  </a:lnTo>
                  <a:lnTo>
                    <a:pt x="234" y="2209"/>
                  </a:lnTo>
                  <a:lnTo>
                    <a:pt x="237" y="2209"/>
                  </a:lnTo>
                  <a:lnTo>
                    <a:pt x="237" y="2209"/>
                  </a:lnTo>
                  <a:lnTo>
                    <a:pt x="237" y="2209"/>
                  </a:lnTo>
                  <a:lnTo>
                    <a:pt x="237" y="2209"/>
                  </a:lnTo>
                  <a:lnTo>
                    <a:pt x="237" y="2207"/>
                  </a:lnTo>
                  <a:lnTo>
                    <a:pt x="237" y="2207"/>
                  </a:lnTo>
                  <a:lnTo>
                    <a:pt x="234" y="2207"/>
                  </a:lnTo>
                  <a:lnTo>
                    <a:pt x="234" y="2207"/>
                  </a:lnTo>
                  <a:lnTo>
                    <a:pt x="234" y="2207"/>
                  </a:lnTo>
                  <a:lnTo>
                    <a:pt x="232" y="2207"/>
                  </a:lnTo>
                  <a:lnTo>
                    <a:pt x="232" y="2207"/>
                  </a:lnTo>
                  <a:lnTo>
                    <a:pt x="232" y="2207"/>
                  </a:lnTo>
                  <a:lnTo>
                    <a:pt x="232" y="2209"/>
                  </a:lnTo>
                  <a:lnTo>
                    <a:pt x="232" y="2209"/>
                  </a:lnTo>
                  <a:close/>
                  <a:moveTo>
                    <a:pt x="230" y="2150"/>
                  </a:moveTo>
                  <a:lnTo>
                    <a:pt x="230" y="2152"/>
                  </a:lnTo>
                  <a:lnTo>
                    <a:pt x="230" y="2152"/>
                  </a:lnTo>
                  <a:lnTo>
                    <a:pt x="230" y="2150"/>
                  </a:lnTo>
                  <a:lnTo>
                    <a:pt x="232" y="2150"/>
                  </a:lnTo>
                  <a:lnTo>
                    <a:pt x="232" y="2148"/>
                  </a:lnTo>
                  <a:lnTo>
                    <a:pt x="232" y="2145"/>
                  </a:lnTo>
                  <a:lnTo>
                    <a:pt x="232" y="2148"/>
                  </a:lnTo>
                  <a:lnTo>
                    <a:pt x="232" y="2148"/>
                  </a:lnTo>
                  <a:lnTo>
                    <a:pt x="230" y="2148"/>
                  </a:lnTo>
                  <a:lnTo>
                    <a:pt x="230" y="2150"/>
                  </a:lnTo>
                  <a:lnTo>
                    <a:pt x="230" y="2150"/>
                  </a:lnTo>
                  <a:lnTo>
                    <a:pt x="230" y="2150"/>
                  </a:lnTo>
                  <a:close/>
                  <a:moveTo>
                    <a:pt x="208" y="2086"/>
                  </a:moveTo>
                  <a:lnTo>
                    <a:pt x="208" y="2084"/>
                  </a:lnTo>
                  <a:lnTo>
                    <a:pt x="208" y="2084"/>
                  </a:lnTo>
                  <a:lnTo>
                    <a:pt x="208" y="2086"/>
                  </a:lnTo>
                  <a:lnTo>
                    <a:pt x="208" y="2086"/>
                  </a:lnTo>
                  <a:lnTo>
                    <a:pt x="211" y="2086"/>
                  </a:lnTo>
                  <a:lnTo>
                    <a:pt x="211" y="2086"/>
                  </a:lnTo>
                  <a:lnTo>
                    <a:pt x="211" y="2084"/>
                  </a:lnTo>
                  <a:lnTo>
                    <a:pt x="208" y="2084"/>
                  </a:lnTo>
                  <a:lnTo>
                    <a:pt x="208" y="2084"/>
                  </a:lnTo>
                  <a:lnTo>
                    <a:pt x="208" y="2081"/>
                  </a:lnTo>
                  <a:lnTo>
                    <a:pt x="206" y="2081"/>
                  </a:lnTo>
                  <a:lnTo>
                    <a:pt x="206" y="2081"/>
                  </a:lnTo>
                  <a:lnTo>
                    <a:pt x="206" y="2084"/>
                  </a:lnTo>
                  <a:lnTo>
                    <a:pt x="206" y="2086"/>
                  </a:lnTo>
                  <a:lnTo>
                    <a:pt x="208" y="2086"/>
                  </a:lnTo>
                  <a:close/>
                  <a:moveTo>
                    <a:pt x="206" y="2072"/>
                  </a:moveTo>
                  <a:lnTo>
                    <a:pt x="206" y="2072"/>
                  </a:lnTo>
                  <a:lnTo>
                    <a:pt x="206" y="2069"/>
                  </a:lnTo>
                  <a:lnTo>
                    <a:pt x="206" y="2069"/>
                  </a:lnTo>
                  <a:lnTo>
                    <a:pt x="206" y="2067"/>
                  </a:lnTo>
                  <a:lnTo>
                    <a:pt x="206" y="2062"/>
                  </a:lnTo>
                  <a:lnTo>
                    <a:pt x="206" y="2060"/>
                  </a:lnTo>
                  <a:lnTo>
                    <a:pt x="206" y="2060"/>
                  </a:lnTo>
                  <a:lnTo>
                    <a:pt x="204" y="2060"/>
                  </a:lnTo>
                  <a:lnTo>
                    <a:pt x="204" y="2060"/>
                  </a:lnTo>
                  <a:lnTo>
                    <a:pt x="204" y="2058"/>
                  </a:lnTo>
                  <a:lnTo>
                    <a:pt x="204" y="2055"/>
                  </a:lnTo>
                  <a:lnTo>
                    <a:pt x="201" y="2053"/>
                  </a:lnTo>
                  <a:lnTo>
                    <a:pt x="199" y="2051"/>
                  </a:lnTo>
                  <a:lnTo>
                    <a:pt x="197" y="2048"/>
                  </a:lnTo>
                  <a:lnTo>
                    <a:pt x="197" y="2048"/>
                  </a:lnTo>
                  <a:lnTo>
                    <a:pt x="197" y="2046"/>
                  </a:lnTo>
                  <a:lnTo>
                    <a:pt x="194" y="2046"/>
                  </a:lnTo>
                  <a:lnTo>
                    <a:pt x="192" y="2043"/>
                  </a:lnTo>
                  <a:lnTo>
                    <a:pt x="192" y="2043"/>
                  </a:lnTo>
                  <a:lnTo>
                    <a:pt x="192" y="2043"/>
                  </a:lnTo>
                  <a:lnTo>
                    <a:pt x="192" y="2041"/>
                  </a:lnTo>
                  <a:lnTo>
                    <a:pt x="189" y="2041"/>
                  </a:lnTo>
                  <a:lnTo>
                    <a:pt x="189" y="2041"/>
                  </a:lnTo>
                  <a:lnTo>
                    <a:pt x="187" y="2043"/>
                  </a:lnTo>
                  <a:lnTo>
                    <a:pt x="187" y="2043"/>
                  </a:lnTo>
                  <a:lnTo>
                    <a:pt x="187" y="2046"/>
                  </a:lnTo>
                  <a:lnTo>
                    <a:pt x="187" y="2046"/>
                  </a:lnTo>
                  <a:lnTo>
                    <a:pt x="187" y="2046"/>
                  </a:lnTo>
                  <a:lnTo>
                    <a:pt x="187" y="2046"/>
                  </a:lnTo>
                  <a:lnTo>
                    <a:pt x="187" y="2046"/>
                  </a:lnTo>
                  <a:lnTo>
                    <a:pt x="187" y="2048"/>
                  </a:lnTo>
                  <a:lnTo>
                    <a:pt x="189" y="2048"/>
                  </a:lnTo>
                  <a:lnTo>
                    <a:pt x="189" y="2048"/>
                  </a:lnTo>
                  <a:lnTo>
                    <a:pt x="189" y="2048"/>
                  </a:lnTo>
                  <a:lnTo>
                    <a:pt x="189" y="2048"/>
                  </a:lnTo>
                  <a:lnTo>
                    <a:pt x="192" y="2048"/>
                  </a:lnTo>
                  <a:lnTo>
                    <a:pt x="192" y="2048"/>
                  </a:lnTo>
                  <a:lnTo>
                    <a:pt x="192" y="2051"/>
                  </a:lnTo>
                  <a:lnTo>
                    <a:pt x="192" y="2048"/>
                  </a:lnTo>
                  <a:lnTo>
                    <a:pt x="189" y="2048"/>
                  </a:lnTo>
                  <a:lnTo>
                    <a:pt x="189" y="2051"/>
                  </a:lnTo>
                  <a:lnTo>
                    <a:pt x="189" y="2051"/>
                  </a:lnTo>
                  <a:lnTo>
                    <a:pt x="189" y="2051"/>
                  </a:lnTo>
                  <a:lnTo>
                    <a:pt x="189" y="2053"/>
                  </a:lnTo>
                  <a:lnTo>
                    <a:pt x="192" y="2055"/>
                  </a:lnTo>
                  <a:lnTo>
                    <a:pt x="192" y="2055"/>
                  </a:lnTo>
                  <a:lnTo>
                    <a:pt x="194" y="2058"/>
                  </a:lnTo>
                  <a:lnTo>
                    <a:pt x="194" y="2058"/>
                  </a:lnTo>
                  <a:lnTo>
                    <a:pt x="194" y="2058"/>
                  </a:lnTo>
                  <a:lnTo>
                    <a:pt x="194" y="2058"/>
                  </a:lnTo>
                  <a:lnTo>
                    <a:pt x="194" y="2058"/>
                  </a:lnTo>
                  <a:lnTo>
                    <a:pt x="194" y="2060"/>
                  </a:lnTo>
                  <a:lnTo>
                    <a:pt x="197" y="2060"/>
                  </a:lnTo>
                  <a:lnTo>
                    <a:pt x="197" y="2060"/>
                  </a:lnTo>
                  <a:lnTo>
                    <a:pt x="197" y="2060"/>
                  </a:lnTo>
                  <a:lnTo>
                    <a:pt x="197" y="2060"/>
                  </a:lnTo>
                  <a:lnTo>
                    <a:pt x="197" y="2062"/>
                  </a:lnTo>
                  <a:lnTo>
                    <a:pt x="197" y="2062"/>
                  </a:lnTo>
                  <a:lnTo>
                    <a:pt x="197" y="2062"/>
                  </a:lnTo>
                  <a:lnTo>
                    <a:pt x="197" y="2062"/>
                  </a:lnTo>
                  <a:lnTo>
                    <a:pt x="197" y="2065"/>
                  </a:lnTo>
                  <a:lnTo>
                    <a:pt x="197" y="2065"/>
                  </a:lnTo>
                  <a:lnTo>
                    <a:pt x="197" y="2065"/>
                  </a:lnTo>
                  <a:lnTo>
                    <a:pt x="199" y="2067"/>
                  </a:lnTo>
                  <a:lnTo>
                    <a:pt x="199" y="2067"/>
                  </a:lnTo>
                  <a:lnTo>
                    <a:pt x="199" y="2069"/>
                  </a:lnTo>
                  <a:lnTo>
                    <a:pt x="199" y="2072"/>
                  </a:lnTo>
                  <a:lnTo>
                    <a:pt x="199" y="2072"/>
                  </a:lnTo>
                  <a:lnTo>
                    <a:pt x="201" y="2072"/>
                  </a:lnTo>
                  <a:lnTo>
                    <a:pt x="201" y="2072"/>
                  </a:lnTo>
                  <a:lnTo>
                    <a:pt x="201" y="2072"/>
                  </a:lnTo>
                  <a:lnTo>
                    <a:pt x="204" y="2072"/>
                  </a:lnTo>
                  <a:lnTo>
                    <a:pt x="204" y="2072"/>
                  </a:lnTo>
                  <a:lnTo>
                    <a:pt x="204" y="2072"/>
                  </a:lnTo>
                  <a:lnTo>
                    <a:pt x="204" y="2072"/>
                  </a:lnTo>
                  <a:lnTo>
                    <a:pt x="204" y="2072"/>
                  </a:lnTo>
                  <a:lnTo>
                    <a:pt x="204" y="2072"/>
                  </a:lnTo>
                  <a:lnTo>
                    <a:pt x="204" y="2074"/>
                  </a:lnTo>
                  <a:lnTo>
                    <a:pt x="206" y="2074"/>
                  </a:lnTo>
                  <a:lnTo>
                    <a:pt x="206" y="2074"/>
                  </a:lnTo>
                  <a:lnTo>
                    <a:pt x="206" y="2072"/>
                  </a:lnTo>
                  <a:close/>
                  <a:moveTo>
                    <a:pt x="215" y="2093"/>
                  </a:moveTo>
                  <a:lnTo>
                    <a:pt x="213" y="2093"/>
                  </a:lnTo>
                  <a:lnTo>
                    <a:pt x="213" y="2093"/>
                  </a:lnTo>
                  <a:lnTo>
                    <a:pt x="213" y="2095"/>
                  </a:lnTo>
                  <a:lnTo>
                    <a:pt x="213" y="2095"/>
                  </a:lnTo>
                  <a:lnTo>
                    <a:pt x="213" y="2095"/>
                  </a:lnTo>
                  <a:lnTo>
                    <a:pt x="215" y="2095"/>
                  </a:lnTo>
                  <a:lnTo>
                    <a:pt x="215" y="2095"/>
                  </a:lnTo>
                  <a:lnTo>
                    <a:pt x="215" y="2093"/>
                  </a:lnTo>
                  <a:close/>
                  <a:moveTo>
                    <a:pt x="213" y="2079"/>
                  </a:moveTo>
                  <a:lnTo>
                    <a:pt x="213" y="2079"/>
                  </a:lnTo>
                  <a:lnTo>
                    <a:pt x="213" y="2081"/>
                  </a:lnTo>
                  <a:lnTo>
                    <a:pt x="213" y="2081"/>
                  </a:lnTo>
                  <a:lnTo>
                    <a:pt x="213" y="2081"/>
                  </a:lnTo>
                  <a:lnTo>
                    <a:pt x="213" y="2084"/>
                  </a:lnTo>
                  <a:lnTo>
                    <a:pt x="215" y="2084"/>
                  </a:lnTo>
                  <a:lnTo>
                    <a:pt x="215" y="2086"/>
                  </a:lnTo>
                  <a:lnTo>
                    <a:pt x="215" y="2086"/>
                  </a:lnTo>
                  <a:lnTo>
                    <a:pt x="215" y="2086"/>
                  </a:lnTo>
                  <a:lnTo>
                    <a:pt x="215" y="2086"/>
                  </a:lnTo>
                  <a:lnTo>
                    <a:pt x="215" y="2088"/>
                  </a:lnTo>
                  <a:lnTo>
                    <a:pt x="218" y="2088"/>
                  </a:lnTo>
                  <a:lnTo>
                    <a:pt x="218" y="2086"/>
                  </a:lnTo>
                  <a:lnTo>
                    <a:pt x="218" y="2086"/>
                  </a:lnTo>
                  <a:lnTo>
                    <a:pt x="218" y="2084"/>
                  </a:lnTo>
                  <a:lnTo>
                    <a:pt x="218" y="2084"/>
                  </a:lnTo>
                  <a:lnTo>
                    <a:pt x="218" y="2081"/>
                  </a:lnTo>
                  <a:lnTo>
                    <a:pt x="218" y="2081"/>
                  </a:lnTo>
                  <a:lnTo>
                    <a:pt x="218" y="2081"/>
                  </a:lnTo>
                  <a:lnTo>
                    <a:pt x="215" y="2077"/>
                  </a:lnTo>
                  <a:lnTo>
                    <a:pt x="215" y="2077"/>
                  </a:lnTo>
                  <a:lnTo>
                    <a:pt x="215" y="2077"/>
                  </a:lnTo>
                  <a:lnTo>
                    <a:pt x="215" y="2074"/>
                  </a:lnTo>
                  <a:lnTo>
                    <a:pt x="215" y="2074"/>
                  </a:lnTo>
                  <a:lnTo>
                    <a:pt x="213" y="2074"/>
                  </a:lnTo>
                  <a:lnTo>
                    <a:pt x="213" y="2074"/>
                  </a:lnTo>
                  <a:lnTo>
                    <a:pt x="213" y="2074"/>
                  </a:lnTo>
                  <a:lnTo>
                    <a:pt x="211" y="2077"/>
                  </a:lnTo>
                  <a:lnTo>
                    <a:pt x="213" y="2077"/>
                  </a:lnTo>
                  <a:lnTo>
                    <a:pt x="213" y="2077"/>
                  </a:lnTo>
                  <a:lnTo>
                    <a:pt x="213" y="2079"/>
                  </a:lnTo>
                  <a:lnTo>
                    <a:pt x="213" y="2079"/>
                  </a:lnTo>
                  <a:lnTo>
                    <a:pt x="213" y="2079"/>
                  </a:lnTo>
                  <a:lnTo>
                    <a:pt x="213" y="2079"/>
                  </a:lnTo>
                  <a:lnTo>
                    <a:pt x="213" y="2079"/>
                  </a:lnTo>
                  <a:lnTo>
                    <a:pt x="213" y="2079"/>
                  </a:lnTo>
                  <a:lnTo>
                    <a:pt x="213" y="2079"/>
                  </a:lnTo>
                  <a:close/>
                  <a:moveTo>
                    <a:pt x="260" y="2285"/>
                  </a:moveTo>
                  <a:lnTo>
                    <a:pt x="260" y="2285"/>
                  </a:lnTo>
                  <a:lnTo>
                    <a:pt x="260" y="2282"/>
                  </a:lnTo>
                  <a:lnTo>
                    <a:pt x="260" y="2280"/>
                  </a:lnTo>
                  <a:lnTo>
                    <a:pt x="260" y="2280"/>
                  </a:lnTo>
                  <a:lnTo>
                    <a:pt x="260" y="2278"/>
                  </a:lnTo>
                  <a:lnTo>
                    <a:pt x="260" y="2278"/>
                  </a:lnTo>
                  <a:lnTo>
                    <a:pt x="260" y="2275"/>
                  </a:lnTo>
                  <a:lnTo>
                    <a:pt x="260" y="2273"/>
                  </a:lnTo>
                  <a:lnTo>
                    <a:pt x="260" y="2273"/>
                  </a:lnTo>
                  <a:lnTo>
                    <a:pt x="260" y="2273"/>
                  </a:lnTo>
                  <a:lnTo>
                    <a:pt x="258" y="2273"/>
                  </a:lnTo>
                  <a:lnTo>
                    <a:pt x="258" y="2273"/>
                  </a:lnTo>
                  <a:lnTo>
                    <a:pt x="258" y="2271"/>
                  </a:lnTo>
                  <a:lnTo>
                    <a:pt x="258" y="2271"/>
                  </a:lnTo>
                  <a:lnTo>
                    <a:pt x="256" y="2273"/>
                  </a:lnTo>
                  <a:lnTo>
                    <a:pt x="251" y="2273"/>
                  </a:lnTo>
                  <a:lnTo>
                    <a:pt x="251" y="2273"/>
                  </a:lnTo>
                  <a:lnTo>
                    <a:pt x="251" y="2273"/>
                  </a:lnTo>
                  <a:lnTo>
                    <a:pt x="251" y="2273"/>
                  </a:lnTo>
                  <a:lnTo>
                    <a:pt x="251" y="2273"/>
                  </a:lnTo>
                  <a:lnTo>
                    <a:pt x="251" y="2273"/>
                  </a:lnTo>
                  <a:lnTo>
                    <a:pt x="251" y="2273"/>
                  </a:lnTo>
                  <a:lnTo>
                    <a:pt x="251" y="2275"/>
                  </a:lnTo>
                  <a:lnTo>
                    <a:pt x="251" y="2275"/>
                  </a:lnTo>
                  <a:lnTo>
                    <a:pt x="251" y="2275"/>
                  </a:lnTo>
                  <a:lnTo>
                    <a:pt x="253" y="2275"/>
                  </a:lnTo>
                  <a:lnTo>
                    <a:pt x="253" y="2275"/>
                  </a:lnTo>
                  <a:lnTo>
                    <a:pt x="253" y="2275"/>
                  </a:lnTo>
                  <a:lnTo>
                    <a:pt x="253" y="2275"/>
                  </a:lnTo>
                  <a:lnTo>
                    <a:pt x="253" y="2275"/>
                  </a:lnTo>
                  <a:lnTo>
                    <a:pt x="253" y="2275"/>
                  </a:lnTo>
                  <a:lnTo>
                    <a:pt x="253" y="2275"/>
                  </a:lnTo>
                  <a:lnTo>
                    <a:pt x="253" y="2275"/>
                  </a:lnTo>
                  <a:lnTo>
                    <a:pt x="253" y="2275"/>
                  </a:lnTo>
                  <a:lnTo>
                    <a:pt x="251" y="2275"/>
                  </a:lnTo>
                  <a:lnTo>
                    <a:pt x="251" y="2278"/>
                  </a:lnTo>
                  <a:lnTo>
                    <a:pt x="251" y="2278"/>
                  </a:lnTo>
                  <a:lnTo>
                    <a:pt x="251" y="2278"/>
                  </a:lnTo>
                  <a:lnTo>
                    <a:pt x="251" y="2278"/>
                  </a:lnTo>
                  <a:lnTo>
                    <a:pt x="251" y="2275"/>
                  </a:lnTo>
                  <a:lnTo>
                    <a:pt x="251" y="2275"/>
                  </a:lnTo>
                  <a:lnTo>
                    <a:pt x="249" y="2278"/>
                  </a:lnTo>
                  <a:lnTo>
                    <a:pt x="251" y="2280"/>
                  </a:lnTo>
                  <a:lnTo>
                    <a:pt x="253" y="2282"/>
                  </a:lnTo>
                  <a:lnTo>
                    <a:pt x="253" y="2282"/>
                  </a:lnTo>
                  <a:lnTo>
                    <a:pt x="253" y="2285"/>
                  </a:lnTo>
                  <a:lnTo>
                    <a:pt x="253" y="2285"/>
                  </a:lnTo>
                  <a:lnTo>
                    <a:pt x="258" y="2287"/>
                  </a:lnTo>
                  <a:lnTo>
                    <a:pt x="258" y="2287"/>
                  </a:lnTo>
                  <a:lnTo>
                    <a:pt x="260" y="2285"/>
                  </a:lnTo>
                  <a:close/>
                  <a:moveTo>
                    <a:pt x="244" y="2261"/>
                  </a:moveTo>
                  <a:lnTo>
                    <a:pt x="244" y="2261"/>
                  </a:lnTo>
                  <a:lnTo>
                    <a:pt x="244" y="2261"/>
                  </a:lnTo>
                  <a:lnTo>
                    <a:pt x="244" y="2261"/>
                  </a:lnTo>
                  <a:lnTo>
                    <a:pt x="244" y="2261"/>
                  </a:lnTo>
                  <a:lnTo>
                    <a:pt x="244" y="2259"/>
                  </a:lnTo>
                  <a:lnTo>
                    <a:pt x="244" y="2259"/>
                  </a:lnTo>
                  <a:lnTo>
                    <a:pt x="242" y="2259"/>
                  </a:lnTo>
                  <a:lnTo>
                    <a:pt x="242" y="2259"/>
                  </a:lnTo>
                  <a:lnTo>
                    <a:pt x="242" y="2259"/>
                  </a:lnTo>
                  <a:lnTo>
                    <a:pt x="242" y="2261"/>
                  </a:lnTo>
                  <a:lnTo>
                    <a:pt x="242" y="2261"/>
                  </a:lnTo>
                  <a:lnTo>
                    <a:pt x="242" y="2261"/>
                  </a:lnTo>
                  <a:lnTo>
                    <a:pt x="242" y="2261"/>
                  </a:lnTo>
                  <a:lnTo>
                    <a:pt x="242" y="2261"/>
                  </a:lnTo>
                  <a:lnTo>
                    <a:pt x="242" y="2261"/>
                  </a:lnTo>
                  <a:lnTo>
                    <a:pt x="242" y="2261"/>
                  </a:lnTo>
                  <a:lnTo>
                    <a:pt x="244" y="2261"/>
                  </a:lnTo>
                  <a:lnTo>
                    <a:pt x="244" y="2261"/>
                  </a:lnTo>
                  <a:close/>
                  <a:moveTo>
                    <a:pt x="211" y="2081"/>
                  </a:moveTo>
                  <a:lnTo>
                    <a:pt x="211" y="2081"/>
                  </a:lnTo>
                  <a:lnTo>
                    <a:pt x="211" y="2081"/>
                  </a:lnTo>
                  <a:lnTo>
                    <a:pt x="208" y="2081"/>
                  </a:lnTo>
                  <a:lnTo>
                    <a:pt x="206" y="2079"/>
                  </a:lnTo>
                  <a:lnTo>
                    <a:pt x="206" y="2079"/>
                  </a:lnTo>
                  <a:lnTo>
                    <a:pt x="206" y="2079"/>
                  </a:lnTo>
                  <a:lnTo>
                    <a:pt x="208" y="2081"/>
                  </a:lnTo>
                  <a:lnTo>
                    <a:pt x="208" y="2081"/>
                  </a:lnTo>
                  <a:lnTo>
                    <a:pt x="208" y="2081"/>
                  </a:lnTo>
                  <a:lnTo>
                    <a:pt x="208" y="2081"/>
                  </a:lnTo>
                  <a:lnTo>
                    <a:pt x="208" y="2081"/>
                  </a:lnTo>
                  <a:lnTo>
                    <a:pt x="208" y="2081"/>
                  </a:lnTo>
                  <a:lnTo>
                    <a:pt x="208" y="2081"/>
                  </a:lnTo>
                  <a:lnTo>
                    <a:pt x="208" y="2081"/>
                  </a:lnTo>
                  <a:lnTo>
                    <a:pt x="211" y="2081"/>
                  </a:lnTo>
                  <a:lnTo>
                    <a:pt x="211" y="2081"/>
                  </a:lnTo>
                  <a:lnTo>
                    <a:pt x="211" y="2081"/>
                  </a:lnTo>
                  <a:lnTo>
                    <a:pt x="211" y="2084"/>
                  </a:lnTo>
                  <a:lnTo>
                    <a:pt x="211" y="2084"/>
                  </a:lnTo>
                  <a:lnTo>
                    <a:pt x="211" y="2084"/>
                  </a:lnTo>
                  <a:lnTo>
                    <a:pt x="211" y="2084"/>
                  </a:lnTo>
                  <a:lnTo>
                    <a:pt x="211" y="2084"/>
                  </a:lnTo>
                  <a:lnTo>
                    <a:pt x="211" y="2081"/>
                  </a:lnTo>
                  <a:lnTo>
                    <a:pt x="211" y="2081"/>
                  </a:lnTo>
                  <a:lnTo>
                    <a:pt x="211" y="2081"/>
                  </a:lnTo>
                  <a:close/>
                  <a:moveTo>
                    <a:pt x="215" y="2105"/>
                  </a:moveTo>
                  <a:lnTo>
                    <a:pt x="215" y="2103"/>
                  </a:lnTo>
                  <a:lnTo>
                    <a:pt x="215" y="2103"/>
                  </a:lnTo>
                  <a:lnTo>
                    <a:pt x="215" y="2103"/>
                  </a:lnTo>
                  <a:lnTo>
                    <a:pt x="215" y="2103"/>
                  </a:lnTo>
                  <a:lnTo>
                    <a:pt x="215" y="2107"/>
                  </a:lnTo>
                  <a:lnTo>
                    <a:pt x="218" y="2107"/>
                  </a:lnTo>
                  <a:lnTo>
                    <a:pt x="218" y="2107"/>
                  </a:lnTo>
                  <a:lnTo>
                    <a:pt x="218" y="2110"/>
                  </a:lnTo>
                  <a:lnTo>
                    <a:pt x="218" y="2110"/>
                  </a:lnTo>
                  <a:lnTo>
                    <a:pt x="218" y="2112"/>
                  </a:lnTo>
                  <a:lnTo>
                    <a:pt x="218" y="2112"/>
                  </a:lnTo>
                  <a:lnTo>
                    <a:pt x="218" y="2112"/>
                  </a:lnTo>
                  <a:lnTo>
                    <a:pt x="218" y="2114"/>
                  </a:lnTo>
                  <a:lnTo>
                    <a:pt x="220" y="2114"/>
                  </a:lnTo>
                  <a:lnTo>
                    <a:pt x="220" y="2114"/>
                  </a:lnTo>
                  <a:lnTo>
                    <a:pt x="220" y="2114"/>
                  </a:lnTo>
                  <a:lnTo>
                    <a:pt x="220" y="2114"/>
                  </a:lnTo>
                  <a:lnTo>
                    <a:pt x="220" y="2114"/>
                  </a:lnTo>
                  <a:lnTo>
                    <a:pt x="220" y="2117"/>
                  </a:lnTo>
                  <a:lnTo>
                    <a:pt x="220" y="2117"/>
                  </a:lnTo>
                  <a:lnTo>
                    <a:pt x="220" y="2117"/>
                  </a:lnTo>
                  <a:lnTo>
                    <a:pt x="220" y="2117"/>
                  </a:lnTo>
                  <a:lnTo>
                    <a:pt x="220" y="2117"/>
                  </a:lnTo>
                  <a:lnTo>
                    <a:pt x="223" y="2117"/>
                  </a:lnTo>
                  <a:lnTo>
                    <a:pt x="223" y="2117"/>
                  </a:lnTo>
                  <a:lnTo>
                    <a:pt x="223" y="2114"/>
                  </a:lnTo>
                  <a:lnTo>
                    <a:pt x="223" y="2112"/>
                  </a:lnTo>
                  <a:lnTo>
                    <a:pt x="225" y="2112"/>
                  </a:lnTo>
                  <a:lnTo>
                    <a:pt x="225" y="2110"/>
                  </a:lnTo>
                  <a:lnTo>
                    <a:pt x="225" y="2110"/>
                  </a:lnTo>
                  <a:lnTo>
                    <a:pt x="225" y="2110"/>
                  </a:lnTo>
                  <a:lnTo>
                    <a:pt x="220" y="2103"/>
                  </a:lnTo>
                  <a:lnTo>
                    <a:pt x="220" y="2103"/>
                  </a:lnTo>
                  <a:lnTo>
                    <a:pt x="220" y="2100"/>
                  </a:lnTo>
                  <a:lnTo>
                    <a:pt x="220" y="2100"/>
                  </a:lnTo>
                  <a:lnTo>
                    <a:pt x="220" y="2100"/>
                  </a:lnTo>
                  <a:lnTo>
                    <a:pt x="218" y="2098"/>
                  </a:lnTo>
                  <a:lnTo>
                    <a:pt x="215" y="2095"/>
                  </a:lnTo>
                  <a:lnTo>
                    <a:pt x="215" y="2095"/>
                  </a:lnTo>
                  <a:lnTo>
                    <a:pt x="215" y="2095"/>
                  </a:lnTo>
                  <a:lnTo>
                    <a:pt x="215" y="2098"/>
                  </a:lnTo>
                  <a:lnTo>
                    <a:pt x="215" y="2098"/>
                  </a:lnTo>
                  <a:lnTo>
                    <a:pt x="215" y="2098"/>
                  </a:lnTo>
                  <a:lnTo>
                    <a:pt x="215" y="2100"/>
                  </a:lnTo>
                  <a:lnTo>
                    <a:pt x="215" y="2100"/>
                  </a:lnTo>
                  <a:lnTo>
                    <a:pt x="215" y="2100"/>
                  </a:lnTo>
                  <a:lnTo>
                    <a:pt x="215" y="2103"/>
                  </a:lnTo>
                  <a:lnTo>
                    <a:pt x="215" y="2103"/>
                  </a:lnTo>
                  <a:lnTo>
                    <a:pt x="215" y="2105"/>
                  </a:lnTo>
                  <a:close/>
                  <a:moveTo>
                    <a:pt x="206" y="2079"/>
                  </a:moveTo>
                  <a:lnTo>
                    <a:pt x="206" y="2079"/>
                  </a:lnTo>
                  <a:lnTo>
                    <a:pt x="208" y="2079"/>
                  </a:lnTo>
                  <a:lnTo>
                    <a:pt x="208" y="2079"/>
                  </a:lnTo>
                  <a:lnTo>
                    <a:pt x="208" y="2079"/>
                  </a:lnTo>
                  <a:lnTo>
                    <a:pt x="208" y="2077"/>
                  </a:lnTo>
                  <a:lnTo>
                    <a:pt x="208" y="2077"/>
                  </a:lnTo>
                  <a:lnTo>
                    <a:pt x="208" y="2077"/>
                  </a:lnTo>
                  <a:lnTo>
                    <a:pt x="206" y="2074"/>
                  </a:lnTo>
                  <a:lnTo>
                    <a:pt x="206" y="2074"/>
                  </a:lnTo>
                  <a:lnTo>
                    <a:pt x="206" y="2074"/>
                  </a:lnTo>
                  <a:lnTo>
                    <a:pt x="206" y="2077"/>
                  </a:lnTo>
                  <a:lnTo>
                    <a:pt x="206" y="2079"/>
                  </a:lnTo>
                  <a:close/>
                  <a:moveTo>
                    <a:pt x="208" y="2207"/>
                  </a:moveTo>
                  <a:lnTo>
                    <a:pt x="208" y="2207"/>
                  </a:lnTo>
                  <a:lnTo>
                    <a:pt x="208" y="2207"/>
                  </a:lnTo>
                  <a:lnTo>
                    <a:pt x="206" y="2207"/>
                  </a:lnTo>
                  <a:lnTo>
                    <a:pt x="206" y="2204"/>
                  </a:lnTo>
                  <a:lnTo>
                    <a:pt x="206" y="2204"/>
                  </a:lnTo>
                  <a:lnTo>
                    <a:pt x="206" y="2204"/>
                  </a:lnTo>
                  <a:lnTo>
                    <a:pt x="206" y="2207"/>
                  </a:lnTo>
                  <a:lnTo>
                    <a:pt x="206" y="2207"/>
                  </a:lnTo>
                  <a:lnTo>
                    <a:pt x="206" y="2207"/>
                  </a:lnTo>
                  <a:lnTo>
                    <a:pt x="206" y="2207"/>
                  </a:lnTo>
                  <a:lnTo>
                    <a:pt x="206" y="2207"/>
                  </a:lnTo>
                  <a:lnTo>
                    <a:pt x="208" y="2207"/>
                  </a:lnTo>
                  <a:lnTo>
                    <a:pt x="208" y="2207"/>
                  </a:lnTo>
                  <a:lnTo>
                    <a:pt x="208" y="2207"/>
                  </a:lnTo>
                  <a:lnTo>
                    <a:pt x="208" y="2207"/>
                  </a:lnTo>
                  <a:close/>
                  <a:moveTo>
                    <a:pt x="208" y="2207"/>
                  </a:moveTo>
                  <a:lnTo>
                    <a:pt x="208" y="2207"/>
                  </a:lnTo>
                  <a:lnTo>
                    <a:pt x="208" y="2207"/>
                  </a:lnTo>
                  <a:lnTo>
                    <a:pt x="208" y="2207"/>
                  </a:lnTo>
                  <a:lnTo>
                    <a:pt x="208" y="2207"/>
                  </a:lnTo>
                  <a:lnTo>
                    <a:pt x="208" y="2209"/>
                  </a:lnTo>
                  <a:lnTo>
                    <a:pt x="208" y="2209"/>
                  </a:lnTo>
                  <a:lnTo>
                    <a:pt x="208" y="2209"/>
                  </a:lnTo>
                  <a:lnTo>
                    <a:pt x="208" y="2209"/>
                  </a:lnTo>
                  <a:lnTo>
                    <a:pt x="211" y="2209"/>
                  </a:lnTo>
                  <a:lnTo>
                    <a:pt x="211" y="2209"/>
                  </a:lnTo>
                  <a:lnTo>
                    <a:pt x="211" y="2209"/>
                  </a:lnTo>
                  <a:lnTo>
                    <a:pt x="211" y="2207"/>
                  </a:lnTo>
                  <a:lnTo>
                    <a:pt x="211" y="2207"/>
                  </a:lnTo>
                  <a:lnTo>
                    <a:pt x="208" y="2207"/>
                  </a:lnTo>
                  <a:close/>
                  <a:moveTo>
                    <a:pt x="208" y="2103"/>
                  </a:moveTo>
                  <a:lnTo>
                    <a:pt x="208" y="2105"/>
                  </a:lnTo>
                  <a:lnTo>
                    <a:pt x="208" y="2103"/>
                  </a:lnTo>
                  <a:lnTo>
                    <a:pt x="211" y="2103"/>
                  </a:lnTo>
                  <a:lnTo>
                    <a:pt x="211" y="2103"/>
                  </a:lnTo>
                  <a:lnTo>
                    <a:pt x="208" y="2103"/>
                  </a:lnTo>
                  <a:lnTo>
                    <a:pt x="208" y="2103"/>
                  </a:lnTo>
                  <a:lnTo>
                    <a:pt x="208" y="2103"/>
                  </a:lnTo>
                  <a:lnTo>
                    <a:pt x="208" y="2103"/>
                  </a:lnTo>
                  <a:lnTo>
                    <a:pt x="208" y="2105"/>
                  </a:lnTo>
                  <a:lnTo>
                    <a:pt x="208" y="2103"/>
                  </a:lnTo>
                  <a:close/>
                  <a:moveTo>
                    <a:pt x="275" y="2308"/>
                  </a:moveTo>
                  <a:lnTo>
                    <a:pt x="275" y="2308"/>
                  </a:lnTo>
                  <a:lnTo>
                    <a:pt x="275" y="2308"/>
                  </a:lnTo>
                  <a:lnTo>
                    <a:pt x="275" y="2306"/>
                  </a:lnTo>
                  <a:lnTo>
                    <a:pt x="275" y="2306"/>
                  </a:lnTo>
                  <a:lnTo>
                    <a:pt x="275" y="2304"/>
                  </a:lnTo>
                  <a:lnTo>
                    <a:pt x="275" y="2304"/>
                  </a:lnTo>
                  <a:lnTo>
                    <a:pt x="275" y="2301"/>
                  </a:lnTo>
                  <a:lnTo>
                    <a:pt x="272" y="2301"/>
                  </a:lnTo>
                  <a:lnTo>
                    <a:pt x="270" y="2301"/>
                  </a:lnTo>
                  <a:lnTo>
                    <a:pt x="270" y="2301"/>
                  </a:lnTo>
                  <a:lnTo>
                    <a:pt x="270" y="2301"/>
                  </a:lnTo>
                  <a:lnTo>
                    <a:pt x="270" y="2304"/>
                  </a:lnTo>
                  <a:lnTo>
                    <a:pt x="270" y="2304"/>
                  </a:lnTo>
                  <a:lnTo>
                    <a:pt x="270" y="2304"/>
                  </a:lnTo>
                  <a:lnTo>
                    <a:pt x="270" y="2304"/>
                  </a:lnTo>
                  <a:lnTo>
                    <a:pt x="270" y="2306"/>
                  </a:lnTo>
                  <a:lnTo>
                    <a:pt x="270" y="2306"/>
                  </a:lnTo>
                  <a:lnTo>
                    <a:pt x="270" y="2306"/>
                  </a:lnTo>
                  <a:lnTo>
                    <a:pt x="270" y="2308"/>
                  </a:lnTo>
                  <a:lnTo>
                    <a:pt x="270" y="2308"/>
                  </a:lnTo>
                  <a:lnTo>
                    <a:pt x="272" y="2308"/>
                  </a:lnTo>
                  <a:lnTo>
                    <a:pt x="272" y="2308"/>
                  </a:lnTo>
                  <a:lnTo>
                    <a:pt x="272" y="2311"/>
                  </a:lnTo>
                  <a:lnTo>
                    <a:pt x="275" y="2311"/>
                  </a:lnTo>
                  <a:lnTo>
                    <a:pt x="275" y="2308"/>
                  </a:lnTo>
                  <a:lnTo>
                    <a:pt x="275" y="2308"/>
                  </a:lnTo>
                  <a:close/>
                </a:path>
              </a:pathLst>
            </a:custGeom>
            <a:grpFill/>
            <a:ln w="6350" cap="rnd">
              <a:solidFill>
                <a:schemeClr val="bg1"/>
              </a:solidFill>
              <a:prstDash val="solid"/>
              <a:round/>
              <a:headEnd/>
              <a:tailEnd/>
            </a:ln>
          </p:spPr>
          <p:txBody>
            <a:bodyPr vert="horz" wrap="square" lIns="91440" tIns="45721" rIns="91440" bIns="45721" numCol="1" anchor="t" anchorCtr="0" compatLnSpc="1">
              <a:prstTxWarp prst="textNoShape">
                <a:avLst/>
              </a:prstTxWarp>
            </a:bodyPr>
            <a:lstStyle/>
            <a:p>
              <a:endParaRPr lang="en-US" sz="1801"/>
            </a:p>
          </p:txBody>
        </p:sp>
      </p:grpSp>
    </p:spTree>
    <p:extLst>
      <p:ext uri="{BB962C8B-B14F-4D97-AF65-F5344CB8AC3E}">
        <p14:creationId xmlns:p14="http://schemas.microsoft.com/office/powerpoint/2010/main" val="6147692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US map">
    <p:spTree>
      <p:nvGrpSpPr>
        <p:cNvPr id="1" name=""/>
        <p:cNvGrpSpPr/>
        <p:nvPr/>
      </p:nvGrpSpPr>
      <p:grpSpPr>
        <a:xfrm>
          <a:off x="0" y="0"/>
          <a:ext cx="0" cy="0"/>
          <a:chOff x="0" y="0"/>
          <a:chExt cx="0" cy="0"/>
        </a:xfrm>
      </p:grpSpPr>
      <p:sp>
        <p:nvSpPr>
          <p:cNvPr id="2" name="Title 54">
            <a:extLst>
              <a:ext uri="{FF2B5EF4-FFF2-40B4-BE49-F238E27FC236}">
                <a16:creationId xmlns:a16="http://schemas.microsoft.com/office/drawing/2014/main" id="{42769CB1-B121-F4BA-60B8-1630356E4F19}"/>
              </a:ext>
            </a:extLst>
          </p:cNvPr>
          <p:cNvSpPr>
            <a:spLocks noGrp="1"/>
          </p:cNvSpPr>
          <p:nvPr>
            <p:ph type="title"/>
          </p:nvPr>
        </p:nvSpPr>
        <p:spPr>
          <a:xfrm>
            <a:off x="493713" y="368300"/>
            <a:ext cx="11218100" cy="774700"/>
          </a:xfrm>
        </p:spPr>
        <p:txBody>
          <a:bodyPr vert="horz"/>
          <a:lstStyle/>
          <a:p>
            <a:r>
              <a:rPr lang="en-US"/>
              <a:t>Click to edit Master title style</a:t>
            </a:r>
            <a:endParaRPr lang="en-US" dirty="0"/>
          </a:p>
        </p:txBody>
      </p:sp>
      <p:grpSp>
        <p:nvGrpSpPr>
          <p:cNvPr id="3" name="USA">
            <a:extLst>
              <a:ext uri="{FF2B5EF4-FFF2-40B4-BE49-F238E27FC236}">
                <a16:creationId xmlns:a16="http://schemas.microsoft.com/office/drawing/2014/main" id="{764E3FB0-E2BF-2EBD-AF0E-2EBB72765EC9}"/>
              </a:ext>
            </a:extLst>
          </p:cNvPr>
          <p:cNvGrpSpPr/>
          <p:nvPr userDrawn="1"/>
        </p:nvGrpSpPr>
        <p:grpSpPr>
          <a:xfrm>
            <a:off x="1211263" y="1040341"/>
            <a:ext cx="9835920" cy="5300134"/>
            <a:chOff x="1121697" y="778934"/>
            <a:chExt cx="9835920" cy="5300134"/>
          </a:xfrm>
          <a:solidFill>
            <a:schemeClr val="accent5"/>
          </a:solidFill>
        </p:grpSpPr>
        <p:sp>
          <p:nvSpPr>
            <p:cNvPr id="4" name="Wyoming">
              <a:extLst>
                <a:ext uri="{FF2B5EF4-FFF2-40B4-BE49-F238E27FC236}">
                  <a16:creationId xmlns:a16="http://schemas.microsoft.com/office/drawing/2014/main" id="{08257355-F5A4-02DA-ABA7-2C8449B602F7}"/>
                </a:ext>
              </a:extLst>
            </p:cNvPr>
            <p:cNvSpPr>
              <a:spLocks/>
            </p:cNvSpPr>
            <p:nvPr/>
          </p:nvSpPr>
          <p:spPr bwMode="auto">
            <a:xfrm>
              <a:off x="4163305" y="1693424"/>
              <a:ext cx="1076658" cy="755666"/>
            </a:xfrm>
            <a:custGeom>
              <a:avLst/>
              <a:gdLst>
                <a:gd name="T0" fmla="*/ 204 w 644"/>
                <a:gd name="T1" fmla="*/ 452 h 452"/>
                <a:gd name="T2" fmla="*/ 206 w 644"/>
                <a:gd name="T3" fmla="*/ 452 h 452"/>
                <a:gd name="T4" fmla="*/ 644 w 644"/>
                <a:gd name="T5" fmla="*/ 452 h 452"/>
                <a:gd name="T6" fmla="*/ 644 w 644"/>
                <a:gd name="T7" fmla="*/ 203 h 452"/>
                <a:gd name="T8" fmla="*/ 644 w 644"/>
                <a:gd name="T9" fmla="*/ 201 h 452"/>
                <a:gd name="T10" fmla="*/ 644 w 644"/>
                <a:gd name="T11" fmla="*/ 0 h 452"/>
                <a:gd name="T12" fmla="*/ 0 w 644"/>
                <a:gd name="T13" fmla="*/ 0 h 452"/>
                <a:gd name="T14" fmla="*/ 0 w 644"/>
                <a:gd name="T15" fmla="*/ 26 h 452"/>
                <a:gd name="T16" fmla="*/ 0 w 644"/>
                <a:gd name="T17" fmla="*/ 28 h 452"/>
                <a:gd name="T18" fmla="*/ 0 w 644"/>
                <a:gd name="T19" fmla="*/ 317 h 452"/>
                <a:gd name="T20" fmla="*/ 0 w 644"/>
                <a:gd name="T21" fmla="*/ 317 h 452"/>
                <a:gd name="T22" fmla="*/ 0 w 644"/>
                <a:gd name="T23" fmla="*/ 452 h 452"/>
                <a:gd name="T24" fmla="*/ 204 w 644"/>
                <a:gd name="T25" fmla="*/ 452 h 452"/>
                <a:gd name="T26" fmla="*/ 204 w 644"/>
                <a:gd name="T27" fmla="*/ 452 h 452"/>
                <a:gd name="T28" fmla="*/ 204 w 644"/>
                <a:gd name="T29"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4" h="452">
                  <a:moveTo>
                    <a:pt x="204" y="452"/>
                  </a:moveTo>
                  <a:lnTo>
                    <a:pt x="206" y="452"/>
                  </a:lnTo>
                  <a:lnTo>
                    <a:pt x="644" y="452"/>
                  </a:lnTo>
                  <a:lnTo>
                    <a:pt x="644" y="203"/>
                  </a:lnTo>
                  <a:lnTo>
                    <a:pt x="644" y="201"/>
                  </a:lnTo>
                  <a:lnTo>
                    <a:pt x="644" y="0"/>
                  </a:lnTo>
                  <a:lnTo>
                    <a:pt x="0" y="0"/>
                  </a:lnTo>
                  <a:lnTo>
                    <a:pt x="0" y="26"/>
                  </a:lnTo>
                  <a:lnTo>
                    <a:pt x="0" y="28"/>
                  </a:lnTo>
                  <a:lnTo>
                    <a:pt x="0" y="317"/>
                  </a:lnTo>
                  <a:lnTo>
                    <a:pt x="0" y="317"/>
                  </a:lnTo>
                  <a:lnTo>
                    <a:pt x="0" y="452"/>
                  </a:lnTo>
                  <a:lnTo>
                    <a:pt x="204" y="452"/>
                  </a:lnTo>
                  <a:lnTo>
                    <a:pt x="204" y="452"/>
                  </a:lnTo>
                  <a:lnTo>
                    <a:pt x="204" y="45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 name="Wisconsin">
              <a:extLst>
                <a:ext uri="{FF2B5EF4-FFF2-40B4-BE49-F238E27FC236}">
                  <a16:creationId xmlns:a16="http://schemas.microsoft.com/office/drawing/2014/main" id="{BDF2A3D7-B24A-D6FB-C1BB-D28FE6D04B5F}"/>
                </a:ext>
              </a:extLst>
            </p:cNvPr>
            <p:cNvSpPr>
              <a:spLocks/>
            </p:cNvSpPr>
            <p:nvPr/>
          </p:nvSpPr>
          <p:spPr bwMode="auto">
            <a:xfrm>
              <a:off x="6960274" y="1349027"/>
              <a:ext cx="897772" cy="819196"/>
            </a:xfrm>
            <a:custGeom>
              <a:avLst/>
              <a:gdLst>
                <a:gd name="T0" fmla="*/ 18 w 227"/>
                <a:gd name="T1" fmla="*/ 20 h 207"/>
                <a:gd name="T2" fmla="*/ 0 w 227"/>
                <a:gd name="T3" fmla="*/ 49 h 207"/>
                <a:gd name="T4" fmla="*/ 2 w 227"/>
                <a:gd name="T5" fmla="*/ 70 h 207"/>
                <a:gd name="T6" fmla="*/ 4 w 227"/>
                <a:gd name="T7" fmla="*/ 93 h 207"/>
                <a:gd name="T8" fmla="*/ 43 w 227"/>
                <a:gd name="T9" fmla="*/ 129 h 207"/>
                <a:gd name="T10" fmla="*/ 56 w 227"/>
                <a:gd name="T11" fmla="*/ 145 h 207"/>
                <a:gd name="T12" fmla="*/ 56 w 227"/>
                <a:gd name="T13" fmla="*/ 146 h 207"/>
                <a:gd name="T14" fmla="*/ 55 w 227"/>
                <a:gd name="T15" fmla="*/ 156 h 207"/>
                <a:gd name="T16" fmla="*/ 55 w 227"/>
                <a:gd name="T17" fmla="*/ 158 h 207"/>
                <a:gd name="T18" fmla="*/ 57 w 227"/>
                <a:gd name="T19" fmla="*/ 172 h 207"/>
                <a:gd name="T20" fmla="*/ 76 w 227"/>
                <a:gd name="T21" fmla="*/ 202 h 207"/>
                <a:gd name="T22" fmla="*/ 80 w 227"/>
                <a:gd name="T23" fmla="*/ 207 h 207"/>
                <a:gd name="T24" fmla="*/ 195 w 227"/>
                <a:gd name="T25" fmla="*/ 203 h 207"/>
                <a:gd name="T26" fmla="*/ 227 w 227"/>
                <a:gd name="T27" fmla="*/ 94 h 207"/>
                <a:gd name="T28" fmla="*/ 215 w 227"/>
                <a:gd name="T29" fmla="*/ 118 h 207"/>
                <a:gd name="T30" fmla="*/ 192 w 227"/>
                <a:gd name="T31" fmla="*/ 133 h 207"/>
                <a:gd name="T32" fmla="*/ 198 w 227"/>
                <a:gd name="T33" fmla="*/ 119 h 207"/>
                <a:gd name="T34" fmla="*/ 197 w 227"/>
                <a:gd name="T35" fmla="*/ 112 h 207"/>
                <a:gd name="T36" fmla="*/ 196 w 227"/>
                <a:gd name="T37" fmla="*/ 91 h 207"/>
                <a:gd name="T38" fmla="*/ 197 w 227"/>
                <a:gd name="T39" fmla="*/ 89 h 207"/>
                <a:gd name="T40" fmla="*/ 193 w 227"/>
                <a:gd name="T41" fmla="*/ 82 h 207"/>
                <a:gd name="T42" fmla="*/ 180 w 227"/>
                <a:gd name="T43" fmla="*/ 68 h 207"/>
                <a:gd name="T44" fmla="*/ 179 w 227"/>
                <a:gd name="T45" fmla="*/ 61 h 207"/>
                <a:gd name="T46" fmla="*/ 148 w 227"/>
                <a:gd name="T47" fmla="*/ 50 h 207"/>
                <a:gd name="T48" fmla="*/ 141 w 227"/>
                <a:gd name="T49" fmla="*/ 45 h 207"/>
                <a:gd name="T50" fmla="*/ 140 w 227"/>
                <a:gd name="T51" fmla="*/ 45 h 207"/>
                <a:gd name="T52" fmla="*/ 140 w 227"/>
                <a:gd name="T53" fmla="*/ 45 h 207"/>
                <a:gd name="T54" fmla="*/ 138 w 227"/>
                <a:gd name="T55" fmla="*/ 44 h 207"/>
                <a:gd name="T56" fmla="*/ 123 w 227"/>
                <a:gd name="T57" fmla="*/ 44 h 207"/>
                <a:gd name="T58" fmla="*/ 109 w 227"/>
                <a:gd name="T59" fmla="*/ 39 h 207"/>
                <a:gd name="T60" fmla="*/ 100 w 227"/>
                <a:gd name="T61" fmla="*/ 29 h 207"/>
                <a:gd name="T62" fmla="*/ 82 w 227"/>
                <a:gd name="T63" fmla="*/ 20 h 207"/>
                <a:gd name="T64" fmla="*/ 78 w 227"/>
                <a:gd name="T65" fmla="*/ 20 h 207"/>
                <a:gd name="T66" fmla="*/ 82 w 227"/>
                <a:gd name="T67" fmla="*/ 4 h 207"/>
                <a:gd name="T68" fmla="*/ 51 w 227"/>
                <a:gd name="T69" fmla="*/ 20 h 207"/>
                <a:gd name="T70" fmla="*/ 35 w 227"/>
                <a:gd name="T71" fmla="*/ 20 h 207"/>
                <a:gd name="T72" fmla="*/ 24 w 227"/>
                <a:gd name="T73" fmla="*/ 1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7" h="207">
                  <a:moveTo>
                    <a:pt x="21" y="15"/>
                  </a:moveTo>
                  <a:cubicBezTo>
                    <a:pt x="20" y="16"/>
                    <a:pt x="18" y="18"/>
                    <a:pt x="18" y="20"/>
                  </a:cubicBezTo>
                  <a:cubicBezTo>
                    <a:pt x="16" y="29"/>
                    <a:pt x="10" y="30"/>
                    <a:pt x="9" y="30"/>
                  </a:cubicBezTo>
                  <a:cubicBezTo>
                    <a:pt x="0" y="49"/>
                    <a:pt x="0" y="49"/>
                    <a:pt x="0" y="49"/>
                  </a:cubicBezTo>
                  <a:cubicBezTo>
                    <a:pt x="0" y="61"/>
                    <a:pt x="0" y="61"/>
                    <a:pt x="0" y="61"/>
                  </a:cubicBezTo>
                  <a:cubicBezTo>
                    <a:pt x="2" y="70"/>
                    <a:pt x="2" y="70"/>
                    <a:pt x="2" y="70"/>
                  </a:cubicBezTo>
                  <a:cubicBezTo>
                    <a:pt x="4" y="78"/>
                    <a:pt x="1" y="81"/>
                    <a:pt x="0" y="82"/>
                  </a:cubicBezTo>
                  <a:cubicBezTo>
                    <a:pt x="4" y="93"/>
                    <a:pt x="4" y="93"/>
                    <a:pt x="4" y="93"/>
                  </a:cubicBezTo>
                  <a:cubicBezTo>
                    <a:pt x="21" y="105"/>
                    <a:pt x="21" y="105"/>
                    <a:pt x="21" y="105"/>
                  </a:cubicBezTo>
                  <a:cubicBezTo>
                    <a:pt x="43" y="129"/>
                    <a:pt x="43" y="129"/>
                    <a:pt x="43" y="129"/>
                  </a:cubicBezTo>
                  <a:cubicBezTo>
                    <a:pt x="44" y="129"/>
                    <a:pt x="46" y="132"/>
                    <a:pt x="55" y="143"/>
                  </a:cubicBezTo>
                  <a:cubicBezTo>
                    <a:pt x="56" y="144"/>
                    <a:pt x="56" y="144"/>
                    <a:pt x="56" y="145"/>
                  </a:cubicBezTo>
                  <a:cubicBezTo>
                    <a:pt x="57" y="145"/>
                    <a:pt x="57" y="145"/>
                    <a:pt x="57" y="145"/>
                  </a:cubicBezTo>
                  <a:cubicBezTo>
                    <a:pt x="56" y="146"/>
                    <a:pt x="56" y="146"/>
                    <a:pt x="56" y="146"/>
                  </a:cubicBezTo>
                  <a:cubicBezTo>
                    <a:pt x="56" y="146"/>
                    <a:pt x="55" y="147"/>
                    <a:pt x="55" y="150"/>
                  </a:cubicBezTo>
                  <a:cubicBezTo>
                    <a:pt x="55" y="152"/>
                    <a:pt x="55" y="154"/>
                    <a:pt x="55" y="156"/>
                  </a:cubicBezTo>
                  <a:cubicBezTo>
                    <a:pt x="56" y="158"/>
                    <a:pt x="56" y="158"/>
                    <a:pt x="56" y="158"/>
                  </a:cubicBezTo>
                  <a:cubicBezTo>
                    <a:pt x="55" y="158"/>
                    <a:pt x="55" y="158"/>
                    <a:pt x="55" y="158"/>
                  </a:cubicBezTo>
                  <a:cubicBezTo>
                    <a:pt x="56" y="164"/>
                    <a:pt x="57" y="170"/>
                    <a:pt x="57" y="172"/>
                  </a:cubicBezTo>
                  <a:cubicBezTo>
                    <a:pt x="57" y="172"/>
                    <a:pt x="57" y="172"/>
                    <a:pt x="57" y="172"/>
                  </a:cubicBezTo>
                  <a:cubicBezTo>
                    <a:pt x="64" y="183"/>
                    <a:pt x="64" y="183"/>
                    <a:pt x="64" y="183"/>
                  </a:cubicBezTo>
                  <a:cubicBezTo>
                    <a:pt x="76" y="202"/>
                    <a:pt x="76" y="202"/>
                    <a:pt x="76" y="202"/>
                  </a:cubicBezTo>
                  <a:cubicBezTo>
                    <a:pt x="80" y="207"/>
                    <a:pt x="80" y="207"/>
                    <a:pt x="80" y="207"/>
                  </a:cubicBezTo>
                  <a:cubicBezTo>
                    <a:pt x="80" y="207"/>
                    <a:pt x="80" y="207"/>
                    <a:pt x="80" y="207"/>
                  </a:cubicBezTo>
                  <a:cubicBezTo>
                    <a:pt x="196" y="207"/>
                    <a:pt x="196" y="207"/>
                    <a:pt x="196" y="207"/>
                  </a:cubicBezTo>
                  <a:cubicBezTo>
                    <a:pt x="195" y="203"/>
                    <a:pt x="195" y="203"/>
                    <a:pt x="195" y="203"/>
                  </a:cubicBezTo>
                  <a:cubicBezTo>
                    <a:pt x="227" y="102"/>
                    <a:pt x="227" y="102"/>
                    <a:pt x="227" y="102"/>
                  </a:cubicBezTo>
                  <a:cubicBezTo>
                    <a:pt x="227" y="94"/>
                    <a:pt x="227" y="94"/>
                    <a:pt x="227" y="94"/>
                  </a:cubicBezTo>
                  <a:cubicBezTo>
                    <a:pt x="215" y="106"/>
                    <a:pt x="215" y="106"/>
                    <a:pt x="215" y="106"/>
                  </a:cubicBezTo>
                  <a:cubicBezTo>
                    <a:pt x="215" y="118"/>
                    <a:pt x="215" y="118"/>
                    <a:pt x="215" y="118"/>
                  </a:cubicBezTo>
                  <a:cubicBezTo>
                    <a:pt x="207" y="118"/>
                    <a:pt x="207" y="118"/>
                    <a:pt x="207" y="118"/>
                  </a:cubicBezTo>
                  <a:cubicBezTo>
                    <a:pt x="192" y="133"/>
                    <a:pt x="192" y="133"/>
                    <a:pt x="192" y="133"/>
                  </a:cubicBezTo>
                  <a:cubicBezTo>
                    <a:pt x="192" y="129"/>
                    <a:pt x="192" y="129"/>
                    <a:pt x="192" y="129"/>
                  </a:cubicBezTo>
                  <a:cubicBezTo>
                    <a:pt x="198" y="119"/>
                    <a:pt x="198" y="119"/>
                    <a:pt x="198" y="119"/>
                  </a:cubicBezTo>
                  <a:cubicBezTo>
                    <a:pt x="198" y="118"/>
                    <a:pt x="198" y="118"/>
                    <a:pt x="198" y="118"/>
                  </a:cubicBezTo>
                  <a:cubicBezTo>
                    <a:pt x="198" y="116"/>
                    <a:pt x="198" y="114"/>
                    <a:pt x="197" y="112"/>
                  </a:cubicBezTo>
                  <a:cubicBezTo>
                    <a:pt x="196" y="109"/>
                    <a:pt x="196" y="106"/>
                    <a:pt x="196" y="104"/>
                  </a:cubicBezTo>
                  <a:cubicBezTo>
                    <a:pt x="197" y="100"/>
                    <a:pt x="197" y="95"/>
                    <a:pt x="196" y="91"/>
                  </a:cubicBezTo>
                  <a:cubicBezTo>
                    <a:pt x="196" y="90"/>
                    <a:pt x="196" y="90"/>
                    <a:pt x="196" y="90"/>
                  </a:cubicBezTo>
                  <a:cubicBezTo>
                    <a:pt x="197" y="89"/>
                    <a:pt x="197" y="89"/>
                    <a:pt x="197" y="89"/>
                  </a:cubicBezTo>
                  <a:cubicBezTo>
                    <a:pt x="195" y="87"/>
                    <a:pt x="195" y="87"/>
                    <a:pt x="195" y="87"/>
                  </a:cubicBezTo>
                  <a:cubicBezTo>
                    <a:pt x="193" y="83"/>
                    <a:pt x="193" y="83"/>
                    <a:pt x="193" y="82"/>
                  </a:cubicBezTo>
                  <a:cubicBezTo>
                    <a:pt x="192" y="82"/>
                    <a:pt x="192" y="81"/>
                    <a:pt x="191" y="80"/>
                  </a:cubicBezTo>
                  <a:cubicBezTo>
                    <a:pt x="187" y="76"/>
                    <a:pt x="181" y="69"/>
                    <a:pt x="180" y="68"/>
                  </a:cubicBezTo>
                  <a:cubicBezTo>
                    <a:pt x="180" y="67"/>
                    <a:pt x="183" y="64"/>
                    <a:pt x="183" y="63"/>
                  </a:cubicBezTo>
                  <a:cubicBezTo>
                    <a:pt x="182" y="62"/>
                    <a:pt x="181" y="61"/>
                    <a:pt x="179" y="61"/>
                  </a:cubicBezTo>
                  <a:cubicBezTo>
                    <a:pt x="148" y="61"/>
                    <a:pt x="148" y="61"/>
                    <a:pt x="148" y="61"/>
                  </a:cubicBezTo>
                  <a:cubicBezTo>
                    <a:pt x="148" y="50"/>
                    <a:pt x="148" y="50"/>
                    <a:pt x="148" y="50"/>
                  </a:cubicBezTo>
                  <a:cubicBezTo>
                    <a:pt x="149" y="49"/>
                    <a:pt x="148" y="47"/>
                    <a:pt x="144" y="46"/>
                  </a:cubicBezTo>
                  <a:cubicBezTo>
                    <a:pt x="142" y="45"/>
                    <a:pt x="141" y="45"/>
                    <a:pt x="141" y="45"/>
                  </a:cubicBezTo>
                  <a:cubicBezTo>
                    <a:pt x="140" y="45"/>
                    <a:pt x="140" y="45"/>
                    <a:pt x="140" y="45"/>
                  </a:cubicBezTo>
                  <a:cubicBezTo>
                    <a:pt x="140" y="45"/>
                    <a:pt x="140" y="45"/>
                    <a:pt x="140" y="45"/>
                  </a:cubicBezTo>
                  <a:cubicBezTo>
                    <a:pt x="140" y="45"/>
                    <a:pt x="140" y="45"/>
                    <a:pt x="140" y="45"/>
                  </a:cubicBezTo>
                  <a:cubicBezTo>
                    <a:pt x="140" y="45"/>
                    <a:pt x="140" y="45"/>
                    <a:pt x="140" y="45"/>
                  </a:cubicBezTo>
                  <a:cubicBezTo>
                    <a:pt x="140" y="44"/>
                    <a:pt x="140" y="44"/>
                    <a:pt x="140" y="44"/>
                  </a:cubicBezTo>
                  <a:cubicBezTo>
                    <a:pt x="139" y="44"/>
                    <a:pt x="139" y="44"/>
                    <a:pt x="138" y="44"/>
                  </a:cubicBezTo>
                  <a:cubicBezTo>
                    <a:pt x="137" y="43"/>
                    <a:pt x="135" y="43"/>
                    <a:pt x="132" y="43"/>
                  </a:cubicBezTo>
                  <a:cubicBezTo>
                    <a:pt x="127" y="43"/>
                    <a:pt x="123" y="44"/>
                    <a:pt x="123" y="44"/>
                  </a:cubicBezTo>
                  <a:cubicBezTo>
                    <a:pt x="117" y="43"/>
                    <a:pt x="117" y="43"/>
                    <a:pt x="117" y="43"/>
                  </a:cubicBezTo>
                  <a:cubicBezTo>
                    <a:pt x="109" y="39"/>
                    <a:pt x="109" y="39"/>
                    <a:pt x="109" y="39"/>
                  </a:cubicBezTo>
                  <a:cubicBezTo>
                    <a:pt x="106" y="39"/>
                    <a:pt x="106" y="39"/>
                    <a:pt x="106" y="39"/>
                  </a:cubicBezTo>
                  <a:cubicBezTo>
                    <a:pt x="100" y="29"/>
                    <a:pt x="100" y="29"/>
                    <a:pt x="100" y="29"/>
                  </a:cubicBezTo>
                  <a:cubicBezTo>
                    <a:pt x="100" y="20"/>
                    <a:pt x="100" y="20"/>
                    <a:pt x="100" y="20"/>
                  </a:cubicBezTo>
                  <a:cubicBezTo>
                    <a:pt x="82" y="20"/>
                    <a:pt x="82" y="20"/>
                    <a:pt x="82" y="20"/>
                  </a:cubicBezTo>
                  <a:cubicBezTo>
                    <a:pt x="82" y="24"/>
                    <a:pt x="82" y="24"/>
                    <a:pt x="82" y="24"/>
                  </a:cubicBezTo>
                  <a:cubicBezTo>
                    <a:pt x="78" y="20"/>
                    <a:pt x="78" y="20"/>
                    <a:pt x="78" y="20"/>
                  </a:cubicBezTo>
                  <a:cubicBezTo>
                    <a:pt x="82" y="12"/>
                    <a:pt x="82" y="12"/>
                    <a:pt x="82" y="12"/>
                  </a:cubicBezTo>
                  <a:cubicBezTo>
                    <a:pt x="82" y="4"/>
                    <a:pt x="82" y="4"/>
                    <a:pt x="82" y="4"/>
                  </a:cubicBezTo>
                  <a:cubicBezTo>
                    <a:pt x="78" y="0"/>
                    <a:pt x="78" y="0"/>
                    <a:pt x="78" y="0"/>
                  </a:cubicBezTo>
                  <a:cubicBezTo>
                    <a:pt x="51" y="20"/>
                    <a:pt x="51" y="20"/>
                    <a:pt x="51" y="20"/>
                  </a:cubicBezTo>
                  <a:cubicBezTo>
                    <a:pt x="43" y="20"/>
                    <a:pt x="43" y="20"/>
                    <a:pt x="43" y="20"/>
                  </a:cubicBezTo>
                  <a:cubicBezTo>
                    <a:pt x="35" y="20"/>
                    <a:pt x="35" y="20"/>
                    <a:pt x="35" y="20"/>
                  </a:cubicBezTo>
                  <a:cubicBezTo>
                    <a:pt x="32" y="16"/>
                    <a:pt x="32" y="16"/>
                    <a:pt x="32" y="16"/>
                  </a:cubicBezTo>
                  <a:cubicBezTo>
                    <a:pt x="30" y="16"/>
                    <a:pt x="27" y="15"/>
                    <a:pt x="24" y="15"/>
                  </a:cubicBezTo>
                  <a:cubicBezTo>
                    <a:pt x="23" y="15"/>
                    <a:pt x="22" y="15"/>
                    <a:pt x="21" y="15"/>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6" name="West Virginia">
              <a:extLst>
                <a:ext uri="{FF2B5EF4-FFF2-40B4-BE49-F238E27FC236}">
                  <a16:creationId xmlns:a16="http://schemas.microsoft.com/office/drawing/2014/main" id="{92B9067A-4355-098A-8D1A-2EAF78081BAC}"/>
                </a:ext>
              </a:extLst>
            </p:cNvPr>
            <p:cNvSpPr>
              <a:spLocks/>
            </p:cNvSpPr>
            <p:nvPr/>
          </p:nvSpPr>
          <p:spPr bwMode="auto">
            <a:xfrm>
              <a:off x="8530122" y="2666428"/>
              <a:ext cx="785760" cy="578453"/>
            </a:xfrm>
            <a:custGeom>
              <a:avLst/>
              <a:gdLst>
                <a:gd name="T0" fmla="*/ 79 w 199"/>
                <a:gd name="T1" fmla="*/ 0 h 146"/>
                <a:gd name="T2" fmla="*/ 74 w 199"/>
                <a:gd name="T3" fmla="*/ 17 h 146"/>
                <a:gd name="T4" fmla="*/ 74 w 199"/>
                <a:gd name="T5" fmla="*/ 29 h 146"/>
                <a:gd name="T6" fmla="*/ 74 w 199"/>
                <a:gd name="T7" fmla="*/ 41 h 146"/>
                <a:gd name="T8" fmla="*/ 69 w 199"/>
                <a:gd name="T9" fmla="*/ 53 h 146"/>
                <a:gd name="T10" fmla="*/ 59 w 199"/>
                <a:gd name="T11" fmla="*/ 64 h 146"/>
                <a:gd name="T12" fmla="*/ 49 w 199"/>
                <a:gd name="T13" fmla="*/ 71 h 146"/>
                <a:gd name="T14" fmla="*/ 44 w 199"/>
                <a:gd name="T15" fmla="*/ 75 h 146"/>
                <a:gd name="T16" fmla="*/ 36 w 199"/>
                <a:gd name="T17" fmla="*/ 80 h 146"/>
                <a:gd name="T18" fmla="*/ 20 w 199"/>
                <a:gd name="T19" fmla="*/ 87 h 146"/>
                <a:gd name="T20" fmla="*/ 4 w 199"/>
                <a:gd name="T21" fmla="*/ 100 h 146"/>
                <a:gd name="T22" fmla="*/ 4 w 199"/>
                <a:gd name="T23" fmla="*/ 103 h 146"/>
                <a:gd name="T24" fmla="*/ 2 w 199"/>
                <a:gd name="T25" fmla="*/ 109 h 146"/>
                <a:gd name="T26" fmla="*/ 0 w 199"/>
                <a:gd name="T27" fmla="*/ 122 h 146"/>
                <a:gd name="T28" fmla="*/ 1 w 199"/>
                <a:gd name="T29" fmla="*/ 129 h 146"/>
                <a:gd name="T30" fmla="*/ 5 w 199"/>
                <a:gd name="T31" fmla="*/ 133 h 146"/>
                <a:gd name="T32" fmla="*/ 11 w 199"/>
                <a:gd name="T33" fmla="*/ 138 h 146"/>
                <a:gd name="T34" fmla="*/ 13 w 199"/>
                <a:gd name="T35" fmla="*/ 137 h 146"/>
                <a:gd name="T36" fmla="*/ 16 w 199"/>
                <a:gd name="T37" fmla="*/ 141 h 146"/>
                <a:gd name="T38" fmla="*/ 18 w 199"/>
                <a:gd name="T39" fmla="*/ 144 h 146"/>
                <a:gd name="T40" fmla="*/ 20 w 199"/>
                <a:gd name="T41" fmla="*/ 144 h 146"/>
                <a:gd name="T42" fmla="*/ 23 w 199"/>
                <a:gd name="T43" fmla="*/ 144 h 146"/>
                <a:gd name="T44" fmla="*/ 26 w 199"/>
                <a:gd name="T45" fmla="*/ 144 h 146"/>
                <a:gd name="T46" fmla="*/ 30 w 199"/>
                <a:gd name="T47" fmla="*/ 144 h 146"/>
                <a:gd name="T48" fmla="*/ 33 w 199"/>
                <a:gd name="T49" fmla="*/ 144 h 146"/>
                <a:gd name="T50" fmla="*/ 37 w 199"/>
                <a:gd name="T51" fmla="*/ 144 h 146"/>
                <a:gd name="T52" fmla="*/ 41 w 199"/>
                <a:gd name="T53" fmla="*/ 145 h 146"/>
                <a:gd name="T54" fmla="*/ 46 w 199"/>
                <a:gd name="T55" fmla="*/ 145 h 146"/>
                <a:gd name="T56" fmla="*/ 47 w 199"/>
                <a:gd name="T57" fmla="*/ 145 h 146"/>
                <a:gd name="T58" fmla="*/ 50 w 199"/>
                <a:gd name="T59" fmla="*/ 145 h 146"/>
                <a:gd name="T60" fmla="*/ 55 w 199"/>
                <a:gd name="T61" fmla="*/ 145 h 146"/>
                <a:gd name="T62" fmla="*/ 58 w 199"/>
                <a:gd name="T63" fmla="*/ 146 h 146"/>
                <a:gd name="T64" fmla="*/ 59 w 199"/>
                <a:gd name="T65" fmla="*/ 146 h 146"/>
                <a:gd name="T66" fmla="*/ 64 w 199"/>
                <a:gd name="T67" fmla="*/ 146 h 146"/>
                <a:gd name="T68" fmla="*/ 70 w 199"/>
                <a:gd name="T69" fmla="*/ 144 h 146"/>
                <a:gd name="T70" fmla="*/ 104 w 199"/>
                <a:gd name="T71" fmla="*/ 142 h 146"/>
                <a:gd name="T72" fmla="*/ 108 w 199"/>
                <a:gd name="T73" fmla="*/ 133 h 146"/>
                <a:gd name="T74" fmla="*/ 114 w 199"/>
                <a:gd name="T75" fmla="*/ 128 h 146"/>
                <a:gd name="T76" fmla="*/ 114 w 199"/>
                <a:gd name="T77" fmla="*/ 128 h 146"/>
                <a:gd name="T78" fmla="*/ 117 w 199"/>
                <a:gd name="T79" fmla="*/ 126 h 146"/>
                <a:gd name="T80" fmla="*/ 115 w 199"/>
                <a:gd name="T81" fmla="*/ 126 h 146"/>
                <a:gd name="T82" fmla="*/ 116 w 199"/>
                <a:gd name="T83" fmla="*/ 124 h 146"/>
                <a:gd name="T84" fmla="*/ 120 w 199"/>
                <a:gd name="T85" fmla="*/ 118 h 146"/>
                <a:gd name="T86" fmla="*/ 128 w 199"/>
                <a:gd name="T87" fmla="*/ 106 h 146"/>
                <a:gd name="T88" fmla="*/ 136 w 199"/>
                <a:gd name="T89" fmla="*/ 104 h 146"/>
                <a:gd name="T90" fmla="*/ 143 w 199"/>
                <a:gd name="T91" fmla="*/ 91 h 146"/>
                <a:gd name="T92" fmla="*/ 151 w 199"/>
                <a:gd name="T93" fmla="*/ 88 h 146"/>
                <a:gd name="T94" fmla="*/ 160 w 199"/>
                <a:gd name="T95" fmla="*/ 77 h 146"/>
                <a:gd name="T96" fmla="*/ 166 w 199"/>
                <a:gd name="T97" fmla="*/ 72 h 146"/>
                <a:gd name="T98" fmla="*/ 174 w 199"/>
                <a:gd name="T99" fmla="*/ 70 h 146"/>
                <a:gd name="T100" fmla="*/ 183 w 199"/>
                <a:gd name="T101" fmla="*/ 74 h 146"/>
                <a:gd name="T102" fmla="*/ 186 w 199"/>
                <a:gd name="T103" fmla="*/ 67 h 146"/>
                <a:gd name="T104" fmla="*/ 195 w 199"/>
                <a:gd name="T105" fmla="*/ 67 h 146"/>
                <a:gd name="T106" fmla="*/ 196 w 199"/>
                <a:gd name="T107" fmla="*/ 65 h 146"/>
                <a:gd name="T108" fmla="*/ 199 w 199"/>
                <a:gd name="T109" fmla="*/ 62 h 146"/>
                <a:gd name="T110" fmla="*/ 192 w 199"/>
                <a:gd name="T111" fmla="*/ 60 h 146"/>
                <a:gd name="T112" fmla="*/ 157 w 199"/>
                <a:gd name="T113" fmla="*/ 61 h 146"/>
                <a:gd name="T114" fmla="*/ 140 w 199"/>
                <a:gd name="T115" fmla="*/ 60 h 146"/>
                <a:gd name="T116" fmla="*/ 129 w 199"/>
                <a:gd name="T117" fmla="*/ 62 h 146"/>
                <a:gd name="T118" fmla="*/ 117 w 199"/>
                <a:gd name="T119" fmla="*/ 66 h 146"/>
                <a:gd name="T120" fmla="*/ 81 w 199"/>
                <a:gd name="T121" fmla="*/ 5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9" h="146">
                  <a:moveTo>
                    <a:pt x="81" y="0"/>
                  </a:moveTo>
                  <a:cubicBezTo>
                    <a:pt x="79" y="0"/>
                    <a:pt x="79" y="0"/>
                    <a:pt x="79" y="0"/>
                  </a:cubicBezTo>
                  <a:cubicBezTo>
                    <a:pt x="74" y="13"/>
                    <a:pt x="74" y="13"/>
                    <a:pt x="74" y="13"/>
                  </a:cubicBezTo>
                  <a:cubicBezTo>
                    <a:pt x="74" y="17"/>
                    <a:pt x="74" y="17"/>
                    <a:pt x="74" y="17"/>
                  </a:cubicBezTo>
                  <a:cubicBezTo>
                    <a:pt x="74" y="19"/>
                    <a:pt x="75" y="22"/>
                    <a:pt x="74" y="24"/>
                  </a:cubicBezTo>
                  <a:cubicBezTo>
                    <a:pt x="74" y="26"/>
                    <a:pt x="74" y="27"/>
                    <a:pt x="74" y="29"/>
                  </a:cubicBezTo>
                  <a:cubicBezTo>
                    <a:pt x="74" y="30"/>
                    <a:pt x="74" y="31"/>
                    <a:pt x="74" y="33"/>
                  </a:cubicBezTo>
                  <a:cubicBezTo>
                    <a:pt x="74" y="41"/>
                    <a:pt x="74" y="41"/>
                    <a:pt x="74" y="41"/>
                  </a:cubicBezTo>
                  <a:cubicBezTo>
                    <a:pt x="69" y="41"/>
                    <a:pt x="69" y="41"/>
                    <a:pt x="69" y="41"/>
                  </a:cubicBezTo>
                  <a:cubicBezTo>
                    <a:pt x="69" y="53"/>
                    <a:pt x="69" y="53"/>
                    <a:pt x="69" y="53"/>
                  </a:cubicBezTo>
                  <a:cubicBezTo>
                    <a:pt x="65" y="57"/>
                    <a:pt x="65" y="57"/>
                    <a:pt x="65" y="57"/>
                  </a:cubicBezTo>
                  <a:cubicBezTo>
                    <a:pt x="59" y="64"/>
                    <a:pt x="59" y="64"/>
                    <a:pt x="59" y="64"/>
                  </a:cubicBezTo>
                  <a:cubicBezTo>
                    <a:pt x="54" y="64"/>
                    <a:pt x="54" y="64"/>
                    <a:pt x="54" y="64"/>
                  </a:cubicBezTo>
                  <a:cubicBezTo>
                    <a:pt x="49" y="71"/>
                    <a:pt x="49" y="71"/>
                    <a:pt x="49" y="71"/>
                  </a:cubicBezTo>
                  <a:cubicBezTo>
                    <a:pt x="47" y="74"/>
                    <a:pt x="47" y="74"/>
                    <a:pt x="47" y="74"/>
                  </a:cubicBezTo>
                  <a:cubicBezTo>
                    <a:pt x="46" y="75"/>
                    <a:pt x="45" y="75"/>
                    <a:pt x="44" y="75"/>
                  </a:cubicBezTo>
                  <a:cubicBezTo>
                    <a:pt x="43" y="74"/>
                    <a:pt x="43" y="74"/>
                    <a:pt x="43" y="74"/>
                  </a:cubicBezTo>
                  <a:cubicBezTo>
                    <a:pt x="36" y="80"/>
                    <a:pt x="36" y="80"/>
                    <a:pt x="36" y="80"/>
                  </a:cubicBezTo>
                  <a:cubicBezTo>
                    <a:pt x="36" y="80"/>
                    <a:pt x="29" y="83"/>
                    <a:pt x="23" y="85"/>
                  </a:cubicBezTo>
                  <a:cubicBezTo>
                    <a:pt x="20" y="85"/>
                    <a:pt x="20" y="86"/>
                    <a:pt x="20" y="87"/>
                  </a:cubicBezTo>
                  <a:cubicBezTo>
                    <a:pt x="21" y="89"/>
                    <a:pt x="20" y="91"/>
                    <a:pt x="18" y="92"/>
                  </a:cubicBezTo>
                  <a:cubicBezTo>
                    <a:pt x="13" y="95"/>
                    <a:pt x="5" y="100"/>
                    <a:pt x="4" y="100"/>
                  </a:cubicBezTo>
                  <a:cubicBezTo>
                    <a:pt x="4" y="102"/>
                    <a:pt x="4" y="102"/>
                    <a:pt x="4" y="102"/>
                  </a:cubicBezTo>
                  <a:cubicBezTo>
                    <a:pt x="4" y="103"/>
                    <a:pt x="4" y="103"/>
                    <a:pt x="4" y="103"/>
                  </a:cubicBezTo>
                  <a:cubicBezTo>
                    <a:pt x="4" y="105"/>
                    <a:pt x="4" y="105"/>
                    <a:pt x="4" y="105"/>
                  </a:cubicBezTo>
                  <a:cubicBezTo>
                    <a:pt x="2" y="109"/>
                    <a:pt x="2" y="109"/>
                    <a:pt x="2" y="109"/>
                  </a:cubicBezTo>
                  <a:cubicBezTo>
                    <a:pt x="1" y="112"/>
                    <a:pt x="1" y="114"/>
                    <a:pt x="1" y="115"/>
                  </a:cubicBezTo>
                  <a:cubicBezTo>
                    <a:pt x="1" y="117"/>
                    <a:pt x="0" y="120"/>
                    <a:pt x="0" y="122"/>
                  </a:cubicBezTo>
                  <a:cubicBezTo>
                    <a:pt x="0" y="123"/>
                    <a:pt x="0" y="123"/>
                    <a:pt x="0" y="124"/>
                  </a:cubicBezTo>
                  <a:cubicBezTo>
                    <a:pt x="1" y="129"/>
                    <a:pt x="1" y="129"/>
                    <a:pt x="1" y="129"/>
                  </a:cubicBezTo>
                  <a:cubicBezTo>
                    <a:pt x="2" y="131"/>
                    <a:pt x="2" y="131"/>
                    <a:pt x="2" y="131"/>
                  </a:cubicBezTo>
                  <a:cubicBezTo>
                    <a:pt x="3" y="132"/>
                    <a:pt x="4" y="132"/>
                    <a:pt x="5" y="133"/>
                  </a:cubicBezTo>
                  <a:cubicBezTo>
                    <a:pt x="6" y="134"/>
                    <a:pt x="7" y="135"/>
                    <a:pt x="9" y="137"/>
                  </a:cubicBezTo>
                  <a:cubicBezTo>
                    <a:pt x="9" y="138"/>
                    <a:pt x="10" y="138"/>
                    <a:pt x="11" y="138"/>
                  </a:cubicBezTo>
                  <a:cubicBezTo>
                    <a:pt x="11" y="138"/>
                    <a:pt x="11" y="138"/>
                    <a:pt x="12" y="138"/>
                  </a:cubicBezTo>
                  <a:cubicBezTo>
                    <a:pt x="13" y="137"/>
                    <a:pt x="13" y="137"/>
                    <a:pt x="13" y="137"/>
                  </a:cubicBezTo>
                  <a:cubicBezTo>
                    <a:pt x="14" y="138"/>
                    <a:pt x="14" y="138"/>
                    <a:pt x="14" y="138"/>
                  </a:cubicBezTo>
                  <a:cubicBezTo>
                    <a:pt x="14" y="139"/>
                    <a:pt x="15" y="140"/>
                    <a:pt x="16" y="141"/>
                  </a:cubicBezTo>
                  <a:cubicBezTo>
                    <a:pt x="17" y="142"/>
                    <a:pt x="18" y="143"/>
                    <a:pt x="18" y="144"/>
                  </a:cubicBezTo>
                  <a:cubicBezTo>
                    <a:pt x="18" y="144"/>
                    <a:pt x="18" y="144"/>
                    <a:pt x="18" y="144"/>
                  </a:cubicBezTo>
                  <a:cubicBezTo>
                    <a:pt x="19" y="144"/>
                    <a:pt x="19" y="144"/>
                    <a:pt x="19" y="144"/>
                  </a:cubicBezTo>
                  <a:cubicBezTo>
                    <a:pt x="20" y="144"/>
                    <a:pt x="20" y="144"/>
                    <a:pt x="20" y="144"/>
                  </a:cubicBezTo>
                  <a:cubicBezTo>
                    <a:pt x="21" y="144"/>
                    <a:pt x="21" y="144"/>
                    <a:pt x="22" y="144"/>
                  </a:cubicBezTo>
                  <a:cubicBezTo>
                    <a:pt x="22" y="144"/>
                    <a:pt x="22" y="144"/>
                    <a:pt x="23" y="144"/>
                  </a:cubicBezTo>
                  <a:cubicBezTo>
                    <a:pt x="23" y="144"/>
                    <a:pt x="23" y="144"/>
                    <a:pt x="23" y="144"/>
                  </a:cubicBezTo>
                  <a:cubicBezTo>
                    <a:pt x="24" y="144"/>
                    <a:pt x="25" y="144"/>
                    <a:pt x="26" y="144"/>
                  </a:cubicBezTo>
                  <a:cubicBezTo>
                    <a:pt x="27" y="144"/>
                    <a:pt x="28" y="144"/>
                    <a:pt x="29" y="144"/>
                  </a:cubicBezTo>
                  <a:cubicBezTo>
                    <a:pt x="30" y="144"/>
                    <a:pt x="30" y="144"/>
                    <a:pt x="30" y="144"/>
                  </a:cubicBezTo>
                  <a:cubicBezTo>
                    <a:pt x="31" y="145"/>
                    <a:pt x="31" y="145"/>
                    <a:pt x="31" y="145"/>
                  </a:cubicBezTo>
                  <a:cubicBezTo>
                    <a:pt x="32" y="145"/>
                    <a:pt x="33" y="145"/>
                    <a:pt x="33" y="144"/>
                  </a:cubicBezTo>
                  <a:cubicBezTo>
                    <a:pt x="34" y="144"/>
                    <a:pt x="35" y="144"/>
                    <a:pt x="35" y="144"/>
                  </a:cubicBezTo>
                  <a:cubicBezTo>
                    <a:pt x="36" y="144"/>
                    <a:pt x="36" y="144"/>
                    <a:pt x="37" y="144"/>
                  </a:cubicBezTo>
                  <a:cubicBezTo>
                    <a:pt x="37" y="145"/>
                    <a:pt x="38" y="145"/>
                    <a:pt x="39" y="145"/>
                  </a:cubicBezTo>
                  <a:cubicBezTo>
                    <a:pt x="40" y="145"/>
                    <a:pt x="41" y="145"/>
                    <a:pt x="41" y="145"/>
                  </a:cubicBezTo>
                  <a:cubicBezTo>
                    <a:pt x="42" y="145"/>
                    <a:pt x="43" y="145"/>
                    <a:pt x="44" y="145"/>
                  </a:cubicBezTo>
                  <a:cubicBezTo>
                    <a:pt x="45" y="145"/>
                    <a:pt x="45" y="145"/>
                    <a:pt x="46" y="145"/>
                  </a:cubicBezTo>
                  <a:cubicBezTo>
                    <a:pt x="46" y="145"/>
                    <a:pt x="46" y="145"/>
                    <a:pt x="47" y="145"/>
                  </a:cubicBezTo>
                  <a:cubicBezTo>
                    <a:pt x="47" y="145"/>
                    <a:pt x="47" y="145"/>
                    <a:pt x="47" y="145"/>
                  </a:cubicBezTo>
                  <a:cubicBezTo>
                    <a:pt x="48" y="145"/>
                    <a:pt x="49" y="145"/>
                    <a:pt x="50" y="145"/>
                  </a:cubicBezTo>
                  <a:cubicBezTo>
                    <a:pt x="50" y="145"/>
                    <a:pt x="50" y="145"/>
                    <a:pt x="50" y="145"/>
                  </a:cubicBezTo>
                  <a:cubicBezTo>
                    <a:pt x="50" y="145"/>
                    <a:pt x="50" y="145"/>
                    <a:pt x="50" y="145"/>
                  </a:cubicBezTo>
                  <a:cubicBezTo>
                    <a:pt x="55" y="145"/>
                    <a:pt x="55" y="145"/>
                    <a:pt x="55" y="145"/>
                  </a:cubicBezTo>
                  <a:cubicBezTo>
                    <a:pt x="55" y="145"/>
                    <a:pt x="55" y="145"/>
                    <a:pt x="55" y="145"/>
                  </a:cubicBezTo>
                  <a:cubicBezTo>
                    <a:pt x="56" y="145"/>
                    <a:pt x="57" y="145"/>
                    <a:pt x="58" y="146"/>
                  </a:cubicBezTo>
                  <a:cubicBezTo>
                    <a:pt x="58" y="146"/>
                    <a:pt x="58" y="146"/>
                    <a:pt x="58" y="146"/>
                  </a:cubicBezTo>
                  <a:cubicBezTo>
                    <a:pt x="59" y="146"/>
                    <a:pt x="59" y="146"/>
                    <a:pt x="59" y="146"/>
                  </a:cubicBezTo>
                  <a:cubicBezTo>
                    <a:pt x="60" y="146"/>
                    <a:pt x="61" y="146"/>
                    <a:pt x="62" y="146"/>
                  </a:cubicBezTo>
                  <a:cubicBezTo>
                    <a:pt x="63" y="146"/>
                    <a:pt x="64" y="146"/>
                    <a:pt x="64" y="146"/>
                  </a:cubicBezTo>
                  <a:cubicBezTo>
                    <a:pt x="64" y="146"/>
                    <a:pt x="64" y="146"/>
                    <a:pt x="64" y="146"/>
                  </a:cubicBezTo>
                  <a:cubicBezTo>
                    <a:pt x="67" y="146"/>
                    <a:pt x="70" y="145"/>
                    <a:pt x="70" y="144"/>
                  </a:cubicBezTo>
                  <a:cubicBezTo>
                    <a:pt x="81" y="142"/>
                    <a:pt x="81" y="142"/>
                    <a:pt x="81" y="142"/>
                  </a:cubicBezTo>
                  <a:cubicBezTo>
                    <a:pt x="104" y="142"/>
                    <a:pt x="104" y="142"/>
                    <a:pt x="104" y="142"/>
                  </a:cubicBezTo>
                  <a:cubicBezTo>
                    <a:pt x="104" y="138"/>
                    <a:pt x="104" y="138"/>
                    <a:pt x="104" y="138"/>
                  </a:cubicBezTo>
                  <a:cubicBezTo>
                    <a:pt x="104" y="137"/>
                    <a:pt x="108" y="135"/>
                    <a:pt x="108" y="133"/>
                  </a:cubicBezTo>
                  <a:cubicBezTo>
                    <a:pt x="109" y="132"/>
                    <a:pt x="110" y="130"/>
                    <a:pt x="111" y="127"/>
                  </a:cubicBezTo>
                  <a:cubicBezTo>
                    <a:pt x="112" y="127"/>
                    <a:pt x="113" y="128"/>
                    <a:pt x="114" y="128"/>
                  </a:cubicBezTo>
                  <a:cubicBezTo>
                    <a:pt x="114" y="128"/>
                    <a:pt x="114" y="128"/>
                    <a:pt x="114" y="128"/>
                  </a:cubicBezTo>
                  <a:cubicBezTo>
                    <a:pt x="114" y="128"/>
                    <a:pt x="114" y="128"/>
                    <a:pt x="114" y="128"/>
                  </a:cubicBezTo>
                  <a:cubicBezTo>
                    <a:pt x="115" y="128"/>
                    <a:pt x="115" y="128"/>
                    <a:pt x="115" y="128"/>
                  </a:cubicBezTo>
                  <a:cubicBezTo>
                    <a:pt x="117" y="126"/>
                    <a:pt x="117" y="126"/>
                    <a:pt x="117" y="126"/>
                  </a:cubicBezTo>
                  <a:cubicBezTo>
                    <a:pt x="115" y="126"/>
                    <a:pt x="115" y="126"/>
                    <a:pt x="115" y="126"/>
                  </a:cubicBezTo>
                  <a:cubicBezTo>
                    <a:pt x="115" y="126"/>
                    <a:pt x="115" y="126"/>
                    <a:pt x="115" y="126"/>
                  </a:cubicBezTo>
                  <a:cubicBezTo>
                    <a:pt x="115" y="125"/>
                    <a:pt x="115" y="125"/>
                    <a:pt x="115" y="125"/>
                  </a:cubicBezTo>
                  <a:cubicBezTo>
                    <a:pt x="116" y="124"/>
                    <a:pt x="116" y="124"/>
                    <a:pt x="116" y="124"/>
                  </a:cubicBezTo>
                  <a:cubicBezTo>
                    <a:pt x="118" y="121"/>
                    <a:pt x="119" y="120"/>
                    <a:pt x="119" y="120"/>
                  </a:cubicBezTo>
                  <a:cubicBezTo>
                    <a:pt x="119" y="120"/>
                    <a:pt x="119" y="120"/>
                    <a:pt x="120" y="118"/>
                  </a:cubicBezTo>
                  <a:cubicBezTo>
                    <a:pt x="122" y="116"/>
                    <a:pt x="121" y="110"/>
                    <a:pt x="120" y="109"/>
                  </a:cubicBezTo>
                  <a:cubicBezTo>
                    <a:pt x="128" y="106"/>
                    <a:pt x="128" y="106"/>
                    <a:pt x="128" y="106"/>
                  </a:cubicBezTo>
                  <a:cubicBezTo>
                    <a:pt x="137" y="106"/>
                    <a:pt x="137" y="106"/>
                    <a:pt x="137" y="106"/>
                  </a:cubicBezTo>
                  <a:cubicBezTo>
                    <a:pt x="136" y="104"/>
                    <a:pt x="136" y="104"/>
                    <a:pt x="136" y="104"/>
                  </a:cubicBezTo>
                  <a:cubicBezTo>
                    <a:pt x="135" y="103"/>
                    <a:pt x="135" y="101"/>
                    <a:pt x="137" y="99"/>
                  </a:cubicBezTo>
                  <a:cubicBezTo>
                    <a:pt x="139" y="97"/>
                    <a:pt x="142" y="92"/>
                    <a:pt x="143" y="91"/>
                  </a:cubicBezTo>
                  <a:cubicBezTo>
                    <a:pt x="147" y="91"/>
                    <a:pt x="147" y="91"/>
                    <a:pt x="147" y="91"/>
                  </a:cubicBezTo>
                  <a:cubicBezTo>
                    <a:pt x="151" y="88"/>
                    <a:pt x="151" y="88"/>
                    <a:pt x="151" y="88"/>
                  </a:cubicBezTo>
                  <a:cubicBezTo>
                    <a:pt x="155" y="82"/>
                    <a:pt x="155" y="82"/>
                    <a:pt x="155" y="82"/>
                  </a:cubicBezTo>
                  <a:cubicBezTo>
                    <a:pt x="158" y="79"/>
                    <a:pt x="159" y="77"/>
                    <a:pt x="160" y="77"/>
                  </a:cubicBezTo>
                  <a:cubicBezTo>
                    <a:pt x="162" y="77"/>
                    <a:pt x="162" y="77"/>
                    <a:pt x="162" y="77"/>
                  </a:cubicBezTo>
                  <a:cubicBezTo>
                    <a:pt x="166" y="72"/>
                    <a:pt x="166" y="72"/>
                    <a:pt x="166" y="72"/>
                  </a:cubicBezTo>
                  <a:cubicBezTo>
                    <a:pt x="166" y="67"/>
                    <a:pt x="166" y="67"/>
                    <a:pt x="166" y="67"/>
                  </a:cubicBezTo>
                  <a:cubicBezTo>
                    <a:pt x="174" y="70"/>
                    <a:pt x="174" y="70"/>
                    <a:pt x="174" y="70"/>
                  </a:cubicBezTo>
                  <a:cubicBezTo>
                    <a:pt x="178" y="71"/>
                    <a:pt x="178" y="71"/>
                    <a:pt x="178" y="71"/>
                  </a:cubicBezTo>
                  <a:cubicBezTo>
                    <a:pt x="183" y="74"/>
                    <a:pt x="183" y="74"/>
                    <a:pt x="183" y="74"/>
                  </a:cubicBezTo>
                  <a:cubicBezTo>
                    <a:pt x="186" y="71"/>
                    <a:pt x="186" y="71"/>
                    <a:pt x="186" y="71"/>
                  </a:cubicBezTo>
                  <a:cubicBezTo>
                    <a:pt x="186" y="67"/>
                    <a:pt x="186" y="67"/>
                    <a:pt x="186" y="67"/>
                  </a:cubicBezTo>
                  <a:cubicBezTo>
                    <a:pt x="194" y="67"/>
                    <a:pt x="194" y="67"/>
                    <a:pt x="194" y="67"/>
                  </a:cubicBezTo>
                  <a:cubicBezTo>
                    <a:pt x="195" y="67"/>
                    <a:pt x="195" y="67"/>
                    <a:pt x="195" y="67"/>
                  </a:cubicBezTo>
                  <a:cubicBezTo>
                    <a:pt x="196" y="66"/>
                    <a:pt x="196" y="66"/>
                    <a:pt x="196" y="66"/>
                  </a:cubicBezTo>
                  <a:cubicBezTo>
                    <a:pt x="196" y="65"/>
                    <a:pt x="196" y="65"/>
                    <a:pt x="196" y="65"/>
                  </a:cubicBezTo>
                  <a:cubicBezTo>
                    <a:pt x="196" y="65"/>
                    <a:pt x="196" y="65"/>
                    <a:pt x="196" y="65"/>
                  </a:cubicBezTo>
                  <a:cubicBezTo>
                    <a:pt x="199" y="63"/>
                    <a:pt x="199" y="62"/>
                    <a:pt x="199" y="62"/>
                  </a:cubicBezTo>
                  <a:cubicBezTo>
                    <a:pt x="199" y="62"/>
                    <a:pt x="199" y="62"/>
                    <a:pt x="199" y="62"/>
                  </a:cubicBezTo>
                  <a:cubicBezTo>
                    <a:pt x="196" y="61"/>
                    <a:pt x="193" y="60"/>
                    <a:pt x="192" y="60"/>
                  </a:cubicBezTo>
                  <a:cubicBezTo>
                    <a:pt x="179" y="58"/>
                    <a:pt x="179" y="58"/>
                    <a:pt x="179" y="58"/>
                  </a:cubicBezTo>
                  <a:cubicBezTo>
                    <a:pt x="157" y="61"/>
                    <a:pt x="157" y="61"/>
                    <a:pt x="157" y="61"/>
                  </a:cubicBezTo>
                  <a:cubicBezTo>
                    <a:pt x="149" y="61"/>
                    <a:pt x="149" y="61"/>
                    <a:pt x="149" y="61"/>
                  </a:cubicBezTo>
                  <a:cubicBezTo>
                    <a:pt x="140" y="60"/>
                    <a:pt x="140" y="60"/>
                    <a:pt x="140" y="60"/>
                  </a:cubicBezTo>
                  <a:cubicBezTo>
                    <a:pt x="134" y="60"/>
                    <a:pt x="134" y="60"/>
                    <a:pt x="134" y="60"/>
                  </a:cubicBezTo>
                  <a:cubicBezTo>
                    <a:pt x="129" y="62"/>
                    <a:pt x="129" y="62"/>
                    <a:pt x="129" y="62"/>
                  </a:cubicBezTo>
                  <a:cubicBezTo>
                    <a:pt x="129" y="62"/>
                    <a:pt x="125" y="64"/>
                    <a:pt x="119" y="66"/>
                  </a:cubicBezTo>
                  <a:cubicBezTo>
                    <a:pt x="117" y="66"/>
                    <a:pt x="117" y="66"/>
                    <a:pt x="117" y="66"/>
                  </a:cubicBezTo>
                  <a:cubicBezTo>
                    <a:pt x="117" y="55"/>
                    <a:pt x="117" y="55"/>
                    <a:pt x="117" y="55"/>
                  </a:cubicBezTo>
                  <a:cubicBezTo>
                    <a:pt x="81" y="55"/>
                    <a:pt x="81" y="55"/>
                    <a:pt x="81" y="55"/>
                  </a:cubicBezTo>
                  <a:lnTo>
                    <a:pt x="81"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7" name="Washington">
              <a:extLst>
                <a:ext uri="{FF2B5EF4-FFF2-40B4-BE49-F238E27FC236}">
                  <a16:creationId xmlns:a16="http://schemas.microsoft.com/office/drawing/2014/main" id="{2023F62C-8C68-BDB7-5B1D-F861EBC14C1C}"/>
                </a:ext>
              </a:extLst>
            </p:cNvPr>
            <p:cNvSpPr>
              <a:spLocks/>
            </p:cNvSpPr>
            <p:nvPr/>
          </p:nvSpPr>
          <p:spPr bwMode="auto">
            <a:xfrm>
              <a:off x="2083550" y="885931"/>
              <a:ext cx="1181983" cy="645326"/>
            </a:xfrm>
            <a:custGeom>
              <a:avLst/>
              <a:gdLst>
                <a:gd name="T0" fmla="*/ 79 w 299"/>
                <a:gd name="T1" fmla="*/ 152 h 163"/>
                <a:gd name="T2" fmla="*/ 79 w 299"/>
                <a:gd name="T3" fmla="*/ 163 h 163"/>
                <a:gd name="T4" fmla="*/ 205 w 299"/>
                <a:gd name="T5" fmla="*/ 163 h 163"/>
                <a:gd name="T6" fmla="*/ 222 w 299"/>
                <a:gd name="T7" fmla="*/ 148 h 163"/>
                <a:gd name="T8" fmla="*/ 261 w 299"/>
                <a:gd name="T9" fmla="*/ 148 h 163"/>
                <a:gd name="T10" fmla="*/ 272 w 299"/>
                <a:gd name="T11" fmla="*/ 148 h 163"/>
                <a:gd name="T12" fmla="*/ 282 w 299"/>
                <a:gd name="T13" fmla="*/ 148 h 163"/>
                <a:gd name="T14" fmla="*/ 293 w 299"/>
                <a:gd name="T15" fmla="*/ 149 h 163"/>
                <a:gd name="T16" fmla="*/ 298 w 299"/>
                <a:gd name="T17" fmla="*/ 149 h 163"/>
                <a:gd name="T18" fmla="*/ 299 w 299"/>
                <a:gd name="T19" fmla="*/ 149 h 163"/>
                <a:gd name="T20" fmla="*/ 299 w 299"/>
                <a:gd name="T21" fmla="*/ 149 h 163"/>
                <a:gd name="T22" fmla="*/ 299 w 299"/>
                <a:gd name="T23" fmla="*/ 149 h 163"/>
                <a:gd name="T24" fmla="*/ 299 w 299"/>
                <a:gd name="T25" fmla="*/ 0 h 163"/>
                <a:gd name="T26" fmla="*/ 74 w 299"/>
                <a:gd name="T27" fmla="*/ 0 h 163"/>
                <a:gd name="T28" fmla="*/ 78 w 299"/>
                <a:gd name="T29" fmla="*/ 4 h 163"/>
                <a:gd name="T30" fmla="*/ 82 w 299"/>
                <a:gd name="T31" fmla="*/ 12 h 163"/>
                <a:gd name="T32" fmla="*/ 86 w 299"/>
                <a:gd name="T33" fmla="*/ 12 h 163"/>
                <a:gd name="T34" fmla="*/ 94 w 299"/>
                <a:gd name="T35" fmla="*/ 12 h 163"/>
                <a:gd name="T36" fmla="*/ 94 w 299"/>
                <a:gd name="T37" fmla="*/ 16 h 163"/>
                <a:gd name="T38" fmla="*/ 90 w 299"/>
                <a:gd name="T39" fmla="*/ 16 h 163"/>
                <a:gd name="T40" fmla="*/ 90 w 299"/>
                <a:gd name="T41" fmla="*/ 24 h 163"/>
                <a:gd name="T42" fmla="*/ 86 w 299"/>
                <a:gd name="T43" fmla="*/ 28 h 163"/>
                <a:gd name="T44" fmla="*/ 82 w 299"/>
                <a:gd name="T45" fmla="*/ 28 h 163"/>
                <a:gd name="T46" fmla="*/ 86 w 299"/>
                <a:gd name="T47" fmla="*/ 32 h 163"/>
                <a:gd name="T48" fmla="*/ 90 w 299"/>
                <a:gd name="T49" fmla="*/ 35 h 163"/>
                <a:gd name="T50" fmla="*/ 94 w 299"/>
                <a:gd name="T51" fmla="*/ 47 h 163"/>
                <a:gd name="T52" fmla="*/ 94 w 299"/>
                <a:gd name="T53" fmla="*/ 71 h 163"/>
                <a:gd name="T54" fmla="*/ 90 w 299"/>
                <a:gd name="T55" fmla="*/ 63 h 163"/>
                <a:gd name="T56" fmla="*/ 86 w 299"/>
                <a:gd name="T57" fmla="*/ 67 h 163"/>
                <a:gd name="T58" fmla="*/ 78 w 299"/>
                <a:gd name="T59" fmla="*/ 75 h 163"/>
                <a:gd name="T60" fmla="*/ 70 w 299"/>
                <a:gd name="T61" fmla="*/ 82 h 163"/>
                <a:gd name="T62" fmla="*/ 70 w 299"/>
                <a:gd name="T63" fmla="*/ 86 h 163"/>
                <a:gd name="T64" fmla="*/ 70 w 299"/>
                <a:gd name="T65" fmla="*/ 90 h 163"/>
                <a:gd name="T66" fmla="*/ 66 w 299"/>
                <a:gd name="T67" fmla="*/ 90 h 163"/>
                <a:gd name="T68" fmla="*/ 66 w 299"/>
                <a:gd name="T69" fmla="*/ 82 h 163"/>
                <a:gd name="T70" fmla="*/ 74 w 299"/>
                <a:gd name="T71" fmla="*/ 67 h 163"/>
                <a:gd name="T72" fmla="*/ 78 w 299"/>
                <a:gd name="T73" fmla="*/ 63 h 163"/>
                <a:gd name="T74" fmla="*/ 82 w 299"/>
                <a:gd name="T75" fmla="*/ 55 h 163"/>
                <a:gd name="T76" fmla="*/ 78 w 299"/>
                <a:gd name="T77" fmla="*/ 51 h 163"/>
                <a:gd name="T78" fmla="*/ 70 w 299"/>
                <a:gd name="T79" fmla="*/ 51 h 163"/>
                <a:gd name="T80" fmla="*/ 58 w 299"/>
                <a:gd name="T81" fmla="*/ 47 h 163"/>
                <a:gd name="T82" fmla="*/ 35 w 299"/>
                <a:gd name="T83" fmla="*/ 43 h 163"/>
                <a:gd name="T84" fmla="*/ 8 w 299"/>
                <a:gd name="T85" fmla="*/ 32 h 163"/>
                <a:gd name="T86" fmla="*/ 4 w 299"/>
                <a:gd name="T87" fmla="*/ 35 h 163"/>
                <a:gd name="T88" fmla="*/ 0 w 299"/>
                <a:gd name="T89" fmla="*/ 43 h 163"/>
                <a:gd name="T90" fmla="*/ 0 w 299"/>
                <a:gd name="T91" fmla="*/ 51 h 163"/>
                <a:gd name="T92" fmla="*/ 8 w 299"/>
                <a:gd name="T93" fmla="*/ 59 h 163"/>
                <a:gd name="T94" fmla="*/ 12 w 299"/>
                <a:gd name="T95" fmla="*/ 67 h 163"/>
                <a:gd name="T96" fmla="*/ 23 w 299"/>
                <a:gd name="T97" fmla="*/ 114 h 163"/>
                <a:gd name="T98" fmla="*/ 27 w 299"/>
                <a:gd name="T99" fmla="*/ 110 h 163"/>
                <a:gd name="T100" fmla="*/ 31 w 299"/>
                <a:gd name="T101" fmla="*/ 114 h 163"/>
                <a:gd name="T102" fmla="*/ 31 w 299"/>
                <a:gd name="T103" fmla="*/ 117 h 163"/>
                <a:gd name="T104" fmla="*/ 27 w 299"/>
                <a:gd name="T105" fmla="*/ 121 h 163"/>
                <a:gd name="T106" fmla="*/ 27 w 299"/>
                <a:gd name="T107" fmla="*/ 125 h 163"/>
                <a:gd name="T108" fmla="*/ 27 w 299"/>
                <a:gd name="T109" fmla="*/ 129 h 163"/>
                <a:gd name="T110" fmla="*/ 31 w 299"/>
                <a:gd name="T111" fmla="*/ 129 h 163"/>
                <a:gd name="T112" fmla="*/ 35 w 299"/>
                <a:gd name="T113" fmla="*/ 129 h 163"/>
                <a:gd name="T114" fmla="*/ 35 w 299"/>
                <a:gd name="T115" fmla="*/ 133 h 163"/>
                <a:gd name="T116" fmla="*/ 68 w 299"/>
                <a:gd name="T117" fmla="*/ 133 h 163"/>
                <a:gd name="T118" fmla="*/ 79 w 299"/>
                <a:gd name="T119" fmla="*/ 15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 h="163">
                  <a:moveTo>
                    <a:pt x="79" y="152"/>
                  </a:moveTo>
                  <a:cubicBezTo>
                    <a:pt x="79" y="163"/>
                    <a:pt x="79" y="163"/>
                    <a:pt x="79" y="163"/>
                  </a:cubicBezTo>
                  <a:cubicBezTo>
                    <a:pt x="205" y="163"/>
                    <a:pt x="205" y="163"/>
                    <a:pt x="205" y="163"/>
                  </a:cubicBezTo>
                  <a:cubicBezTo>
                    <a:pt x="222" y="148"/>
                    <a:pt x="222" y="148"/>
                    <a:pt x="222" y="148"/>
                  </a:cubicBezTo>
                  <a:cubicBezTo>
                    <a:pt x="261" y="148"/>
                    <a:pt x="261" y="148"/>
                    <a:pt x="261" y="148"/>
                  </a:cubicBezTo>
                  <a:cubicBezTo>
                    <a:pt x="261" y="148"/>
                    <a:pt x="266" y="148"/>
                    <a:pt x="272" y="148"/>
                  </a:cubicBezTo>
                  <a:cubicBezTo>
                    <a:pt x="276" y="148"/>
                    <a:pt x="279" y="148"/>
                    <a:pt x="282" y="148"/>
                  </a:cubicBezTo>
                  <a:cubicBezTo>
                    <a:pt x="285" y="148"/>
                    <a:pt x="289" y="149"/>
                    <a:pt x="293" y="149"/>
                  </a:cubicBezTo>
                  <a:cubicBezTo>
                    <a:pt x="295" y="149"/>
                    <a:pt x="297" y="149"/>
                    <a:pt x="298" y="149"/>
                  </a:cubicBezTo>
                  <a:cubicBezTo>
                    <a:pt x="299" y="149"/>
                    <a:pt x="299" y="149"/>
                    <a:pt x="299" y="149"/>
                  </a:cubicBezTo>
                  <a:cubicBezTo>
                    <a:pt x="299" y="149"/>
                    <a:pt x="299" y="149"/>
                    <a:pt x="299" y="149"/>
                  </a:cubicBezTo>
                  <a:cubicBezTo>
                    <a:pt x="299" y="149"/>
                    <a:pt x="299" y="149"/>
                    <a:pt x="299" y="149"/>
                  </a:cubicBezTo>
                  <a:cubicBezTo>
                    <a:pt x="299" y="0"/>
                    <a:pt x="299" y="0"/>
                    <a:pt x="299" y="0"/>
                  </a:cubicBezTo>
                  <a:cubicBezTo>
                    <a:pt x="74" y="0"/>
                    <a:pt x="74" y="0"/>
                    <a:pt x="74" y="0"/>
                  </a:cubicBezTo>
                  <a:cubicBezTo>
                    <a:pt x="78" y="4"/>
                    <a:pt x="78" y="4"/>
                    <a:pt x="78" y="4"/>
                  </a:cubicBezTo>
                  <a:cubicBezTo>
                    <a:pt x="82" y="12"/>
                    <a:pt x="82" y="12"/>
                    <a:pt x="82" y="12"/>
                  </a:cubicBezTo>
                  <a:cubicBezTo>
                    <a:pt x="86" y="12"/>
                    <a:pt x="86" y="12"/>
                    <a:pt x="86" y="12"/>
                  </a:cubicBezTo>
                  <a:cubicBezTo>
                    <a:pt x="94" y="12"/>
                    <a:pt x="94" y="12"/>
                    <a:pt x="94" y="12"/>
                  </a:cubicBezTo>
                  <a:cubicBezTo>
                    <a:pt x="94" y="16"/>
                    <a:pt x="94" y="16"/>
                    <a:pt x="94" y="16"/>
                  </a:cubicBezTo>
                  <a:cubicBezTo>
                    <a:pt x="90" y="16"/>
                    <a:pt x="90" y="16"/>
                    <a:pt x="90" y="16"/>
                  </a:cubicBezTo>
                  <a:cubicBezTo>
                    <a:pt x="90" y="24"/>
                    <a:pt x="90" y="24"/>
                    <a:pt x="90" y="24"/>
                  </a:cubicBezTo>
                  <a:cubicBezTo>
                    <a:pt x="86" y="28"/>
                    <a:pt x="86" y="28"/>
                    <a:pt x="86" y="28"/>
                  </a:cubicBezTo>
                  <a:cubicBezTo>
                    <a:pt x="82" y="28"/>
                    <a:pt x="82" y="28"/>
                    <a:pt x="82" y="28"/>
                  </a:cubicBezTo>
                  <a:cubicBezTo>
                    <a:pt x="86" y="32"/>
                    <a:pt x="86" y="32"/>
                    <a:pt x="86" y="32"/>
                  </a:cubicBezTo>
                  <a:cubicBezTo>
                    <a:pt x="90" y="35"/>
                    <a:pt x="90" y="35"/>
                    <a:pt x="90" y="35"/>
                  </a:cubicBezTo>
                  <a:cubicBezTo>
                    <a:pt x="94" y="47"/>
                    <a:pt x="94" y="47"/>
                    <a:pt x="94" y="47"/>
                  </a:cubicBezTo>
                  <a:cubicBezTo>
                    <a:pt x="94" y="71"/>
                    <a:pt x="94" y="71"/>
                    <a:pt x="94" y="71"/>
                  </a:cubicBezTo>
                  <a:cubicBezTo>
                    <a:pt x="90" y="63"/>
                    <a:pt x="90" y="63"/>
                    <a:pt x="90" y="63"/>
                  </a:cubicBezTo>
                  <a:cubicBezTo>
                    <a:pt x="86" y="67"/>
                    <a:pt x="86" y="67"/>
                    <a:pt x="86" y="67"/>
                  </a:cubicBezTo>
                  <a:cubicBezTo>
                    <a:pt x="78" y="75"/>
                    <a:pt x="78" y="75"/>
                    <a:pt x="78" y="75"/>
                  </a:cubicBezTo>
                  <a:cubicBezTo>
                    <a:pt x="70" y="82"/>
                    <a:pt x="70" y="82"/>
                    <a:pt x="70" y="82"/>
                  </a:cubicBezTo>
                  <a:cubicBezTo>
                    <a:pt x="70" y="86"/>
                    <a:pt x="70" y="86"/>
                    <a:pt x="70" y="86"/>
                  </a:cubicBezTo>
                  <a:cubicBezTo>
                    <a:pt x="70" y="90"/>
                    <a:pt x="70" y="90"/>
                    <a:pt x="70" y="90"/>
                  </a:cubicBezTo>
                  <a:cubicBezTo>
                    <a:pt x="66" y="90"/>
                    <a:pt x="66" y="90"/>
                    <a:pt x="66" y="90"/>
                  </a:cubicBezTo>
                  <a:cubicBezTo>
                    <a:pt x="66" y="82"/>
                    <a:pt x="66" y="82"/>
                    <a:pt x="66" y="82"/>
                  </a:cubicBezTo>
                  <a:cubicBezTo>
                    <a:pt x="74" y="67"/>
                    <a:pt x="74" y="67"/>
                    <a:pt x="74" y="67"/>
                  </a:cubicBezTo>
                  <a:cubicBezTo>
                    <a:pt x="78" y="63"/>
                    <a:pt x="78" y="63"/>
                    <a:pt x="78" y="63"/>
                  </a:cubicBezTo>
                  <a:cubicBezTo>
                    <a:pt x="82" y="55"/>
                    <a:pt x="82" y="55"/>
                    <a:pt x="82" y="55"/>
                  </a:cubicBezTo>
                  <a:cubicBezTo>
                    <a:pt x="78" y="51"/>
                    <a:pt x="78" y="51"/>
                    <a:pt x="78" y="51"/>
                  </a:cubicBezTo>
                  <a:cubicBezTo>
                    <a:pt x="70" y="51"/>
                    <a:pt x="70" y="51"/>
                    <a:pt x="70" y="51"/>
                  </a:cubicBezTo>
                  <a:cubicBezTo>
                    <a:pt x="58" y="47"/>
                    <a:pt x="58" y="47"/>
                    <a:pt x="58" y="47"/>
                  </a:cubicBezTo>
                  <a:cubicBezTo>
                    <a:pt x="35" y="43"/>
                    <a:pt x="35" y="43"/>
                    <a:pt x="35" y="43"/>
                  </a:cubicBezTo>
                  <a:cubicBezTo>
                    <a:pt x="8" y="32"/>
                    <a:pt x="8" y="32"/>
                    <a:pt x="8" y="32"/>
                  </a:cubicBezTo>
                  <a:cubicBezTo>
                    <a:pt x="4" y="35"/>
                    <a:pt x="4" y="35"/>
                    <a:pt x="4" y="35"/>
                  </a:cubicBezTo>
                  <a:cubicBezTo>
                    <a:pt x="0" y="43"/>
                    <a:pt x="0" y="43"/>
                    <a:pt x="0" y="43"/>
                  </a:cubicBezTo>
                  <a:cubicBezTo>
                    <a:pt x="0" y="51"/>
                    <a:pt x="0" y="51"/>
                    <a:pt x="0" y="51"/>
                  </a:cubicBezTo>
                  <a:cubicBezTo>
                    <a:pt x="8" y="59"/>
                    <a:pt x="8" y="59"/>
                    <a:pt x="8" y="59"/>
                  </a:cubicBezTo>
                  <a:cubicBezTo>
                    <a:pt x="12" y="67"/>
                    <a:pt x="12" y="67"/>
                    <a:pt x="12" y="67"/>
                  </a:cubicBezTo>
                  <a:cubicBezTo>
                    <a:pt x="23" y="114"/>
                    <a:pt x="23" y="114"/>
                    <a:pt x="23" y="114"/>
                  </a:cubicBezTo>
                  <a:cubicBezTo>
                    <a:pt x="27" y="110"/>
                    <a:pt x="27" y="110"/>
                    <a:pt x="27" y="110"/>
                  </a:cubicBezTo>
                  <a:cubicBezTo>
                    <a:pt x="31" y="114"/>
                    <a:pt x="31" y="114"/>
                    <a:pt x="31" y="114"/>
                  </a:cubicBezTo>
                  <a:cubicBezTo>
                    <a:pt x="31" y="117"/>
                    <a:pt x="31" y="117"/>
                    <a:pt x="31" y="117"/>
                  </a:cubicBezTo>
                  <a:cubicBezTo>
                    <a:pt x="27" y="121"/>
                    <a:pt x="27" y="121"/>
                    <a:pt x="27" y="121"/>
                  </a:cubicBezTo>
                  <a:cubicBezTo>
                    <a:pt x="27" y="125"/>
                    <a:pt x="27" y="125"/>
                    <a:pt x="27" y="125"/>
                  </a:cubicBezTo>
                  <a:cubicBezTo>
                    <a:pt x="27" y="129"/>
                    <a:pt x="27" y="129"/>
                    <a:pt x="27" y="129"/>
                  </a:cubicBezTo>
                  <a:cubicBezTo>
                    <a:pt x="31" y="129"/>
                    <a:pt x="31" y="129"/>
                    <a:pt x="31" y="129"/>
                  </a:cubicBezTo>
                  <a:cubicBezTo>
                    <a:pt x="35" y="129"/>
                    <a:pt x="35" y="129"/>
                    <a:pt x="35" y="129"/>
                  </a:cubicBezTo>
                  <a:cubicBezTo>
                    <a:pt x="35" y="133"/>
                    <a:pt x="35" y="133"/>
                    <a:pt x="35" y="133"/>
                  </a:cubicBezTo>
                  <a:cubicBezTo>
                    <a:pt x="68" y="133"/>
                    <a:pt x="68" y="133"/>
                    <a:pt x="68" y="133"/>
                  </a:cubicBezTo>
                  <a:lnTo>
                    <a:pt x="79" y="15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8" name="Virginia">
              <a:extLst>
                <a:ext uri="{FF2B5EF4-FFF2-40B4-BE49-F238E27FC236}">
                  <a16:creationId xmlns:a16="http://schemas.microsoft.com/office/drawing/2014/main" id="{4145FC10-3A91-C458-2D17-C23CA41FA5CF}"/>
                </a:ext>
              </a:extLst>
            </p:cNvPr>
            <p:cNvSpPr>
              <a:spLocks/>
            </p:cNvSpPr>
            <p:nvPr/>
          </p:nvSpPr>
          <p:spPr bwMode="auto">
            <a:xfrm>
              <a:off x="8510060" y="2932249"/>
              <a:ext cx="1011456" cy="396223"/>
            </a:xfrm>
            <a:custGeom>
              <a:avLst/>
              <a:gdLst>
                <a:gd name="T0" fmla="*/ 213 w 256"/>
                <a:gd name="T1" fmla="*/ 40 h 100"/>
                <a:gd name="T2" fmla="*/ 203 w 256"/>
                <a:gd name="T3" fmla="*/ 32 h 100"/>
                <a:gd name="T4" fmla="*/ 207 w 256"/>
                <a:gd name="T5" fmla="*/ 21 h 100"/>
                <a:gd name="T6" fmla="*/ 201 w 256"/>
                <a:gd name="T7" fmla="*/ 0 h 100"/>
                <a:gd name="T8" fmla="*/ 199 w 256"/>
                <a:gd name="T9" fmla="*/ 0 h 100"/>
                <a:gd name="T10" fmla="*/ 191 w 256"/>
                <a:gd name="T11" fmla="*/ 4 h 100"/>
                <a:gd name="T12" fmla="*/ 183 w 256"/>
                <a:gd name="T13" fmla="*/ 4 h 100"/>
                <a:gd name="T14" fmla="*/ 171 w 256"/>
                <a:gd name="T15" fmla="*/ 0 h 100"/>
                <a:gd name="T16" fmla="*/ 167 w 256"/>
                <a:gd name="T17" fmla="*/ 10 h 100"/>
                <a:gd name="T18" fmla="*/ 160 w 256"/>
                <a:gd name="T19" fmla="*/ 15 h 100"/>
                <a:gd name="T20" fmla="*/ 152 w 256"/>
                <a:gd name="T21" fmla="*/ 24 h 100"/>
                <a:gd name="T22" fmla="*/ 142 w 256"/>
                <a:gd name="T23" fmla="*/ 32 h 100"/>
                <a:gd name="T24" fmla="*/ 142 w 256"/>
                <a:gd name="T25" fmla="*/ 39 h 100"/>
                <a:gd name="T26" fmla="*/ 125 w 256"/>
                <a:gd name="T27" fmla="*/ 42 h 100"/>
                <a:gd name="T28" fmla="*/ 124 w 256"/>
                <a:gd name="T29" fmla="*/ 53 h 100"/>
                <a:gd name="T30" fmla="*/ 120 w 256"/>
                <a:gd name="T31" fmla="*/ 58 h 100"/>
                <a:gd name="T32" fmla="*/ 120 w 256"/>
                <a:gd name="T33" fmla="*/ 59 h 100"/>
                <a:gd name="T34" fmla="*/ 120 w 256"/>
                <a:gd name="T35" fmla="*/ 61 h 100"/>
                <a:gd name="T36" fmla="*/ 119 w 256"/>
                <a:gd name="T37" fmla="*/ 61 h 100"/>
                <a:gd name="T38" fmla="*/ 116 w 256"/>
                <a:gd name="T39" fmla="*/ 60 h 100"/>
                <a:gd name="T40" fmla="*/ 109 w 256"/>
                <a:gd name="T41" fmla="*/ 71 h 100"/>
                <a:gd name="T42" fmla="*/ 86 w 256"/>
                <a:gd name="T43" fmla="*/ 75 h 100"/>
                <a:gd name="T44" fmla="*/ 69 w 256"/>
                <a:gd name="T45" fmla="*/ 79 h 100"/>
                <a:gd name="T46" fmla="*/ 67 w 256"/>
                <a:gd name="T47" fmla="*/ 79 h 100"/>
                <a:gd name="T48" fmla="*/ 63 w 256"/>
                <a:gd name="T49" fmla="*/ 79 h 100"/>
                <a:gd name="T50" fmla="*/ 60 w 256"/>
                <a:gd name="T51" fmla="*/ 78 h 100"/>
                <a:gd name="T52" fmla="*/ 55 w 256"/>
                <a:gd name="T53" fmla="*/ 78 h 100"/>
                <a:gd name="T54" fmla="*/ 55 w 256"/>
                <a:gd name="T55" fmla="*/ 78 h 100"/>
                <a:gd name="T56" fmla="*/ 52 w 256"/>
                <a:gd name="T57" fmla="*/ 78 h 100"/>
                <a:gd name="T58" fmla="*/ 49 w 256"/>
                <a:gd name="T59" fmla="*/ 78 h 100"/>
                <a:gd name="T60" fmla="*/ 44 w 256"/>
                <a:gd name="T61" fmla="*/ 78 h 100"/>
                <a:gd name="T62" fmla="*/ 40 w 256"/>
                <a:gd name="T63" fmla="*/ 77 h 100"/>
                <a:gd name="T64" fmla="*/ 36 w 256"/>
                <a:gd name="T65" fmla="*/ 78 h 100"/>
                <a:gd name="T66" fmla="*/ 34 w 256"/>
                <a:gd name="T67" fmla="*/ 77 h 100"/>
                <a:gd name="T68" fmla="*/ 28 w 256"/>
                <a:gd name="T69" fmla="*/ 77 h 100"/>
                <a:gd name="T70" fmla="*/ 27 w 256"/>
                <a:gd name="T71" fmla="*/ 77 h 100"/>
                <a:gd name="T72" fmla="*/ 24 w 256"/>
                <a:gd name="T73" fmla="*/ 77 h 100"/>
                <a:gd name="T74" fmla="*/ 23 w 256"/>
                <a:gd name="T75" fmla="*/ 79 h 100"/>
                <a:gd name="T76" fmla="*/ 22 w 256"/>
                <a:gd name="T77" fmla="*/ 86 h 100"/>
                <a:gd name="T78" fmla="*/ 13 w 256"/>
                <a:gd name="T79" fmla="*/ 91 h 100"/>
                <a:gd name="T80" fmla="*/ 2 w 256"/>
                <a:gd name="T81" fmla="*/ 99 h 100"/>
                <a:gd name="T82" fmla="*/ 33 w 256"/>
                <a:gd name="T83" fmla="*/ 100 h 100"/>
                <a:gd name="T84" fmla="*/ 33 w 256"/>
                <a:gd name="T85" fmla="*/ 100 h 100"/>
                <a:gd name="T86" fmla="*/ 256 w 256"/>
                <a:gd name="T87" fmla="*/ 100 h 100"/>
                <a:gd name="T88" fmla="*/ 252 w 256"/>
                <a:gd name="T89" fmla="*/ 92 h 100"/>
                <a:gd name="T90" fmla="*/ 252 w 256"/>
                <a:gd name="T91" fmla="*/ 84 h 100"/>
                <a:gd name="T92" fmla="*/ 256 w 256"/>
                <a:gd name="T93" fmla="*/ 73 h 100"/>
                <a:gd name="T94" fmla="*/ 237 w 256"/>
                <a:gd name="T95" fmla="*/ 61 h 100"/>
                <a:gd name="T96" fmla="*/ 217 w 256"/>
                <a:gd name="T97" fmla="*/ 49 h 100"/>
                <a:gd name="T98" fmla="*/ 217 w 256"/>
                <a:gd name="T99"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100">
                  <a:moveTo>
                    <a:pt x="217" y="45"/>
                  </a:moveTo>
                  <a:cubicBezTo>
                    <a:pt x="213" y="40"/>
                    <a:pt x="213" y="40"/>
                    <a:pt x="213" y="40"/>
                  </a:cubicBezTo>
                  <a:cubicBezTo>
                    <a:pt x="207" y="36"/>
                    <a:pt x="207" y="36"/>
                    <a:pt x="207" y="36"/>
                  </a:cubicBezTo>
                  <a:cubicBezTo>
                    <a:pt x="203" y="32"/>
                    <a:pt x="203" y="32"/>
                    <a:pt x="203" y="32"/>
                  </a:cubicBezTo>
                  <a:cubicBezTo>
                    <a:pt x="207" y="27"/>
                    <a:pt x="207" y="27"/>
                    <a:pt x="207" y="27"/>
                  </a:cubicBezTo>
                  <a:cubicBezTo>
                    <a:pt x="207" y="21"/>
                    <a:pt x="207" y="21"/>
                    <a:pt x="207" y="21"/>
                  </a:cubicBezTo>
                  <a:cubicBezTo>
                    <a:pt x="201" y="15"/>
                    <a:pt x="201" y="15"/>
                    <a:pt x="201" y="15"/>
                  </a:cubicBezTo>
                  <a:cubicBezTo>
                    <a:pt x="201" y="0"/>
                    <a:pt x="201" y="0"/>
                    <a:pt x="201" y="0"/>
                  </a:cubicBezTo>
                  <a:cubicBezTo>
                    <a:pt x="200" y="0"/>
                    <a:pt x="200" y="0"/>
                    <a:pt x="200" y="0"/>
                  </a:cubicBezTo>
                  <a:cubicBezTo>
                    <a:pt x="199" y="0"/>
                    <a:pt x="199" y="0"/>
                    <a:pt x="199" y="0"/>
                  </a:cubicBezTo>
                  <a:cubicBezTo>
                    <a:pt x="191" y="0"/>
                    <a:pt x="191" y="0"/>
                    <a:pt x="191" y="0"/>
                  </a:cubicBezTo>
                  <a:cubicBezTo>
                    <a:pt x="191" y="4"/>
                    <a:pt x="191" y="4"/>
                    <a:pt x="191" y="4"/>
                  </a:cubicBezTo>
                  <a:cubicBezTo>
                    <a:pt x="188" y="7"/>
                    <a:pt x="188" y="7"/>
                    <a:pt x="188" y="7"/>
                  </a:cubicBezTo>
                  <a:cubicBezTo>
                    <a:pt x="183" y="4"/>
                    <a:pt x="183" y="4"/>
                    <a:pt x="183" y="4"/>
                  </a:cubicBezTo>
                  <a:cubicBezTo>
                    <a:pt x="179" y="3"/>
                    <a:pt x="179" y="3"/>
                    <a:pt x="179" y="3"/>
                  </a:cubicBezTo>
                  <a:cubicBezTo>
                    <a:pt x="171" y="0"/>
                    <a:pt x="171" y="0"/>
                    <a:pt x="171" y="0"/>
                  </a:cubicBezTo>
                  <a:cubicBezTo>
                    <a:pt x="171" y="5"/>
                    <a:pt x="171" y="5"/>
                    <a:pt x="171" y="5"/>
                  </a:cubicBezTo>
                  <a:cubicBezTo>
                    <a:pt x="167" y="10"/>
                    <a:pt x="167" y="10"/>
                    <a:pt x="167" y="10"/>
                  </a:cubicBezTo>
                  <a:cubicBezTo>
                    <a:pt x="165" y="10"/>
                    <a:pt x="165" y="10"/>
                    <a:pt x="165" y="10"/>
                  </a:cubicBezTo>
                  <a:cubicBezTo>
                    <a:pt x="164" y="10"/>
                    <a:pt x="163" y="12"/>
                    <a:pt x="160" y="15"/>
                  </a:cubicBezTo>
                  <a:cubicBezTo>
                    <a:pt x="156" y="21"/>
                    <a:pt x="156" y="21"/>
                    <a:pt x="156" y="21"/>
                  </a:cubicBezTo>
                  <a:cubicBezTo>
                    <a:pt x="152" y="24"/>
                    <a:pt x="152" y="24"/>
                    <a:pt x="152" y="24"/>
                  </a:cubicBezTo>
                  <a:cubicBezTo>
                    <a:pt x="148" y="24"/>
                    <a:pt x="148" y="24"/>
                    <a:pt x="148" y="24"/>
                  </a:cubicBezTo>
                  <a:cubicBezTo>
                    <a:pt x="147" y="25"/>
                    <a:pt x="144" y="30"/>
                    <a:pt x="142" y="32"/>
                  </a:cubicBezTo>
                  <a:cubicBezTo>
                    <a:pt x="140" y="34"/>
                    <a:pt x="140" y="36"/>
                    <a:pt x="141" y="37"/>
                  </a:cubicBezTo>
                  <a:cubicBezTo>
                    <a:pt x="142" y="39"/>
                    <a:pt x="142" y="39"/>
                    <a:pt x="142" y="39"/>
                  </a:cubicBezTo>
                  <a:cubicBezTo>
                    <a:pt x="133" y="39"/>
                    <a:pt x="133" y="39"/>
                    <a:pt x="133" y="39"/>
                  </a:cubicBezTo>
                  <a:cubicBezTo>
                    <a:pt x="125" y="42"/>
                    <a:pt x="125" y="42"/>
                    <a:pt x="125" y="42"/>
                  </a:cubicBezTo>
                  <a:cubicBezTo>
                    <a:pt x="126" y="43"/>
                    <a:pt x="127" y="49"/>
                    <a:pt x="125" y="51"/>
                  </a:cubicBezTo>
                  <a:cubicBezTo>
                    <a:pt x="124" y="53"/>
                    <a:pt x="124" y="53"/>
                    <a:pt x="124" y="53"/>
                  </a:cubicBezTo>
                  <a:cubicBezTo>
                    <a:pt x="124" y="53"/>
                    <a:pt x="123" y="54"/>
                    <a:pt x="121" y="57"/>
                  </a:cubicBezTo>
                  <a:cubicBezTo>
                    <a:pt x="120" y="58"/>
                    <a:pt x="120" y="58"/>
                    <a:pt x="120" y="58"/>
                  </a:cubicBezTo>
                  <a:cubicBezTo>
                    <a:pt x="120" y="59"/>
                    <a:pt x="120" y="59"/>
                    <a:pt x="120" y="59"/>
                  </a:cubicBezTo>
                  <a:cubicBezTo>
                    <a:pt x="120" y="59"/>
                    <a:pt x="120" y="59"/>
                    <a:pt x="120" y="59"/>
                  </a:cubicBezTo>
                  <a:cubicBezTo>
                    <a:pt x="122" y="59"/>
                    <a:pt x="122" y="59"/>
                    <a:pt x="122" y="59"/>
                  </a:cubicBezTo>
                  <a:cubicBezTo>
                    <a:pt x="120" y="61"/>
                    <a:pt x="120" y="61"/>
                    <a:pt x="120" y="61"/>
                  </a:cubicBezTo>
                  <a:cubicBezTo>
                    <a:pt x="119" y="61"/>
                    <a:pt x="119" y="61"/>
                    <a:pt x="119" y="61"/>
                  </a:cubicBezTo>
                  <a:cubicBezTo>
                    <a:pt x="119" y="61"/>
                    <a:pt x="119" y="61"/>
                    <a:pt x="119" y="61"/>
                  </a:cubicBezTo>
                  <a:cubicBezTo>
                    <a:pt x="119" y="61"/>
                    <a:pt x="119" y="61"/>
                    <a:pt x="119" y="61"/>
                  </a:cubicBezTo>
                  <a:cubicBezTo>
                    <a:pt x="118" y="61"/>
                    <a:pt x="117" y="60"/>
                    <a:pt x="116" y="60"/>
                  </a:cubicBezTo>
                  <a:cubicBezTo>
                    <a:pt x="115" y="63"/>
                    <a:pt x="114" y="65"/>
                    <a:pt x="113" y="66"/>
                  </a:cubicBezTo>
                  <a:cubicBezTo>
                    <a:pt x="113" y="68"/>
                    <a:pt x="109" y="70"/>
                    <a:pt x="109" y="71"/>
                  </a:cubicBezTo>
                  <a:cubicBezTo>
                    <a:pt x="109" y="75"/>
                    <a:pt x="109" y="75"/>
                    <a:pt x="109" y="75"/>
                  </a:cubicBezTo>
                  <a:cubicBezTo>
                    <a:pt x="86" y="75"/>
                    <a:pt x="86" y="75"/>
                    <a:pt x="86" y="75"/>
                  </a:cubicBezTo>
                  <a:cubicBezTo>
                    <a:pt x="75" y="77"/>
                    <a:pt x="75" y="77"/>
                    <a:pt x="75" y="77"/>
                  </a:cubicBezTo>
                  <a:cubicBezTo>
                    <a:pt x="75" y="78"/>
                    <a:pt x="72" y="79"/>
                    <a:pt x="69" y="79"/>
                  </a:cubicBezTo>
                  <a:cubicBezTo>
                    <a:pt x="69" y="79"/>
                    <a:pt x="69" y="79"/>
                    <a:pt x="69" y="79"/>
                  </a:cubicBezTo>
                  <a:cubicBezTo>
                    <a:pt x="69" y="79"/>
                    <a:pt x="68" y="79"/>
                    <a:pt x="67" y="79"/>
                  </a:cubicBezTo>
                  <a:cubicBezTo>
                    <a:pt x="66" y="79"/>
                    <a:pt x="65" y="79"/>
                    <a:pt x="64" y="79"/>
                  </a:cubicBezTo>
                  <a:cubicBezTo>
                    <a:pt x="63" y="79"/>
                    <a:pt x="63" y="79"/>
                    <a:pt x="63" y="79"/>
                  </a:cubicBezTo>
                  <a:cubicBezTo>
                    <a:pt x="63" y="79"/>
                    <a:pt x="63" y="79"/>
                    <a:pt x="63" y="79"/>
                  </a:cubicBezTo>
                  <a:cubicBezTo>
                    <a:pt x="62" y="78"/>
                    <a:pt x="61" y="78"/>
                    <a:pt x="60" y="78"/>
                  </a:cubicBezTo>
                  <a:cubicBezTo>
                    <a:pt x="60" y="78"/>
                    <a:pt x="60" y="78"/>
                    <a:pt x="60" y="78"/>
                  </a:cubicBezTo>
                  <a:cubicBezTo>
                    <a:pt x="55" y="78"/>
                    <a:pt x="55" y="78"/>
                    <a:pt x="55" y="78"/>
                  </a:cubicBezTo>
                  <a:cubicBezTo>
                    <a:pt x="55" y="78"/>
                    <a:pt x="55" y="78"/>
                    <a:pt x="55" y="78"/>
                  </a:cubicBezTo>
                  <a:cubicBezTo>
                    <a:pt x="55" y="78"/>
                    <a:pt x="55" y="78"/>
                    <a:pt x="55" y="78"/>
                  </a:cubicBezTo>
                  <a:cubicBezTo>
                    <a:pt x="54" y="78"/>
                    <a:pt x="53" y="78"/>
                    <a:pt x="52" y="78"/>
                  </a:cubicBezTo>
                  <a:cubicBezTo>
                    <a:pt x="52" y="78"/>
                    <a:pt x="52" y="78"/>
                    <a:pt x="52" y="78"/>
                  </a:cubicBezTo>
                  <a:cubicBezTo>
                    <a:pt x="51" y="78"/>
                    <a:pt x="51" y="78"/>
                    <a:pt x="51" y="78"/>
                  </a:cubicBezTo>
                  <a:cubicBezTo>
                    <a:pt x="50" y="78"/>
                    <a:pt x="50" y="78"/>
                    <a:pt x="49" y="78"/>
                  </a:cubicBezTo>
                  <a:cubicBezTo>
                    <a:pt x="48" y="78"/>
                    <a:pt x="47" y="78"/>
                    <a:pt x="46" y="78"/>
                  </a:cubicBezTo>
                  <a:cubicBezTo>
                    <a:pt x="46" y="78"/>
                    <a:pt x="45" y="78"/>
                    <a:pt x="44" y="78"/>
                  </a:cubicBezTo>
                  <a:cubicBezTo>
                    <a:pt x="43" y="78"/>
                    <a:pt x="42" y="78"/>
                    <a:pt x="42" y="77"/>
                  </a:cubicBezTo>
                  <a:cubicBezTo>
                    <a:pt x="41" y="77"/>
                    <a:pt x="41" y="77"/>
                    <a:pt x="40" y="77"/>
                  </a:cubicBezTo>
                  <a:cubicBezTo>
                    <a:pt x="40" y="77"/>
                    <a:pt x="39" y="77"/>
                    <a:pt x="38" y="77"/>
                  </a:cubicBezTo>
                  <a:cubicBezTo>
                    <a:pt x="38" y="78"/>
                    <a:pt x="37" y="78"/>
                    <a:pt x="36" y="78"/>
                  </a:cubicBezTo>
                  <a:cubicBezTo>
                    <a:pt x="36" y="78"/>
                    <a:pt x="36" y="78"/>
                    <a:pt x="35" y="77"/>
                  </a:cubicBezTo>
                  <a:cubicBezTo>
                    <a:pt x="35" y="77"/>
                    <a:pt x="35" y="77"/>
                    <a:pt x="34" y="77"/>
                  </a:cubicBezTo>
                  <a:cubicBezTo>
                    <a:pt x="33" y="77"/>
                    <a:pt x="32" y="77"/>
                    <a:pt x="31" y="77"/>
                  </a:cubicBezTo>
                  <a:cubicBezTo>
                    <a:pt x="30" y="77"/>
                    <a:pt x="29" y="77"/>
                    <a:pt x="28" y="77"/>
                  </a:cubicBezTo>
                  <a:cubicBezTo>
                    <a:pt x="28" y="77"/>
                    <a:pt x="28" y="77"/>
                    <a:pt x="28" y="77"/>
                  </a:cubicBezTo>
                  <a:cubicBezTo>
                    <a:pt x="27" y="77"/>
                    <a:pt x="27" y="77"/>
                    <a:pt x="27" y="77"/>
                  </a:cubicBezTo>
                  <a:cubicBezTo>
                    <a:pt x="26" y="77"/>
                    <a:pt x="26" y="77"/>
                    <a:pt x="25" y="77"/>
                  </a:cubicBezTo>
                  <a:cubicBezTo>
                    <a:pt x="24" y="77"/>
                    <a:pt x="24" y="77"/>
                    <a:pt x="24" y="77"/>
                  </a:cubicBezTo>
                  <a:cubicBezTo>
                    <a:pt x="23" y="77"/>
                    <a:pt x="23" y="77"/>
                    <a:pt x="23" y="77"/>
                  </a:cubicBezTo>
                  <a:cubicBezTo>
                    <a:pt x="23" y="78"/>
                    <a:pt x="23" y="78"/>
                    <a:pt x="23" y="79"/>
                  </a:cubicBezTo>
                  <a:cubicBezTo>
                    <a:pt x="23" y="80"/>
                    <a:pt x="23" y="80"/>
                    <a:pt x="23" y="82"/>
                  </a:cubicBezTo>
                  <a:cubicBezTo>
                    <a:pt x="22" y="83"/>
                    <a:pt x="22" y="85"/>
                    <a:pt x="22" y="86"/>
                  </a:cubicBezTo>
                  <a:cubicBezTo>
                    <a:pt x="23" y="87"/>
                    <a:pt x="23" y="87"/>
                    <a:pt x="23" y="87"/>
                  </a:cubicBezTo>
                  <a:cubicBezTo>
                    <a:pt x="13" y="91"/>
                    <a:pt x="13" y="91"/>
                    <a:pt x="13" y="91"/>
                  </a:cubicBezTo>
                  <a:cubicBezTo>
                    <a:pt x="12" y="92"/>
                    <a:pt x="9" y="94"/>
                    <a:pt x="6" y="96"/>
                  </a:cubicBezTo>
                  <a:cubicBezTo>
                    <a:pt x="5" y="96"/>
                    <a:pt x="3" y="98"/>
                    <a:pt x="2" y="99"/>
                  </a:cubicBezTo>
                  <a:cubicBezTo>
                    <a:pt x="0" y="100"/>
                    <a:pt x="0" y="100"/>
                    <a:pt x="0" y="100"/>
                  </a:cubicBezTo>
                  <a:cubicBezTo>
                    <a:pt x="33" y="100"/>
                    <a:pt x="33" y="100"/>
                    <a:pt x="33" y="100"/>
                  </a:cubicBezTo>
                  <a:cubicBezTo>
                    <a:pt x="33" y="100"/>
                    <a:pt x="33" y="100"/>
                    <a:pt x="33" y="100"/>
                  </a:cubicBezTo>
                  <a:cubicBezTo>
                    <a:pt x="33" y="100"/>
                    <a:pt x="33" y="100"/>
                    <a:pt x="33" y="100"/>
                  </a:cubicBezTo>
                  <a:cubicBezTo>
                    <a:pt x="256" y="100"/>
                    <a:pt x="256" y="100"/>
                    <a:pt x="256" y="100"/>
                  </a:cubicBezTo>
                  <a:cubicBezTo>
                    <a:pt x="256" y="100"/>
                    <a:pt x="256" y="100"/>
                    <a:pt x="256" y="100"/>
                  </a:cubicBezTo>
                  <a:cubicBezTo>
                    <a:pt x="256" y="96"/>
                    <a:pt x="256" y="96"/>
                    <a:pt x="256" y="96"/>
                  </a:cubicBezTo>
                  <a:cubicBezTo>
                    <a:pt x="252" y="92"/>
                    <a:pt x="252" y="92"/>
                    <a:pt x="252" y="92"/>
                  </a:cubicBezTo>
                  <a:cubicBezTo>
                    <a:pt x="252" y="88"/>
                    <a:pt x="252" y="88"/>
                    <a:pt x="252" y="88"/>
                  </a:cubicBezTo>
                  <a:cubicBezTo>
                    <a:pt x="252" y="84"/>
                    <a:pt x="252" y="84"/>
                    <a:pt x="252" y="84"/>
                  </a:cubicBezTo>
                  <a:cubicBezTo>
                    <a:pt x="256" y="77"/>
                    <a:pt x="256" y="77"/>
                    <a:pt x="256" y="77"/>
                  </a:cubicBezTo>
                  <a:cubicBezTo>
                    <a:pt x="256" y="73"/>
                    <a:pt x="256" y="73"/>
                    <a:pt x="256" y="73"/>
                  </a:cubicBezTo>
                  <a:cubicBezTo>
                    <a:pt x="252" y="69"/>
                    <a:pt x="252" y="69"/>
                    <a:pt x="252" y="69"/>
                  </a:cubicBezTo>
                  <a:cubicBezTo>
                    <a:pt x="237" y="61"/>
                    <a:pt x="237" y="61"/>
                    <a:pt x="237" y="61"/>
                  </a:cubicBezTo>
                  <a:cubicBezTo>
                    <a:pt x="229" y="57"/>
                    <a:pt x="229" y="57"/>
                    <a:pt x="229" y="57"/>
                  </a:cubicBezTo>
                  <a:cubicBezTo>
                    <a:pt x="217" y="49"/>
                    <a:pt x="217" y="49"/>
                    <a:pt x="217" y="49"/>
                  </a:cubicBezTo>
                  <a:cubicBezTo>
                    <a:pt x="217" y="47"/>
                    <a:pt x="217" y="47"/>
                    <a:pt x="217" y="47"/>
                  </a:cubicBezTo>
                  <a:cubicBezTo>
                    <a:pt x="217" y="47"/>
                    <a:pt x="217" y="47"/>
                    <a:pt x="217" y="47"/>
                  </a:cubicBezTo>
                  <a:lnTo>
                    <a:pt x="217" y="45"/>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9" name="Vermont">
              <a:extLst>
                <a:ext uri="{FF2B5EF4-FFF2-40B4-BE49-F238E27FC236}">
                  <a16:creationId xmlns:a16="http://schemas.microsoft.com/office/drawing/2014/main" id="{76BE2BDA-E897-51F5-74AC-55A490EF102A}"/>
                </a:ext>
              </a:extLst>
            </p:cNvPr>
            <p:cNvSpPr>
              <a:spLocks/>
            </p:cNvSpPr>
            <p:nvPr/>
          </p:nvSpPr>
          <p:spPr bwMode="auto">
            <a:xfrm>
              <a:off x="10013034" y="1777016"/>
              <a:ext cx="240743" cy="434675"/>
            </a:xfrm>
            <a:custGeom>
              <a:avLst/>
              <a:gdLst>
                <a:gd name="T0" fmla="*/ 7 w 61"/>
                <a:gd name="T1" fmla="*/ 98 h 110"/>
                <a:gd name="T2" fmla="*/ 7 w 61"/>
                <a:gd name="T3" fmla="*/ 98 h 110"/>
                <a:gd name="T4" fmla="*/ 4 w 61"/>
                <a:gd name="T5" fmla="*/ 108 h 110"/>
                <a:gd name="T6" fmla="*/ 4 w 61"/>
                <a:gd name="T7" fmla="*/ 110 h 110"/>
                <a:gd name="T8" fmla="*/ 23 w 61"/>
                <a:gd name="T9" fmla="*/ 110 h 110"/>
                <a:gd name="T10" fmla="*/ 23 w 61"/>
                <a:gd name="T11" fmla="*/ 102 h 110"/>
                <a:gd name="T12" fmla="*/ 24 w 61"/>
                <a:gd name="T13" fmla="*/ 102 h 110"/>
                <a:gd name="T14" fmla="*/ 30 w 61"/>
                <a:gd name="T15" fmla="*/ 95 h 110"/>
                <a:gd name="T16" fmla="*/ 30 w 61"/>
                <a:gd name="T17" fmla="*/ 94 h 110"/>
                <a:gd name="T18" fmla="*/ 30 w 61"/>
                <a:gd name="T19" fmla="*/ 94 h 110"/>
                <a:gd name="T20" fmla="*/ 31 w 61"/>
                <a:gd name="T21" fmla="*/ 94 h 110"/>
                <a:gd name="T22" fmla="*/ 31 w 61"/>
                <a:gd name="T23" fmla="*/ 94 h 110"/>
                <a:gd name="T24" fmla="*/ 31 w 61"/>
                <a:gd name="T25" fmla="*/ 93 h 110"/>
                <a:gd name="T26" fmla="*/ 32 w 61"/>
                <a:gd name="T27" fmla="*/ 90 h 110"/>
                <a:gd name="T28" fmla="*/ 33 w 61"/>
                <a:gd name="T29" fmla="*/ 85 h 110"/>
                <a:gd name="T30" fmla="*/ 33 w 61"/>
                <a:gd name="T31" fmla="*/ 85 h 110"/>
                <a:gd name="T32" fmla="*/ 33 w 61"/>
                <a:gd name="T33" fmla="*/ 84 h 110"/>
                <a:gd name="T34" fmla="*/ 33 w 61"/>
                <a:gd name="T35" fmla="*/ 84 h 110"/>
                <a:gd name="T36" fmla="*/ 32 w 61"/>
                <a:gd name="T37" fmla="*/ 84 h 110"/>
                <a:gd name="T38" fmla="*/ 33 w 61"/>
                <a:gd name="T39" fmla="*/ 84 h 110"/>
                <a:gd name="T40" fmla="*/ 33 w 61"/>
                <a:gd name="T41" fmla="*/ 81 h 110"/>
                <a:gd name="T42" fmla="*/ 33 w 61"/>
                <a:gd name="T43" fmla="*/ 68 h 110"/>
                <a:gd name="T44" fmla="*/ 31 w 61"/>
                <a:gd name="T45" fmla="*/ 67 h 110"/>
                <a:gd name="T46" fmla="*/ 30 w 61"/>
                <a:gd name="T47" fmla="*/ 67 h 110"/>
                <a:gd name="T48" fmla="*/ 30 w 61"/>
                <a:gd name="T49" fmla="*/ 67 h 110"/>
                <a:gd name="T50" fmla="*/ 33 w 61"/>
                <a:gd name="T51" fmla="*/ 63 h 110"/>
                <a:gd name="T52" fmla="*/ 38 w 61"/>
                <a:gd name="T53" fmla="*/ 55 h 110"/>
                <a:gd name="T54" fmla="*/ 38 w 61"/>
                <a:gd name="T55" fmla="*/ 54 h 110"/>
                <a:gd name="T56" fmla="*/ 44 w 61"/>
                <a:gd name="T57" fmla="*/ 43 h 110"/>
                <a:gd name="T58" fmla="*/ 42 w 61"/>
                <a:gd name="T59" fmla="*/ 42 h 110"/>
                <a:gd name="T60" fmla="*/ 44 w 61"/>
                <a:gd name="T61" fmla="*/ 38 h 110"/>
                <a:gd name="T62" fmla="*/ 49 w 61"/>
                <a:gd name="T63" fmla="*/ 31 h 110"/>
                <a:gd name="T64" fmla="*/ 49 w 61"/>
                <a:gd name="T65" fmla="*/ 30 h 110"/>
                <a:gd name="T66" fmla="*/ 54 w 61"/>
                <a:gd name="T67" fmla="*/ 24 h 110"/>
                <a:gd name="T68" fmla="*/ 54 w 61"/>
                <a:gd name="T69" fmla="*/ 18 h 110"/>
                <a:gd name="T70" fmla="*/ 55 w 61"/>
                <a:gd name="T71" fmla="*/ 18 h 110"/>
                <a:gd name="T72" fmla="*/ 61 w 61"/>
                <a:gd name="T73" fmla="*/ 12 h 110"/>
                <a:gd name="T74" fmla="*/ 61 w 61"/>
                <a:gd name="T75" fmla="*/ 0 h 110"/>
                <a:gd name="T76" fmla="*/ 60 w 61"/>
                <a:gd name="T77" fmla="*/ 0 h 110"/>
                <a:gd name="T78" fmla="*/ 60 w 61"/>
                <a:gd name="T79" fmla="*/ 2 h 110"/>
                <a:gd name="T80" fmla="*/ 1 w 61"/>
                <a:gd name="T81" fmla="*/ 2 h 110"/>
                <a:gd name="T82" fmla="*/ 0 w 61"/>
                <a:gd name="T83" fmla="*/ 2 h 110"/>
                <a:gd name="T84" fmla="*/ 0 w 61"/>
                <a:gd name="T85" fmla="*/ 87 h 110"/>
                <a:gd name="T86" fmla="*/ 7 w 61"/>
                <a:gd name="T87" fmla="*/ 98 h 110"/>
                <a:gd name="connsiteX0" fmla="*/ 1148 w 10000"/>
                <a:gd name="connsiteY0" fmla="*/ 8909 h 10000"/>
                <a:gd name="connsiteX1" fmla="*/ 1148 w 10000"/>
                <a:gd name="connsiteY1" fmla="*/ 8909 h 10000"/>
                <a:gd name="connsiteX2" fmla="*/ 656 w 10000"/>
                <a:gd name="connsiteY2" fmla="*/ 9818 h 10000"/>
                <a:gd name="connsiteX3" fmla="*/ 656 w 10000"/>
                <a:gd name="connsiteY3" fmla="*/ 10000 h 10000"/>
                <a:gd name="connsiteX4" fmla="*/ 3770 w 10000"/>
                <a:gd name="connsiteY4" fmla="*/ 10000 h 10000"/>
                <a:gd name="connsiteX5" fmla="*/ 3770 w 10000"/>
                <a:gd name="connsiteY5" fmla="*/ 9273 h 10000"/>
                <a:gd name="connsiteX6" fmla="*/ 3934 w 10000"/>
                <a:gd name="connsiteY6" fmla="*/ 9273 h 10000"/>
                <a:gd name="connsiteX7" fmla="*/ 4918 w 10000"/>
                <a:gd name="connsiteY7" fmla="*/ 8636 h 10000"/>
                <a:gd name="connsiteX8" fmla="*/ 4918 w 10000"/>
                <a:gd name="connsiteY8" fmla="*/ 8545 h 10000"/>
                <a:gd name="connsiteX9" fmla="*/ 4918 w 10000"/>
                <a:gd name="connsiteY9" fmla="*/ 8545 h 10000"/>
                <a:gd name="connsiteX10" fmla="*/ 5082 w 10000"/>
                <a:gd name="connsiteY10" fmla="*/ 8545 h 10000"/>
                <a:gd name="connsiteX11" fmla="*/ 5082 w 10000"/>
                <a:gd name="connsiteY11" fmla="*/ 8545 h 10000"/>
                <a:gd name="connsiteX12" fmla="*/ 5082 w 10000"/>
                <a:gd name="connsiteY12" fmla="*/ 8455 h 10000"/>
                <a:gd name="connsiteX13" fmla="*/ 5246 w 10000"/>
                <a:gd name="connsiteY13" fmla="*/ 8182 h 10000"/>
                <a:gd name="connsiteX14" fmla="*/ 5410 w 10000"/>
                <a:gd name="connsiteY14" fmla="*/ 7727 h 10000"/>
                <a:gd name="connsiteX15" fmla="*/ 5410 w 10000"/>
                <a:gd name="connsiteY15" fmla="*/ 7727 h 10000"/>
                <a:gd name="connsiteX16" fmla="*/ 5410 w 10000"/>
                <a:gd name="connsiteY16" fmla="*/ 7636 h 10000"/>
                <a:gd name="connsiteX17" fmla="*/ 5410 w 10000"/>
                <a:gd name="connsiteY17" fmla="*/ 7636 h 10000"/>
                <a:gd name="connsiteX18" fmla="*/ 5410 w 10000"/>
                <a:gd name="connsiteY18" fmla="*/ 7636 h 10000"/>
                <a:gd name="connsiteX19" fmla="*/ 5410 w 10000"/>
                <a:gd name="connsiteY19" fmla="*/ 7364 h 10000"/>
                <a:gd name="connsiteX20" fmla="*/ 5410 w 10000"/>
                <a:gd name="connsiteY20" fmla="*/ 6182 h 10000"/>
                <a:gd name="connsiteX21" fmla="*/ 5082 w 10000"/>
                <a:gd name="connsiteY21" fmla="*/ 6091 h 10000"/>
                <a:gd name="connsiteX22" fmla="*/ 4918 w 10000"/>
                <a:gd name="connsiteY22" fmla="*/ 6091 h 10000"/>
                <a:gd name="connsiteX23" fmla="*/ 4918 w 10000"/>
                <a:gd name="connsiteY23" fmla="*/ 6091 h 10000"/>
                <a:gd name="connsiteX24" fmla="*/ 5410 w 10000"/>
                <a:gd name="connsiteY24" fmla="*/ 5727 h 10000"/>
                <a:gd name="connsiteX25" fmla="*/ 6230 w 10000"/>
                <a:gd name="connsiteY25" fmla="*/ 5000 h 10000"/>
                <a:gd name="connsiteX26" fmla="*/ 6230 w 10000"/>
                <a:gd name="connsiteY26" fmla="*/ 4909 h 10000"/>
                <a:gd name="connsiteX27" fmla="*/ 7213 w 10000"/>
                <a:gd name="connsiteY27" fmla="*/ 3909 h 10000"/>
                <a:gd name="connsiteX28" fmla="*/ 6885 w 10000"/>
                <a:gd name="connsiteY28" fmla="*/ 3818 h 10000"/>
                <a:gd name="connsiteX29" fmla="*/ 7213 w 10000"/>
                <a:gd name="connsiteY29" fmla="*/ 3455 h 10000"/>
                <a:gd name="connsiteX30" fmla="*/ 8033 w 10000"/>
                <a:gd name="connsiteY30" fmla="*/ 2818 h 10000"/>
                <a:gd name="connsiteX31" fmla="*/ 8033 w 10000"/>
                <a:gd name="connsiteY31" fmla="*/ 2727 h 10000"/>
                <a:gd name="connsiteX32" fmla="*/ 8852 w 10000"/>
                <a:gd name="connsiteY32" fmla="*/ 2182 h 10000"/>
                <a:gd name="connsiteX33" fmla="*/ 8852 w 10000"/>
                <a:gd name="connsiteY33" fmla="*/ 1636 h 10000"/>
                <a:gd name="connsiteX34" fmla="*/ 9016 w 10000"/>
                <a:gd name="connsiteY34" fmla="*/ 1636 h 10000"/>
                <a:gd name="connsiteX35" fmla="*/ 10000 w 10000"/>
                <a:gd name="connsiteY35" fmla="*/ 1091 h 10000"/>
                <a:gd name="connsiteX36" fmla="*/ 10000 w 10000"/>
                <a:gd name="connsiteY36" fmla="*/ 0 h 10000"/>
                <a:gd name="connsiteX37" fmla="*/ 9836 w 10000"/>
                <a:gd name="connsiteY37" fmla="*/ 0 h 10000"/>
                <a:gd name="connsiteX38" fmla="*/ 9836 w 10000"/>
                <a:gd name="connsiteY38" fmla="*/ 182 h 10000"/>
                <a:gd name="connsiteX39" fmla="*/ 164 w 10000"/>
                <a:gd name="connsiteY39" fmla="*/ 182 h 10000"/>
                <a:gd name="connsiteX40" fmla="*/ 0 w 10000"/>
                <a:gd name="connsiteY40" fmla="*/ 182 h 10000"/>
                <a:gd name="connsiteX41" fmla="*/ 0 w 10000"/>
                <a:gd name="connsiteY41" fmla="*/ 7909 h 10000"/>
                <a:gd name="connsiteX42" fmla="*/ 1148 w 10000"/>
                <a:gd name="connsiteY42" fmla="*/ 890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000" h="10000">
                  <a:moveTo>
                    <a:pt x="1148" y="8909"/>
                  </a:moveTo>
                  <a:lnTo>
                    <a:pt x="1148" y="8909"/>
                  </a:lnTo>
                  <a:cubicBezTo>
                    <a:pt x="984" y="9091"/>
                    <a:pt x="820" y="9455"/>
                    <a:pt x="656" y="9818"/>
                  </a:cubicBezTo>
                  <a:lnTo>
                    <a:pt x="656" y="10000"/>
                  </a:lnTo>
                  <a:lnTo>
                    <a:pt x="3770" y="10000"/>
                  </a:lnTo>
                  <a:lnTo>
                    <a:pt x="3770" y="9273"/>
                  </a:lnTo>
                  <a:lnTo>
                    <a:pt x="3934" y="9273"/>
                  </a:lnTo>
                  <a:cubicBezTo>
                    <a:pt x="4098" y="9182"/>
                    <a:pt x="4590" y="9000"/>
                    <a:pt x="4918" y="8636"/>
                  </a:cubicBezTo>
                  <a:lnTo>
                    <a:pt x="4918" y="8545"/>
                  </a:lnTo>
                  <a:lnTo>
                    <a:pt x="4918" y="8545"/>
                  </a:lnTo>
                  <a:lnTo>
                    <a:pt x="5082" y="8545"/>
                  </a:lnTo>
                  <a:lnTo>
                    <a:pt x="5082" y="8545"/>
                  </a:lnTo>
                  <a:lnTo>
                    <a:pt x="5082" y="8455"/>
                  </a:lnTo>
                  <a:cubicBezTo>
                    <a:pt x="5082" y="8455"/>
                    <a:pt x="5246" y="8273"/>
                    <a:pt x="5246" y="8182"/>
                  </a:cubicBezTo>
                  <a:cubicBezTo>
                    <a:pt x="5246" y="7909"/>
                    <a:pt x="5246" y="7818"/>
                    <a:pt x="5410" y="7727"/>
                  </a:cubicBezTo>
                  <a:lnTo>
                    <a:pt x="5410" y="7727"/>
                  </a:lnTo>
                  <a:lnTo>
                    <a:pt x="5410" y="7636"/>
                  </a:lnTo>
                  <a:lnTo>
                    <a:pt x="5410" y="7636"/>
                  </a:lnTo>
                  <a:lnTo>
                    <a:pt x="5410" y="7636"/>
                  </a:lnTo>
                  <a:lnTo>
                    <a:pt x="5410" y="7364"/>
                  </a:lnTo>
                  <a:lnTo>
                    <a:pt x="5410" y="6182"/>
                  </a:lnTo>
                  <a:cubicBezTo>
                    <a:pt x="5246" y="6182"/>
                    <a:pt x="5082" y="6182"/>
                    <a:pt x="5082" y="6091"/>
                  </a:cubicBezTo>
                  <a:lnTo>
                    <a:pt x="4918" y="6091"/>
                  </a:lnTo>
                  <a:lnTo>
                    <a:pt x="4918" y="6091"/>
                  </a:lnTo>
                  <a:cubicBezTo>
                    <a:pt x="4918" y="6000"/>
                    <a:pt x="5082" y="5909"/>
                    <a:pt x="5410" y="5727"/>
                  </a:cubicBezTo>
                  <a:cubicBezTo>
                    <a:pt x="6230" y="5364"/>
                    <a:pt x="6230" y="5000"/>
                    <a:pt x="6230" y="5000"/>
                  </a:cubicBezTo>
                  <a:lnTo>
                    <a:pt x="6230" y="4909"/>
                  </a:lnTo>
                  <a:lnTo>
                    <a:pt x="7213" y="3909"/>
                  </a:lnTo>
                  <a:cubicBezTo>
                    <a:pt x="7049" y="3909"/>
                    <a:pt x="6885" y="3909"/>
                    <a:pt x="6885" y="3818"/>
                  </a:cubicBezTo>
                  <a:cubicBezTo>
                    <a:pt x="6885" y="3727"/>
                    <a:pt x="6885" y="3636"/>
                    <a:pt x="7213" y="3455"/>
                  </a:cubicBezTo>
                  <a:cubicBezTo>
                    <a:pt x="7705" y="3182"/>
                    <a:pt x="8033" y="2909"/>
                    <a:pt x="8033" y="2818"/>
                  </a:cubicBezTo>
                  <a:lnTo>
                    <a:pt x="8033" y="2727"/>
                  </a:lnTo>
                  <a:lnTo>
                    <a:pt x="8852" y="2182"/>
                  </a:lnTo>
                  <a:lnTo>
                    <a:pt x="8852" y="1636"/>
                  </a:lnTo>
                  <a:lnTo>
                    <a:pt x="9016" y="1636"/>
                  </a:lnTo>
                  <a:cubicBezTo>
                    <a:pt x="9508" y="1455"/>
                    <a:pt x="10000" y="1273"/>
                    <a:pt x="10000" y="1091"/>
                  </a:cubicBezTo>
                  <a:lnTo>
                    <a:pt x="10000" y="0"/>
                  </a:lnTo>
                  <a:lnTo>
                    <a:pt x="9836" y="0"/>
                  </a:lnTo>
                  <a:lnTo>
                    <a:pt x="9836" y="182"/>
                  </a:lnTo>
                  <a:lnTo>
                    <a:pt x="164" y="182"/>
                  </a:lnTo>
                  <a:lnTo>
                    <a:pt x="0" y="182"/>
                  </a:lnTo>
                  <a:lnTo>
                    <a:pt x="0" y="7909"/>
                  </a:lnTo>
                  <a:lnTo>
                    <a:pt x="1148" y="8909"/>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0" name="Utah">
              <a:extLst>
                <a:ext uri="{FF2B5EF4-FFF2-40B4-BE49-F238E27FC236}">
                  <a16:creationId xmlns:a16="http://schemas.microsoft.com/office/drawing/2014/main" id="{3AAB2C37-DB9A-9792-4790-915EDFF46398}"/>
                </a:ext>
              </a:extLst>
            </p:cNvPr>
            <p:cNvSpPr>
              <a:spLocks/>
            </p:cNvSpPr>
            <p:nvPr/>
          </p:nvSpPr>
          <p:spPr bwMode="auto">
            <a:xfrm>
              <a:off x="3725286" y="2223394"/>
              <a:ext cx="779072" cy="966317"/>
            </a:xfrm>
            <a:custGeom>
              <a:avLst/>
              <a:gdLst>
                <a:gd name="T0" fmla="*/ 466 w 466"/>
                <a:gd name="T1" fmla="*/ 135 h 578"/>
                <a:gd name="T2" fmla="*/ 262 w 466"/>
                <a:gd name="T3" fmla="*/ 135 h 578"/>
                <a:gd name="T4" fmla="*/ 262 w 466"/>
                <a:gd name="T5" fmla="*/ 0 h 578"/>
                <a:gd name="T6" fmla="*/ 0 w 466"/>
                <a:gd name="T7" fmla="*/ 0 h 578"/>
                <a:gd name="T8" fmla="*/ 0 w 466"/>
                <a:gd name="T9" fmla="*/ 578 h 578"/>
                <a:gd name="T10" fmla="*/ 466 w 466"/>
                <a:gd name="T11" fmla="*/ 578 h 578"/>
                <a:gd name="T12" fmla="*/ 466 w 466"/>
                <a:gd name="T13" fmla="*/ 576 h 578"/>
                <a:gd name="T14" fmla="*/ 466 w 466"/>
                <a:gd name="T15" fmla="*/ 135 h 578"/>
                <a:gd name="T16" fmla="*/ 466 w 466"/>
                <a:gd name="T17" fmla="*/ 135 h 578"/>
                <a:gd name="T18" fmla="*/ 466 w 466"/>
                <a:gd name="T19" fmla="*/ 135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6" h="578">
                  <a:moveTo>
                    <a:pt x="466" y="135"/>
                  </a:moveTo>
                  <a:lnTo>
                    <a:pt x="262" y="135"/>
                  </a:lnTo>
                  <a:lnTo>
                    <a:pt x="262" y="0"/>
                  </a:lnTo>
                  <a:lnTo>
                    <a:pt x="0" y="0"/>
                  </a:lnTo>
                  <a:lnTo>
                    <a:pt x="0" y="578"/>
                  </a:lnTo>
                  <a:lnTo>
                    <a:pt x="466" y="578"/>
                  </a:lnTo>
                  <a:lnTo>
                    <a:pt x="466" y="576"/>
                  </a:lnTo>
                  <a:lnTo>
                    <a:pt x="466" y="135"/>
                  </a:lnTo>
                  <a:lnTo>
                    <a:pt x="466" y="135"/>
                  </a:lnTo>
                  <a:lnTo>
                    <a:pt x="466" y="135"/>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1" name="Texas">
              <a:extLst>
                <a:ext uri="{FF2B5EF4-FFF2-40B4-BE49-F238E27FC236}">
                  <a16:creationId xmlns:a16="http://schemas.microsoft.com/office/drawing/2014/main" id="{270C6BA8-70BE-6955-FF5A-1EAC2556F1DB}"/>
                </a:ext>
              </a:extLst>
            </p:cNvPr>
            <p:cNvSpPr>
              <a:spLocks/>
            </p:cNvSpPr>
            <p:nvPr/>
          </p:nvSpPr>
          <p:spPr bwMode="auto">
            <a:xfrm>
              <a:off x="4867145" y="3348534"/>
              <a:ext cx="1997835" cy="2051333"/>
            </a:xfrm>
            <a:custGeom>
              <a:avLst/>
              <a:gdLst>
                <a:gd name="T0" fmla="*/ 492 w 505"/>
                <a:gd name="T1" fmla="*/ 336 h 518"/>
                <a:gd name="T2" fmla="*/ 491 w 505"/>
                <a:gd name="T3" fmla="*/ 335 h 518"/>
                <a:gd name="T4" fmla="*/ 495 w 505"/>
                <a:gd name="T5" fmla="*/ 332 h 518"/>
                <a:gd name="T6" fmla="*/ 498 w 505"/>
                <a:gd name="T7" fmla="*/ 328 h 518"/>
                <a:gd name="T8" fmla="*/ 500 w 505"/>
                <a:gd name="T9" fmla="*/ 323 h 518"/>
                <a:gd name="T10" fmla="*/ 501 w 505"/>
                <a:gd name="T11" fmla="*/ 322 h 518"/>
                <a:gd name="T12" fmla="*/ 502 w 505"/>
                <a:gd name="T13" fmla="*/ 315 h 518"/>
                <a:gd name="T14" fmla="*/ 502 w 505"/>
                <a:gd name="T15" fmla="*/ 309 h 518"/>
                <a:gd name="T16" fmla="*/ 502 w 505"/>
                <a:gd name="T17" fmla="*/ 284 h 518"/>
                <a:gd name="T18" fmla="*/ 498 w 505"/>
                <a:gd name="T19" fmla="*/ 276 h 518"/>
                <a:gd name="T20" fmla="*/ 487 w 505"/>
                <a:gd name="T21" fmla="*/ 266 h 518"/>
                <a:gd name="T22" fmla="*/ 482 w 505"/>
                <a:gd name="T23" fmla="*/ 209 h 518"/>
                <a:gd name="T24" fmla="*/ 473 w 505"/>
                <a:gd name="T25" fmla="*/ 139 h 518"/>
                <a:gd name="T26" fmla="*/ 456 w 505"/>
                <a:gd name="T27" fmla="*/ 139 h 518"/>
                <a:gd name="T28" fmla="*/ 454 w 505"/>
                <a:gd name="T29" fmla="*/ 139 h 518"/>
                <a:gd name="T30" fmla="*/ 444 w 505"/>
                <a:gd name="T31" fmla="*/ 133 h 518"/>
                <a:gd name="T32" fmla="*/ 428 w 505"/>
                <a:gd name="T33" fmla="*/ 129 h 518"/>
                <a:gd name="T34" fmla="*/ 412 w 505"/>
                <a:gd name="T35" fmla="*/ 131 h 518"/>
                <a:gd name="T36" fmla="*/ 407 w 505"/>
                <a:gd name="T37" fmla="*/ 134 h 518"/>
                <a:gd name="T38" fmla="*/ 398 w 505"/>
                <a:gd name="T39" fmla="*/ 137 h 518"/>
                <a:gd name="T40" fmla="*/ 343 w 505"/>
                <a:gd name="T41" fmla="*/ 127 h 518"/>
                <a:gd name="T42" fmla="*/ 333 w 505"/>
                <a:gd name="T43" fmla="*/ 127 h 518"/>
                <a:gd name="T44" fmla="*/ 325 w 505"/>
                <a:gd name="T45" fmla="*/ 120 h 518"/>
                <a:gd name="T46" fmla="*/ 304 w 505"/>
                <a:gd name="T47" fmla="*/ 109 h 518"/>
                <a:gd name="T48" fmla="*/ 293 w 505"/>
                <a:gd name="T49" fmla="*/ 108 h 518"/>
                <a:gd name="T50" fmla="*/ 291 w 505"/>
                <a:gd name="T51" fmla="*/ 109 h 518"/>
                <a:gd name="T52" fmla="*/ 276 w 505"/>
                <a:gd name="T53" fmla="*/ 104 h 518"/>
                <a:gd name="T54" fmla="*/ 253 w 505"/>
                <a:gd name="T55" fmla="*/ 89 h 518"/>
                <a:gd name="T56" fmla="*/ 136 w 505"/>
                <a:gd name="T57" fmla="*/ 256 h 518"/>
                <a:gd name="T58" fmla="*/ 0 w 505"/>
                <a:gd name="T59" fmla="*/ 257 h 518"/>
                <a:gd name="T60" fmla="*/ 22 w 505"/>
                <a:gd name="T61" fmla="*/ 272 h 518"/>
                <a:gd name="T62" fmla="*/ 73 w 505"/>
                <a:gd name="T63" fmla="*/ 342 h 518"/>
                <a:gd name="T64" fmla="*/ 151 w 505"/>
                <a:gd name="T65" fmla="*/ 346 h 518"/>
                <a:gd name="T66" fmla="*/ 198 w 505"/>
                <a:gd name="T67" fmla="*/ 346 h 518"/>
                <a:gd name="T68" fmla="*/ 252 w 505"/>
                <a:gd name="T69" fmla="*/ 420 h 518"/>
                <a:gd name="T70" fmla="*/ 279 w 505"/>
                <a:gd name="T71" fmla="*/ 475 h 518"/>
                <a:gd name="T72" fmla="*/ 315 w 505"/>
                <a:gd name="T73" fmla="*/ 502 h 518"/>
                <a:gd name="T74" fmla="*/ 358 w 505"/>
                <a:gd name="T75" fmla="*/ 518 h 518"/>
                <a:gd name="T76" fmla="*/ 361 w 505"/>
                <a:gd name="T77" fmla="*/ 502 h 518"/>
                <a:gd name="T78" fmla="*/ 358 w 505"/>
                <a:gd name="T79" fmla="*/ 471 h 518"/>
                <a:gd name="T80" fmla="*/ 354 w 505"/>
                <a:gd name="T81" fmla="*/ 459 h 518"/>
                <a:gd name="T82" fmla="*/ 365 w 505"/>
                <a:gd name="T83" fmla="*/ 444 h 518"/>
                <a:gd name="T84" fmla="*/ 373 w 505"/>
                <a:gd name="T85" fmla="*/ 428 h 518"/>
                <a:gd name="T86" fmla="*/ 369 w 505"/>
                <a:gd name="T87" fmla="*/ 424 h 518"/>
                <a:gd name="T88" fmla="*/ 385 w 505"/>
                <a:gd name="T89" fmla="*/ 413 h 518"/>
                <a:gd name="T90" fmla="*/ 397 w 505"/>
                <a:gd name="T91" fmla="*/ 405 h 518"/>
                <a:gd name="T92" fmla="*/ 397 w 505"/>
                <a:gd name="T93" fmla="*/ 397 h 518"/>
                <a:gd name="T94" fmla="*/ 404 w 505"/>
                <a:gd name="T95" fmla="*/ 397 h 518"/>
                <a:gd name="T96" fmla="*/ 412 w 505"/>
                <a:gd name="T97" fmla="*/ 401 h 518"/>
                <a:gd name="T98" fmla="*/ 404 w 505"/>
                <a:gd name="T99" fmla="*/ 409 h 518"/>
                <a:gd name="T100" fmla="*/ 451 w 505"/>
                <a:gd name="T101" fmla="*/ 374 h 518"/>
                <a:gd name="T102" fmla="*/ 455 w 505"/>
                <a:gd name="T103" fmla="*/ 346 h 518"/>
                <a:gd name="T104" fmla="*/ 463 w 505"/>
                <a:gd name="T105" fmla="*/ 358 h 518"/>
                <a:gd name="T106" fmla="*/ 479 w 505"/>
                <a:gd name="T107" fmla="*/ 350 h 518"/>
                <a:gd name="T108" fmla="*/ 483 w 505"/>
                <a:gd name="T109" fmla="*/ 34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5" h="518">
                  <a:moveTo>
                    <a:pt x="483" y="341"/>
                  </a:moveTo>
                  <a:cubicBezTo>
                    <a:pt x="488" y="340"/>
                    <a:pt x="491" y="338"/>
                    <a:pt x="492" y="336"/>
                  </a:cubicBezTo>
                  <a:cubicBezTo>
                    <a:pt x="492" y="336"/>
                    <a:pt x="492" y="336"/>
                    <a:pt x="492" y="336"/>
                  </a:cubicBezTo>
                  <a:cubicBezTo>
                    <a:pt x="492" y="336"/>
                    <a:pt x="492" y="336"/>
                    <a:pt x="492" y="336"/>
                  </a:cubicBezTo>
                  <a:cubicBezTo>
                    <a:pt x="492" y="336"/>
                    <a:pt x="492" y="336"/>
                    <a:pt x="492" y="336"/>
                  </a:cubicBezTo>
                  <a:cubicBezTo>
                    <a:pt x="491" y="335"/>
                    <a:pt x="491" y="335"/>
                    <a:pt x="491" y="335"/>
                  </a:cubicBezTo>
                  <a:cubicBezTo>
                    <a:pt x="493" y="334"/>
                    <a:pt x="493" y="334"/>
                    <a:pt x="493" y="334"/>
                  </a:cubicBezTo>
                  <a:cubicBezTo>
                    <a:pt x="494" y="333"/>
                    <a:pt x="494" y="332"/>
                    <a:pt x="494" y="332"/>
                  </a:cubicBezTo>
                  <a:cubicBezTo>
                    <a:pt x="495" y="332"/>
                    <a:pt x="495" y="332"/>
                    <a:pt x="495" y="332"/>
                  </a:cubicBezTo>
                  <a:cubicBezTo>
                    <a:pt x="495" y="332"/>
                    <a:pt x="495" y="332"/>
                    <a:pt x="495" y="332"/>
                  </a:cubicBezTo>
                  <a:cubicBezTo>
                    <a:pt x="495" y="332"/>
                    <a:pt x="496" y="331"/>
                    <a:pt x="497" y="329"/>
                  </a:cubicBezTo>
                  <a:cubicBezTo>
                    <a:pt x="497" y="328"/>
                    <a:pt x="498" y="328"/>
                    <a:pt x="498" y="328"/>
                  </a:cubicBezTo>
                  <a:cubicBezTo>
                    <a:pt x="499" y="327"/>
                    <a:pt x="499" y="327"/>
                    <a:pt x="499" y="327"/>
                  </a:cubicBezTo>
                  <a:cubicBezTo>
                    <a:pt x="499" y="327"/>
                    <a:pt x="499" y="327"/>
                    <a:pt x="499" y="327"/>
                  </a:cubicBezTo>
                  <a:cubicBezTo>
                    <a:pt x="500" y="323"/>
                    <a:pt x="500" y="323"/>
                    <a:pt x="500" y="323"/>
                  </a:cubicBezTo>
                  <a:cubicBezTo>
                    <a:pt x="500" y="323"/>
                    <a:pt x="500" y="323"/>
                    <a:pt x="500" y="323"/>
                  </a:cubicBezTo>
                  <a:cubicBezTo>
                    <a:pt x="501" y="323"/>
                    <a:pt x="501" y="323"/>
                    <a:pt x="501" y="323"/>
                  </a:cubicBezTo>
                  <a:cubicBezTo>
                    <a:pt x="501" y="322"/>
                    <a:pt x="501" y="322"/>
                    <a:pt x="501" y="322"/>
                  </a:cubicBezTo>
                  <a:cubicBezTo>
                    <a:pt x="501" y="322"/>
                    <a:pt x="501" y="322"/>
                    <a:pt x="501" y="322"/>
                  </a:cubicBezTo>
                  <a:cubicBezTo>
                    <a:pt x="501" y="322"/>
                    <a:pt x="501" y="320"/>
                    <a:pt x="502" y="318"/>
                  </a:cubicBezTo>
                  <a:cubicBezTo>
                    <a:pt x="502" y="317"/>
                    <a:pt x="502" y="316"/>
                    <a:pt x="502" y="315"/>
                  </a:cubicBezTo>
                  <a:cubicBezTo>
                    <a:pt x="502" y="314"/>
                    <a:pt x="502" y="314"/>
                    <a:pt x="502" y="314"/>
                  </a:cubicBezTo>
                  <a:cubicBezTo>
                    <a:pt x="502" y="314"/>
                    <a:pt x="502" y="314"/>
                    <a:pt x="502" y="314"/>
                  </a:cubicBezTo>
                  <a:cubicBezTo>
                    <a:pt x="502" y="314"/>
                    <a:pt x="502" y="312"/>
                    <a:pt x="502" y="309"/>
                  </a:cubicBezTo>
                  <a:cubicBezTo>
                    <a:pt x="502" y="298"/>
                    <a:pt x="502" y="298"/>
                    <a:pt x="502" y="298"/>
                  </a:cubicBezTo>
                  <a:cubicBezTo>
                    <a:pt x="502" y="295"/>
                    <a:pt x="503" y="293"/>
                    <a:pt x="504" y="291"/>
                  </a:cubicBezTo>
                  <a:cubicBezTo>
                    <a:pt x="505" y="289"/>
                    <a:pt x="505" y="288"/>
                    <a:pt x="502" y="284"/>
                  </a:cubicBezTo>
                  <a:cubicBezTo>
                    <a:pt x="498" y="277"/>
                    <a:pt x="498" y="277"/>
                    <a:pt x="498" y="277"/>
                  </a:cubicBezTo>
                  <a:cubicBezTo>
                    <a:pt x="498" y="276"/>
                    <a:pt x="498" y="276"/>
                    <a:pt x="498" y="276"/>
                  </a:cubicBezTo>
                  <a:cubicBezTo>
                    <a:pt x="498" y="276"/>
                    <a:pt x="498" y="276"/>
                    <a:pt x="498" y="276"/>
                  </a:cubicBezTo>
                  <a:cubicBezTo>
                    <a:pt x="498" y="275"/>
                    <a:pt x="497" y="274"/>
                    <a:pt x="493" y="271"/>
                  </a:cubicBezTo>
                  <a:cubicBezTo>
                    <a:pt x="487" y="266"/>
                    <a:pt x="487" y="266"/>
                    <a:pt x="487" y="266"/>
                  </a:cubicBezTo>
                  <a:cubicBezTo>
                    <a:pt x="487" y="266"/>
                    <a:pt x="487" y="266"/>
                    <a:pt x="487" y="266"/>
                  </a:cubicBezTo>
                  <a:cubicBezTo>
                    <a:pt x="486" y="265"/>
                    <a:pt x="486" y="263"/>
                    <a:pt x="486" y="260"/>
                  </a:cubicBezTo>
                  <a:cubicBezTo>
                    <a:pt x="486" y="226"/>
                    <a:pt x="486" y="226"/>
                    <a:pt x="486" y="226"/>
                  </a:cubicBezTo>
                  <a:cubicBezTo>
                    <a:pt x="482" y="209"/>
                    <a:pt x="482" y="209"/>
                    <a:pt x="482" y="209"/>
                  </a:cubicBezTo>
                  <a:cubicBezTo>
                    <a:pt x="482" y="173"/>
                    <a:pt x="482" y="173"/>
                    <a:pt x="482" y="173"/>
                  </a:cubicBezTo>
                  <a:cubicBezTo>
                    <a:pt x="482" y="142"/>
                    <a:pt x="482" y="142"/>
                    <a:pt x="482" y="142"/>
                  </a:cubicBezTo>
                  <a:cubicBezTo>
                    <a:pt x="473" y="139"/>
                    <a:pt x="473" y="139"/>
                    <a:pt x="473" y="139"/>
                  </a:cubicBezTo>
                  <a:cubicBezTo>
                    <a:pt x="461" y="139"/>
                    <a:pt x="461" y="139"/>
                    <a:pt x="461" y="139"/>
                  </a:cubicBezTo>
                  <a:cubicBezTo>
                    <a:pt x="459" y="137"/>
                    <a:pt x="459" y="137"/>
                    <a:pt x="459" y="137"/>
                  </a:cubicBezTo>
                  <a:cubicBezTo>
                    <a:pt x="456" y="139"/>
                    <a:pt x="456" y="139"/>
                    <a:pt x="456" y="139"/>
                  </a:cubicBezTo>
                  <a:cubicBezTo>
                    <a:pt x="455" y="139"/>
                    <a:pt x="455" y="139"/>
                    <a:pt x="455" y="139"/>
                  </a:cubicBezTo>
                  <a:cubicBezTo>
                    <a:pt x="454" y="139"/>
                    <a:pt x="454" y="139"/>
                    <a:pt x="454" y="139"/>
                  </a:cubicBezTo>
                  <a:cubicBezTo>
                    <a:pt x="454" y="139"/>
                    <a:pt x="454" y="139"/>
                    <a:pt x="454" y="139"/>
                  </a:cubicBezTo>
                  <a:cubicBezTo>
                    <a:pt x="452" y="138"/>
                    <a:pt x="452" y="136"/>
                    <a:pt x="452" y="135"/>
                  </a:cubicBezTo>
                  <a:cubicBezTo>
                    <a:pt x="444" y="134"/>
                    <a:pt x="444" y="134"/>
                    <a:pt x="444" y="134"/>
                  </a:cubicBezTo>
                  <a:cubicBezTo>
                    <a:pt x="444" y="133"/>
                    <a:pt x="444" y="133"/>
                    <a:pt x="444" y="133"/>
                  </a:cubicBezTo>
                  <a:cubicBezTo>
                    <a:pt x="443" y="132"/>
                    <a:pt x="440" y="128"/>
                    <a:pt x="436" y="126"/>
                  </a:cubicBezTo>
                  <a:cubicBezTo>
                    <a:pt x="435" y="126"/>
                    <a:pt x="434" y="126"/>
                    <a:pt x="434" y="126"/>
                  </a:cubicBezTo>
                  <a:cubicBezTo>
                    <a:pt x="431" y="126"/>
                    <a:pt x="428" y="128"/>
                    <a:pt x="428" y="129"/>
                  </a:cubicBezTo>
                  <a:cubicBezTo>
                    <a:pt x="427" y="130"/>
                    <a:pt x="427" y="130"/>
                    <a:pt x="427" y="130"/>
                  </a:cubicBezTo>
                  <a:cubicBezTo>
                    <a:pt x="415" y="131"/>
                    <a:pt x="415" y="131"/>
                    <a:pt x="415" y="131"/>
                  </a:cubicBezTo>
                  <a:cubicBezTo>
                    <a:pt x="412" y="131"/>
                    <a:pt x="412" y="131"/>
                    <a:pt x="412" y="131"/>
                  </a:cubicBezTo>
                  <a:cubicBezTo>
                    <a:pt x="411" y="131"/>
                    <a:pt x="409" y="132"/>
                    <a:pt x="408" y="133"/>
                  </a:cubicBezTo>
                  <a:cubicBezTo>
                    <a:pt x="408" y="133"/>
                    <a:pt x="408" y="133"/>
                    <a:pt x="408" y="133"/>
                  </a:cubicBezTo>
                  <a:cubicBezTo>
                    <a:pt x="407" y="134"/>
                    <a:pt x="407" y="134"/>
                    <a:pt x="407" y="134"/>
                  </a:cubicBezTo>
                  <a:cubicBezTo>
                    <a:pt x="407" y="134"/>
                    <a:pt x="404" y="135"/>
                    <a:pt x="402" y="137"/>
                  </a:cubicBezTo>
                  <a:cubicBezTo>
                    <a:pt x="402" y="138"/>
                    <a:pt x="401" y="139"/>
                    <a:pt x="400" y="139"/>
                  </a:cubicBezTo>
                  <a:cubicBezTo>
                    <a:pt x="399" y="138"/>
                    <a:pt x="398" y="138"/>
                    <a:pt x="398" y="137"/>
                  </a:cubicBezTo>
                  <a:cubicBezTo>
                    <a:pt x="382" y="137"/>
                    <a:pt x="382" y="137"/>
                    <a:pt x="382" y="137"/>
                  </a:cubicBezTo>
                  <a:cubicBezTo>
                    <a:pt x="382" y="127"/>
                    <a:pt x="382" y="127"/>
                    <a:pt x="382" y="127"/>
                  </a:cubicBezTo>
                  <a:cubicBezTo>
                    <a:pt x="343" y="127"/>
                    <a:pt x="343" y="127"/>
                    <a:pt x="343" y="127"/>
                  </a:cubicBezTo>
                  <a:cubicBezTo>
                    <a:pt x="343" y="123"/>
                    <a:pt x="343" y="123"/>
                    <a:pt x="343" y="123"/>
                  </a:cubicBezTo>
                  <a:cubicBezTo>
                    <a:pt x="338" y="121"/>
                    <a:pt x="338" y="121"/>
                    <a:pt x="338" y="121"/>
                  </a:cubicBezTo>
                  <a:cubicBezTo>
                    <a:pt x="333" y="127"/>
                    <a:pt x="333" y="127"/>
                    <a:pt x="333" y="127"/>
                  </a:cubicBezTo>
                  <a:cubicBezTo>
                    <a:pt x="329" y="127"/>
                    <a:pt x="329" y="127"/>
                    <a:pt x="329" y="127"/>
                  </a:cubicBezTo>
                  <a:cubicBezTo>
                    <a:pt x="325" y="123"/>
                    <a:pt x="325" y="123"/>
                    <a:pt x="325" y="123"/>
                  </a:cubicBezTo>
                  <a:cubicBezTo>
                    <a:pt x="325" y="120"/>
                    <a:pt x="325" y="120"/>
                    <a:pt x="325" y="120"/>
                  </a:cubicBezTo>
                  <a:cubicBezTo>
                    <a:pt x="321" y="115"/>
                    <a:pt x="321" y="115"/>
                    <a:pt x="321" y="115"/>
                  </a:cubicBezTo>
                  <a:cubicBezTo>
                    <a:pt x="314" y="110"/>
                    <a:pt x="314" y="110"/>
                    <a:pt x="314" y="110"/>
                  </a:cubicBezTo>
                  <a:cubicBezTo>
                    <a:pt x="304" y="109"/>
                    <a:pt x="304" y="109"/>
                    <a:pt x="304" y="109"/>
                  </a:cubicBezTo>
                  <a:cubicBezTo>
                    <a:pt x="303" y="109"/>
                    <a:pt x="301" y="110"/>
                    <a:pt x="299" y="110"/>
                  </a:cubicBezTo>
                  <a:cubicBezTo>
                    <a:pt x="298" y="110"/>
                    <a:pt x="297" y="110"/>
                    <a:pt x="295" y="109"/>
                  </a:cubicBezTo>
                  <a:cubicBezTo>
                    <a:pt x="294" y="109"/>
                    <a:pt x="293" y="108"/>
                    <a:pt x="293" y="108"/>
                  </a:cubicBezTo>
                  <a:cubicBezTo>
                    <a:pt x="292" y="108"/>
                    <a:pt x="292" y="108"/>
                    <a:pt x="292" y="109"/>
                  </a:cubicBezTo>
                  <a:cubicBezTo>
                    <a:pt x="292" y="109"/>
                    <a:pt x="292" y="109"/>
                    <a:pt x="292" y="109"/>
                  </a:cubicBezTo>
                  <a:cubicBezTo>
                    <a:pt x="291" y="109"/>
                    <a:pt x="291" y="109"/>
                    <a:pt x="291" y="109"/>
                  </a:cubicBezTo>
                  <a:cubicBezTo>
                    <a:pt x="283" y="109"/>
                    <a:pt x="283" y="109"/>
                    <a:pt x="283" y="109"/>
                  </a:cubicBezTo>
                  <a:cubicBezTo>
                    <a:pt x="280" y="109"/>
                    <a:pt x="277" y="105"/>
                    <a:pt x="276" y="104"/>
                  </a:cubicBezTo>
                  <a:cubicBezTo>
                    <a:pt x="276" y="104"/>
                    <a:pt x="276" y="104"/>
                    <a:pt x="276" y="104"/>
                  </a:cubicBezTo>
                  <a:cubicBezTo>
                    <a:pt x="276" y="97"/>
                    <a:pt x="276" y="97"/>
                    <a:pt x="276" y="97"/>
                  </a:cubicBezTo>
                  <a:cubicBezTo>
                    <a:pt x="257" y="97"/>
                    <a:pt x="257" y="97"/>
                    <a:pt x="257" y="97"/>
                  </a:cubicBezTo>
                  <a:cubicBezTo>
                    <a:pt x="253" y="89"/>
                    <a:pt x="253" y="89"/>
                    <a:pt x="253" y="89"/>
                  </a:cubicBezTo>
                  <a:cubicBezTo>
                    <a:pt x="253" y="0"/>
                    <a:pt x="253" y="0"/>
                    <a:pt x="253" y="0"/>
                  </a:cubicBezTo>
                  <a:cubicBezTo>
                    <a:pt x="136" y="0"/>
                    <a:pt x="136" y="0"/>
                    <a:pt x="136" y="0"/>
                  </a:cubicBezTo>
                  <a:cubicBezTo>
                    <a:pt x="136" y="256"/>
                    <a:pt x="136" y="256"/>
                    <a:pt x="136" y="256"/>
                  </a:cubicBezTo>
                  <a:cubicBezTo>
                    <a:pt x="1" y="256"/>
                    <a:pt x="1" y="256"/>
                    <a:pt x="1" y="256"/>
                  </a:cubicBezTo>
                  <a:cubicBezTo>
                    <a:pt x="0" y="256"/>
                    <a:pt x="0" y="256"/>
                    <a:pt x="0" y="256"/>
                  </a:cubicBezTo>
                  <a:cubicBezTo>
                    <a:pt x="0" y="257"/>
                    <a:pt x="0" y="257"/>
                    <a:pt x="0" y="257"/>
                  </a:cubicBezTo>
                  <a:cubicBezTo>
                    <a:pt x="10" y="260"/>
                    <a:pt x="10" y="260"/>
                    <a:pt x="10" y="260"/>
                  </a:cubicBezTo>
                  <a:cubicBezTo>
                    <a:pt x="14" y="268"/>
                    <a:pt x="14" y="268"/>
                    <a:pt x="14" y="268"/>
                  </a:cubicBezTo>
                  <a:cubicBezTo>
                    <a:pt x="22" y="272"/>
                    <a:pt x="22" y="272"/>
                    <a:pt x="22" y="272"/>
                  </a:cubicBezTo>
                  <a:cubicBezTo>
                    <a:pt x="30" y="284"/>
                    <a:pt x="30" y="284"/>
                    <a:pt x="30" y="284"/>
                  </a:cubicBezTo>
                  <a:cubicBezTo>
                    <a:pt x="61" y="307"/>
                    <a:pt x="61" y="307"/>
                    <a:pt x="61" y="307"/>
                  </a:cubicBezTo>
                  <a:cubicBezTo>
                    <a:pt x="73" y="342"/>
                    <a:pt x="73" y="342"/>
                    <a:pt x="73" y="342"/>
                  </a:cubicBezTo>
                  <a:cubicBezTo>
                    <a:pt x="112" y="381"/>
                    <a:pt x="112" y="381"/>
                    <a:pt x="112" y="381"/>
                  </a:cubicBezTo>
                  <a:cubicBezTo>
                    <a:pt x="131" y="381"/>
                    <a:pt x="131" y="381"/>
                    <a:pt x="131" y="381"/>
                  </a:cubicBezTo>
                  <a:cubicBezTo>
                    <a:pt x="151" y="346"/>
                    <a:pt x="151" y="346"/>
                    <a:pt x="151" y="346"/>
                  </a:cubicBezTo>
                  <a:cubicBezTo>
                    <a:pt x="155" y="346"/>
                    <a:pt x="155" y="346"/>
                    <a:pt x="155" y="346"/>
                  </a:cubicBezTo>
                  <a:cubicBezTo>
                    <a:pt x="162" y="346"/>
                    <a:pt x="162" y="346"/>
                    <a:pt x="162" y="346"/>
                  </a:cubicBezTo>
                  <a:cubicBezTo>
                    <a:pt x="198" y="346"/>
                    <a:pt x="198" y="346"/>
                    <a:pt x="198" y="346"/>
                  </a:cubicBezTo>
                  <a:cubicBezTo>
                    <a:pt x="225" y="378"/>
                    <a:pt x="225" y="378"/>
                    <a:pt x="225" y="378"/>
                  </a:cubicBezTo>
                  <a:cubicBezTo>
                    <a:pt x="240" y="409"/>
                    <a:pt x="240" y="409"/>
                    <a:pt x="240" y="409"/>
                  </a:cubicBezTo>
                  <a:cubicBezTo>
                    <a:pt x="252" y="420"/>
                    <a:pt x="252" y="420"/>
                    <a:pt x="252" y="420"/>
                  </a:cubicBezTo>
                  <a:cubicBezTo>
                    <a:pt x="256" y="436"/>
                    <a:pt x="256" y="436"/>
                    <a:pt x="256" y="436"/>
                  </a:cubicBezTo>
                  <a:cubicBezTo>
                    <a:pt x="268" y="444"/>
                    <a:pt x="268" y="444"/>
                    <a:pt x="268" y="444"/>
                  </a:cubicBezTo>
                  <a:cubicBezTo>
                    <a:pt x="279" y="475"/>
                    <a:pt x="279" y="475"/>
                    <a:pt x="279" y="475"/>
                  </a:cubicBezTo>
                  <a:cubicBezTo>
                    <a:pt x="291" y="495"/>
                    <a:pt x="291" y="495"/>
                    <a:pt x="291" y="495"/>
                  </a:cubicBezTo>
                  <a:cubicBezTo>
                    <a:pt x="303" y="502"/>
                    <a:pt x="303" y="502"/>
                    <a:pt x="303" y="502"/>
                  </a:cubicBezTo>
                  <a:cubicBezTo>
                    <a:pt x="315" y="502"/>
                    <a:pt x="315" y="502"/>
                    <a:pt x="315" y="502"/>
                  </a:cubicBezTo>
                  <a:cubicBezTo>
                    <a:pt x="322" y="510"/>
                    <a:pt x="322" y="510"/>
                    <a:pt x="322" y="510"/>
                  </a:cubicBezTo>
                  <a:cubicBezTo>
                    <a:pt x="342" y="510"/>
                    <a:pt x="342" y="510"/>
                    <a:pt x="342" y="510"/>
                  </a:cubicBezTo>
                  <a:cubicBezTo>
                    <a:pt x="358" y="518"/>
                    <a:pt x="358" y="518"/>
                    <a:pt x="358" y="518"/>
                  </a:cubicBezTo>
                  <a:cubicBezTo>
                    <a:pt x="369" y="518"/>
                    <a:pt x="369" y="518"/>
                    <a:pt x="369" y="518"/>
                  </a:cubicBezTo>
                  <a:cubicBezTo>
                    <a:pt x="365" y="514"/>
                    <a:pt x="365" y="514"/>
                    <a:pt x="365" y="514"/>
                  </a:cubicBezTo>
                  <a:cubicBezTo>
                    <a:pt x="361" y="502"/>
                    <a:pt x="361" y="502"/>
                    <a:pt x="361" y="502"/>
                  </a:cubicBezTo>
                  <a:cubicBezTo>
                    <a:pt x="361" y="499"/>
                    <a:pt x="361" y="499"/>
                    <a:pt x="361" y="499"/>
                  </a:cubicBezTo>
                  <a:cubicBezTo>
                    <a:pt x="354" y="475"/>
                    <a:pt x="354" y="475"/>
                    <a:pt x="354" y="475"/>
                  </a:cubicBezTo>
                  <a:cubicBezTo>
                    <a:pt x="358" y="471"/>
                    <a:pt x="358" y="471"/>
                    <a:pt x="358" y="471"/>
                  </a:cubicBezTo>
                  <a:cubicBezTo>
                    <a:pt x="358" y="463"/>
                    <a:pt x="358" y="463"/>
                    <a:pt x="358" y="463"/>
                  </a:cubicBezTo>
                  <a:cubicBezTo>
                    <a:pt x="354" y="463"/>
                    <a:pt x="354" y="463"/>
                    <a:pt x="354" y="463"/>
                  </a:cubicBezTo>
                  <a:cubicBezTo>
                    <a:pt x="354" y="459"/>
                    <a:pt x="354" y="459"/>
                    <a:pt x="354" y="459"/>
                  </a:cubicBezTo>
                  <a:cubicBezTo>
                    <a:pt x="358" y="459"/>
                    <a:pt x="358" y="459"/>
                    <a:pt x="358" y="459"/>
                  </a:cubicBezTo>
                  <a:cubicBezTo>
                    <a:pt x="361" y="459"/>
                    <a:pt x="361" y="459"/>
                    <a:pt x="361" y="459"/>
                  </a:cubicBezTo>
                  <a:cubicBezTo>
                    <a:pt x="365" y="444"/>
                    <a:pt x="365" y="444"/>
                    <a:pt x="365" y="444"/>
                  </a:cubicBezTo>
                  <a:cubicBezTo>
                    <a:pt x="361" y="436"/>
                    <a:pt x="361" y="436"/>
                    <a:pt x="361" y="436"/>
                  </a:cubicBezTo>
                  <a:cubicBezTo>
                    <a:pt x="369" y="436"/>
                    <a:pt x="369" y="436"/>
                    <a:pt x="369" y="436"/>
                  </a:cubicBezTo>
                  <a:cubicBezTo>
                    <a:pt x="373" y="428"/>
                    <a:pt x="373" y="428"/>
                    <a:pt x="373" y="428"/>
                  </a:cubicBezTo>
                  <a:cubicBezTo>
                    <a:pt x="373" y="424"/>
                    <a:pt x="373" y="424"/>
                    <a:pt x="373" y="424"/>
                  </a:cubicBezTo>
                  <a:cubicBezTo>
                    <a:pt x="369" y="428"/>
                    <a:pt x="369" y="428"/>
                    <a:pt x="369" y="428"/>
                  </a:cubicBezTo>
                  <a:cubicBezTo>
                    <a:pt x="369" y="424"/>
                    <a:pt x="369" y="424"/>
                    <a:pt x="369" y="424"/>
                  </a:cubicBezTo>
                  <a:cubicBezTo>
                    <a:pt x="377" y="420"/>
                    <a:pt x="377" y="420"/>
                    <a:pt x="377" y="420"/>
                  </a:cubicBezTo>
                  <a:cubicBezTo>
                    <a:pt x="385" y="417"/>
                    <a:pt x="385" y="417"/>
                    <a:pt x="385" y="417"/>
                  </a:cubicBezTo>
                  <a:cubicBezTo>
                    <a:pt x="385" y="413"/>
                    <a:pt x="385" y="413"/>
                    <a:pt x="385" y="413"/>
                  </a:cubicBezTo>
                  <a:cubicBezTo>
                    <a:pt x="393" y="413"/>
                    <a:pt x="393" y="413"/>
                    <a:pt x="393" y="413"/>
                  </a:cubicBezTo>
                  <a:cubicBezTo>
                    <a:pt x="397" y="409"/>
                    <a:pt x="397" y="409"/>
                    <a:pt x="397" y="409"/>
                  </a:cubicBezTo>
                  <a:cubicBezTo>
                    <a:pt x="397" y="405"/>
                    <a:pt x="397" y="405"/>
                    <a:pt x="397" y="405"/>
                  </a:cubicBezTo>
                  <a:cubicBezTo>
                    <a:pt x="393" y="401"/>
                    <a:pt x="393" y="401"/>
                    <a:pt x="393" y="401"/>
                  </a:cubicBezTo>
                  <a:cubicBezTo>
                    <a:pt x="393" y="397"/>
                    <a:pt x="393" y="397"/>
                    <a:pt x="393" y="397"/>
                  </a:cubicBezTo>
                  <a:cubicBezTo>
                    <a:pt x="397" y="397"/>
                    <a:pt x="397" y="397"/>
                    <a:pt x="397" y="397"/>
                  </a:cubicBezTo>
                  <a:cubicBezTo>
                    <a:pt x="400" y="401"/>
                    <a:pt x="400" y="401"/>
                    <a:pt x="400" y="401"/>
                  </a:cubicBezTo>
                  <a:cubicBezTo>
                    <a:pt x="400" y="397"/>
                    <a:pt x="400" y="397"/>
                    <a:pt x="400" y="397"/>
                  </a:cubicBezTo>
                  <a:cubicBezTo>
                    <a:pt x="404" y="397"/>
                    <a:pt x="404" y="397"/>
                    <a:pt x="404" y="397"/>
                  </a:cubicBezTo>
                  <a:cubicBezTo>
                    <a:pt x="408" y="397"/>
                    <a:pt x="408" y="397"/>
                    <a:pt x="408" y="397"/>
                  </a:cubicBezTo>
                  <a:cubicBezTo>
                    <a:pt x="408" y="393"/>
                    <a:pt x="408" y="393"/>
                    <a:pt x="408" y="393"/>
                  </a:cubicBezTo>
                  <a:cubicBezTo>
                    <a:pt x="412" y="401"/>
                    <a:pt x="412" y="401"/>
                    <a:pt x="412" y="401"/>
                  </a:cubicBezTo>
                  <a:cubicBezTo>
                    <a:pt x="424" y="397"/>
                    <a:pt x="424" y="397"/>
                    <a:pt x="424" y="397"/>
                  </a:cubicBezTo>
                  <a:cubicBezTo>
                    <a:pt x="408" y="405"/>
                    <a:pt x="408" y="405"/>
                    <a:pt x="408" y="405"/>
                  </a:cubicBezTo>
                  <a:cubicBezTo>
                    <a:pt x="404" y="409"/>
                    <a:pt x="404" y="409"/>
                    <a:pt x="404" y="409"/>
                  </a:cubicBezTo>
                  <a:cubicBezTo>
                    <a:pt x="408" y="409"/>
                    <a:pt x="408" y="409"/>
                    <a:pt x="408" y="409"/>
                  </a:cubicBezTo>
                  <a:cubicBezTo>
                    <a:pt x="443" y="385"/>
                    <a:pt x="443" y="385"/>
                    <a:pt x="443" y="385"/>
                  </a:cubicBezTo>
                  <a:cubicBezTo>
                    <a:pt x="451" y="374"/>
                    <a:pt x="451" y="374"/>
                    <a:pt x="451" y="374"/>
                  </a:cubicBezTo>
                  <a:cubicBezTo>
                    <a:pt x="451" y="350"/>
                    <a:pt x="451" y="350"/>
                    <a:pt x="451" y="350"/>
                  </a:cubicBezTo>
                  <a:cubicBezTo>
                    <a:pt x="451" y="346"/>
                    <a:pt x="451" y="346"/>
                    <a:pt x="451" y="346"/>
                  </a:cubicBezTo>
                  <a:cubicBezTo>
                    <a:pt x="455" y="346"/>
                    <a:pt x="455" y="346"/>
                    <a:pt x="455" y="346"/>
                  </a:cubicBezTo>
                  <a:cubicBezTo>
                    <a:pt x="455" y="354"/>
                    <a:pt x="455" y="354"/>
                    <a:pt x="455" y="354"/>
                  </a:cubicBezTo>
                  <a:cubicBezTo>
                    <a:pt x="463" y="354"/>
                    <a:pt x="463" y="354"/>
                    <a:pt x="463" y="354"/>
                  </a:cubicBezTo>
                  <a:cubicBezTo>
                    <a:pt x="463" y="358"/>
                    <a:pt x="463" y="358"/>
                    <a:pt x="463" y="358"/>
                  </a:cubicBezTo>
                  <a:cubicBezTo>
                    <a:pt x="455" y="358"/>
                    <a:pt x="455" y="358"/>
                    <a:pt x="455" y="358"/>
                  </a:cubicBezTo>
                  <a:cubicBezTo>
                    <a:pt x="459" y="362"/>
                    <a:pt x="459" y="362"/>
                    <a:pt x="459" y="362"/>
                  </a:cubicBezTo>
                  <a:cubicBezTo>
                    <a:pt x="479" y="350"/>
                    <a:pt x="479" y="350"/>
                    <a:pt x="479" y="350"/>
                  </a:cubicBezTo>
                  <a:cubicBezTo>
                    <a:pt x="482" y="350"/>
                    <a:pt x="482" y="350"/>
                    <a:pt x="482" y="350"/>
                  </a:cubicBezTo>
                  <a:cubicBezTo>
                    <a:pt x="482" y="341"/>
                    <a:pt x="482" y="341"/>
                    <a:pt x="482" y="341"/>
                  </a:cubicBezTo>
                  <a:lnTo>
                    <a:pt x="483" y="341"/>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2" name="Tennessee">
              <a:extLst>
                <a:ext uri="{FF2B5EF4-FFF2-40B4-BE49-F238E27FC236}">
                  <a16:creationId xmlns:a16="http://schemas.microsoft.com/office/drawing/2014/main" id="{BF74A23D-6FAD-4DF7-8CD4-FB0C9F4931D5}"/>
                </a:ext>
              </a:extLst>
            </p:cNvPr>
            <p:cNvSpPr>
              <a:spLocks/>
            </p:cNvSpPr>
            <p:nvPr/>
          </p:nvSpPr>
          <p:spPr bwMode="auto">
            <a:xfrm>
              <a:off x="7311358" y="3328472"/>
              <a:ext cx="1329104" cy="309288"/>
            </a:xfrm>
            <a:custGeom>
              <a:avLst/>
              <a:gdLst>
                <a:gd name="T0" fmla="*/ 302 w 336"/>
                <a:gd name="T1" fmla="*/ 0 h 78"/>
                <a:gd name="T2" fmla="*/ 94 w 336"/>
                <a:gd name="T3" fmla="*/ 0 h 78"/>
                <a:gd name="T4" fmla="*/ 94 w 336"/>
                <a:gd name="T5" fmla="*/ 13 h 78"/>
                <a:gd name="T6" fmla="*/ 38 w 336"/>
                <a:gd name="T7" fmla="*/ 13 h 78"/>
                <a:gd name="T8" fmla="*/ 38 w 336"/>
                <a:gd name="T9" fmla="*/ 12 h 78"/>
                <a:gd name="T10" fmla="*/ 38 w 336"/>
                <a:gd name="T11" fmla="*/ 12 h 78"/>
                <a:gd name="T12" fmla="*/ 33 w 336"/>
                <a:gd name="T13" fmla="*/ 21 h 78"/>
                <a:gd name="T14" fmla="*/ 33 w 336"/>
                <a:gd name="T15" fmla="*/ 21 h 78"/>
                <a:gd name="T16" fmla="*/ 33 w 336"/>
                <a:gd name="T17" fmla="*/ 21 h 78"/>
                <a:gd name="T18" fmla="*/ 30 w 336"/>
                <a:gd name="T19" fmla="*/ 24 h 78"/>
                <a:gd name="T20" fmla="*/ 29 w 336"/>
                <a:gd name="T21" fmla="*/ 26 h 78"/>
                <a:gd name="T22" fmla="*/ 26 w 336"/>
                <a:gd name="T23" fmla="*/ 28 h 78"/>
                <a:gd name="T24" fmla="*/ 26 w 336"/>
                <a:gd name="T25" fmla="*/ 29 h 78"/>
                <a:gd name="T26" fmla="*/ 26 w 336"/>
                <a:gd name="T27" fmla="*/ 33 h 78"/>
                <a:gd name="T28" fmla="*/ 24 w 336"/>
                <a:gd name="T29" fmla="*/ 37 h 78"/>
                <a:gd name="T30" fmla="*/ 23 w 336"/>
                <a:gd name="T31" fmla="*/ 39 h 78"/>
                <a:gd name="T32" fmla="*/ 23 w 336"/>
                <a:gd name="T33" fmla="*/ 40 h 78"/>
                <a:gd name="T34" fmla="*/ 23 w 336"/>
                <a:gd name="T35" fmla="*/ 42 h 78"/>
                <a:gd name="T36" fmla="*/ 23 w 336"/>
                <a:gd name="T37" fmla="*/ 44 h 78"/>
                <a:gd name="T38" fmla="*/ 20 w 336"/>
                <a:gd name="T39" fmla="*/ 44 h 78"/>
                <a:gd name="T40" fmla="*/ 22 w 336"/>
                <a:gd name="T41" fmla="*/ 46 h 78"/>
                <a:gd name="T42" fmla="*/ 17 w 336"/>
                <a:gd name="T43" fmla="*/ 50 h 78"/>
                <a:gd name="T44" fmla="*/ 14 w 336"/>
                <a:gd name="T45" fmla="*/ 58 h 78"/>
                <a:gd name="T46" fmla="*/ 6 w 336"/>
                <a:gd name="T47" fmla="*/ 64 h 78"/>
                <a:gd name="T48" fmla="*/ 6 w 336"/>
                <a:gd name="T49" fmla="*/ 70 h 78"/>
                <a:gd name="T50" fmla="*/ 2 w 336"/>
                <a:gd name="T51" fmla="*/ 74 h 78"/>
                <a:gd name="T52" fmla="*/ 0 w 336"/>
                <a:gd name="T53" fmla="*/ 78 h 78"/>
                <a:gd name="T54" fmla="*/ 0 w 336"/>
                <a:gd name="T55" fmla="*/ 78 h 78"/>
                <a:gd name="T56" fmla="*/ 94 w 336"/>
                <a:gd name="T57" fmla="*/ 78 h 78"/>
                <a:gd name="T58" fmla="*/ 189 w 336"/>
                <a:gd name="T59" fmla="*/ 78 h 78"/>
                <a:gd name="T60" fmla="*/ 230 w 336"/>
                <a:gd name="T61" fmla="*/ 78 h 78"/>
                <a:gd name="T62" fmla="*/ 230 w 336"/>
                <a:gd name="T63" fmla="*/ 78 h 78"/>
                <a:gd name="T64" fmla="*/ 230 w 336"/>
                <a:gd name="T65" fmla="*/ 75 h 78"/>
                <a:gd name="T66" fmla="*/ 230 w 336"/>
                <a:gd name="T67" fmla="*/ 73 h 78"/>
                <a:gd name="T68" fmla="*/ 231 w 336"/>
                <a:gd name="T69" fmla="*/ 72 h 78"/>
                <a:gd name="T70" fmla="*/ 233 w 336"/>
                <a:gd name="T71" fmla="*/ 70 h 78"/>
                <a:gd name="T72" fmla="*/ 233 w 336"/>
                <a:gd name="T73" fmla="*/ 70 h 78"/>
                <a:gd name="T74" fmla="*/ 237 w 336"/>
                <a:gd name="T75" fmla="*/ 65 h 78"/>
                <a:gd name="T76" fmla="*/ 245 w 336"/>
                <a:gd name="T77" fmla="*/ 61 h 78"/>
                <a:gd name="T78" fmla="*/ 249 w 336"/>
                <a:gd name="T79" fmla="*/ 58 h 78"/>
                <a:gd name="T80" fmla="*/ 257 w 336"/>
                <a:gd name="T81" fmla="*/ 58 h 78"/>
                <a:gd name="T82" fmla="*/ 261 w 336"/>
                <a:gd name="T83" fmla="*/ 52 h 78"/>
                <a:gd name="T84" fmla="*/ 269 w 336"/>
                <a:gd name="T85" fmla="*/ 48 h 78"/>
                <a:gd name="T86" fmla="*/ 272 w 336"/>
                <a:gd name="T87" fmla="*/ 48 h 78"/>
                <a:gd name="T88" fmla="*/ 276 w 336"/>
                <a:gd name="T89" fmla="*/ 45 h 78"/>
                <a:gd name="T90" fmla="*/ 280 w 336"/>
                <a:gd name="T91" fmla="*/ 45 h 78"/>
                <a:gd name="T92" fmla="*/ 280 w 336"/>
                <a:gd name="T93" fmla="*/ 41 h 78"/>
                <a:gd name="T94" fmla="*/ 296 w 336"/>
                <a:gd name="T95" fmla="*/ 34 h 78"/>
                <a:gd name="T96" fmla="*/ 314 w 336"/>
                <a:gd name="T97" fmla="*/ 34 h 78"/>
                <a:gd name="T98" fmla="*/ 324 w 336"/>
                <a:gd name="T99" fmla="*/ 29 h 78"/>
                <a:gd name="T100" fmla="*/ 324 w 336"/>
                <a:gd name="T101" fmla="*/ 28 h 78"/>
                <a:gd name="T102" fmla="*/ 325 w 336"/>
                <a:gd name="T103" fmla="*/ 25 h 78"/>
                <a:gd name="T104" fmla="*/ 327 w 336"/>
                <a:gd name="T105" fmla="*/ 22 h 78"/>
                <a:gd name="T106" fmla="*/ 333 w 336"/>
                <a:gd name="T107" fmla="*/ 22 h 78"/>
                <a:gd name="T108" fmla="*/ 336 w 336"/>
                <a:gd name="T109" fmla="*/ 15 h 78"/>
                <a:gd name="T110" fmla="*/ 336 w 336"/>
                <a:gd name="T111" fmla="*/ 0 h 78"/>
                <a:gd name="T112" fmla="*/ 336 w 336"/>
                <a:gd name="T113" fmla="*/ 0 h 78"/>
                <a:gd name="T114" fmla="*/ 336 w 336"/>
                <a:gd name="T115" fmla="*/ 0 h 78"/>
                <a:gd name="T116" fmla="*/ 303 w 336"/>
                <a:gd name="T117" fmla="*/ 0 h 78"/>
                <a:gd name="T118" fmla="*/ 303 w 336"/>
                <a:gd name="T119" fmla="*/ 0 h 78"/>
                <a:gd name="T120" fmla="*/ 302 w 336"/>
                <a:gd name="T1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6" h="78">
                  <a:moveTo>
                    <a:pt x="302" y="0"/>
                  </a:moveTo>
                  <a:cubicBezTo>
                    <a:pt x="94" y="0"/>
                    <a:pt x="94" y="0"/>
                    <a:pt x="94" y="0"/>
                  </a:cubicBezTo>
                  <a:cubicBezTo>
                    <a:pt x="94" y="13"/>
                    <a:pt x="94" y="13"/>
                    <a:pt x="94" y="13"/>
                  </a:cubicBezTo>
                  <a:cubicBezTo>
                    <a:pt x="38" y="13"/>
                    <a:pt x="38" y="13"/>
                    <a:pt x="38" y="13"/>
                  </a:cubicBezTo>
                  <a:cubicBezTo>
                    <a:pt x="38" y="12"/>
                    <a:pt x="38" y="12"/>
                    <a:pt x="38" y="12"/>
                  </a:cubicBezTo>
                  <a:cubicBezTo>
                    <a:pt x="38" y="12"/>
                    <a:pt x="38" y="12"/>
                    <a:pt x="38" y="12"/>
                  </a:cubicBezTo>
                  <a:cubicBezTo>
                    <a:pt x="33" y="21"/>
                    <a:pt x="33" y="21"/>
                    <a:pt x="33" y="21"/>
                  </a:cubicBezTo>
                  <a:cubicBezTo>
                    <a:pt x="33" y="21"/>
                    <a:pt x="33" y="21"/>
                    <a:pt x="33" y="21"/>
                  </a:cubicBezTo>
                  <a:cubicBezTo>
                    <a:pt x="33" y="21"/>
                    <a:pt x="33" y="21"/>
                    <a:pt x="33" y="21"/>
                  </a:cubicBezTo>
                  <a:cubicBezTo>
                    <a:pt x="32" y="22"/>
                    <a:pt x="31" y="23"/>
                    <a:pt x="30" y="24"/>
                  </a:cubicBezTo>
                  <a:cubicBezTo>
                    <a:pt x="29" y="26"/>
                    <a:pt x="29" y="26"/>
                    <a:pt x="29" y="26"/>
                  </a:cubicBezTo>
                  <a:cubicBezTo>
                    <a:pt x="28" y="27"/>
                    <a:pt x="26" y="28"/>
                    <a:pt x="26" y="28"/>
                  </a:cubicBezTo>
                  <a:cubicBezTo>
                    <a:pt x="26" y="29"/>
                    <a:pt x="26" y="29"/>
                    <a:pt x="26" y="29"/>
                  </a:cubicBezTo>
                  <a:cubicBezTo>
                    <a:pt x="26" y="33"/>
                    <a:pt x="26" y="33"/>
                    <a:pt x="26" y="33"/>
                  </a:cubicBezTo>
                  <a:cubicBezTo>
                    <a:pt x="24" y="37"/>
                    <a:pt x="24" y="37"/>
                    <a:pt x="24" y="37"/>
                  </a:cubicBezTo>
                  <a:cubicBezTo>
                    <a:pt x="23" y="39"/>
                    <a:pt x="23" y="39"/>
                    <a:pt x="23" y="39"/>
                  </a:cubicBezTo>
                  <a:cubicBezTo>
                    <a:pt x="23" y="40"/>
                    <a:pt x="23" y="40"/>
                    <a:pt x="23" y="40"/>
                  </a:cubicBezTo>
                  <a:cubicBezTo>
                    <a:pt x="23" y="40"/>
                    <a:pt x="23" y="41"/>
                    <a:pt x="23" y="42"/>
                  </a:cubicBezTo>
                  <a:cubicBezTo>
                    <a:pt x="23" y="43"/>
                    <a:pt x="23" y="43"/>
                    <a:pt x="23" y="44"/>
                  </a:cubicBezTo>
                  <a:cubicBezTo>
                    <a:pt x="20" y="44"/>
                    <a:pt x="20" y="44"/>
                    <a:pt x="20" y="44"/>
                  </a:cubicBezTo>
                  <a:cubicBezTo>
                    <a:pt x="22" y="46"/>
                    <a:pt x="22" y="46"/>
                    <a:pt x="22" y="46"/>
                  </a:cubicBezTo>
                  <a:cubicBezTo>
                    <a:pt x="17" y="50"/>
                    <a:pt x="17" y="50"/>
                    <a:pt x="17" y="50"/>
                  </a:cubicBezTo>
                  <a:cubicBezTo>
                    <a:pt x="14" y="58"/>
                    <a:pt x="14" y="58"/>
                    <a:pt x="14" y="58"/>
                  </a:cubicBezTo>
                  <a:cubicBezTo>
                    <a:pt x="6" y="64"/>
                    <a:pt x="6" y="64"/>
                    <a:pt x="6" y="64"/>
                  </a:cubicBezTo>
                  <a:cubicBezTo>
                    <a:pt x="6" y="70"/>
                    <a:pt x="6" y="70"/>
                    <a:pt x="6" y="70"/>
                  </a:cubicBezTo>
                  <a:cubicBezTo>
                    <a:pt x="2" y="74"/>
                    <a:pt x="2" y="74"/>
                    <a:pt x="2" y="74"/>
                  </a:cubicBezTo>
                  <a:cubicBezTo>
                    <a:pt x="0" y="78"/>
                    <a:pt x="0" y="78"/>
                    <a:pt x="0" y="78"/>
                  </a:cubicBezTo>
                  <a:cubicBezTo>
                    <a:pt x="0" y="78"/>
                    <a:pt x="0" y="78"/>
                    <a:pt x="0" y="78"/>
                  </a:cubicBezTo>
                  <a:cubicBezTo>
                    <a:pt x="94" y="78"/>
                    <a:pt x="94" y="78"/>
                    <a:pt x="94" y="78"/>
                  </a:cubicBezTo>
                  <a:cubicBezTo>
                    <a:pt x="189" y="78"/>
                    <a:pt x="189" y="78"/>
                    <a:pt x="189" y="78"/>
                  </a:cubicBezTo>
                  <a:cubicBezTo>
                    <a:pt x="230" y="78"/>
                    <a:pt x="230" y="78"/>
                    <a:pt x="230" y="78"/>
                  </a:cubicBezTo>
                  <a:cubicBezTo>
                    <a:pt x="230" y="78"/>
                    <a:pt x="230" y="78"/>
                    <a:pt x="230" y="78"/>
                  </a:cubicBezTo>
                  <a:cubicBezTo>
                    <a:pt x="230" y="75"/>
                    <a:pt x="230" y="75"/>
                    <a:pt x="230" y="75"/>
                  </a:cubicBezTo>
                  <a:cubicBezTo>
                    <a:pt x="230" y="74"/>
                    <a:pt x="230" y="73"/>
                    <a:pt x="230" y="73"/>
                  </a:cubicBezTo>
                  <a:cubicBezTo>
                    <a:pt x="230" y="73"/>
                    <a:pt x="230" y="73"/>
                    <a:pt x="231" y="72"/>
                  </a:cubicBezTo>
                  <a:cubicBezTo>
                    <a:pt x="233" y="70"/>
                    <a:pt x="233" y="70"/>
                    <a:pt x="233" y="70"/>
                  </a:cubicBezTo>
                  <a:cubicBezTo>
                    <a:pt x="233" y="70"/>
                    <a:pt x="233" y="70"/>
                    <a:pt x="233" y="70"/>
                  </a:cubicBezTo>
                  <a:cubicBezTo>
                    <a:pt x="234" y="68"/>
                    <a:pt x="235" y="65"/>
                    <a:pt x="237" y="65"/>
                  </a:cubicBezTo>
                  <a:cubicBezTo>
                    <a:pt x="239" y="65"/>
                    <a:pt x="245" y="61"/>
                    <a:pt x="245" y="61"/>
                  </a:cubicBezTo>
                  <a:cubicBezTo>
                    <a:pt x="249" y="58"/>
                    <a:pt x="249" y="58"/>
                    <a:pt x="249" y="58"/>
                  </a:cubicBezTo>
                  <a:cubicBezTo>
                    <a:pt x="257" y="58"/>
                    <a:pt x="257" y="58"/>
                    <a:pt x="257" y="58"/>
                  </a:cubicBezTo>
                  <a:cubicBezTo>
                    <a:pt x="261" y="52"/>
                    <a:pt x="261" y="52"/>
                    <a:pt x="261" y="52"/>
                  </a:cubicBezTo>
                  <a:cubicBezTo>
                    <a:pt x="269" y="48"/>
                    <a:pt x="269" y="48"/>
                    <a:pt x="269" y="48"/>
                  </a:cubicBezTo>
                  <a:cubicBezTo>
                    <a:pt x="272" y="48"/>
                    <a:pt x="272" y="48"/>
                    <a:pt x="272" y="48"/>
                  </a:cubicBezTo>
                  <a:cubicBezTo>
                    <a:pt x="276" y="45"/>
                    <a:pt x="276" y="45"/>
                    <a:pt x="276" y="45"/>
                  </a:cubicBezTo>
                  <a:cubicBezTo>
                    <a:pt x="280" y="45"/>
                    <a:pt x="280" y="45"/>
                    <a:pt x="280" y="45"/>
                  </a:cubicBezTo>
                  <a:cubicBezTo>
                    <a:pt x="280" y="41"/>
                    <a:pt x="280" y="41"/>
                    <a:pt x="280" y="41"/>
                  </a:cubicBezTo>
                  <a:cubicBezTo>
                    <a:pt x="296" y="34"/>
                    <a:pt x="296" y="34"/>
                    <a:pt x="296" y="34"/>
                  </a:cubicBezTo>
                  <a:cubicBezTo>
                    <a:pt x="314" y="34"/>
                    <a:pt x="314" y="34"/>
                    <a:pt x="314" y="34"/>
                  </a:cubicBezTo>
                  <a:cubicBezTo>
                    <a:pt x="324" y="29"/>
                    <a:pt x="324" y="29"/>
                    <a:pt x="324" y="29"/>
                  </a:cubicBezTo>
                  <a:cubicBezTo>
                    <a:pt x="324" y="28"/>
                    <a:pt x="324" y="28"/>
                    <a:pt x="324" y="28"/>
                  </a:cubicBezTo>
                  <a:cubicBezTo>
                    <a:pt x="324" y="27"/>
                    <a:pt x="324" y="26"/>
                    <a:pt x="325" y="25"/>
                  </a:cubicBezTo>
                  <a:cubicBezTo>
                    <a:pt x="327" y="22"/>
                    <a:pt x="327" y="22"/>
                    <a:pt x="327" y="22"/>
                  </a:cubicBezTo>
                  <a:cubicBezTo>
                    <a:pt x="333" y="22"/>
                    <a:pt x="333" y="22"/>
                    <a:pt x="333" y="22"/>
                  </a:cubicBezTo>
                  <a:cubicBezTo>
                    <a:pt x="336" y="15"/>
                    <a:pt x="336" y="15"/>
                    <a:pt x="336" y="15"/>
                  </a:cubicBezTo>
                  <a:cubicBezTo>
                    <a:pt x="336" y="0"/>
                    <a:pt x="336" y="0"/>
                    <a:pt x="336" y="0"/>
                  </a:cubicBezTo>
                  <a:cubicBezTo>
                    <a:pt x="336" y="0"/>
                    <a:pt x="336" y="0"/>
                    <a:pt x="336" y="0"/>
                  </a:cubicBezTo>
                  <a:cubicBezTo>
                    <a:pt x="336" y="0"/>
                    <a:pt x="336" y="0"/>
                    <a:pt x="336" y="0"/>
                  </a:cubicBezTo>
                  <a:cubicBezTo>
                    <a:pt x="303" y="0"/>
                    <a:pt x="303" y="0"/>
                    <a:pt x="303" y="0"/>
                  </a:cubicBezTo>
                  <a:cubicBezTo>
                    <a:pt x="303" y="0"/>
                    <a:pt x="303" y="0"/>
                    <a:pt x="303" y="0"/>
                  </a:cubicBezTo>
                  <a:lnTo>
                    <a:pt x="302"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3" name="South Dakota">
              <a:extLst>
                <a:ext uri="{FF2B5EF4-FFF2-40B4-BE49-F238E27FC236}">
                  <a16:creationId xmlns:a16="http://schemas.microsoft.com/office/drawing/2014/main" id="{BCAEC56A-3A58-6DF4-1BAF-89A86F1FCA4D}"/>
                </a:ext>
              </a:extLst>
            </p:cNvPr>
            <p:cNvSpPr>
              <a:spLocks/>
            </p:cNvSpPr>
            <p:nvPr/>
          </p:nvSpPr>
          <p:spPr bwMode="auto">
            <a:xfrm>
              <a:off x="5239963" y="1494477"/>
              <a:ext cx="1185327" cy="638638"/>
            </a:xfrm>
            <a:custGeom>
              <a:avLst/>
              <a:gdLst>
                <a:gd name="T0" fmla="*/ 0 w 709"/>
                <a:gd name="T1" fmla="*/ 322 h 382"/>
                <a:gd name="T2" fmla="*/ 492 w 709"/>
                <a:gd name="T3" fmla="*/ 322 h 382"/>
                <a:gd name="T4" fmla="*/ 525 w 709"/>
                <a:gd name="T5" fmla="*/ 349 h 382"/>
                <a:gd name="T6" fmla="*/ 622 w 709"/>
                <a:gd name="T7" fmla="*/ 349 h 382"/>
                <a:gd name="T8" fmla="*/ 650 w 709"/>
                <a:gd name="T9" fmla="*/ 370 h 382"/>
                <a:gd name="T10" fmla="*/ 679 w 709"/>
                <a:gd name="T11" fmla="*/ 382 h 382"/>
                <a:gd name="T12" fmla="*/ 679 w 709"/>
                <a:gd name="T13" fmla="*/ 382 h 382"/>
                <a:gd name="T14" fmla="*/ 709 w 709"/>
                <a:gd name="T15" fmla="*/ 351 h 382"/>
                <a:gd name="T16" fmla="*/ 709 w 709"/>
                <a:gd name="T17" fmla="*/ 287 h 382"/>
                <a:gd name="T18" fmla="*/ 707 w 709"/>
                <a:gd name="T19" fmla="*/ 287 h 382"/>
                <a:gd name="T20" fmla="*/ 707 w 709"/>
                <a:gd name="T21" fmla="*/ 285 h 382"/>
                <a:gd name="T22" fmla="*/ 707 w 709"/>
                <a:gd name="T23" fmla="*/ 124 h 382"/>
                <a:gd name="T24" fmla="*/ 679 w 709"/>
                <a:gd name="T25" fmla="*/ 90 h 382"/>
                <a:gd name="T26" fmla="*/ 679 w 709"/>
                <a:gd name="T27" fmla="*/ 0 h 382"/>
                <a:gd name="T28" fmla="*/ 2 w 709"/>
                <a:gd name="T29" fmla="*/ 0 h 382"/>
                <a:gd name="T30" fmla="*/ 2 w 709"/>
                <a:gd name="T31" fmla="*/ 116 h 382"/>
                <a:gd name="T32" fmla="*/ 2 w 709"/>
                <a:gd name="T33" fmla="*/ 119 h 382"/>
                <a:gd name="T34" fmla="*/ 0 w 709"/>
                <a:gd name="T35" fmla="*/ 119 h 382"/>
                <a:gd name="T36" fmla="*/ 0 w 709"/>
                <a:gd name="T37" fmla="*/ 320 h 382"/>
                <a:gd name="T38" fmla="*/ 0 w 709"/>
                <a:gd name="T39" fmla="*/ 322 h 382"/>
                <a:gd name="T40" fmla="*/ 0 w 709"/>
                <a:gd name="T41" fmla="*/ 322 h 382"/>
                <a:gd name="T42" fmla="*/ 0 w 709"/>
                <a:gd name="T43" fmla="*/ 32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9" h="382">
                  <a:moveTo>
                    <a:pt x="0" y="322"/>
                  </a:moveTo>
                  <a:lnTo>
                    <a:pt x="492" y="322"/>
                  </a:lnTo>
                  <a:lnTo>
                    <a:pt x="525" y="349"/>
                  </a:lnTo>
                  <a:lnTo>
                    <a:pt x="622" y="349"/>
                  </a:lnTo>
                  <a:lnTo>
                    <a:pt x="650" y="370"/>
                  </a:lnTo>
                  <a:lnTo>
                    <a:pt x="679" y="382"/>
                  </a:lnTo>
                  <a:lnTo>
                    <a:pt x="679" y="382"/>
                  </a:lnTo>
                  <a:lnTo>
                    <a:pt x="709" y="351"/>
                  </a:lnTo>
                  <a:lnTo>
                    <a:pt x="709" y="287"/>
                  </a:lnTo>
                  <a:lnTo>
                    <a:pt x="707" y="287"/>
                  </a:lnTo>
                  <a:lnTo>
                    <a:pt x="707" y="285"/>
                  </a:lnTo>
                  <a:lnTo>
                    <a:pt x="707" y="124"/>
                  </a:lnTo>
                  <a:lnTo>
                    <a:pt x="679" y="90"/>
                  </a:lnTo>
                  <a:lnTo>
                    <a:pt x="679" y="0"/>
                  </a:lnTo>
                  <a:lnTo>
                    <a:pt x="2" y="0"/>
                  </a:lnTo>
                  <a:lnTo>
                    <a:pt x="2" y="116"/>
                  </a:lnTo>
                  <a:lnTo>
                    <a:pt x="2" y="119"/>
                  </a:lnTo>
                  <a:lnTo>
                    <a:pt x="0" y="119"/>
                  </a:lnTo>
                  <a:lnTo>
                    <a:pt x="0" y="320"/>
                  </a:lnTo>
                  <a:lnTo>
                    <a:pt x="0" y="322"/>
                  </a:lnTo>
                  <a:lnTo>
                    <a:pt x="0" y="322"/>
                  </a:lnTo>
                  <a:lnTo>
                    <a:pt x="0" y="32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4" name="South Carolina">
              <a:extLst>
                <a:ext uri="{FF2B5EF4-FFF2-40B4-BE49-F238E27FC236}">
                  <a16:creationId xmlns:a16="http://schemas.microsoft.com/office/drawing/2014/main" id="{E979045E-21FE-3B61-8566-CC71501264B8}"/>
                </a:ext>
              </a:extLst>
            </p:cNvPr>
            <p:cNvSpPr>
              <a:spLocks/>
            </p:cNvSpPr>
            <p:nvPr/>
          </p:nvSpPr>
          <p:spPr bwMode="auto">
            <a:xfrm>
              <a:off x="8438171" y="3605996"/>
              <a:ext cx="790775" cy="653685"/>
            </a:xfrm>
            <a:custGeom>
              <a:avLst/>
              <a:gdLst>
                <a:gd name="T0" fmla="*/ 200 w 200"/>
                <a:gd name="T1" fmla="*/ 93 h 165"/>
                <a:gd name="T2" fmla="*/ 199 w 200"/>
                <a:gd name="T3" fmla="*/ 93 h 165"/>
                <a:gd name="T4" fmla="*/ 184 w 200"/>
                <a:gd name="T5" fmla="*/ 62 h 165"/>
                <a:gd name="T6" fmla="*/ 175 w 200"/>
                <a:gd name="T7" fmla="*/ 55 h 165"/>
                <a:gd name="T8" fmla="*/ 165 w 200"/>
                <a:gd name="T9" fmla="*/ 44 h 165"/>
                <a:gd name="T10" fmla="*/ 156 w 200"/>
                <a:gd name="T11" fmla="*/ 29 h 165"/>
                <a:gd name="T12" fmla="*/ 143 w 200"/>
                <a:gd name="T13" fmla="*/ 20 h 165"/>
                <a:gd name="T14" fmla="*/ 110 w 200"/>
                <a:gd name="T15" fmla="*/ 18 h 165"/>
                <a:gd name="T16" fmla="*/ 85 w 200"/>
                <a:gd name="T17" fmla="*/ 1 h 165"/>
                <a:gd name="T18" fmla="*/ 40 w 200"/>
                <a:gd name="T19" fmla="*/ 0 h 165"/>
                <a:gd name="T20" fmla="*/ 18 w 200"/>
                <a:gd name="T21" fmla="*/ 2 h 165"/>
                <a:gd name="T22" fmla="*/ 18 w 200"/>
                <a:gd name="T23" fmla="*/ 4 h 165"/>
                <a:gd name="T24" fmla="*/ 18 w 200"/>
                <a:gd name="T25" fmla="*/ 4 h 165"/>
                <a:gd name="T26" fmla="*/ 0 w 200"/>
                <a:gd name="T27" fmla="*/ 8 h 165"/>
                <a:gd name="T28" fmla="*/ 15 w 200"/>
                <a:gd name="T29" fmla="*/ 41 h 165"/>
                <a:gd name="T30" fmla="*/ 26 w 200"/>
                <a:gd name="T31" fmla="*/ 56 h 165"/>
                <a:gd name="T32" fmla="*/ 37 w 200"/>
                <a:gd name="T33" fmla="*/ 70 h 165"/>
                <a:gd name="T34" fmla="*/ 44 w 200"/>
                <a:gd name="T35" fmla="*/ 80 h 165"/>
                <a:gd name="T36" fmla="*/ 54 w 200"/>
                <a:gd name="T37" fmla="*/ 85 h 165"/>
                <a:gd name="T38" fmla="*/ 60 w 200"/>
                <a:gd name="T39" fmla="*/ 94 h 165"/>
                <a:gd name="T40" fmla="*/ 68 w 200"/>
                <a:gd name="T41" fmla="*/ 108 h 165"/>
                <a:gd name="T42" fmla="*/ 77 w 200"/>
                <a:gd name="T43" fmla="*/ 117 h 165"/>
                <a:gd name="T44" fmla="*/ 84 w 200"/>
                <a:gd name="T45" fmla="*/ 141 h 165"/>
                <a:gd name="T46" fmla="*/ 90 w 200"/>
                <a:gd name="T47" fmla="*/ 153 h 165"/>
                <a:gd name="T48" fmla="*/ 102 w 200"/>
                <a:gd name="T49" fmla="*/ 163 h 165"/>
                <a:gd name="T50" fmla="*/ 105 w 200"/>
                <a:gd name="T51" fmla="*/ 165 h 165"/>
                <a:gd name="T52" fmla="*/ 99 w 200"/>
                <a:gd name="T53" fmla="*/ 156 h 165"/>
                <a:gd name="T54" fmla="*/ 122 w 200"/>
                <a:gd name="T55" fmla="*/ 156 h 165"/>
                <a:gd name="T56" fmla="*/ 141 w 200"/>
                <a:gd name="T57" fmla="*/ 145 h 165"/>
                <a:gd name="T58" fmla="*/ 145 w 200"/>
                <a:gd name="T59" fmla="*/ 141 h 165"/>
                <a:gd name="T60" fmla="*/ 157 w 200"/>
                <a:gd name="T61" fmla="*/ 133 h 165"/>
                <a:gd name="T62" fmla="*/ 161 w 200"/>
                <a:gd name="T63" fmla="*/ 125 h 165"/>
                <a:gd name="T64" fmla="*/ 165 w 200"/>
                <a:gd name="T65" fmla="*/ 117 h 165"/>
                <a:gd name="T66" fmla="*/ 173 w 200"/>
                <a:gd name="T67" fmla="*/ 106 h 165"/>
                <a:gd name="T68" fmla="*/ 184 w 200"/>
                <a:gd name="T69" fmla="*/ 98 h 165"/>
                <a:gd name="T70" fmla="*/ 200 w 200"/>
                <a:gd name="T71" fmla="*/ 9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165">
                  <a:moveTo>
                    <a:pt x="200" y="93"/>
                  </a:moveTo>
                  <a:cubicBezTo>
                    <a:pt x="200" y="93"/>
                    <a:pt x="200" y="93"/>
                    <a:pt x="200" y="93"/>
                  </a:cubicBezTo>
                  <a:cubicBezTo>
                    <a:pt x="200" y="93"/>
                    <a:pt x="200" y="93"/>
                    <a:pt x="200" y="93"/>
                  </a:cubicBezTo>
                  <a:cubicBezTo>
                    <a:pt x="199" y="93"/>
                    <a:pt x="199" y="93"/>
                    <a:pt x="199" y="93"/>
                  </a:cubicBezTo>
                  <a:cubicBezTo>
                    <a:pt x="184" y="74"/>
                    <a:pt x="184" y="74"/>
                    <a:pt x="184" y="74"/>
                  </a:cubicBezTo>
                  <a:cubicBezTo>
                    <a:pt x="184" y="62"/>
                    <a:pt x="184" y="62"/>
                    <a:pt x="184" y="62"/>
                  </a:cubicBezTo>
                  <a:cubicBezTo>
                    <a:pt x="175" y="55"/>
                    <a:pt x="175" y="55"/>
                    <a:pt x="175" y="55"/>
                  </a:cubicBezTo>
                  <a:cubicBezTo>
                    <a:pt x="175" y="55"/>
                    <a:pt x="175" y="55"/>
                    <a:pt x="175" y="55"/>
                  </a:cubicBezTo>
                  <a:cubicBezTo>
                    <a:pt x="171" y="52"/>
                    <a:pt x="171" y="52"/>
                    <a:pt x="171" y="52"/>
                  </a:cubicBezTo>
                  <a:cubicBezTo>
                    <a:pt x="165" y="44"/>
                    <a:pt x="165" y="44"/>
                    <a:pt x="165" y="44"/>
                  </a:cubicBezTo>
                  <a:cubicBezTo>
                    <a:pt x="156" y="37"/>
                    <a:pt x="156" y="37"/>
                    <a:pt x="156" y="37"/>
                  </a:cubicBezTo>
                  <a:cubicBezTo>
                    <a:pt x="156" y="29"/>
                    <a:pt x="156" y="29"/>
                    <a:pt x="156" y="29"/>
                  </a:cubicBezTo>
                  <a:cubicBezTo>
                    <a:pt x="151" y="25"/>
                    <a:pt x="151" y="25"/>
                    <a:pt x="151" y="25"/>
                  </a:cubicBezTo>
                  <a:cubicBezTo>
                    <a:pt x="143" y="20"/>
                    <a:pt x="143" y="20"/>
                    <a:pt x="143" y="20"/>
                  </a:cubicBezTo>
                  <a:cubicBezTo>
                    <a:pt x="138" y="18"/>
                    <a:pt x="138" y="18"/>
                    <a:pt x="138" y="18"/>
                  </a:cubicBezTo>
                  <a:cubicBezTo>
                    <a:pt x="110" y="18"/>
                    <a:pt x="110" y="18"/>
                    <a:pt x="110" y="18"/>
                  </a:cubicBezTo>
                  <a:cubicBezTo>
                    <a:pt x="99" y="8"/>
                    <a:pt x="99" y="8"/>
                    <a:pt x="99" y="8"/>
                  </a:cubicBezTo>
                  <a:cubicBezTo>
                    <a:pt x="85" y="1"/>
                    <a:pt x="85" y="1"/>
                    <a:pt x="85" y="1"/>
                  </a:cubicBezTo>
                  <a:cubicBezTo>
                    <a:pt x="85" y="1"/>
                    <a:pt x="85" y="1"/>
                    <a:pt x="85" y="1"/>
                  </a:cubicBezTo>
                  <a:cubicBezTo>
                    <a:pt x="72" y="0"/>
                    <a:pt x="54" y="0"/>
                    <a:pt x="40" y="0"/>
                  </a:cubicBezTo>
                  <a:cubicBezTo>
                    <a:pt x="23" y="0"/>
                    <a:pt x="21" y="1"/>
                    <a:pt x="20" y="1"/>
                  </a:cubicBezTo>
                  <a:cubicBezTo>
                    <a:pt x="19" y="1"/>
                    <a:pt x="18" y="2"/>
                    <a:pt x="18" y="2"/>
                  </a:cubicBezTo>
                  <a:cubicBezTo>
                    <a:pt x="15" y="4"/>
                    <a:pt x="15" y="4"/>
                    <a:pt x="15" y="4"/>
                  </a:cubicBezTo>
                  <a:cubicBezTo>
                    <a:pt x="18" y="4"/>
                    <a:pt x="18" y="4"/>
                    <a:pt x="18" y="4"/>
                  </a:cubicBezTo>
                  <a:cubicBezTo>
                    <a:pt x="18" y="4"/>
                    <a:pt x="18" y="4"/>
                    <a:pt x="18" y="4"/>
                  </a:cubicBezTo>
                  <a:cubicBezTo>
                    <a:pt x="18" y="4"/>
                    <a:pt x="18" y="4"/>
                    <a:pt x="18" y="4"/>
                  </a:cubicBezTo>
                  <a:cubicBezTo>
                    <a:pt x="0" y="8"/>
                    <a:pt x="0" y="8"/>
                    <a:pt x="0" y="8"/>
                  </a:cubicBezTo>
                  <a:cubicBezTo>
                    <a:pt x="0" y="8"/>
                    <a:pt x="0" y="8"/>
                    <a:pt x="0" y="8"/>
                  </a:cubicBezTo>
                  <a:cubicBezTo>
                    <a:pt x="0" y="25"/>
                    <a:pt x="0" y="25"/>
                    <a:pt x="0" y="25"/>
                  </a:cubicBezTo>
                  <a:cubicBezTo>
                    <a:pt x="15" y="41"/>
                    <a:pt x="15" y="41"/>
                    <a:pt x="15" y="41"/>
                  </a:cubicBezTo>
                  <a:cubicBezTo>
                    <a:pt x="25" y="44"/>
                    <a:pt x="25" y="44"/>
                    <a:pt x="25" y="44"/>
                  </a:cubicBezTo>
                  <a:cubicBezTo>
                    <a:pt x="26" y="56"/>
                    <a:pt x="26" y="56"/>
                    <a:pt x="26" y="56"/>
                  </a:cubicBezTo>
                  <a:cubicBezTo>
                    <a:pt x="29" y="65"/>
                    <a:pt x="29" y="65"/>
                    <a:pt x="29" y="65"/>
                  </a:cubicBezTo>
                  <a:cubicBezTo>
                    <a:pt x="37" y="70"/>
                    <a:pt x="37" y="70"/>
                    <a:pt x="37" y="70"/>
                  </a:cubicBezTo>
                  <a:cubicBezTo>
                    <a:pt x="37" y="76"/>
                    <a:pt x="37" y="76"/>
                    <a:pt x="37" y="76"/>
                  </a:cubicBezTo>
                  <a:cubicBezTo>
                    <a:pt x="44" y="80"/>
                    <a:pt x="44" y="80"/>
                    <a:pt x="44" y="80"/>
                  </a:cubicBezTo>
                  <a:cubicBezTo>
                    <a:pt x="49" y="80"/>
                    <a:pt x="49" y="80"/>
                    <a:pt x="49" y="80"/>
                  </a:cubicBezTo>
                  <a:cubicBezTo>
                    <a:pt x="54" y="85"/>
                    <a:pt x="54" y="85"/>
                    <a:pt x="54" y="85"/>
                  </a:cubicBezTo>
                  <a:cubicBezTo>
                    <a:pt x="54" y="94"/>
                    <a:pt x="54" y="94"/>
                    <a:pt x="54" y="94"/>
                  </a:cubicBezTo>
                  <a:cubicBezTo>
                    <a:pt x="60" y="94"/>
                    <a:pt x="60" y="94"/>
                    <a:pt x="60" y="94"/>
                  </a:cubicBezTo>
                  <a:cubicBezTo>
                    <a:pt x="60" y="103"/>
                    <a:pt x="60" y="103"/>
                    <a:pt x="60" y="103"/>
                  </a:cubicBezTo>
                  <a:cubicBezTo>
                    <a:pt x="68" y="108"/>
                    <a:pt x="68" y="108"/>
                    <a:pt x="68" y="108"/>
                  </a:cubicBezTo>
                  <a:cubicBezTo>
                    <a:pt x="73" y="113"/>
                    <a:pt x="73" y="113"/>
                    <a:pt x="73" y="113"/>
                  </a:cubicBezTo>
                  <a:cubicBezTo>
                    <a:pt x="77" y="117"/>
                    <a:pt x="77" y="117"/>
                    <a:pt x="77" y="117"/>
                  </a:cubicBezTo>
                  <a:cubicBezTo>
                    <a:pt x="77" y="134"/>
                    <a:pt x="77" y="134"/>
                    <a:pt x="77" y="134"/>
                  </a:cubicBezTo>
                  <a:cubicBezTo>
                    <a:pt x="84" y="141"/>
                    <a:pt x="84" y="141"/>
                    <a:pt x="84" y="141"/>
                  </a:cubicBezTo>
                  <a:cubicBezTo>
                    <a:pt x="84" y="149"/>
                    <a:pt x="84" y="149"/>
                    <a:pt x="84" y="149"/>
                  </a:cubicBezTo>
                  <a:cubicBezTo>
                    <a:pt x="90" y="153"/>
                    <a:pt x="90" y="153"/>
                    <a:pt x="90" y="153"/>
                  </a:cubicBezTo>
                  <a:cubicBezTo>
                    <a:pt x="95" y="153"/>
                    <a:pt x="95" y="153"/>
                    <a:pt x="95" y="153"/>
                  </a:cubicBezTo>
                  <a:cubicBezTo>
                    <a:pt x="102" y="163"/>
                    <a:pt x="102" y="163"/>
                    <a:pt x="102" y="163"/>
                  </a:cubicBezTo>
                  <a:cubicBezTo>
                    <a:pt x="104" y="165"/>
                    <a:pt x="104" y="165"/>
                    <a:pt x="104" y="165"/>
                  </a:cubicBezTo>
                  <a:cubicBezTo>
                    <a:pt x="105" y="165"/>
                    <a:pt x="105" y="165"/>
                    <a:pt x="105" y="165"/>
                  </a:cubicBezTo>
                  <a:cubicBezTo>
                    <a:pt x="102" y="160"/>
                    <a:pt x="102" y="160"/>
                    <a:pt x="102" y="160"/>
                  </a:cubicBezTo>
                  <a:cubicBezTo>
                    <a:pt x="99" y="156"/>
                    <a:pt x="99" y="156"/>
                    <a:pt x="99" y="156"/>
                  </a:cubicBezTo>
                  <a:cubicBezTo>
                    <a:pt x="102" y="156"/>
                    <a:pt x="102" y="156"/>
                    <a:pt x="102" y="156"/>
                  </a:cubicBezTo>
                  <a:cubicBezTo>
                    <a:pt x="122" y="156"/>
                    <a:pt x="122" y="156"/>
                    <a:pt x="122" y="156"/>
                  </a:cubicBezTo>
                  <a:cubicBezTo>
                    <a:pt x="126" y="156"/>
                    <a:pt x="126" y="156"/>
                    <a:pt x="126" y="156"/>
                  </a:cubicBezTo>
                  <a:cubicBezTo>
                    <a:pt x="141" y="145"/>
                    <a:pt x="141" y="145"/>
                    <a:pt x="141" y="145"/>
                  </a:cubicBezTo>
                  <a:cubicBezTo>
                    <a:pt x="145" y="145"/>
                    <a:pt x="145" y="145"/>
                    <a:pt x="145" y="145"/>
                  </a:cubicBezTo>
                  <a:cubicBezTo>
                    <a:pt x="145" y="141"/>
                    <a:pt x="145" y="141"/>
                    <a:pt x="145" y="141"/>
                  </a:cubicBezTo>
                  <a:cubicBezTo>
                    <a:pt x="149" y="137"/>
                    <a:pt x="149" y="137"/>
                    <a:pt x="149" y="137"/>
                  </a:cubicBezTo>
                  <a:cubicBezTo>
                    <a:pt x="157" y="133"/>
                    <a:pt x="157" y="133"/>
                    <a:pt x="157" y="133"/>
                  </a:cubicBezTo>
                  <a:cubicBezTo>
                    <a:pt x="161" y="129"/>
                    <a:pt x="161" y="129"/>
                    <a:pt x="161" y="129"/>
                  </a:cubicBezTo>
                  <a:cubicBezTo>
                    <a:pt x="161" y="125"/>
                    <a:pt x="161" y="125"/>
                    <a:pt x="161" y="125"/>
                  </a:cubicBezTo>
                  <a:cubicBezTo>
                    <a:pt x="161" y="121"/>
                    <a:pt x="161" y="121"/>
                    <a:pt x="161" y="121"/>
                  </a:cubicBezTo>
                  <a:cubicBezTo>
                    <a:pt x="165" y="117"/>
                    <a:pt x="165" y="117"/>
                    <a:pt x="165" y="117"/>
                  </a:cubicBezTo>
                  <a:cubicBezTo>
                    <a:pt x="169" y="110"/>
                    <a:pt x="169" y="110"/>
                    <a:pt x="169" y="110"/>
                  </a:cubicBezTo>
                  <a:cubicBezTo>
                    <a:pt x="173" y="106"/>
                    <a:pt x="173" y="106"/>
                    <a:pt x="173" y="106"/>
                  </a:cubicBezTo>
                  <a:cubicBezTo>
                    <a:pt x="184" y="102"/>
                    <a:pt x="184" y="102"/>
                    <a:pt x="184" y="102"/>
                  </a:cubicBezTo>
                  <a:cubicBezTo>
                    <a:pt x="184" y="98"/>
                    <a:pt x="184" y="98"/>
                    <a:pt x="184" y="98"/>
                  </a:cubicBezTo>
                  <a:cubicBezTo>
                    <a:pt x="200" y="94"/>
                    <a:pt x="200" y="94"/>
                    <a:pt x="200" y="94"/>
                  </a:cubicBezTo>
                  <a:cubicBezTo>
                    <a:pt x="200" y="93"/>
                    <a:pt x="200" y="93"/>
                    <a:pt x="200" y="93"/>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5" name="Rhode Island">
              <a:extLst>
                <a:ext uri="{FF2B5EF4-FFF2-40B4-BE49-F238E27FC236}">
                  <a16:creationId xmlns:a16="http://schemas.microsoft.com/office/drawing/2014/main" id="{C11E57EA-5DF0-964E-DDC7-3E26D33A5177}"/>
                </a:ext>
              </a:extLst>
            </p:cNvPr>
            <p:cNvSpPr>
              <a:spLocks/>
            </p:cNvSpPr>
            <p:nvPr/>
          </p:nvSpPr>
          <p:spPr bwMode="auto">
            <a:xfrm>
              <a:off x="10210310" y="2413982"/>
              <a:ext cx="95294" cy="133746"/>
            </a:xfrm>
            <a:custGeom>
              <a:avLst/>
              <a:gdLst>
                <a:gd name="T0" fmla="*/ 22 w 24"/>
                <a:gd name="T1" fmla="*/ 7 h 34"/>
                <a:gd name="T2" fmla="*/ 16 w 24"/>
                <a:gd name="T3" fmla="*/ 0 h 34"/>
                <a:gd name="T4" fmla="*/ 0 w 24"/>
                <a:gd name="T5" fmla="*/ 0 h 34"/>
                <a:gd name="T6" fmla="*/ 0 w 24"/>
                <a:gd name="T7" fmla="*/ 34 h 34"/>
                <a:gd name="T8" fmla="*/ 1 w 24"/>
                <a:gd name="T9" fmla="*/ 34 h 34"/>
                <a:gd name="T10" fmla="*/ 14 w 24"/>
                <a:gd name="T11" fmla="*/ 32 h 34"/>
                <a:gd name="T12" fmla="*/ 17 w 24"/>
                <a:gd name="T13" fmla="*/ 28 h 34"/>
                <a:gd name="T14" fmla="*/ 21 w 24"/>
                <a:gd name="T15" fmla="*/ 16 h 34"/>
                <a:gd name="T16" fmla="*/ 21 w 24"/>
                <a:gd name="T17" fmla="*/ 12 h 34"/>
                <a:gd name="T18" fmla="*/ 24 w 24"/>
                <a:gd name="T19" fmla="*/ 15 h 34"/>
                <a:gd name="T20" fmla="*/ 22 w 24"/>
                <a:gd name="T21" fmla="*/ 9 h 34"/>
                <a:gd name="T22" fmla="*/ 22 w 24"/>
                <a:gd name="T23"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22" y="7"/>
                  </a:moveTo>
                  <a:cubicBezTo>
                    <a:pt x="16" y="0"/>
                    <a:pt x="16" y="0"/>
                    <a:pt x="16" y="0"/>
                  </a:cubicBezTo>
                  <a:cubicBezTo>
                    <a:pt x="0" y="0"/>
                    <a:pt x="0" y="0"/>
                    <a:pt x="0" y="0"/>
                  </a:cubicBezTo>
                  <a:cubicBezTo>
                    <a:pt x="0" y="34"/>
                    <a:pt x="0" y="34"/>
                    <a:pt x="0" y="34"/>
                  </a:cubicBezTo>
                  <a:cubicBezTo>
                    <a:pt x="1" y="34"/>
                    <a:pt x="1" y="34"/>
                    <a:pt x="1" y="34"/>
                  </a:cubicBezTo>
                  <a:cubicBezTo>
                    <a:pt x="14" y="32"/>
                    <a:pt x="14" y="32"/>
                    <a:pt x="14" y="32"/>
                  </a:cubicBezTo>
                  <a:cubicBezTo>
                    <a:pt x="17" y="28"/>
                    <a:pt x="17" y="28"/>
                    <a:pt x="17" y="28"/>
                  </a:cubicBezTo>
                  <a:cubicBezTo>
                    <a:pt x="21" y="16"/>
                    <a:pt x="21" y="16"/>
                    <a:pt x="21" y="16"/>
                  </a:cubicBezTo>
                  <a:cubicBezTo>
                    <a:pt x="21" y="12"/>
                    <a:pt x="21" y="12"/>
                    <a:pt x="21" y="12"/>
                  </a:cubicBezTo>
                  <a:cubicBezTo>
                    <a:pt x="24" y="15"/>
                    <a:pt x="24" y="15"/>
                    <a:pt x="24" y="15"/>
                  </a:cubicBezTo>
                  <a:cubicBezTo>
                    <a:pt x="24" y="14"/>
                    <a:pt x="23" y="11"/>
                    <a:pt x="22" y="9"/>
                  </a:cubicBezTo>
                  <a:lnTo>
                    <a:pt x="22" y="7"/>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6" name="Pennsylvania">
              <a:extLst>
                <a:ext uri="{FF2B5EF4-FFF2-40B4-BE49-F238E27FC236}">
                  <a16:creationId xmlns:a16="http://schemas.microsoft.com/office/drawing/2014/main" id="{E5DD39FD-8A5C-3D26-526D-BF53E5A0CFE0}"/>
                </a:ext>
              </a:extLst>
            </p:cNvPr>
            <p:cNvSpPr>
              <a:spLocks/>
            </p:cNvSpPr>
            <p:nvPr/>
          </p:nvSpPr>
          <p:spPr bwMode="auto">
            <a:xfrm>
              <a:off x="8849441" y="2370515"/>
              <a:ext cx="886069" cy="526626"/>
            </a:xfrm>
            <a:custGeom>
              <a:avLst/>
              <a:gdLst>
                <a:gd name="T0" fmla="*/ 0 w 224"/>
                <a:gd name="T1" fmla="*/ 71 h 133"/>
                <a:gd name="T2" fmla="*/ 0 w 224"/>
                <a:gd name="T3" fmla="*/ 75 h 133"/>
                <a:gd name="T4" fmla="*/ 0 w 224"/>
                <a:gd name="T5" fmla="*/ 130 h 133"/>
                <a:gd name="T6" fmla="*/ 36 w 224"/>
                <a:gd name="T7" fmla="*/ 130 h 133"/>
                <a:gd name="T8" fmla="*/ 181 w 224"/>
                <a:gd name="T9" fmla="*/ 130 h 133"/>
                <a:gd name="T10" fmla="*/ 191 w 224"/>
                <a:gd name="T11" fmla="*/ 133 h 133"/>
                <a:gd name="T12" fmla="*/ 191 w 224"/>
                <a:gd name="T13" fmla="*/ 133 h 133"/>
                <a:gd name="T14" fmla="*/ 192 w 224"/>
                <a:gd name="T15" fmla="*/ 133 h 133"/>
                <a:gd name="T16" fmla="*/ 198 w 224"/>
                <a:gd name="T17" fmla="*/ 130 h 133"/>
                <a:gd name="T18" fmla="*/ 211 w 224"/>
                <a:gd name="T19" fmla="*/ 118 h 133"/>
                <a:gd name="T20" fmla="*/ 211 w 224"/>
                <a:gd name="T21" fmla="*/ 118 h 133"/>
                <a:gd name="T22" fmla="*/ 211 w 224"/>
                <a:gd name="T23" fmla="*/ 113 h 133"/>
                <a:gd name="T24" fmla="*/ 215 w 224"/>
                <a:gd name="T25" fmla="*/ 107 h 133"/>
                <a:gd name="T26" fmla="*/ 215 w 224"/>
                <a:gd name="T27" fmla="*/ 92 h 133"/>
                <a:gd name="T28" fmla="*/ 208 w 224"/>
                <a:gd name="T29" fmla="*/ 79 h 133"/>
                <a:gd name="T30" fmla="*/ 208 w 224"/>
                <a:gd name="T31" fmla="*/ 79 h 133"/>
                <a:gd name="T32" fmla="*/ 205 w 224"/>
                <a:gd name="T33" fmla="*/ 80 h 133"/>
                <a:gd name="T34" fmla="*/ 205 w 224"/>
                <a:gd name="T35" fmla="*/ 80 h 133"/>
                <a:gd name="T36" fmla="*/ 205 w 224"/>
                <a:gd name="T37" fmla="*/ 79 h 133"/>
                <a:gd name="T38" fmla="*/ 206 w 224"/>
                <a:gd name="T39" fmla="*/ 78 h 133"/>
                <a:gd name="T40" fmla="*/ 206 w 224"/>
                <a:gd name="T41" fmla="*/ 78 h 133"/>
                <a:gd name="T42" fmla="*/ 206 w 224"/>
                <a:gd name="T43" fmla="*/ 78 h 133"/>
                <a:gd name="T44" fmla="*/ 207 w 224"/>
                <a:gd name="T45" fmla="*/ 75 h 133"/>
                <a:gd name="T46" fmla="*/ 209 w 224"/>
                <a:gd name="T47" fmla="*/ 69 h 133"/>
                <a:gd name="T48" fmla="*/ 215 w 224"/>
                <a:gd name="T49" fmla="*/ 60 h 133"/>
                <a:gd name="T50" fmla="*/ 215 w 224"/>
                <a:gd name="T51" fmla="*/ 49 h 133"/>
                <a:gd name="T52" fmla="*/ 224 w 224"/>
                <a:gd name="T53" fmla="*/ 46 h 133"/>
                <a:gd name="T54" fmla="*/ 223 w 224"/>
                <a:gd name="T55" fmla="*/ 46 h 133"/>
                <a:gd name="T56" fmla="*/ 222 w 224"/>
                <a:gd name="T57" fmla="*/ 45 h 133"/>
                <a:gd name="T58" fmla="*/ 215 w 224"/>
                <a:gd name="T59" fmla="*/ 37 h 133"/>
                <a:gd name="T60" fmla="*/ 213 w 224"/>
                <a:gd name="T61" fmla="*/ 30 h 133"/>
                <a:gd name="T62" fmla="*/ 209 w 224"/>
                <a:gd name="T63" fmla="*/ 21 h 133"/>
                <a:gd name="T64" fmla="*/ 209 w 224"/>
                <a:gd name="T65" fmla="*/ 21 h 133"/>
                <a:gd name="T66" fmla="*/ 208 w 224"/>
                <a:gd name="T67" fmla="*/ 21 h 133"/>
                <a:gd name="T68" fmla="*/ 204 w 224"/>
                <a:gd name="T69" fmla="*/ 24 h 133"/>
                <a:gd name="T70" fmla="*/ 206 w 224"/>
                <a:gd name="T71" fmla="*/ 21 h 133"/>
                <a:gd name="T72" fmla="*/ 205 w 224"/>
                <a:gd name="T73" fmla="*/ 16 h 133"/>
                <a:gd name="T74" fmla="*/ 204 w 224"/>
                <a:gd name="T75" fmla="*/ 2 h 133"/>
                <a:gd name="T76" fmla="*/ 26 w 224"/>
                <a:gd name="T77" fmla="*/ 2 h 133"/>
                <a:gd name="T78" fmla="*/ 25 w 224"/>
                <a:gd name="T79" fmla="*/ 1 h 133"/>
                <a:gd name="T80" fmla="*/ 25 w 224"/>
                <a:gd name="T81" fmla="*/ 1 h 133"/>
                <a:gd name="T82" fmla="*/ 18 w 224"/>
                <a:gd name="T83" fmla="*/ 1 h 133"/>
                <a:gd name="T84" fmla="*/ 18 w 224"/>
                <a:gd name="T85" fmla="*/ 0 h 133"/>
                <a:gd name="T86" fmla="*/ 17 w 224"/>
                <a:gd name="T87" fmla="*/ 0 h 133"/>
                <a:gd name="T88" fmla="*/ 0 w 224"/>
                <a:gd name="T89" fmla="*/ 10 h 133"/>
                <a:gd name="T90" fmla="*/ 0 w 224"/>
                <a:gd name="T91" fmla="*/ 12 h 133"/>
                <a:gd name="T92" fmla="*/ 0 w 224"/>
                <a:gd name="T9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4" h="133">
                  <a:moveTo>
                    <a:pt x="0" y="71"/>
                  </a:moveTo>
                  <a:cubicBezTo>
                    <a:pt x="0" y="75"/>
                    <a:pt x="0" y="75"/>
                    <a:pt x="0" y="75"/>
                  </a:cubicBezTo>
                  <a:cubicBezTo>
                    <a:pt x="0" y="130"/>
                    <a:pt x="0" y="130"/>
                    <a:pt x="0" y="130"/>
                  </a:cubicBezTo>
                  <a:cubicBezTo>
                    <a:pt x="36" y="130"/>
                    <a:pt x="36" y="130"/>
                    <a:pt x="36" y="130"/>
                  </a:cubicBezTo>
                  <a:cubicBezTo>
                    <a:pt x="181" y="130"/>
                    <a:pt x="181" y="130"/>
                    <a:pt x="181" y="130"/>
                  </a:cubicBezTo>
                  <a:cubicBezTo>
                    <a:pt x="182" y="130"/>
                    <a:pt x="186" y="133"/>
                    <a:pt x="191" y="133"/>
                  </a:cubicBezTo>
                  <a:cubicBezTo>
                    <a:pt x="191" y="133"/>
                    <a:pt x="191" y="133"/>
                    <a:pt x="191" y="133"/>
                  </a:cubicBezTo>
                  <a:cubicBezTo>
                    <a:pt x="192" y="133"/>
                    <a:pt x="192" y="133"/>
                    <a:pt x="192" y="133"/>
                  </a:cubicBezTo>
                  <a:cubicBezTo>
                    <a:pt x="195" y="133"/>
                    <a:pt x="197" y="132"/>
                    <a:pt x="198" y="130"/>
                  </a:cubicBezTo>
                  <a:cubicBezTo>
                    <a:pt x="204" y="124"/>
                    <a:pt x="209" y="119"/>
                    <a:pt x="211" y="118"/>
                  </a:cubicBezTo>
                  <a:cubicBezTo>
                    <a:pt x="211" y="118"/>
                    <a:pt x="211" y="118"/>
                    <a:pt x="211" y="118"/>
                  </a:cubicBezTo>
                  <a:cubicBezTo>
                    <a:pt x="211" y="113"/>
                    <a:pt x="211" y="113"/>
                    <a:pt x="211" y="113"/>
                  </a:cubicBezTo>
                  <a:cubicBezTo>
                    <a:pt x="215" y="107"/>
                    <a:pt x="215" y="107"/>
                    <a:pt x="215" y="107"/>
                  </a:cubicBezTo>
                  <a:cubicBezTo>
                    <a:pt x="215" y="92"/>
                    <a:pt x="215" y="92"/>
                    <a:pt x="215" y="92"/>
                  </a:cubicBezTo>
                  <a:cubicBezTo>
                    <a:pt x="208" y="79"/>
                    <a:pt x="208" y="79"/>
                    <a:pt x="208" y="79"/>
                  </a:cubicBezTo>
                  <a:cubicBezTo>
                    <a:pt x="208" y="79"/>
                    <a:pt x="208" y="79"/>
                    <a:pt x="208" y="79"/>
                  </a:cubicBezTo>
                  <a:cubicBezTo>
                    <a:pt x="205" y="80"/>
                    <a:pt x="205" y="80"/>
                    <a:pt x="205" y="80"/>
                  </a:cubicBezTo>
                  <a:cubicBezTo>
                    <a:pt x="205" y="80"/>
                    <a:pt x="205" y="80"/>
                    <a:pt x="205" y="80"/>
                  </a:cubicBezTo>
                  <a:cubicBezTo>
                    <a:pt x="205" y="79"/>
                    <a:pt x="205" y="79"/>
                    <a:pt x="205" y="79"/>
                  </a:cubicBezTo>
                  <a:cubicBezTo>
                    <a:pt x="205" y="78"/>
                    <a:pt x="206" y="78"/>
                    <a:pt x="206" y="78"/>
                  </a:cubicBezTo>
                  <a:cubicBezTo>
                    <a:pt x="206" y="78"/>
                    <a:pt x="206" y="78"/>
                    <a:pt x="206" y="78"/>
                  </a:cubicBezTo>
                  <a:cubicBezTo>
                    <a:pt x="206" y="78"/>
                    <a:pt x="206" y="78"/>
                    <a:pt x="206" y="78"/>
                  </a:cubicBezTo>
                  <a:cubicBezTo>
                    <a:pt x="207" y="75"/>
                    <a:pt x="207" y="75"/>
                    <a:pt x="207" y="75"/>
                  </a:cubicBezTo>
                  <a:cubicBezTo>
                    <a:pt x="209" y="69"/>
                    <a:pt x="209" y="69"/>
                    <a:pt x="209" y="69"/>
                  </a:cubicBezTo>
                  <a:cubicBezTo>
                    <a:pt x="215" y="60"/>
                    <a:pt x="215" y="60"/>
                    <a:pt x="215" y="60"/>
                  </a:cubicBezTo>
                  <a:cubicBezTo>
                    <a:pt x="215" y="49"/>
                    <a:pt x="215" y="49"/>
                    <a:pt x="215" y="49"/>
                  </a:cubicBezTo>
                  <a:cubicBezTo>
                    <a:pt x="224" y="46"/>
                    <a:pt x="224" y="46"/>
                    <a:pt x="224" y="46"/>
                  </a:cubicBezTo>
                  <a:cubicBezTo>
                    <a:pt x="223" y="46"/>
                    <a:pt x="223" y="46"/>
                    <a:pt x="223" y="46"/>
                  </a:cubicBezTo>
                  <a:cubicBezTo>
                    <a:pt x="222" y="45"/>
                    <a:pt x="222" y="45"/>
                    <a:pt x="222" y="45"/>
                  </a:cubicBezTo>
                  <a:cubicBezTo>
                    <a:pt x="215" y="37"/>
                    <a:pt x="215" y="37"/>
                    <a:pt x="215" y="37"/>
                  </a:cubicBezTo>
                  <a:cubicBezTo>
                    <a:pt x="213" y="30"/>
                    <a:pt x="213" y="30"/>
                    <a:pt x="213" y="30"/>
                  </a:cubicBezTo>
                  <a:cubicBezTo>
                    <a:pt x="209" y="21"/>
                    <a:pt x="209" y="21"/>
                    <a:pt x="209" y="21"/>
                  </a:cubicBezTo>
                  <a:cubicBezTo>
                    <a:pt x="209" y="21"/>
                    <a:pt x="209" y="21"/>
                    <a:pt x="209" y="21"/>
                  </a:cubicBezTo>
                  <a:cubicBezTo>
                    <a:pt x="208" y="21"/>
                    <a:pt x="208" y="21"/>
                    <a:pt x="208" y="21"/>
                  </a:cubicBezTo>
                  <a:cubicBezTo>
                    <a:pt x="204" y="24"/>
                    <a:pt x="204" y="24"/>
                    <a:pt x="204" y="24"/>
                  </a:cubicBezTo>
                  <a:cubicBezTo>
                    <a:pt x="206" y="21"/>
                    <a:pt x="206" y="21"/>
                    <a:pt x="206" y="21"/>
                  </a:cubicBezTo>
                  <a:cubicBezTo>
                    <a:pt x="205" y="20"/>
                    <a:pt x="205" y="18"/>
                    <a:pt x="205" y="16"/>
                  </a:cubicBezTo>
                  <a:cubicBezTo>
                    <a:pt x="205" y="8"/>
                    <a:pt x="204" y="3"/>
                    <a:pt x="204" y="2"/>
                  </a:cubicBezTo>
                  <a:cubicBezTo>
                    <a:pt x="26" y="2"/>
                    <a:pt x="26" y="2"/>
                    <a:pt x="26" y="2"/>
                  </a:cubicBezTo>
                  <a:cubicBezTo>
                    <a:pt x="25" y="1"/>
                    <a:pt x="25" y="1"/>
                    <a:pt x="25" y="1"/>
                  </a:cubicBezTo>
                  <a:cubicBezTo>
                    <a:pt x="25" y="1"/>
                    <a:pt x="25" y="1"/>
                    <a:pt x="25" y="1"/>
                  </a:cubicBezTo>
                  <a:cubicBezTo>
                    <a:pt x="18" y="1"/>
                    <a:pt x="18" y="1"/>
                    <a:pt x="18" y="1"/>
                  </a:cubicBezTo>
                  <a:cubicBezTo>
                    <a:pt x="18" y="0"/>
                    <a:pt x="18" y="0"/>
                    <a:pt x="18" y="0"/>
                  </a:cubicBezTo>
                  <a:cubicBezTo>
                    <a:pt x="17" y="0"/>
                    <a:pt x="17" y="0"/>
                    <a:pt x="17" y="0"/>
                  </a:cubicBezTo>
                  <a:cubicBezTo>
                    <a:pt x="0" y="10"/>
                    <a:pt x="0" y="10"/>
                    <a:pt x="0" y="10"/>
                  </a:cubicBezTo>
                  <a:cubicBezTo>
                    <a:pt x="0" y="12"/>
                    <a:pt x="0" y="12"/>
                    <a:pt x="0" y="12"/>
                  </a:cubicBezTo>
                  <a:lnTo>
                    <a:pt x="0" y="71"/>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7" name="Oregon">
              <a:extLst>
                <a:ext uri="{FF2B5EF4-FFF2-40B4-BE49-F238E27FC236}">
                  <a16:creationId xmlns:a16="http://schemas.microsoft.com/office/drawing/2014/main" id="{D20B4142-BB58-D80A-4B8A-AF04CDFF8E6C}"/>
                </a:ext>
              </a:extLst>
            </p:cNvPr>
            <p:cNvSpPr>
              <a:spLocks/>
            </p:cNvSpPr>
            <p:nvPr/>
          </p:nvSpPr>
          <p:spPr bwMode="auto">
            <a:xfrm>
              <a:off x="2130361" y="1412557"/>
              <a:ext cx="1203717" cy="810837"/>
            </a:xfrm>
            <a:custGeom>
              <a:avLst/>
              <a:gdLst>
                <a:gd name="T0" fmla="*/ 287 w 304"/>
                <a:gd name="T1" fmla="*/ 205 h 205"/>
                <a:gd name="T2" fmla="*/ 287 w 304"/>
                <a:gd name="T3" fmla="*/ 179 h 205"/>
                <a:gd name="T4" fmla="*/ 285 w 304"/>
                <a:gd name="T5" fmla="*/ 160 h 205"/>
                <a:gd name="T6" fmla="*/ 287 w 304"/>
                <a:gd name="T7" fmla="*/ 130 h 205"/>
                <a:gd name="T8" fmla="*/ 292 w 304"/>
                <a:gd name="T9" fmla="*/ 115 h 205"/>
                <a:gd name="T10" fmla="*/ 292 w 304"/>
                <a:gd name="T11" fmla="*/ 103 h 205"/>
                <a:gd name="T12" fmla="*/ 289 w 304"/>
                <a:gd name="T13" fmla="*/ 82 h 205"/>
                <a:gd name="T14" fmla="*/ 287 w 304"/>
                <a:gd name="T15" fmla="*/ 78 h 205"/>
                <a:gd name="T16" fmla="*/ 289 w 304"/>
                <a:gd name="T17" fmla="*/ 68 h 205"/>
                <a:gd name="T18" fmla="*/ 304 w 304"/>
                <a:gd name="T19" fmla="*/ 56 h 205"/>
                <a:gd name="T20" fmla="*/ 304 w 304"/>
                <a:gd name="T21" fmla="*/ 30 h 205"/>
                <a:gd name="T22" fmla="*/ 300 w 304"/>
                <a:gd name="T23" fmla="*/ 21 h 205"/>
                <a:gd name="T24" fmla="*/ 294 w 304"/>
                <a:gd name="T25" fmla="*/ 15 h 205"/>
                <a:gd name="T26" fmla="*/ 288 w 304"/>
                <a:gd name="T27" fmla="*/ 15 h 205"/>
                <a:gd name="T28" fmla="*/ 287 w 304"/>
                <a:gd name="T29" fmla="*/ 16 h 205"/>
                <a:gd name="T30" fmla="*/ 287 w 304"/>
                <a:gd name="T31" fmla="*/ 16 h 205"/>
                <a:gd name="T32" fmla="*/ 287 w 304"/>
                <a:gd name="T33" fmla="*/ 16 h 205"/>
                <a:gd name="T34" fmla="*/ 287 w 304"/>
                <a:gd name="T35" fmla="*/ 16 h 205"/>
                <a:gd name="T36" fmla="*/ 286 w 304"/>
                <a:gd name="T37" fmla="*/ 16 h 205"/>
                <a:gd name="T38" fmla="*/ 281 w 304"/>
                <a:gd name="T39" fmla="*/ 16 h 205"/>
                <a:gd name="T40" fmla="*/ 270 w 304"/>
                <a:gd name="T41" fmla="*/ 15 h 205"/>
                <a:gd name="T42" fmla="*/ 260 w 304"/>
                <a:gd name="T43" fmla="*/ 15 h 205"/>
                <a:gd name="T44" fmla="*/ 249 w 304"/>
                <a:gd name="T45" fmla="*/ 15 h 205"/>
                <a:gd name="T46" fmla="*/ 210 w 304"/>
                <a:gd name="T47" fmla="*/ 15 h 205"/>
                <a:gd name="T48" fmla="*/ 193 w 304"/>
                <a:gd name="T49" fmla="*/ 30 h 205"/>
                <a:gd name="T50" fmla="*/ 67 w 304"/>
                <a:gd name="T51" fmla="*/ 30 h 205"/>
                <a:gd name="T52" fmla="*/ 67 w 304"/>
                <a:gd name="T53" fmla="*/ 19 h 205"/>
                <a:gd name="T54" fmla="*/ 56 w 304"/>
                <a:gd name="T55" fmla="*/ 0 h 205"/>
                <a:gd name="T56" fmla="*/ 23 w 304"/>
                <a:gd name="T57" fmla="*/ 0 h 205"/>
                <a:gd name="T58" fmla="*/ 23 w 304"/>
                <a:gd name="T59" fmla="*/ 8 h 205"/>
                <a:gd name="T60" fmla="*/ 19 w 304"/>
                <a:gd name="T61" fmla="*/ 12 h 205"/>
                <a:gd name="T62" fmla="*/ 19 w 304"/>
                <a:gd name="T63" fmla="*/ 4 h 205"/>
                <a:gd name="T64" fmla="*/ 15 w 304"/>
                <a:gd name="T65" fmla="*/ 0 h 205"/>
                <a:gd name="T66" fmla="*/ 15 w 304"/>
                <a:gd name="T67" fmla="*/ 16 h 205"/>
                <a:gd name="T68" fmla="*/ 23 w 304"/>
                <a:gd name="T69" fmla="*/ 20 h 205"/>
                <a:gd name="T70" fmla="*/ 35 w 304"/>
                <a:gd name="T71" fmla="*/ 20 h 205"/>
                <a:gd name="T72" fmla="*/ 46 w 304"/>
                <a:gd name="T73" fmla="*/ 27 h 205"/>
                <a:gd name="T74" fmla="*/ 43 w 304"/>
                <a:gd name="T75" fmla="*/ 27 h 205"/>
                <a:gd name="T76" fmla="*/ 35 w 304"/>
                <a:gd name="T77" fmla="*/ 27 h 205"/>
                <a:gd name="T78" fmla="*/ 23 w 304"/>
                <a:gd name="T79" fmla="*/ 27 h 205"/>
                <a:gd name="T80" fmla="*/ 19 w 304"/>
                <a:gd name="T81" fmla="*/ 27 h 205"/>
                <a:gd name="T82" fmla="*/ 19 w 304"/>
                <a:gd name="T83" fmla="*/ 47 h 205"/>
                <a:gd name="T84" fmla="*/ 23 w 304"/>
                <a:gd name="T85" fmla="*/ 51 h 205"/>
                <a:gd name="T86" fmla="*/ 19 w 304"/>
                <a:gd name="T87" fmla="*/ 55 h 205"/>
                <a:gd name="T88" fmla="*/ 19 w 304"/>
                <a:gd name="T89" fmla="*/ 63 h 205"/>
                <a:gd name="T90" fmla="*/ 19 w 304"/>
                <a:gd name="T91" fmla="*/ 70 h 205"/>
                <a:gd name="T92" fmla="*/ 7 w 304"/>
                <a:gd name="T93" fmla="*/ 168 h 205"/>
                <a:gd name="T94" fmla="*/ 11 w 304"/>
                <a:gd name="T95" fmla="*/ 172 h 205"/>
                <a:gd name="T96" fmla="*/ 11 w 304"/>
                <a:gd name="T97" fmla="*/ 180 h 205"/>
                <a:gd name="T98" fmla="*/ 7 w 304"/>
                <a:gd name="T99" fmla="*/ 180 h 205"/>
                <a:gd name="T100" fmla="*/ 4 w 304"/>
                <a:gd name="T101" fmla="*/ 187 h 205"/>
                <a:gd name="T102" fmla="*/ 0 w 304"/>
                <a:gd name="T103" fmla="*/ 205 h 205"/>
                <a:gd name="T104" fmla="*/ 169 w 304"/>
                <a:gd name="T105" fmla="*/ 205 h 205"/>
                <a:gd name="T106" fmla="*/ 287 w 304"/>
                <a:gd name="T10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205">
                  <a:moveTo>
                    <a:pt x="287" y="205"/>
                  </a:moveTo>
                  <a:cubicBezTo>
                    <a:pt x="287" y="179"/>
                    <a:pt x="287" y="179"/>
                    <a:pt x="287" y="179"/>
                  </a:cubicBezTo>
                  <a:cubicBezTo>
                    <a:pt x="285" y="160"/>
                    <a:pt x="285" y="160"/>
                    <a:pt x="285" y="160"/>
                  </a:cubicBezTo>
                  <a:cubicBezTo>
                    <a:pt x="287" y="130"/>
                    <a:pt x="287" y="130"/>
                    <a:pt x="287" y="130"/>
                  </a:cubicBezTo>
                  <a:cubicBezTo>
                    <a:pt x="292" y="115"/>
                    <a:pt x="292" y="115"/>
                    <a:pt x="292" y="115"/>
                  </a:cubicBezTo>
                  <a:cubicBezTo>
                    <a:pt x="292" y="103"/>
                    <a:pt x="292" y="103"/>
                    <a:pt x="292" y="103"/>
                  </a:cubicBezTo>
                  <a:cubicBezTo>
                    <a:pt x="289" y="82"/>
                    <a:pt x="289" y="82"/>
                    <a:pt x="289" y="82"/>
                  </a:cubicBezTo>
                  <a:cubicBezTo>
                    <a:pt x="287" y="78"/>
                    <a:pt x="287" y="78"/>
                    <a:pt x="287" y="78"/>
                  </a:cubicBezTo>
                  <a:cubicBezTo>
                    <a:pt x="289" y="68"/>
                    <a:pt x="289" y="68"/>
                    <a:pt x="289" y="68"/>
                  </a:cubicBezTo>
                  <a:cubicBezTo>
                    <a:pt x="304" y="56"/>
                    <a:pt x="304" y="56"/>
                    <a:pt x="304" y="56"/>
                  </a:cubicBezTo>
                  <a:cubicBezTo>
                    <a:pt x="304" y="30"/>
                    <a:pt x="304" y="30"/>
                    <a:pt x="304" y="30"/>
                  </a:cubicBezTo>
                  <a:cubicBezTo>
                    <a:pt x="300" y="21"/>
                    <a:pt x="300" y="21"/>
                    <a:pt x="300" y="21"/>
                  </a:cubicBezTo>
                  <a:cubicBezTo>
                    <a:pt x="294" y="15"/>
                    <a:pt x="294" y="15"/>
                    <a:pt x="294" y="15"/>
                  </a:cubicBezTo>
                  <a:cubicBezTo>
                    <a:pt x="294" y="15"/>
                    <a:pt x="291" y="15"/>
                    <a:pt x="288" y="15"/>
                  </a:cubicBezTo>
                  <a:cubicBezTo>
                    <a:pt x="287" y="16"/>
                    <a:pt x="287" y="16"/>
                    <a:pt x="287" y="16"/>
                  </a:cubicBezTo>
                  <a:cubicBezTo>
                    <a:pt x="287" y="16"/>
                    <a:pt x="287" y="16"/>
                    <a:pt x="287" y="16"/>
                  </a:cubicBezTo>
                  <a:cubicBezTo>
                    <a:pt x="287" y="16"/>
                    <a:pt x="287" y="16"/>
                    <a:pt x="287" y="16"/>
                  </a:cubicBezTo>
                  <a:cubicBezTo>
                    <a:pt x="287" y="16"/>
                    <a:pt x="287" y="16"/>
                    <a:pt x="287" y="16"/>
                  </a:cubicBezTo>
                  <a:cubicBezTo>
                    <a:pt x="286" y="16"/>
                    <a:pt x="286" y="16"/>
                    <a:pt x="286" y="16"/>
                  </a:cubicBezTo>
                  <a:cubicBezTo>
                    <a:pt x="285" y="16"/>
                    <a:pt x="283" y="16"/>
                    <a:pt x="281" y="16"/>
                  </a:cubicBezTo>
                  <a:cubicBezTo>
                    <a:pt x="277" y="16"/>
                    <a:pt x="273" y="15"/>
                    <a:pt x="270" y="15"/>
                  </a:cubicBezTo>
                  <a:cubicBezTo>
                    <a:pt x="267" y="15"/>
                    <a:pt x="264" y="15"/>
                    <a:pt x="260" y="15"/>
                  </a:cubicBezTo>
                  <a:cubicBezTo>
                    <a:pt x="254" y="15"/>
                    <a:pt x="249" y="15"/>
                    <a:pt x="249" y="15"/>
                  </a:cubicBezTo>
                  <a:cubicBezTo>
                    <a:pt x="210" y="15"/>
                    <a:pt x="210" y="15"/>
                    <a:pt x="210" y="15"/>
                  </a:cubicBezTo>
                  <a:cubicBezTo>
                    <a:pt x="193" y="30"/>
                    <a:pt x="193" y="30"/>
                    <a:pt x="193" y="30"/>
                  </a:cubicBezTo>
                  <a:cubicBezTo>
                    <a:pt x="67" y="30"/>
                    <a:pt x="67" y="30"/>
                    <a:pt x="67" y="30"/>
                  </a:cubicBezTo>
                  <a:cubicBezTo>
                    <a:pt x="67" y="19"/>
                    <a:pt x="67" y="19"/>
                    <a:pt x="67" y="19"/>
                  </a:cubicBezTo>
                  <a:cubicBezTo>
                    <a:pt x="56" y="0"/>
                    <a:pt x="56" y="0"/>
                    <a:pt x="56" y="0"/>
                  </a:cubicBezTo>
                  <a:cubicBezTo>
                    <a:pt x="23" y="0"/>
                    <a:pt x="23" y="0"/>
                    <a:pt x="23" y="0"/>
                  </a:cubicBezTo>
                  <a:cubicBezTo>
                    <a:pt x="23" y="8"/>
                    <a:pt x="23" y="8"/>
                    <a:pt x="23" y="8"/>
                  </a:cubicBezTo>
                  <a:cubicBezTo>
                    <a:pt x="19" y="12"/>
                    <a:pt x="19" y="12"/>
                    <a:pt x="19" y="12"/>
                  </a:cubicBezTo>
                  <a:cubicBezTo>
                    <a:pt x="19" y="4"/>
                    <a:pt x="19" y="4"/>
                    <a:pt x="19" y="4"/>
                  </a:cubicBezTo>
                  <a:cubicBezTo>
                    <a:pt x="15" y="0"/>
                    <a:pt x="15" y="0"/>
                    <a:pt x="15" y="0"/>
                  </a:cubicBezTo>
                  <a:cubicBezTo>
                    <a:pt x="15" y="16"/>
                    <a:pt x="15" y="16"/>
                    <a:pt x="15" y="16"/>
                  </a:cubicBezTo>
                  <a:cubicBezTo>
                    <a:pt x="23" y="20"/>
                    <a:pt x="23" y="20"/>
                    <a:pt x="23" y="20"/>
                  </a:cubicBezTo>
                  <a:cubicBezTo>
                    <a:pt x="35" y="20"/>
                    <a:pt x="35" y="20"/>
                    <a:pt x="35" y="20"/>
                  </a:cubicBezTo>
                  <a:cubicBezTo>
                    <a:pt x="46" y="27"/>
                    <a:pt x="46" y="27"/>
                    <a:pt x="46" y="27"/>
                  </a:cubicBezTo>
                  <a:cubicBezTo>
                    <a:pt x="43" y="27"/>
                    <a:pt x="43" y="27"/>
                    <a:pt x="43" y="27"/>
                  </a:cubicBezTo>
                  <a:cubicBezTo>
                    <a:pt x="35" y="27"/>
                    <a:pt x="35" y="27"/>
                    <a:pt x="35" y="27"/>
                  </a:cubicBezTo>
                  <a:cubicBezTo>
                    <a:pt x="23" y="27"/>
                    <a:pt x="23" y="27"/>
                    <a:pt x="23" y="27"/>
                  </a:cubicBezTo>
                  <a:cubicBezTo>
                    <a:pt x="19" y="27"/>
                    <a:pt x="19" y="27"/>
                    <a:pt x="19" y="27"/>
                  </a:cubicBezTo>
                  <a:cubicBezTo>
                    <a:pt x="19" y="47"/>
                    <a:pt x="19" y="47"/>
                    <a:pt x="19" y="47"/>
                  </a:cubicBezTo>
                  <a:cubicBezTo>
                    <a:pt x="23" y="51"/>
                    <a:pt x="23" y="51"/>
                    <a:pt x="23" y="51"/>
                  </a:cubicBezTo>
                  <a:cubicBezTo>
                    <a:pt x="19" y="55"/>
                    <a:pt x="19" y="55"/>
                    <a:pt x="19" y="55"/>
                  </a:cubicBezTo>
                  <a:cubicBezTo>
                    <a:pt x="19" y="63"/>
                    <a:pt x="19" y="63"/>
                    <a:pt x="19" y="63"/>
                  </a:cubicBezTo>
                  <a:cubicBezTo>
                    <a:pt x="19" y="70"/>
                    <a:pt x="19" y="70"/>
                    <a:pt x="19" y="70"/>
                  </a:cubicBezTo>
                  <a:cubicBezTo>
                    <a:pt x="7" y="168"/>
                    <a:pt x="7" y="168"/>
                    <a:pt x="7" y="168"/>
                  </a:cubicBezTo>
                  <a:cubicBezTo>
                    <a:pt x="11" y="172"/>
                    <a:pt x="11" y="172"/>
                    <a:pt x="11" y="172"/>
                  </a:cubicBezTo>
                  <a:cubicBezTo>
                    <a:pt x="11" y="180"/>
                    <a:pt x="11" y="180"/>
                    <a:pt x="11" y="180"/>
                  </a:cubicBezTo>
                  <a:cubicBezTo>
                    <a:pt x="7" y="180"/>
                    <a:pt x="7" y="180"/>
                    <a:pt x="7" y="180"/>
                  </a:cubicBezTo>
                  <a:cubicBezTo>
                    <a:pt x="4" y="187"/>
                    <a:pt x="4" y="187"/>
                    <a:pt x="4" y="187"/>
                  </a:cubicBezTo>
                  <a:cubicBezTo>
                    <a:pt x="0" y="205"/>
                    <a:pt x="0" y="205"/>
                    <a:pt x="0" y="205"/>
                  </a:cubicBezTo>
                  <a:cubicBezTo>
                    <a:pt x="169" y="205"/>
                    <a:pt x="169" y="205"/>
                    <a:pt x="169" y="205"/>
                  </a:cubicBezTo>
                  <a:lnTo>
                    <a:pt x="287" y="205"/>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8" name="Oklahoma">
              <a:extLst>
                <a:ext uri="{FF2B5EF4-FFF2-40B4-BE49-F238E27FC236}">
                  <a16:creationId xmlns:a16="http://schemas.microsoft.com/office/drawing/2014/main" id="{3FA985E9-CE1C-FB63-76C7-7F2D3684A4A4}"/>
                </a:ext>
              </a:extLst>
            </p:cNvPr>
            <p:cNvSpPr>
              <a:spLocks/>
            </p:cNvSpPr>
            <p:nvPr/>
          </p:nvSpPr>
          <p:spPr bwMode="auto">
            <a:xfrm>
              <a:off x="5405474" y="3189710"/>
              <a:ext cx="1332448" cy="708855"/>
            </a:xfrm>
            <a:custGeom>
              <a:avLst/>
              <a:gdLst>
                <a:gd name="T0" fmla="*/ 337 w 337"/>
                <a:gd name="T1" fmla="*/ 84 h 179"/>
                <a:gd name="T2" fmla="*/ 331 w 337"/>
                <a:gd name="T3" fmla="*/ 78 h 179"/>
                <a:gd name="T4" fmla="*/ 325 w 337"/>
                <a:gd name="T5" fmla="*/ 74 h 179"/>
                <a:gd name="T6" fmla="*/ 325 w 337"/>
                <a:gd name="T7" fmla="*/ 40 h 179"/>
                <a:gd name="T8" fmla="*/ 325 w 337"/>
                <a:gd name="T9" fmla="*/ 40 h 179"/>
                <a:gd name="T10" fmla="*/ 325 w 337"/>
                <a:gd name="T11" fmla="*/ 39 h 179"/>
                <a:gd name="T12" fmla="*/ 325 w 337"/>
                <a:gd name="T13" fmla="*/ 0 h 179"/>
                <a:gd name="T14" fmla="*/ 41 w 337"/>
                <a:gd name="T15" fmla="*/ 0 h 179"/>
                <a:gd name="T16" fmla="*/ 40 w 337"/>
                <a:gd name="T17" fmla="*/ 0 h 179"/>
                <a:gd name="T18" fmla="*/ 0 w 337"/>
                <a:gd name="T19" fmla="*/ 0 h 179"/>
                <a:gd name="T20" fmla="*/ 0 w 337"/>
                <a:gd name="T21" fmla="*/ 40 h 179"/>
                <a:gd name="T22" fmla="*/ 0 w 337"/>
                <a:gd name="T23" fmla="*/ 40 h 179"/>
                <a:gd name="T24" fmla="*/ 117 w 337"/>
                <a:gd name="T25" fmla="*/ 40 h 179"/>
                <a:gd name="T26" fmla="*/ 117 w 337"/>
                <a:gd name="T27" fmla="*/ 129 h 179"/>
                <a:gd name="T28" fmla="*/ 121 w 337"/>
                <a:gd name="T29" fmla="*/ 137 h 179"/>
                <a:gd name="T30" fmla="*/ 140 w 337"/>
                <a:gd name="T31" fmla="*/ 137 h 179"/>
                <a:gd name="T32" fmla="*/ 140 w 337"/>
                <a:gd name="T33" fmla="*/ 144 h 179"/>
                <a:gd name="T34" fmla="*/ 140 w 337"/>
                <a:gd name="T35" fmla="*/ 144 h 179"/>
                <a:gd name="T36" fmla="*/ 147 w 337"/>
                <a:gd name="T37" fmla="*/ 149 h 179"/>
                <a:gd name="T38" fmla="*/ 155 w 337"/>
                <a:gd name="T39" fmla="*/ 149 h 179"/>
                <a:gd name="T40" fmla="*/ 156 w 337"/>
                <a:gd name="T41" fmla="*/ 149 h 179"/>
                <a:gd name="T42" fmla="*/ 156 w 337"/>
                <a:gd name="T43" fmla="*/ 149 h 179"/>
                <a:gd name="T44" fmla="*/ 157 w 337"/>
                <a:gd name="T45" fmla="*/ 148 h 179"/>
                <a:gd name="T46" fmla="*/ 159 w 337"/>
                <a:gd name="T47" fmla="*/ 149 h 179"/>
                <a:gd name="T48" fmla="*/ 163 w 337"/>
                <a:gd name="T49" fmla="*/ 150 h 179"/>
                <a:gd name="T50" fmla="*/ 168 w 337"/>
                <a:gd name="T51" fmla="*/ 149 h 179"/>
                <a:gd name="T52" fmla="*/ 178 w 337"/>
                <a:gd name="T53" fmla="*/ 150 h 179"/>
                <a:gd name="T54" fmla="*/ 185 w 337"/>
                <a:gd name="T55" fmla="*/ 155 h 179"/>
                <a:gd name="T56" fmla="*/ 189 w 337"/>
                <a:gd name="T57" fmla="*/ 160 h 179"/>
                <a:gd name="T58" fmla="*/ 189 w 337"/>
                <a:gd name="T59" fmla="*/ 163 h 179"/>
                <a:gd name="T60" fmla="*/ 193 w 337"/>
                <a:gd name="T61" fmla="*/ 167 h 179"/>
                <a:gd name="T62" fmla="*/ 197 w 337"/>
                <a:gd name="T63" fmla="*/ 167 h 179"/>
                <a:gd name="T64" fmla="*/ 202 w 337"/>
                <a:gd name="T65" fmla="*/ 161 h 179"/>
                <a:gd name="T66" fmla="*/ 207 w 337"/>
                <a:gd name="T67" fmla="*/ 163 h 179"/>
                <a:gd name="T68" fmla="*/ 207 w 337"/>
                <a:gd name="T69" fmla="*/ 167 h 179"/>
                <a:gd name="T70" fmla="*/ 246 w 337"/>
                <a:gd name="T71" fmla="*/ 167 h 179"/>
                <a:gd name="T72" fmla="*/ 246 w 337"/>
                <a:gd name="T73" fmla="*/ 177 h 179"/>
                <a:gd name="T74" fmla="*/ 262 w 337"/>
                <a:gd name="T75" fmla="*/ 177 h 179"/>
                <a:gd name="T76" fmla="*/ 264 w 337"/>
                <a:gd name="T77" fmla="*/ 179 h 179"/>
                <a:gd name="T78" fmla="*/ 266 w 337"/>
                <a:gd name="T79" fmla="*/ 177 h 179"/>
                <a:gd name="T80" fmla="*/ 271 w 337"/>
                <a:gd name="T81" fmla="*/ 174 h 179"/>
                <a:gd name="T82" fmla="*/ 272 w 337"/>
                <a:gd name="T83" fmla="*/ 173 h 179"/>
                <a:gd name="T84" fmla="*/ 272 w 337"/>
                <a:gd name="T85" fmla="*/ 173 h 179"/>
                <a:gd name="T86" fmla="*/ 276 w 337"/>
                <a:gd name="T87" fmla="*/ 171 h 179"/>
                <a:gd name="T88" fmla="*/ 279 w 337"/>
                <a:gd name="T89" fmla="*/ 171 h 179"/>
                <a:gd name="T90" fmla="*/ 291 w 337"/>
                <a:gd name="T91" fmla="*/ 170 h 179"/>
                <a:gd name="T92" fmla="*/ 292 w 337"/>
                <a:gd name="T93" fmla="*/ 169 h 179"/>
                <a:gd name="T94" fmla="*/ 298 w 337"/>
                <a:gd name="T95" fmla="*/ 166 h 179"/>
                <a:gd name="T96" fmla="*/ 300 w 337"/>
                <a:gd name="T97" fmla="*/ 166 h 179"/>
                <a:gd name="T98" fmla="*/ 308 w 337"/>
                <a:gd name="T99" fmla="*/ 173 h 179"/>
                <a:gd name="T100" fmla="*/ 308 w 337"/>
                <a:gd name="T101" fmla="*/ 174 h 179"/>
                <a:gd name="T102" fmla="*/ 316 w 337"/>
                <a:gd name="T103" fmla="*/ 175 h 179"/>
                <a:gd name="T104" fmla="*/ 318 w 337"/>
                <a:gd name="T105" fmla="*/ 179 h 179"/>
                <a:gd name="T106" fmla="*/ 318 w 337"/>
                <a:gd name="T107" fmla="*/ 179 h 179"/>
                <a:gd name="T108" fmla="*/ 319 w 337"/>
                <a:gd name="T109" fmla="*/ 179 h 179"/>
                <a:gd name="T110" fmla="*/ 320 w 337"/>
                <a:gd name="T111" fmla="*/ 179 h 179"/>
                <a:gd name="T112" fmla="*/ 323 w 337"/>
                <a:gd name="T113" fmla="*/ 177 h 179"/>
                <a:gd name="T114" fmla="*/ 325 w 337"/>
                <a:gd name="T115" fmla="*/ 179 h 179"/>
                <a:gd name="T116" fmla="*/ 337 w 337"/>
                <a:gd name="T117" fmla="*/ 179 h 179"/>
                <a:gd name="T118" fmla="*/ 337 w 337"/>
                <a:gd name="T119" fmla="*/ 179 h 179"/>
                <a:gd name="T120" fmla="*/ 337 w 337"/>
                <a:gd name="T121" fmla="*/ 8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7" h="179">
                  <a:moveTo>
                    <a:pt x="337" y="84"/>
                  </a:moveTo>
                  <a:cubicBezTo>
                    <a:pt x="331" y="78"/>
                    <a:pt x="331" y="78"/>
                    <a:pt x="331" y="78"/>
                  </a:cubicBezTo>
                  <a:cubicBezTo>
                    <a:pt x="325" y="74"/>
                    <a:pt x="325" y="74"/>
                    <a:pt x="325" y="74"/>
                  </a:cubicBezTo>
                  <a:cubicBezTo>
                    <a:pt x="325" y="40"/>
                    <a:pt x="325" y="40"/>
                    <a:pt x="325" y="40"/>
                  </a:cubicBezTo>
                  <a:cubicBezTo>
                    <a:pt x="325" y="40"/>
                    <a:pt x="325" y="40"/>
                    <a:pt x="325" y="40"/>
                  </a:cubicBezTo>
                  <a:cubicBezTo>
                    <a:pt x="325" y="39"/>
                    <a:pt x="325" y="39"/>
                    <a:pt x="325" y="39"/>
                  </a:cubicBezTo>
                  <a:cubicBezTo>
                    <a:pt x="325" y="0"/>
                    <a:pt x="325" y="0"/>
                    <a:pt x="325" y="0"/>
                  </a:cubicBezTo>
                  <a:cubicBezTo>
                    <a:pt x="41" y="0"/>
                    <a:pt x="41" y="0"/>
                    <a:pt x="41" y="0"/>
                  </a:cubicBezTo>
                  <a:cubicBezTo>
                    <a:pt x="40" y="0"/>
                    <a:pt x="40" y="0"/>
                    <a:pt x="40" y="0"/>
                  </a:cubicBezTo>
                  <a:cubicBezTo>
                    <a:pt x="0" y="0"/>
                    <a:pt x="0" y="0"/>
                    <a:pt x="0" y="0"/>
                  </a:cubicBezTo>
                  <a:cubicBezTo>
                    <a:pt x="0" y="40"/>
                    <a:pt x="0" y="40"/>
                    <a:pt x="0" y="40"/>
                  </a:cubicBezTo>
                  <a:cubicBezTo>
                    <a:pt x="0" y="40"/>
                    <a:pt x="0" y="40"/>
                    <a:pt x="0" y="40"/>
                  </a:cubicBezTo>
                  <a:cubicBezTo>
                    <a:pt x="117" y="40"/>
                    <a:pt x="117" y="40"/>
                    <a:pt x="117" y="40"/>
                  </a:cubicBezTo>
                  <a:cubicBezTo>
                    <a:pt x="117" y="129"/>
                    <a:pt x="117" y="129"/>
                    <a:pt x="117" y="129"/>
                  </a:cubicBezTo>
                  <a:cubicBezTo>
                    <a:pt x="121" y="137"/>
                    <a:pt x="121" y="137"/>
                    <a:pt x="121" y="137"/>
                  </a:cubicBezTo>
                  <a:cubicBezTo>
                    <a:pt x="140" y="137"/>
                    <a:pt x="140" y="137"/>
                    <a:pt x="140" y="137"/>
                  </a:cubicBezTo>
                  <a:cubicBezTo>
                    <a:pt x="140" y="144"/>
                    <a:pt x="140" y="144"/>
                    <a:pt x="140" y="144"/>
                  </a:cubicBezTo>
                  <a:cubicBezTo>
                    <a:pt x="140" y="144"/>
                    <a:pt x="140" y="144"/>
                    <a:pt x="140" y="144"/>
                  </a:cubicBezTo>
                  <a:cubicBezTo>
                    <a:pt x="141" y="145"/>
                    <a:pt x="144" y="149"/>
                    <a:pt x="147" y="149"/>
                  </a:cubicBezTo>
                  <a:cubicBezTo>
                    <a:pt x="155" y="149"/>
                    <a:pt x="155" y="149"/>
                    <a:pt x="155" y="149"/>
                  </a:cubicBezTo>
                  <a:cubicBezTo>
                    <a:pt x="156" y="149"/>
                    <a:pt x="156" y="149"/>
                    <a:pt x="156" y="149"/>
                  </a:cubicBezTo>
                  <a:cubicBezTo>
                    <a:pt x="156" y="149"/>
                    <a:pt x="156" y="149"/>
                    <a:pt x="156" y="149"/>
                  </a:cubicBezTo>
                  <a:cubicBezTo>
                    <a:pt x="156" y="148"/>
                    <a:pt x="156" y="148"/>
                    <a:pt x="157" y="148"/>
                  </a:cubicBezTo>
                  <a:cubicBezTo>
                    <a:pt x="157" y="148"/>
                    <a:pt x="158" y="149"/>
                    <a:pt x="159" y="149"/>
                  </a:cubicBezTo>
                  <a:cubicBezTo>
                    <a:pt x="161" y="150"/>
                    <a:pt x="162" y="150"/>
                    <a:pt x="163" y="150"/>
                  </a:cubicBezTo>
                  <a:cubicBezTo>
                    <a:pt x="165" y="150"/>
                    <a:pt x="167" y="149"/>
                    <a:pt x="168" y="149"/>
                  </a:cubicBezTo>
                  <a:cubicBezTo>
                    <a:pt x="178" y="150"/>
                    <a:pt x="178" y="150"/>
                    <a:pt x="178" y="150"/>
                  </a:cubicBezTo>
                  <a:cubicBezTo>
                    <a:pt x="185" y="155"/>
                    <a:pt x="185" y="155"/>
                    <a:pt x="185" y="155"/>
                  </a:cubicBezTo>
                  <a:cubicBezTo>
                    <a:pt x="189" y="160"/>
                    <a:pt x="189" y="160"/>
                    <a:pt x="189" y="160"/>
                  </a:cubicBezTo>
                  <a:cubicBezTo>
                    <a:pt x="189" y="163"/>
                    <a:pt x="189" y="163"/>
                    <a:pt x="189" y="163"/>
                  </a:cubicBezTo>
                  <a:cubicBezTo>
                    <a:pt x="193" y="167"/>
                    <a:pt x="193" y="167"/>
                    <a:pt x="193" y="167"/>
                  </a:cubicBezTo>
                  <a:cubicBezTo>
                    <a:pt x="197" y="167"/>
                    <a:pt x="197" y="167"/>
                    <a:pt x="197" y="167"/>
                  </a:cubicBezTo>
                  <a:cubicBezTo>
                    <a:pt x="202" y="161"/>
                    <a:pt x="202" y="161"/>
                    <a:pt x="202" y="161"/>
                  </a:cubicBezTo>
                  <a:cubicBezTo>
                    <a:pt x="207" y="163"/>
                    <a:pt x="207" y="163"/>
                    <a:pt x="207" y="163"/>
                  </a:cubicBezTo>
                  <a:cubicBezTo>
                    <a:pt x="207" y="167"/>
                    <a:pt x="207" y="167"/>
                    <a:pt x="207" y="167"/>
                  </a:cubicBezTo>
                  <a:cubicBezTo>
                    <a:pt x="246" y="167"/>
                    <a:pt x="246" y="167"/>
                    <a:pt x="246" y="167"/>
                  </a:cubicBezTo>
                  <a:cubicBezTo>
                    <a:pt x="246" y="177"/>
                    <a:pt x="246" y="177"/>
                    <a:pt x="246" y="177"/>
                  </a:cubicBezTo>
                  <a:cubicBezTo>
                    <a:pt x="262" y="177"/>
                    <a:pt x="262" y="177"/>
                    <a:pt x="262" y="177"/>
                  </a:cubicBezTo>
                  <a:cubicBezTo>
                    <a:pt x="262" y="178"/>
                    <a:pt x="263" y="178"/>
                    <a:pt x="264" y="179"/>
                  </a:cubicBezTo>
                  <a:cubicBezTo>
                    <a:pt x="265" y="179"/>
                    <a:pt x="266" y="178"/>
                    <a:pt x="266" y="177"/>
                  </a:cubicBezTo>
                  <a:cubicBezTo>
                    <a:pt x="268" y="175"/>
                    <a:pt x="271" y="174"/>
                    <a:pt x="271" y="174"/>
                  </a:cubicBezTo>
                  <a:cubicBezTo>
                    <a:pt x="272" y="173"/>
                    <a:pt x="272" y="173"/>
                    <a:pt x="272" y="173"/>
                  </a:cubicBezTo>
                  <a:cubicBezTo>
                    <a:pt x="272" y="173"/>
                    <a:pt x="272" y="173"/>
                    <a:pt x="272" y="173"/>
                  </a:cubicBezTo>
                  <a:cubicBezTo>
                    <a:pt x="273" y="172"/>
                    <a:pt x="275" y="171"/>
                    <a:pt x="276" y="171"/>
                  </a:cubicBezTo>
                  <a:cubicBezTo>
                    <a:pt x="279" y="171"/>
                    <a:pt x="279" y="171"/>
                    <a:pt x="279" y="171"/>
                  </a:cubicBezTo>
                  <a:cubicBezTo>
                    <a:pt x="291" y="170"/>
                    <a:pt x="291" y="170"/>
                    <a:pt x="291" y="170"/>
                  </a:cubicBezTo>
                  <a:cubicBezTo>
                    <a:pt x="292" y="169"/>
                    <a:pt x="292" y="169"/>
                    <a:pt x="292" y="169"/>
                  </a:cubicBezTo>
                  <a:cubicBezTo>
                    <a:pt x="292" y="168"/>
                    <a:pt x="295" y="166"/>
                    <a:pt x="298" y="166"/>
                  </a:cubicBezTo>
                  <a:cubicBezTo>
                    <a:pt x="298" y="166"/>
                    <a:pt x="299" y="166"/>
                    <a:pt x="300" y="166"/>
                  </a:cubicBezTo>
                  <a:cubicBezTo>
                    <a:pt x="304" y="168"/>
                    <a:pt x="307" y="172"/>
                    <a:pt x="308" y="173"/>
                  </a:cubicBezTo>
                  <a:cubicBezTo>
                    <a:pt x="308" y="174"/>
                    <a:pt x="308" y="174"/>
                    <a:pt x="308" y="174"/>
                  </a:cubicBezTo>
                  <a:cubicBezTo>
                    <a:pt x="316" y="175"/>
                    <a:pt x="316" y="175"/>
                    <a:pt x="316" y="175"/>
                  </a:cubicBezTo>
                  <a:cubicBezTo>
                    <a:pt x="316" y="176"/>
                    <a:pt x="316" y="178"/>
                    <a:pt x="318" y="179"/>
                  </a:cubicBezTo>
                  <a:cubicBezTo>
                    <a:pt x="318" y="179"/>
                    <a:pt x="318" y="179"/>
                    <a:pt x="318" y="179"/>
                  </a:cubicBezTo>
                  <a:cubicBezTo>
                    <a:pt x="319" y="179"/>
                    <a:pt x="319" y="179"/>
                    <a:pt x="319" y="179"/>
                  </a:cubicBezTo>
                  <a:cubicBezTo>
                    <a:pt x="319" y="179"/>
                    <a:pt x="319" y="179"/>
                    <a:pt x="320" y="179"/>
                  </a:cubicBezTo>
                  <a:cubicBezTo>
                    <a:pt x="323" y="177"/>
                    <a:pt x="323" y="177"/>
                    <a:pt x="323" y="177"/>
                  </a:cubicBezTo>
                  <a:cubicBezTo>
                    <a:pt x="325" y="179"/>
                    <a:pt x="325" y="179"/>
                    <a:pt x="325" y="179"/>
                  </a:cubicBezTo>
                  <a:cubicBezTo>
                    <a:pt x="337" y="179"/>
                    <a:pt x="337" y="179"/>
                    <a:pt x="337" y="179"/>
                  </a:cubicBezTo>
                  <a:cubicBezTo>
                    <a:pt x="337" y="179"/>
                    <a:pt x="337" y="179"/>
                    <a:pt x="337" y="179"/>
                  </a:cubicBezTo>
                  <a:lnTo>
                    <a:pt x="337" y="8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9" name="Ohio">
              <a:extLst>
                <a:ext uri="{FF2B5EF4-FFF2-40B4-BE49-F238E27FC236}">
                  <a16:creationId xmlns:a16="http://schemas.microsoft.com/office/drawing/2014/main" id="{5AE3EB67-B552-1379-5507-9BEB8BC541B5}"/>
                </a:ext>
              </a:extLst>
            </p:cNvPr>
            <p:cNvSpPr>
              <a:spLocks/>
            </p:cNvSpPr>
            <p:nvPr/>
          </p:nvSpPr>
          <p:spPr bwMode="auto">
            <a:xfrm>
              <a:off x="8185725" y="2408967"/>
              <a:ext cx="663716" cy="665388"/>
            </a:xfrm>
            <a:custGeom>
              <a:avLst/>
              <a:gdLst>
                <a:gd name="T0" fmla="*/ 0 w 168"/>
                <a:gd name="T1" fmla="*/ 13 h 168"/>
                <a:gd name="T2" fmla="*/ 0 w 168"/>
                <a:gd name="T3" fmla="*/ 138 h 168"/>
                <a:gd name="T4" fmla="*/ 0 w 168"/>
                <a:gd name="T5" fmla="*/ 138 h 168"/>
                <a:gd name="T6" fmla="*/ 10 w 168"/>
                <a:gd name="T7" fmla="*/ 138 h 168"/>
                <a:gd name="T8" fmla="*/ 15 w 168"/>
                <a:gd name="T9" fmla="*/ 144 h 168"/>
                <a:gd name="T10" fmla="*/ 20 w 168"/>
                <a:gd name="T11" fmla="*/ 150 h 168"/>
                <a:gd name="T12" fmla="*/ 44 w 168"/>
                <a:gd name="T13" fmla="*/ 150 h 168"/>
                <a:gd name="T14" fmla="*/ 49 w 168"/>
                <a:gd name="T15" fmla="*/ 156 h 168"/>
                <a:gd name="T16" fmla="*/ 52 w 168"/>
                <a:gd name="T17" fmla="*/ 156 h 168"/>
                <a:gd name="T18" fmla="*/ 57 w 168"/>
                <a:gd name="T19" fmla="*/ 155 h 168"/>
                <a:gd name="T20" fmla="*/ 60 w 168"/>
                <a:gd name="T21" fmla="*/ 156 h 168"/>
                <a:gd name="T22" fmla="*/ 69 w 168"/>
                <a:gd name="T23" fmla="*/ 159 h 168"/>
                <a:gd name="T24" fmla="*/ 82 w 168"/>
                <a:gd name="T25" fmla="*/ 159 h 168"/>
                <a:gd name="T26" fmla="*/ 89 w 168"/>
                <a:gd name="T27" fmla="*/ 166 h 168"/>
                <a:gd name="T28" fmla="*/ 91 w 168"/>
                <a:gd name="T29" fmla="*/ 168 h 168"/>
                <a:gd name="T30" fmla="*/ 91 w 168"/>
                <a:gd name="T31" fmla="*/ 167 h 168"/>
                <a:gd name="T32" fmla="*/ 91 w 168"/>
                <a:gd name="T33" fmla="*/ 165 h 168"/>
                <a:gd name="T34" fmla="*/ 105 w 168"/>
                <a:gd name="T35" fmla="*/ 157 h 168"/>
                <a:gd name="T36" fmla="*/ 107 w 168"/>
                <a:gd name="T37" fmla="*/ 152 h 168"/>
                <a:gd name="T38" fmla="*/ 110 w 168"/>
                <a:gd name="T39" fmla="*/ 150 h 168"/>
                <a:gd name="T40" fmla="*/ 123 w 168"/>
                <a:gd name="T41" fmla="*/ 145 h 168"/>
                <a:gd name="T42" fmla="*/ 130 w 168"/>
                <a:gd name="T43" fmla="*/ 139 h 168"/>
                <a:gd name="T44" fmla="*/ 131 w 168"/>
                <a:gd name="T45" fmla="*/ 140 h 168"/>
                <a:gd name="T46" fmla="*/ 134 w 168"/>
                <a:gd name="T47" fmla="*/ 139 h 168"/>
                <a:gd name="T48" fmla="*/ 136 w 168"/>
                <a:gd name="T49" fmla="*/ 136 h 168"/>
                <a:gd name="T50" fmla="*/ 141 w 168"/>
                <a:gd name="T51" fmla="*/ 129 h 168"/>
                <a:gd name="T52" fmla="*/ 146 w 168"/>
                <a:gd name="T53" fmla="*/ 129 h 168"/>
                <a:gd name="T54" fmla="*/ 152 w 168"/>
                <a:gd name="T55" fmla="*/ 122 h 168"/>
                <a:gd name="T56" fmla="*/ 156 w 168"/>
                <a:gd name="T57" fmla="*/ 118 h 168"/>
                <a:gd name="T58" fmla="*/ 156 w 168"/>
                <a:gd name="T59" fmla="*/ 106 h 168"/>
                <a:gd name="T60" fmla="*/ 161 w 168"/>
                <a:gd name="T61" fmla="*/ 106 h 168"/>
                <a:gd name="T62" fmla="*/ 161 w 168"/>
                <a:gd name="T63" fmla="*/ 98 h 168"/>
                <a:gd name="T64" fmla="*/ 161 w 168"/>
                <a:gd name="T65" fmla="*/ 94 h 168"/>
                <a:gd name="T66" fmla="*/ 161 w 168"/>
                <a:gd name="T67" fmla="*/ 89 h 168"/>
                <a:gd name="T68" fmla="*/ 161 w 168"/>
                <a:gd name="T69" fmla="*/ 82 h 168"/>
                <a:gd name="T70" fmla="*/ 161 w 168"/>
                <a:gd name="T71" fmla="*/ 78 h 168"/>
                <a:gd name="T72" fmla="*/ 166 w 168"/>
                <a:gd name="T73" fmla="*/ 65 h 168"/>
                <a:gd name="T74" fmla="*/ 168 w 168"/>
                <a:gd name="T75" fmla="*/ 61 h 168"/>
                <a:gd name="T76" fmla="*/ 168 w 168"/>
                <a:gd name="T77" fmla="*/ 2 h 168"/>
                <a:gd name="T78" fmla="*/ 168 w 168"/>
                <a:gd name="T79" fmla="*/ 0 h 168"/>
                <a:gd name="T80" fmla="*/ 124 w 168"/>
                <a:gd name="T81" fmla="*/ 25 h 168"/>
                <a:gd name="T82" fmla="*/ 112 w 168"/>
                <a:gd name="T83" fmla="*/ 25 h 168"/>
                <a:gd name="T84" fmla="*/ 100 w 168"/>
                <a:gd name="T85" fmla="*/ 29 h 168"/>
                <a:gd name="T86" fmla="*/ 84 w 168"/>
                <a:gd name="T87" fmla="*/ 25 h 168"/>
                <a:gd name="T88" fmla="*/ 77 w 168"/>
                <a:gd name="T89" fmla="*/ 25 h 168"/>
                <a:gd name="T90" fmla="*/ 69 w 168"/>
                <a:gd name="T91" fmla="*/ 17 h 168"/>
                <a:gd name="T92" fmla="*/ 61 w 168"/>
                <a:gd name="T93" fmla="*/ 13 h 168"/>
                <a:gd name="T94" fmla="*/ 62 w 168"/>
                <a:gd name="T95" fmla="*/ 13 h 168"/>
                <a:gd name="T96" fmla="*/ 1 w 168"/>
                <a:gd name="T97" fmla="*/ 13 h 168"/>
                <a:gd name="T98" fmla="*/ 0 w 168"/>
                <a:gd name="T99" fmla="*/ 1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8" h="168">
                  <a:moveTo>
                    <a:pt x="0" y="13"/>
                  </a:moveTo>
                  <a:cubicBezTo>
                    <a:pt x="0" y="138"/>
                    <a:pt x="0" y="138"/>
                    <a:pt x="0" y="138"/>
                  </a:cubicBezTo>
                  <a:cubicBezTo>
                    <a:pt x="0" y="138"/>
                    <a:pt x="0" y="138"/>
                    <a:pt x="0" y="138"/>
                  </a:cubicBezTo>
                  <a:cubicBezTo>
                    <a:pt x="10" y="138"/>
                    <a:pt x="10" y="138"/>
                    <a:pt x="10" y="138"/>
                  </a:cubicBezTo>
                  <a:cubicBezTo>
                    <a:pt x="15" y="144"/>
                    <a:pt x="15" y="144"/>
                    <a:pt x="15" y="144"/>
                  </a:cubicBezTo>
                  <a:cubicBezTo>
                    <a:pt x="20" y="150"/>
                    <a:pt x="20" y="150"/>
                    <a:pt x="20" y="150"/>
                  </a:cubicBezTo>
                  <a:cubicBezTo>
                    <a:pt x="44" y="150"/>
                    <a:pt x="44" y="150"/>
                    <a:pt x="44" y="150"/>
                  </a:cubicBezTo>
                  <a:cubicBezTo>
                    <a:pt x="45" y="151"/>
                    <a:pt x="46" y="156"/>
                    <a:pt x="49" y="156"/>
                  </a:cubicBezTo>
                  <a:cubicBezTo>
                    <a:pt x="52" y="156"/>
                    <a:pt x="52" y="156"/>
                    <a:pt x="52" y="156"/>
                  </a:cubicBezTo>
                  <a:cubicBezTo>
                    <a:pt x="52" y="156"/>
                    <a:pt x="54" y="155"/>
                    <a:pt x="57" y="155"/>
                  </a:cubicBezTo>
                  <a:cubicBezTo>
                    <a:pt x="58" y="155"/>
                    <a:pt x="59" y="156"/>
                    <a:pt x="60" y="156"/>
                  </a:cubicBezTo>
                  <a:cubicBezTo>
                    <a:pt x="63" y="159"/>
                    <a:pt x="69" y="159"/>
                    <a:pt x="69" y="159"/>
                  </a:cubicBezTo>
                  <a:cubicBezTo>
                    <a:pt x="82" y="159"/>
                    <a:pt x="82" y="159"/>
                    <a:pt x="82" y="159"/>
                  </a:cubicBezTo>
                  <a:cubicBezTo>
                    <a:pt x="89" y="166"/>
                    <a:pt x="89" y="166"/>
                    <a:pt x="89" y="166"/>
                  </a:cubicBezTo>
                  <a:cubicBezTo>
                    <a:pt x="91" y="168"/>
                    <a:pt x="91" y="168"/>
                    <a:pt x="91" y="168"/>
                  </a:cubicBezTo>
                  <a:cubicBezTo>
                    <a:pt x="91" y="167"/>
                    <a:pt x="91" y="167"/>
                    <a:pt x="91" y="167"/>
                  </a:cubicBezTo>
                  <a:cubicBezTo>
                    <a:pt x="91" y="165"/>
                    <a:pt x="91" y="165"/>
                    <a:pt x="91" y="165"/>
                  </a:cubicBezTo>
                  <a:cubicBezTo>
                    <a:pt x="92" y="165"/>
                    <a:pt x="100" y="160"/>
                    <a:pt x="105" y="157"/>
                  </a:cubicBezTo>
                  <a:cubicBezTo>
                    <a:pt x="107" y="156"/>
                    <a:pt x="108" y="154"/>
                    <a:pt x="107" y="152"/>
                  </a:cubicBezTo>
                  <a:cubicBezTo>
                    <a:pt x="107" y="151"/>
                    <a:pt x="107" y="150"/>
                    <a:pt x="110" y="150"/>
                  </a:cubicBezTo>
                  <a:cubicBezTo>
                    <a:pt x="116" y="148"/>
                    <a:pt x="123" y="145"/>
                    <a:pt x="123" y="145"/>
                  </a:cubicBezTo>
                  <a:cubicBezTo>
                    <a:pt x="130" y="139"/>
                    <a:pt x="130" y="139"/>
                    <a:pt x="130" y="139"/>
                  </a:cubicBezTo>
                  <a:cubicBezTo>
                    <a:pt x="131" y="140"/>
                    <a:pt x="131" y="140"/>
                    <a:pt x="131" y="140"/>
                  </a:cubicBezTo>
                  <a:cubicBezTo>
                    <a:pt x="132" y="140"/>
                    <a:pt x="133" y="140"/>
                    <a:pt x="134" y="139"/>
                  </a:cubicBezTo>
                  <a:cubicBezTo>
                    <a:pt x="136" y="136"/>
                    <a:pt x="136" y="136"/>
                    <a:pt x="136" y="136"/>
                  </a:cubicBezTo>
                  <a:cubicBezTo>
                    <a:pt x="141" y="129"/>
                    <a:pt x="141" y="129"/>
                    <a:pt x="141" y="129"/>
                  </a:cubicBezTo>
                  <a:cubicBezTo>
                    <a:pt x="146" y="129"/>
                    <a:pt x="146" y="129"/>
                    <a:pt x="146" y="129"/>
                  </a:cubicBezTo>
                  <a:cubicBezTo>
                    <a:pt x="152" y="122"/>
                    <a:pt x="152" y="122"/>
                    <a:pt x="152" y="122"/>
                  </a:cubicBezTo>
                  <a:cubicBezTo>
                    <a:pt x="156" y="118"/>
                    <a:pt x="156" y="118"/>
                    <a:pt x="156" y="118"/>
                  </a:cubicBezTo>
                  <a:cubicBezTo>
                    <a:pt x="156" y="106"/>
                    <a:pt x="156" y="106"/>
                    <a:pt x="156" y="106"/>
                  </a:cubicBezTo>
                  <a:cubicBezTo>
                    <a:pt x="161" y="106"/>
                    <a:pt x="161" y="106"/>
                    <a:pt x="161" y="106"/>
                  </a:cubicBezTo>
                  <a:cubicBezTo>
                    <a:pt x="161" y="98"/>
                    <a:pt x="161" y="98"/>
                    <a:pt x="161" y="98"/>
                  </a:cubicBezTo>
                  <a:cubicBezTo>
                    <a:pt x="161" y="96"/>
                    <a:pt x="161" y="95"/>
                    <a:pt x="161" y="94"/>
                  </a:cubicBezTo>
                  <a:cubicBezTo>
                    <a:pt x="161" y="92"/>
                    <a:pt x="161" y="91"/>
                    <a:pt x="161" y="89"/>
                  </a:cubicBezTo>
                  <a:cubicBezTo>
                    <a:pt x="162" y="87"/>
                    <a:pt x="161" y="84"/>
                    <a:pt x="161" y="82"/>
                  </a:cubicBezTo>
                  <a:cubicBezTo>
                    <a:pt x="161" y="78"/>
                    <a:pt x="161" y="78"/>
                    <a:pt x="161" y="78"/>
                  </a:cubicBezTo>
                  <a:cubicBezTo>
                    <a:pt x="166" y="65"/>
                    <a:pt x="166" y="65"/>
                    <a:pt x="166" y="65"/>
                  </a:cubicBezTo>
                  <a:cubicBezTo>
                    <a:pt x="168" y="61"/>
                    <a:pt x="168" y="61"/>
                    <a:pt x="168" y="61"/>
                  </a:cubicBezTo>
                  <a:cubicBezTo>
                    <a:pt x="168" y="2"/>
                    <a:pt x="168" y="2"/>
                    <a:pt x="168" y="2"/>
                  </a:cubicBezTo>
                  <a:cubicBezTo>
                    <a:pt x="168" y="0"/>
                    <a:pt x="168" y="0"/>
                    <a:pt x="168" y="0"/>
                  </a:cubicBezTo>
                  <a:cubicBezTo>
                    <a:pt x="124" y="25"/>
                    <a:pt x="124" y="25"/>
                    <a:pt x="124" y="25"/>
                  </a:cubicBezTo>
                  <a:cubicBezTo>
                    <a:pt x="112" y="25"/>
                    <a:pt x="112" y="25"/>
                    <a:pt x="112" y="25"/>
                  </a:cubicBezTo>
                  <a:cubicBezTo>
                    <a:pt x="100" y="29"/>
                    <a:pt x="100" y="29"/>
                    <a:pt x="100" y="29"/>
                  </a:cubicBezTo>
                  <a:cubicBezTo>
                    <a:pt x="84" y="25"/>
                    <a:pt x="84" y="25"/>
                    <a:pt x="84" y="25"/>
                  </a:cubicBezTo>
                  <a:cubicBezTo>
                    <a:pt x="77" y="25"/>
                    <a:pt x="77" y="25"/>
                    <a:pt x="77" y="25"/>
                  </a:cubicBezTo>
                  <a:cubicBezTo>
                    <a:pt x="69" y="17"/>
                    <a:pt x="69" y="17"/>
                    <a:pt x="69" y="17"/>
                  </a:cubicBezTo>
                  <a:cubicBezTo>
                    <a:pt x="61" y="13"/>
                    <a:pt x="61" y="13"/>
                    <a:pt x="61" y="13"/>
                  </a:cubicBezTo>
                  <a:cubicBezTo>
                    <a:pt x="62" y="13"/>
                    <a:pt x="62" y="13"/>
                    <a:pt x="62" y="13"/>
                  </a:cubicBezTo>
                  <a:cubicBezTo>
                    <a:pt x="1" y="13"/>
                    <a:pt x="1" y="13"/>
                    <a:pt x="1" y="13"/>
                  </a:cubicBezTo>
                  <a:lnTo>
                    <a:pt x="0" y="13"/>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 name="North Dakota">
              <a:extLst>
                <a:ext uri="{FF2B5EF4-FFF2-40B4-BE49-F238E27FC236}">
                  <a16:creationId xmlns:a16="http://schemas.microsoft.com/office/drawing/2014/main" id="{A3E0685C-978A-BA6B-88CD-B15E247FE324}"/>
                </a:ext>
              </a:extLst>
            </p:cNvPr>
            <p:cNvSpPr>
              <a:spLocks/>
            </p:cNvSpPr>
            <p:nvPr/>
          </p:nvSpPr>
          <p:spPr bwMode="auto">
            <a:xfrm>
              <a:off x="5239963" y="885931"/>
              <a:ext cx="1135172" cy="608546"/>
            </a:xfrm>
            <a:custGeom>
              <a:avLst/>
              <a:gdLst>
                <a:gd name="T0" fmla="*/ 0 w 679"/>
                <a:gd name="T1" fmla="*/ 364 h 364"/>
                <a:gd name="T2" fmla="*/ 2 w 679"/>
                <a:gd name="T3" fmla="*/ 364 h 364"/>
                <a:gd name="T4" fmla="*/ 679 w 679"/>
                <a:gd name="T5" fmla="*/ 364 h 364"/>
                <a:gd name="T6" fmla="*/ 679 w 679"/>
                <a:gd name="T7" fmla="*/ 362 h 364"/>
                <a:gd name="T8" fmla="*/ 679 w 679"/>
                <a:gd name="T9" fmla="*/ 362 h 364"/>
                <a:gd name="T10" fmla="*/ 674 w 679"/>
                <a:gd name="T11" fmla="*/ 319 h 364"/>
                <a:gd name="T12" fmla="*/ 674 w 679"/>
                <a:gd name="T13" fmla="*/ 291 h 364"/>
                <a:gd name="T14" fmla="*/ 645 w 679"/>
                <a:gd name="T15" fmla="*/ 241 h 364"/>
                <a:gd name="T16" fmla="*/ 645 w 679"/>
                <a:gd name="T17" fmla="*/ 163 h 364"/>
                <a:gd name="T18" fmla="*/ 622 w 679"/>
                <a:gd name="T19" fmla="*/ 118 h 364"/>
                <a:gd name="T20" fmla="*/ 622 w 679"/>
                <a:gd name="T21" fmla="*/ 0 h 364"/>
                <a:gd name="T22" fmla="*/ 0 w 679"/>
                <a:gd name="T23" fmla="*/ 0 h 364"/>
                <a:gd name="T24" fmla="*/ 0 w 679"/>
                <a:gd name="T25" fmla="*/ 364 h 364"/>
                <a:gd name="T26" fmla="*/ 0 w 679"/>
                <a:gd name="T27" fmla="*/ 364 h 364"/>
                <a:gd name="T28" fmla="*/ 0 w 679"/>
                <a:gd name="T29" fmla="*/ 364 h 364"/>
                <a:gd name="T30" fmla="*/ 0 w 679"/>
                <a:gd name="T3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9" h="364">
                  <a:moveTo>
                    <a:pt x="0" y="364"/>
                  </a:moveTo>
                  <a:lnTo>
                    <a:pt x="2" y="364"/>
                  </a:lnTo>
                  <a:lnTo>
                    <a:pt x="679" y="364"/>
                  </a:lnTo>
                  <a:lnTo>
                    <a:pt x="679" y="362"/>
                  </a:lnTo>
                  <a:lnTo>
                    <a:pt x="679" y="362"/>
                  </a:lnTo>
                  <a:lnTo>
                    <a:pt x="674" y="319"/>
                  </a:lnTo>
                  <a:lnTo>
                    <a:pt x="674" y="291"/>
                  </a:lnTo>
                  <a:lnTo>
                    <a:pt x="645" y="241"/>
                  </a:lnTo>
                  <a:lnTo>
                    <a:pt x="645" y="163"/>
                  </a:lnTo>
                  <a:lnTo>
                    <a:pt x="622" y="118"/>
                  </a:lnTo>
                  <a:lnTo>
                    <a:pt x="622" y="0"/>
                  </a:lnTo>
                  <a:lnTo>
                    <a:pt x="0" y="0"/>
                  </a:lnTo>
                  <a:lnTo>
                    <a:pt x="0" y="364"/>
                  </a:lnTo>
                  <a:lnTo>
                    <a:pt x="0" y="364"/>
                  </a:lnTo>
                  <a:lnTo>
                    <a:pt x="0" y="364"/>
                  </a:lnTo>
                  <a:lnTo>
                    <a:pt x="0" y="36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1" name="North Carolina">
              <a:extLst>
                <a:ext uri="{FF2B5EF4-FFF2-40B4-BE49-F238E27FC236}">
                  <a16:creationId xmlns:a16="http://schemas.microsoft.com/office/drawing/2014/main" id="{C5E7EF63-3076-94FE-84B2-95F876F1913C}"/>
                </a:ext>
              </a:extLst>
            </p:cNvPr>
            <p:cNvSpPr>
              <a:spLocks/>
            </p:cNvSpPr>
            <p:nvPr/>
          </p:nvSpPr>
          <p:spPr bwMode="auto">
            <a:xfrm>
              <a:off x="8220833" y="3328472"/>
              <a:ext cx="1395977" cy="648669"/>
            </a:xfrm>
            <a:custGeom>
              <a:avLst/>
              <a:gdLst>
                <a:gd name="T0" fmla="*/ 103 w 353"/>
                <a:gd name="T1" fmla="*/ 22 h 164"/>
                <a:gd name="T2" fmla="*/ 95 w 353"/>
                <a:gd name="T3" fmla="*/ 25 h 164"/>
                <a:gd name="T4" fmla="*/ 94 w 353"/>
                <a:gd name="T5" fmla="*/ 29 h 164"/>
                <a:gd name="T6" fmla="*/ 66 w 353"/>
                <a:gd name="T7" fmla="*/ 34 h 164"/>
                <a:gd name="T8" fmla="*/ 50 w 353"/>
                <a:gd name="T9" fmla="*/ 45 h 164"/>
                <a:gd name="T10" fmla="*/ 42 w 353"/>
                <a:gd name="T11" fmla="*/ 48 h 164"/>
                <a:gd name="T12" fmla="*/ 31 w 353"/>
                <a:gd name="T13" fmla="*/ 52 h 164"/>
                <a:gd name="T14" fmla="*/ 19 w 353"/>
                <a:gd name="T15" fmla="*/ 58 h 164"/>
                <a:gd name="T16" fmla="*/ 7 w 353"/>
                <a:gd name="T17" fmla="*/ 65 h 164"/>
                <a:gd name="T18" fmla="*/ 3 w 353"/>
                <a:gd name="T19" fmla="*/ 70 h 164"/>
                <a:gd name="T20" fmla="*/ 0 w 353"/>
                <a:gd name="T21" fmla="*/ 73 h 164"/>
                <a:gd name="T22" fmla="*/ 0 w 353"/>
                <a:gd name="T23" fmla="*/ 78 h 164"/>
                <a:gd name="T24" fmla="*/ 73 w 353"/>
                <a:gd name="T25" fmla="*/ 74 h 164"/>
                <a:gd name="T26" fmla="*/ 70 w 353"/>
                <a:gd name="T27" fmla="*/ 74 h 164"/>
                <a:gd name="T28" fmla="*/ 75 w 353"/>
                <a:gd name="T29" fmla="*/ 71 h 164"/>
                <a:gd name="T30" fmla="*/ 140 w 353"/>
                <a:gd name="T31" fmla="*/ 71 h 164"/>
                <a:gd name="T32" fmla="*/ 154 w 353"/>
                <a:gd name="T33" fmla="*/ 78 h 164"/>
                <a:gd name="T34" fmla="*/ 193 w 353"/>
                <a:gd name="T35" fmla="*/ 88 h 164"/>
                <a:gd name="T36" fmla="*/ 206 w 353"/>
                <a:gd name="T37" fmla="*/ 95 h 164"/>
                <a:gd name="T38" fmla="*/ 211 w 353"/>
                <a:gd name="T39" fmla="*/ 107 h 164"/>
                <a:gd name="T40" fmla="*/ 226 w 353"/>
                <a:gd name="T41" fmla="*/ 122 h 164"/>
                <a:gd name="T42" fmla="*/ 230 w 353"/>
                <a:gd name="T43" fmla="*/ 125 h 164"/>
                <a:gd name="T44" fmla="*/ 239 w 353"/>
                <a:gd name="T45" fmla="*/ 144 h 164"/>
                <a:gd name="T46" fmla="*/ 255 w 353"/>
                <a:gd name="T47" fmla="*/ 163 h 164"/>
                <a:gd name="T48" fmla="*/ 255 w 353"/>
                <a:gd name="T49" fmla="*/ 163 h 164"/>
                <a:gd name="T50" fmla="*/ 255 w 353"/>
                <a:gd name="T51" fmla="*/ 164 h 164"/>
                <a:gd name="T52" fmla="*/ 271 w 353"/>
                <a:gd name="T53" fmla="*/ 152 h 164"/>
                <a:gd name="T54" fmla="*/ 298 w 353"/>
                <a:gd name="T55" fmla="*/ 133 h 164"/>
                <a:gd name="T56" fmla="*/ 325 w 353"/>
                <a:gd name="T57" fmla="*/ 125 h 164"/>
                <a:gd name="T58" fmla="*/ 325 w 353"/>
                <a:gd name="T59" fmla="*/ 113 h 164"/>
                <a:gd name="T60" fmla="*/ 317 w 353"/>
                <a:gd name="T61" fmla="*/ 117 h 164"/>
                <a:gd name="T62" fmla="*/ 314 w 353"/>
                <a:gd name="T63" fmla="*/ 113 h 164"/>
                <a:gd name="T64" fmla="*/ 317 w 353"/>
                <a:gd name="T65" fmla="*/ 105 h 164"/>
                <a:gd name="T66" fmla="*/ 321 w 353"/>
                <a:gd name="T67" fmla="*/ 98 h 164"/>
                <a:gd name="T68" fmla="*/ 317 w 353"/>
                <a:gd name="T69" fmla="*/ 94 h 164"/>
                <a:gd name="T70" fmla="*/ 325 w 353"/>
                <a:gd name="T71" fmla="*/ 94 h 164"/>
                <a:gd name="T72" fmla="*/ 337 w 353"/>
                <a:gd name="T73" fmla="*/ 98 h 164"/>
                <a:gd name="T74" fmla="*/ 349 w 353"/>
                <a:gd name="T75" fmla="*/ 86 h 164"/>
                <a:gd name="T76" fmla="*/ 349 w 353"/>
                <a:gd name="T77" fmla="*/ 74 h 164"/>
                <a:gd name="T78" fmla="*/ 341 w 353"/>
                <a:gd name="T79" fmla="*/ 82 h 164"/>
                <a:gd name="T80" fmla="*/ 337 w 353"/>
                <a:gd name="T81" fmla="*/ 70 h 164"/>
                <a:gd name="T82" fmla="*/ 314 w 353"/>
                <a:gd name="T83" fmla="*/ 55 h 164"/>
                <a:gd name="T84" fmla="*/ 317 w 353"/>
                <a:gd name="T85" fmla="*/ 62 h 164"/>
                <a:gd name="T86" fmla="*/ 325 w 353"/>
                <a:gd name="T87" fmla="*/ 66 h 164"/>
                <a:gd name="T88" fmla="*/ 337 w 353"/>
                <a:gd name="T89" fmla="*/ 59 h 164"/>
                <a:gd name="T90" fmla="*/ 346 w 353"/>
                <a:gd name="T91" fmla="*/ 59 h 164"/>
                <a:gd name="T92" fmla="*/ 347 w 353"/>
                <a:gd name="T93" fmla="*/ 57 h 164"/>
                <a:gd name="T94" fmla="*/ 341 w 353"/>
                <a:gd name="T95" fmla="*/ 47 h 164"/>
                <a:gd name="T96" fmla="*/ 345 w 353"/>
                <a:gd name="T97" fmla="*/ 23 h 164"/>
                <a:gd name="T98" fmla="*/ 329 w 353"/>
                <a:gd name="T99" fmla="*/ 23 h 164"/>
                <a:gd name="T100" fmla="*/ 321 w 353"/>
                <a:gd name="T101" fmla="*/ 16 h 164"/>
                <a:gd name="T102" fmla="*/ 333 w 353"/>
                <a:gd name="T103" fmla="*/ 16 h 164"/>
                <a:gd name="T104" fmla="*/ 325 w 353"/>
                <a:gd name="T105" fmla="*/ 12 h 164"/>
                <a:gd name="T106" fmla="*/ 325 w 353"/>
                <a:gd name="T107" fmla="*/ 4 h 164"/>
                <a:gd name="T108" fmla="*/ 106 w 353"/>
                <a:gd name="T10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164">
                  <a:moveTo>
                    <a:pt x="106" y="15"/>
                  </a:moveTo>
                  <a:cubicBezTo>
                    <a:pt x="103" y="22"/>
                    <a:pt x="103" y="22"/>
                    <a:pt x="103" y="22"/>
                  </a:cubicBezTo>
                  <a:cubicBezTo>
                    <a:pt x="97" y="22"/>
                    <a:pt x="97" y="22"/>
                    <a:pt x="97" y="22"/>
                  </a:cubicBezTo>
                  <a:cubicBezTo>
                    <a:pt x="95" y="25"/>
                    <a:pt x="95" y="25"/>
                    <a:pt x="95" y="25"/>
                  </a:cubicBezTo>
                  <a:cubicBezTo>
                    <a:pt x="94" y="26"/>
                    <a:pt x="94" y="27"/>
                    <a:pt x="94" y="28"/>
                  </a:cubicBezTo>
                  <a:cubicBezTo>
                    <a:pt x="94" y="29"/>
                    <a:pt x="94" y="29"/>
                    <a:pt x="94" y="29"/>
                  </a:cubicBezTo>
                  <a:cubicBezTo>
                    <a:pt x="84" y="34"/>
                    <a:pt x="84" y="34"/>
                    <a:pt x="84" y="34"/>
                  </a:cubicBezTo>
                  <a:cubicBezTo>
                    <a:pt x="66" y="34"/>
                    <a:pt x="66" y="34"/>
                    <a:pt x="66" y="34"/>
                  </a:cubicBezTo>
                  <a:cubicBezTo>
                    <a:pt x="50" y="41"/>
                    <a:pt x="50" y="41"/>
                    <a:pt x="50" y="41"/>
                  </a:cubicBezTo>
                  <a:cubicBezTo>
                    <a:pt x="50" y="45"/>
                    <a:pt x="50" y="45"/>
                    <a:pt x="50" y="45"/>
                  </a:cubicBezTo>
                  <a:cubicBezTo>
                    <a:pt x="46" y="45"/>
                    <a:pt x="46" y="45"/>
                    <a:pt x="46" y="45"/>
                  </a:cubicBezTo>
                  <a:cubicBezTo>
                    <a:pt x="42" y="48"/>
                    <a:pt x="42" y="48"/>
                    <a:pt x="42" y="48"/>
                  </a:cubicBezTo>
                  <a:cubicBezTo>
                    <a:pt x="39" y="48"/>
                    <a:pt x="39" y="48"/>
                    <a:pt x="39" y="48"/>
                  </a:cubicBezTo>
                  <a:cubicBezTo>
                    <a:pt x="31" y="52"/>
                    <a:pt x="31" y="52"/>
                    <a:pt x="31" y="52"/>
                  </a:cubicBezTo>
                  <a:cubicBezTo>
                    <a:pt x="27" y="58"/>
                    <a:pt x="27" y="58"/>
                    <a:pt x="27" y="58"/>
                  </a:cubicBezTo>
                  <a:cubicBezTo>
                    <a:pt x="19" y="58"/>
                    <a:pt x="19" y="58"/>
                    <a:pt x="19" y="58"/>
                  </a:cubicBezTo>
                  <a:cubicBezTo>
                    <a:pt x="15" y="61"/>
                    <a:pt x="15" y="61"/>
                    <a:pt x="15" y="61"/>
                  </a:cubicBezTo>
                  <a:cubicBezTo>
                    <a:pt x="15" y="61"/>
                    <a:pt x="9" y="65"/>
                    <a:pt x="7" y="65"/>
                  </a:cubicBezTo>
                  <a:cubicBezTo>
                    <a:pt x="5" y="65"/>
                    <a:pt x="4" y="68"/>
                    <a:pt x="3" y="70"/>
                  </a:cubicBezTo>
                  <a:cubicBezTo>
                    <a:pt x="3" y="70"/>
                    <a:pt x="3" y="70"/>
                    <a:pt x="3" y="70"/>
                  </a:cubicBezTo>
                  <a:cubicBezTo>
                    <a:pt x="1" y="72"/>
                    <a:pt x="1" y="72"/>
                    <a:pt x="1" y="72"/>
                  </a:cubicBezTo>
                  <a:cubicBezTo>
                    <a:pt x="0" y="73"/>
                    <a:pt x="0" y="73"/>
                    <a:pt x="0" y="73"/>
                  </a:cubicBezTo>
                  <a:cubicBezTo>
                    <a:pt x="0" y="73"/>
                    <a:pt x="0" y="74"/>
                    <a:pt x="0" y="75"/>
                  </a:cubicBezTo>
                  <a:cubicBezTo>
                    <a:pt x="0" y="78"/>
                    <a:pt x="0" y="78"/>
                    <a:pt x="0" y="78"/>
                  </a:cubicBezTo>
                  <a:cubicBezTo>
                    <a:pt x="55" y="78"/>
                    <a:pt x="55" y="78"/>
                    <a:pt x="55" y="78"/>
                  </a:cubicBezTo>
                  <a:cubicBezTo>
                    <a:pt x="73" y="74"/>
                    <a:pt x="73" y="74"/>
                    <a:pt x="73" y="74"/>
                  </a:cubicBezTo>
                  <a:cubicBezTo>
                    <a:pt x="73" y="74"/>
                    <a:pt x="73" y="74"/>
                    <a:pt x="73" y="74"/>
                  </a:cubicBezTo>
                  <a:cubicBezTo>
                    <a:pt x="70" y="74"/>
                    <a:pt x="70" y="74"/>
                    <a:pt x="70" y="74"/>
                  </a:cubicBezTo>
                  <a:cubicBezTo>
                    <a:pt x="73" y="72"/>
                    <a:pt x="73" y="72"/>
                    <a:pt x="73" y="72"/>
                  </a:cubicBezTo>
                  <a:cubicBezTo>
                    <a:pt x="73" y="72"/>
                    <a:pt x="74" y="71"/>
                    <a:pt x="75" y="71"/>
                  </a:cubicBezTo>
                  <a:cubicBezTo>
                    <a:pt x="76" y="71"/>
                    <a:pt x="78" y="70"/>
                    <a:pt x="95" y="70"/>
                  </a:cubicBezTo>
                  <a:cubicBezTo>
                    <a:pt x="109" y="70"/>
                    <a:pt x="127" y="70"/>
                    <a:pt x="140" y="71"/>
                  </a:cubicBezTo>
                  <a:cubicBezTo>
                    <a:pt x="140" y="71"/>
                    <a:pt x="140" y="71"/>
                    <a:pt x="140" y="71"/>
                  </a:cubicBezTo>
                  <a:cubicBezTo>
                    <a:pt x="154" y="78"/>
                    <a:pt x="154" y="78"/>
                    <a:pt x="154" y="78"/>
                  </a:cubicBezTo>
                  <a:cubicBezTo>
                    <a:pt x="165" y="88"/>
                    <a:pt x="165" y="88"/>
                    <a:pt x="165" y="88"/>
                  </a:cubicBezTo>
                  <a:cubicBezTo>
                    <a:pt x="193" y="88"/>
                    <a:pt x="193" y="88"/>
                    <a:pt x="193" y="88"/>
                  </a:cubicBezTo>
                  <a:cubicBezTo>
                    <a:pt x="198" y="90"/>
                    <a:pt x="198" y="90"/>
                    <a:pt x="198" y="90"/>
                  </a:cubicBezTo>
                  <a:cubicBezTo>
                    <a:pt x="206" y="95"/>
                    <a:pt x="206" y="95"/>
                    <a:pt x="206" y="95"/>
                  </a:cubicBezTo>
                  <a:cubicBezTo>
                    <a:pt x="211" y="99"/>
                    <a:pt x="211" y="99"/>
                    <a:pt x="211" y="99"/>
                  </a:cubicBezTo>
                  <a:cubicBezTo>
                    <a:pt x="211" y="107"/>
                    <a:pt x="211" y="107"/>
                    <a:pt x="211" y="107"/>
                  </a:cubicBezTo>
                  <a:cubicBezTo>
                    <a:pt x="220" y="114"/>
                    <a:pt x="220" y="114"/>
                    <a:pt x="220" y="114"/>
                  </a:cubicBezTo>
                  <a:cubicBezTo>
                    <a:pt x="226" y="122"/>
                    <a:pt x="226" y="122"/>
                    <a:pt x="226" y="122"/>
                  </a:cubicBezTo>
                  <a:cubicBezTo>
                    <a:pt x="230" y="125"/>
                    <a:pt x="230" y="125"/>
                    <a:pt x="230" y="125"/>
                  </a:cubicBezTo>
                  <a:cubicBezTo>
                    <a:pt x="230" y="125"/>
                    <a:pt x="230" y="125"/>
                    <a:pt x="230" y="125"/>
                  </a:cubicBezTo>
                  <a:cubicBezTo>
                    <a:pt x="239" y="132"/>
                    <a:pt x="239" y="132"/>
                    <a:pt x="239" y="132"/>
                  </a:cubicBezTo>
                  <a:cubicBezTo>
                    <a:pt x="239" y="144"/>
                    <a:pt x="239" y="144"/>
                    <a:pt x="239" y="144"/>
                  </a:cubicBezTo>
                  <a:cubicBezTo>
                    <a:pt x="254" y="163"/>
                    <a:pt x="254" y="163"/>
                    <a:pt x="254" y="163"/>
                  </a:cubicBezTo>
                  <a:cubicBezTo>
                    <a:pt x="255" y="163"/>
                    <a:pt x="255" y="163"/>
                    <a:pt x="255" y="163"/>
                  </a:cubicBezTo>
                  <a:cubicBezTo>
                    <a:pt x="255" y="163"/>
                    <a:pt x="255" y="163"/>
                    <a:pt x="255" y="163"/>
                  </a:cubicBezTo>
                  <a:cubicBezTo>
                    <a:pt x="255" y="163"/>
                    <a:pt x="255" y="163"/>
                    <a:pt x="255" y="163"/>
                  </a:cubicBezTo>
                  <a:cubicBezTo>
                    <a:pt x="255" y="163"/>
                    <a:pt x="255" y="163"/>
                    <a:pt x="255" y="163"/>
                  </a:cubicBezTo>
                  <a:cubicBezTo>
                    <a:pt x="255" y="164"/>
                    <a:pt x="255" y="164"/>
                    <a:pt x="255" y="164"/>
                  </a:cubicBezTo>
                  <a:cubicBezTo>
                    <a:pt x="271" y="160"/>
                    <a:pt x="271" y="160"/>
                    <a:pt x="271" y="160"/>
                  </a:cubicBezTo>
                  <a:cubicBezTo>
                    <a:pt x="271" y="152"/>
                    <a:pt x="271" y="152"/>
                    <a:pt x="271" y="152"/>
                  </a:cubicBezTo>
                  <a:cubicBezTo>
                    <a:pt x="278" y="141"/>
                    <a:pt x="278" y="141"/>
                    <a:pt x="278" y="141"/>
                  </a:cubicBezTo>
                  <a:cubicBezTo>
                    <a:pt x="298" y="133"/>
                    <a:pt x="298" y="133"/>
                    <a:pt x="298" y="133"/>
                  </a:cubicBezTo>
                  <a:cubicBezTo>
                    <a:pt x="314" y="133"/>
                    <a:pt x="314" y="133"/>
                    <a:pt x="314" y="133"/>
                  </a:cubicBezTo>
                  <a:cubicBezTo>
                    <a:pt x="325" y="125"/>
                    <a:pt x="325" y="125"/>
                    <a:pt x="325" y="125"/>
                  </a:cubicBezTo>
                  <a:cubicBezTo>
                    <a:pt x="325" y="121"/>
                    <a:pt x="325" y="121"/>
                    <a:pt x="325" y="121"/>
                  </a:cubicBezTo>
                  <a:cubicBezTo>
                    <a:pt x="325" y="113"/>
                    <a:pt x="325" y="113"/>
                    <a:pt x="325" y="113"/>
                  </a:cubicBezTo>
                  <a:cubicBezTo>
                    <a:pt x="317" y="113"/>
                    <a:pt x="317" y="113"/>
                    <a:pt x="317" y="113"/>
                  </a:cubicBezTo>
                  <a:cubicBezTo>
                    <a:pt x="317" y="117"/>
                    <a:pt x="317" y="117"/>
                    <a:pt x="317" y="117"/>
                  </a:cubicBezTo>
                  <a:cubicBezTo>
                    <a:pt x="314" y="117"/>
                    <a:pt x="314" y="117"/>
                    <a:pt x="314" y="117"/>
                  </a:cubicBezTo>
                  <a:cubicBezTo>
                    <a:pt x="314" y="113"/>
                    <a:pt x="314" y="113"/>
                    <a:pt x="314" y="113"/>
                  </a:cubicBezTo>
                  <a:cubicBezTo>
                    <a:pt x="317" y="109"/>
                    <a:pt x="317" y="109"/>
                    <a:pt x="317" y="109"/>
                  </a:cubicBezTo>
                  <a:cubicBezTo>
                    <a:pt x="317" y="105"/>
                    <a:pt x="317" y="105"/>
                    <a:pt x="317" y="105"/>
                  </a:cubicBezTo>
                  <a:cubicBezTo>
                    <a:pt x="321" y="102"/>
                    <a:pt x="321" y="102"/>
                    <a:pt x="321" y="102"/>
                  </a:cubicBezTo>
                  <a:cubicBezTo>
                    <a:pt x="321" y="98"/>
                    <a:pt x="321" y="98"/>
                    <a:pt x="321" y="98"/>
                  </a:cubicBezTo>
                  <a:cubicBezTo>
                    <a:pt x="310" y="94"/>
                    <a:pt x="310" y="94"/>
                    <a:pt x="310" y="94"/>
                  </a:cubicBezTo>
                  <a:cubicBezTo>
                    <a:pt x="317" y="94"/>
                    <a:pt x="317" y="94"/>
                    <a:pt x="317" y="94"/>
                  </a:cubicBezTo>
                  <a:cubicBezTo>
                    <a:pt x="321" y="90"/>
                    <a:pt x="321" y="90"/>
                    <a:pt x="321" y="90"/>
                  </a:cubicBezTo>
                  <a:cubicBezTo>
                    <a:pt x="325" y="94"/>
                    <a:pt x="325" y="94"/>
                    <a:pt x="325" y="94"/>
                  </a:cubicBezTo>
                  <a:cubicBezTo>
                    <a:pt x="329" y="98"/>
                    <a:pt x="329" y="98"/>
                    <a:pt x="329" y="98"/>
                  </a:cubicBezTo>
                  <a:cubicBezTo>
                    <a:pt x="337" y="98"/>
                    <a:pt x="337" y="98"/>
                    <a:pt x="337" y="98"/>
                  </a:cubicBezTo>
                  <a:cubicBezTo>
                    <a:pt x="341" y="98"/>
                    <a:pt x="341" y="98"/>
                    <a:pt x="341" y="98"/>
                  </a:cubicBezTo>
                  <a:cubicBezTo>
                    <a:pt x="349" y="86"/>
                    <a:pt x="349" y="86"/>
                    <a:pt x="349" y="86"/>
                  </a:cubicBezTo>
                  <a:cubicBezTo>
                    <a:pt x="353" y="86"/>
                    <a:pt x="353" y="86"/>
                    <a:pt x="353" y="86"/>
                  </a:cubicBezTo>
                  <a:cubicBezTo>
                    <a:pt x="349" y="74"/>
                    <a:pt x="349" y="74"/>
                    <a:pt x="349" y="74"/>
                  </a:cubicBezTo>
                  <a:cubicBezTo>
                    <a:pt x="349" y="70"/>
                    <a:pt x="349" y="70"/>
                    <a:pt x="349" y="70"/>
                  </a:cubicBezTo>
                  <a:cubicBezTo>
                    <a:pt x="341" y="82"/>
                    <a:pt x="341" y="82"/>
                    <a:pt x="341" y="82"/>
                  </a:cubicBezTo>
                  <a:cubicBezTo>
                    <a:pt x="337" y="78"/>
                    <a:pt x="337" y="78"/>
                    <a:pt x="337" y="78"/>
                  </a:cubicBezTo>
                  <a:cubicBezTo>
                    <a:pt x="337" y="70"/>
                    <a:pt x="337" y="70"/>
                    <a:pt x="337" y="70"/>
                  </a:cubicBezTo>
                  <a:cubicBezTo>
                    <a:pt x="317" y="70"/>
                    <a:pt x="317" y="70"/>
                    <a:pt x="317" y="70"/>
                  </a:cubicBezTo>
                  <a:cubicBezTo>
                    <a:pt x="314" y="55"/>
                    <a:pt x="314" y="55"/>
                    <a:pt x="314" y="55"/>
                  </a:cubicBezTo>
                  <a:cubicBezTo>
                    <a:pt x="317" y="55"/>
                    <a:pt x="317" y="55"/>
                    <a:pt x="317" y="55"/>
                  </a:cubicBezTo>
                  <a:cubicBezTo>
                    <a:pt x="317" y="62"/>
                    <a:pt x="317" y="62"/>
                    <a:pt x="317" y="62"/>
                  </a:cubicBezTo>
                  <a:cubicBezTo>
                    <a:pt x="321" y="66"/>
                    <a:pt x="321" y="66"/>
                    <a:pt x="321" y="66"/>
                  </a:cubicBezTo>
                  <a:cubicBezTo>
                    <a:pt x="325" y="66"/>
                    <a:pt x="325" y="66"/>
                    <a:pt x="325" y="66"/>
                  </a:cubicBezTo>
                  <a:cubicBezTo>
                    <a:pt x="333" y="59"/>
                    <a:pt x="333" y="59"/>
                    <a:pt x="333" y="59"/>
                  </a:cubicBezTo>
                  <a:cubicBezTo>
                    <a:pt x="337" y="59"/>
                    <a:pt x="337" y="59"/>
                    <a:pt x="337" y="59"/>
                  </a:cubicBezTo>
                  <a:cubicBezTo>
                    <a:pt x="341" y="59"/>
                    <a:pt x="341" y="59"/>
                    <a:pt x="341" y="59"/>
                  </a:cubicBezTo>
                  <a:cubicBezTo>
                    <a:pt x="346" y="59"/>
                    <a:pt x="346" y="59"/>
                    <a:pt x="346" y="59"/>
                  </a:cubicBezTo>
                  <a:cubicBezTo>
                    <a:pt x="346" y="57"/>
                    <a:pt x="346" y="57"/>
                    <a:pt x="346" y="57"/>
                  </a:cubicBezTo>
                  <a:cubicBezTo>
                    <a:pt x="347" y="57"/>
                    <a:pt x="347" y="57"/>
                    <a:pt x="347" y="57"/>
                  </a:cubicBezTo>
                  <a:cubicBezTo>
                    <a:pt x="345" y="47"/>
                    <a:pt x="345" y="47"/>
                    <a:pt x="345" y="47"/>
                  </a:cubicBezTo>
                  <a:cubicBezTo>
                    <a:pt x="341" y="47"/>
                    <a:pt x="341" y="47"/>
                    <a:pt x="341" y="47"/>
                  </a:cubicBezTo>
                  <a:cubicBezTo>
                    <a:pt x="345" y="35"/>
                    <a:pt x="345" y="35"/>
                    <a:pt x="345" y="35"/>
                  </a:cubicBezTo>
                  <a:cubicBezTo>
                    <a:pt x="345" y="23"/>
                    <a:pt x="345" y="23"/>
                    <a:pt x="345" y="23"/>
                  </a:cubicBezTo>
                  <a:cubicBezTo>
                    <a:pt x="333" y="23"/>
                    <a:pt x="333" y="23"/>
                    <a:pt x="333" y="23"/>
                  </a:cubicBezTo>
                  <a:cubicBezTo>
                    <a:pt x="329" y="23"/>
                    <a:pt x="329" y="23"/>
                    <a:pt x="329" y="23"/>
                  </a:cubicBezTo>
                  <a:cubicBezTo>
                    <a:pt x="321" y="20"/>
                    <a:pt x="321" y="20"/>
                    <a:pt x="321" y="20"/>
                  </a:cubicBezTo>
                  <a:cubicBezTo>
                    <a:pt x="321" y="16"/>
                    <a:pt x="321" y="16"/>
                    <a:pt x="321" y="16"/>
                  </a:cubicBezTo>
                  <a:cubicBezTo>
                    <a:pt x="329" y="16"/>
                    <a:pt x="329" y="16"/>
                    <a:pt x="329" y="16"/>
                  </a:cubicBezTo>
                  <a:cubicBezTo>
                    <a:pt x="333" y="16"/>
                    <a:pt x="333" y="16"/>
                    <a:pt x="333" y="16"/>
                  </a:cubicBezTo>
                  <a:cubicBezTo>
                    <a:pt x="329" y="12"/>
                    <a:pt x="329" y="12"/>
                    <a:pt x="329" y="12"/>
                  </a:cubicBezTo>
                  <a:cubicBezTo>
                    <a:pt x="325" y="12"/>
                    <a:pt x="325" y="12"/>
                    <a:pt x="325" y="12"/>
                  </a:cubicBezTo>
                  <a:cubicBezTo>
                    <a:pt x="325" y="8"/>
                    <a:pt x="325" y="8"/>
                    <a:pt x="325" y="8"/>
                  </a:cubicBezTo>
                  <a:cubicBezTo>
                    <a:pt x="325" y="4"/>
                    <a:pt x="325" y="4"/>
                    <a:pt x="325" y="4"/>
                  </a:cubicBezTo>
                  <a:cubicBezTo>
                    <a:pt x="329" y="0"/>
                    <a:pt x="329" y="0"/>
                    <a:pt x="329" y="0"/>
                  </a:cubicBezTo>
                  <a:cubicBezTo>
                    <a:pt x="106" y="0"/>
                    <a:pt x="106" y="0"/>
                    <a:pt x="106" y="0"/>
                  </a:cubicBezTo>
                  <a:lnTo>
                    <a:pt x="106" y="15"/>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2" name="New York">
              <a:extLst>
                <a:ext uri="{FF2B5EF4-FFF2-40B4-BE49-F238E27FC236}">
                  <a16:creationId xmlns:a16="http://schemas.microsoft.com/office/drawing/2014/main" id="{1BC0F820-B1B9-F281-FDB9-94D9EE08D239}"/>
                </a:ext>
              </a:extLst>
            </p:cNvPr>
            <p:cNvSpPr>
              <a:spLocks noEditPoints="1"/>
            </p:cNvSpPr>
            <p:nvPr/>
          </p:nvSpPr>
          <p:spPr bwMode="auto">
            <a:xfrm>
              <a:off x="8948079" y="1783703"/>
              <a:ext cx="1203717" cy="896100"/>
            </a:xfrm>
            <a:custGeom>
              <a:avLst/>
              <a:gdLst>
                <a:gd name="T0" fmla="*/ 269 w 304"/>
                <a:gd name="T1" fmla="*/ 190 h 226"/>
                <a:gd name="T2" fmla="*/ 269 w 304"/>
                <a:gd name="T3" fmla="*/ 135 h 226"/>
                <a:gd name="T4" fmla="*/ 273 w 304"/>
                <a:gd name="T5" fmla="*/ 106 h 226"/>
                <a:gd name="T6" fmla="*/ 269 w 304"/>
                <a:gd name="T7" fmla="*/ 0 h 226"/>
                <a:gd name="T8" fmla="*/ 169 w 304"/>
                <a:gd name="T9" fmla="*/ 19 h 226"/>
                <a:gd name="T10" fmla="*/ 141 w 304"/>
                <a:gd name="T11" fmla="*/ 47 h 226"/>
                <a:gd name="T12" fmla="*/ 149 w 304"/>
                <a:gd name="T13" fmla="*/ 54 h 226"/>
                <a:gd name="T14" fmla="*/ 145 w 304"/>
                <a:gd name="T15" fmla="*/ 62 h 226"/>
                <a:gd name="T16" fmla="*/ 149 w 304"/>
                <a:gd name="T17" fmla="*/ 78 h 226"/>
                <a:gd name="T18" fmla="*/ 118 w 304"/>
                <a:gd name="T19" fmla="*/ 90 h 226"/>
                <a:gd name="T20" fmla="*/ 94 w 304"/>
                <a:gd name="T21" fmla="*/ 93 h 226"/>
                <a:gd name="T22" fmla="*/ 36 w 304"/>
                <a:gd name="T23" fmla="*/ 93 h 226"/>
                <a:gd name="T24" fmla="*/ 32 w 304"/>
                <a:gd name="T25" fmla="*/ 129 h 226"/>
                <a:gd name="T26" fmla="*/ 0 w 304"/>
                <a:gd name="T27" fmla="*/ 148 h 226"/>
                <a:gd name="T28" fmla="*/ 179 w 304"/>
                <a:gd name="T29" fmla="*/ 150 h 226"/>
                <a:gd name="T30" fmla="*/ 179 w 304"/>
                <a:gd name="T31" fmla="*/ 172 h 226"/>
                <a:gd name="T32" fmla="*/ 188 w 304"/>
                <a:gd name="T33" fmla="*/ 178 h 226"/>
                <a:gd name="T34" fmla="*/ 198 w 304"/>
                <a:gd name="T35" fmla="*/ 193 h 226"/>
                <a:gd name="T36" fmla="*/ 214 w 304"/>
                <a:gd name="T37" fmla="*/ 202 h 226"/>
                <a:gd name="T38" fmla="*/ 236 w 304"/>
                <a:gd name="T39" fmla="*/ 219 h 226"/>
                <a:gd name="T40" fmla="*/ 247 w 304"/>
                <a:gd name="T41" fmla="*/ 210 h 226"/>
                <a:gd name="T42" fmla="*/ 239 w 304"/>
                <a:gd name="T43" fmla="*/ 220 h 226"/>
                <a:gd name="T44" fmla="*/ 238 w 304"/>
                <a:gd name="T45" fmla="*/ 222 h 226"/>
                <a:gd name="T46" fmla="*/ 236 w 304"/>
                <a:gd name="T47" fmla="*/ 225 h 226"/>
                <a:gd name="T48" fmla="*/ 239 w 304"/>
                <a:gd name="T49" fmla="*/ 225 h 226"/>
                <a:gd name="T50" fmla="*/ 241 w 304"/>
                <a:gd name="T51" fmla="*/ 223 h 226"/>
                <a:gd name="T52" fmla="*/ 242 w 304"/>
                <a:gd name="T53" fmla="*/ 221 h 226"/>
                <a:gd name="T54" fmla="*/ 299 w 304"/>
                <a:gd name="T55" fmla="*/ 200 h 226"/>
                <a:gd name="T56" fmla="*/ 298 w 304"/>
                <a:gd name="T57" fmla="*/ 200 h 226"/>
                <a:gd name="T58" fmla="*/ 299 w 304"/>
                <a:gd name="T59" fmla="*/ 200 h 226"/>
                <a:gd name="T60" fmla="*/ 302 w 304"/>
                <a:gd name="T61" fmla="*/ 207 h 226"/>
                <a:gd name="T62" fmla="*/ 298 w 304"/>
                <a:gd name="T63" fmla="*/ 209 h 226"/>
                <a:gd name="T64" fmla="*/ 296 w 304"/>
                <a:gd name="T65" fmla="*/ 208 h 226"/>
                <a:gd name="T66" fmla="*/ 294 w 304"/>
                <a:gd name="T67" fmla="*/ 209 h 226"/>
                <a:gd name="T68" fmla="*/ 291 w 304"/>
                <a:gd name="T69" fmla="*/ 209 h 226"/>
                <a:gd name="T70" fmla="*/ 288 w 304"/>
                <a:gd name="T71" fmla="*/ 212 h 226"/>
                <a:gd name="T72" fmla="*/ 284 w 304"/>
                <a:gd name="T73" fmla="*/ 212 h 226"/>
                <a:gd name="T74" fmla="*/ 290 w 304"/>
                <a:gd name="T75" fmla="*/ 207 h 226"/>
                <a:gd name="T76" fmla="*/ 290 w 304"/>
                <a:gd name="T77" fmla="*/ 205 h 226"/>
                <a:gd name="T78" fmla="*/ 284 w 304"/>
                <a:gd name="T79" fmla="*/ 209 h 226"/>
                <a:gd name="T80" fmla="*/ 270 w 304"/>
                <a:gd name="T81" fmla="*/ 211 h 226"/>
                <a:gd name="T82" fmla="*/ 264 w 304"/>
                <a:gd name="T83" fmla="*/ 212 h 226"/>
                <a:gd name="T84" fmla="*/ 259 w 304"/>
                <a:gd name="T85" fmla="*/ 212 h 226"/>
                <a:gd name="T86" fmla="*/ 251 w 304"/>
                <a:gd name="T87" fmla="*/ 216 h 226"/>
                <a:gd name="T88" fmla="*/ 247 w 304"/>
                <a:gd name="T89" fmla="*/ 216 h 226"/>
                <a:gd name="T90" fmla="*/ 244 w 304"/>
                <a:gd name="T91" fmla="*/ 219 h 226"/>
                <a:gd name="T92" fmla="*/ 244 w 304"/>
                <a:gd name="T93" fmla="*/ 221 h 226"/>
                <a:gd name="T94" fmla="*/ 245 w 304"/>
                <a:gd name="T95" fmla="*/ 223 h 226"/>
                <a:gd name="T96" fmla="*/ 250 w 304"/>
                <a:gd name="T97" fmla="*/ 223 h 226"/>
                <a:gd name="T98" fmla="*/ 253 w 304"/>
                <a:gd name="T99" fmla="*/ 222 h 226"/>
                <a:gd name="T100" fmla="*/ 256 w 304"/>
                <a:gd name="T101" fmla="*/ 222 h 226"/>
                <a:gd name="T102" fmla="*/ 259 w 304"/>
                <a:gd name="T103" fmla="*/ 222 h 226"/>
                <a:gd name="T104" fmla="*/ 264 w 304"/>
                <a:gd name="T105" fmla="*/ 221 h 226"/>
                <a:gd name="T106" fmla="*/ 269 w 304"/>
                <a:gd name="T107" fmla="*/ 221 h 226"/>
                <a:gd name="T108" fmla="*/ 273 w 304"/>
                <a:gd name="T109" fmla="*/ 219 h 226"/>
                <a:gd name="T110" fmla="*/ 279 w 304"/>
                <a:gd name="T111" fmla="*/ 218 h 226"/>
                <a:gd name="T112" fmla="*/ 285 w 304"/>
                <a:gd name="T113" fmla="*/ 216 h 226"/>
                <a:gd name="T114" fmla="*/ 288 w 304"/>
                <a:gd name="T115" fmla="*/ 216 h 226"/>
                <a:gd name="T116" fmla="*/ 292 w 304"/>
                <a:gd name="T117" fmla="*/ 214 h 226"/>
                <a:gd name="T118" fmla="*/ 295 w 304"/>
                <a:gd name="T119" fmla="*/ 212 h 226"/>
                <a:gd name="T120" fmla="*/ 298 w 304"/>
                <a:gd name="T121" fmla="*/ 210 h 226"/>
                <a:gd name="T122" fmla="*/ 302 w 304"/>
                <a:gd name="T123" fmla="*/ 209 h 226"/>
                <a:gd name="T124" fmla="*/ 304 w 304"/>
                <a:gd name="T125" fmla="*/ 20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4" h="226">
                  <a:moveTo>
                    <a:pt x="262" y="205"/>
                  </a:moveTo>
                  <a:cubicBezTo>
                    <a:pt x="262" y="195"/>
                    <a:pt x="262" y="195"/>
                    <a:pt x="262" y="195"/>
                  </a:cubicBezTo>
                  <a:cubicBezTo>
                    <a:pt x="269" y="190"/>
                    <a:pt x="269" y="190"/>
                    <a:pt x="269" y="190"/>
                  </a:cubicBezTo>
                  <a:cubicBezTo>
                    <a:pt x="269" y="189"/>
                    <a:pt x="269" y="189"/>
                    <a:pt x="269" y="189"/>
                  </a:cubicBezTo>
                  <a:cubicBezTo>
                    <a:pt x="269" y="186"/>
                    <a:pt x="270" y="172"/>
                    <a:pt x="270" y="158"/>
                  </a:cubicBezTo>
                  <a:cubicBezTo>
                    <a:pt x="270" y="147"/>
                    <a:pt x="270" y="137"/>
                    <a:pt x="269" y="135"/>
                  </a:cubicBezTo>
                  <a:cubicBezTo>
                    <a:pt x="268" y="135"/>
                    <a:pt x="267" y="132"/>
                    <a:pt x="272" y="112"/>
                  </a:cubicBezTo>
                  <a:cubicBezTo>
                    <a:pt x="273" y="108"/>
                    <a:pt x="273" y="108"/>
                    <a:pt x="273" y="108"/>
                  </a:cubicBezTo>
                  <a:cubicBezTo>
                    <a:pt x="273" y="106"/>
                    <a:pt x="273" y="106"/>
                    <a:pt x="273" y="106"/>
                  </a:cubicBezTo>
                  <a:cubicBezTo>
                    <a:pt x="274" y="102"/>
                    <a:pt x="275" y="98"/>
                    <a:pt x="276" y="96"/>
                  </a:cubicBezTo>
                  <a:cubicBezTo>
                    <a:pt x="269" y="85"/>
                    <a:pt x="269" y="85"/>
                    <a:pt x="269" y="85"/>
                  </a:cubicBezTo>
                  <a:cubicBezTo>
                    <a:pt x="269" y="0"/>
                    <a:pt x="269" y="0"/>
                    <a:pt x="269" y="0"/>
                  </a:cubicBezTo>
                  <a:cubicBezTo>
                    <a:pt x="268" y="0"/>
                    <a:pt x="268" y="0"/>
                    <a:pt x="268" y="0"/>
                  </a:cubicBezTo>
                  <a:cubicBezTo>
                    <a:pt x="192" y="0"/>
                    <a:pt x="192" y="0"/>
                    <a:pt x="192" y="0"/>
                  </a:cubicBezTo>
                  <a:cubicBezTo>
                    <a:pt x="169" y="19"/>
                    <a:pt x="169" y="19"/>
                    <a:pt x="169" y="19"/>
                  </a:cubicBezTo>
                  <a:cubicBezTo>
                    <a:pt x="161" y="35"/>
                    <a:pt x="161" y="35"/>
                    <a:pt x="161" y="35"/>
                  </a:cubicBezTo>
                  <a:cubicBezTo>
                    <a:pt x="145" y="43"/>
                    <a:pt x="145" y="43"/>
                    <a:pt x="145" y="43"/>
                  </a:cubicBezTo>
                  <a:cubicBezTo>
                    <a:pt x="141" y="47"/>
                    <a:pt x="141" y="47"/>
                    <a:pt x="141" y="47"/>
                  </a:cubicBezTo>
                  <a:cubicBezTo>
                    <a:pt x="145" y="50"/>
                    <a:pt x="145" y="50"/>
                    <a:pt x="145" y="50"/>
                  </a:cubicBezTo>
                  <a:cubicBezTo>
                    <a:pt x="149" y="50"/>
                    <a:pt x="149" y="50"/>
                    <a:pt x="149" y="50"/>
                  </a:cubicBezTo>
                  <a:cubicBezTo>
                    <a:pt x="149" y="54"/>
                    <a:pt x="149" y="54"/>
                    <a:pt x="149" y="54"/>
                  </a:cubicBezTo>
                  <a:cubicBezTo>
                    <a:pt x="149" y="58"/>
                    <a:pt x="149" y="58"/>
                    <a:pt x="149" y="58"/>
                  </a:cubicBezTo>
                  <a:cubicBezTo>
                    <a:pt x="145" y="58"/>
                    <a:pt x="145" y="58"/>
                    <a:pt x="145" y="58"/>
                  </a:cubicBezTo>
                  <a:cubicBezTo>
                    <a:pt x="145" y="62"/>
                    <a:pt x="145" y="62"/>
                    <a:pt x="145" y="62"/>
                  </a:cubicBezTo>
                  <a:cubicBezTo>
                    <a:pt x="149" y="66"/>
                    <a:pt x="149" y="66"/>
                    <a:pt x="149" y="66"/>
                  </a:cubicBezTo>
                  <a:cubicBezTo>
                    <a:pt x="149" y="70"/>
                    <a:pt x="149" y="70"/>
                    <a:pt x="149" y="70"/>
                  </a:cubicBezTo>
                  <a:cubicBezTo>
                    <a:pt x="149" y="78"/>
                    <a:pt x="149" y="78"/>
                    <a:pt x="149" y="78"/>
                  </a:cubicBezTo>
                  <a:cubicBezTo>
                    <a:pt x="137" y="78"/>
                    <a:pt x="137" y="78"/>
                    <a:pt x="137" y="78"/>
                  </a:cubicBezTo>
                  <a:cubicBezTo>
                    <a:pt x="126" y="90"/>
                    <a:pt x="126" y="90"/>
                    <a:pt x="126" y="90"/>
                  </a:cubicBezTo>
                  <a:cubicBezTo>
                    <a:pt x="118" y="90"/>
                    <a:pt x="118" y="90"/>
                    <a:pt x="118" y="90"/>
                  </a:cubicBezTo>
                  <a:cubicBezTo>
                    <a:pt x="106" y="90"/>
                    <a:pt x="106" y="90"/>
                    <a:pt x="106" y="90"/>
                  </a:cubicBezTo>
                  <a:cubicBezTo>
                    <a:pt x="102" y="90"/>
                    <a:pt x="102" y="90"/>
                    <a:pt x="102" y="90"/>
                  </a:cubicBezTo>
                  <a:cubicBezTo>
                    <a:pt x="94" y="93"/>
                    <a:pt x="94" y="93"/>
                    <a:pt x="94" y="93"/>
                  </a:cubicBezTo>
                  <a:cubicBezTo>
                    <a:pt x="91" y="90"/>
                    <a:pt x="91" y="90"/>
                    <a:pt x="91" y="90"/>
                  </a:cubicBezTo>
                  <a:cubicBezTo>
                    <a:pt x="75" y="86"/>
                    <a:pt x="75" y="86"/>
                    <a:pt x="75" y="86"/>
                  </a:cubicBezTo>
                  <a:cubicBezTo>
                    <a:pt x="36" y="93"/>
                    <a:pt x="36" y="93"/>
                    <a:pt x="36" y="93"/>
                  </a:cubicBezTo>
                  <a:cubicBezTo>
                    <a:pt x="44" y="117"/>
                    <a:pt x="44" y="117"/>
                    <a:pt x="44" y="117"/>
                  </a:cubicBezTo>
                  <a:cubicBezTo>
                    <a:pt x="36" y="121"/>
                    <a:pt x="36" y="121"/>
                    <a:pt x="36" y="121"/>
                  </a:cubicBezTo>
                  <a:cubicBezTo>
                    <a:pt x="32" y="129"/>
                    <a:pt x="32" y="129"/>
                    <a:pt x="32" y="129"/>
                  </a:cubicBezTo>
                  <a:cubicBezTo>
                    <a:pt x="28" y="129"/>
                    <a:pt x="28" y="129"/>
                    <a:pt x="28" y="129"/>
                  </a:cubicBezTo>
                  <a:cubicBezTo>
                    <a:pt x="1" y="148"/>
                    <a:pt x="1" y="148"/>
                    <a:pt x="1" y="148"/>
                  </a:cubicBezTo>
                  <a:cubicBezTo>
                    <a:pt x="0" y="148"/>
                    <a:pt x="0" y="148"/>
                    <a:pt x="0" y="148"/>
                  </a:cubicBezTo>
                  <a:cubicBezTo>
                    <a:pt x="0" y="149"/>
                    <a:pt x="0" y="149"/>
                    <a:pt x="0" y="149"/>
                  </a:cubicBezTo>
                  <a:cubicBezTo>
                    <a:pt x="1" y="150"/>
                    <a:pt x="1" y="150"/>
                    <a:pt x="1" y="150"/>
                  </a:cubicBezTo>
                  <a:cubicBezTo>
                    <a:pt x="179" y="150"/>
                    <a:pt x="179" y="150"/>
                    <a:pt x="179" y="150"/>
                  </a:cubicBezTo>
                  <a:cubicBezTo>
                    <a:pt x="179" y="151"/>
                    <a:pt x="180" y="156"/>
                    <a:pt x="180" y="164"/>
                  </a:cubicBezTo>
                  <a:cubicBezTo>
                    <a:pt x="180" y="166"/>
                    <a:pt x="180" y="168"/>
                    <a:pt x="181" y="169"/>
                  </a:cubicBezTo>
                  <a:cubicBezTo>
                    <a:pt x="179" y="172"/>
                    <a:pt x="179" y="172"/>
                    <a:pt x="179" y="172"/>
                  </a:cubicBezTo>
                  <a:cubicBezTo>
                    <a:pt x="183" y="169"/>
                    <a:pt x="183" y="169"/>
                    <a:pt x="183" y="169"/>
                  </a:cubicBezTo>
                  <a:cubicBezTo>
                    <a:pt x="183" y="169"/>
                    <a:pt x="183" y="169"/>
                    <a:pt x="184" y="169"/>
                  </a:cubicBezTo>
                  <a:cubicBezTo>
                    <a:pt x="188" y="178"/>
                    <a:pt x="188" y="178"/>
                    <a:pt x="188" y="178"/>
                  </a:cubicBezTo>
                  <a:cubicBezTo>
                    <a:pt x="190" y="185"/>
                    <a:pt x="190" y="185"/>
                    <a:pt x="190" y="185"/>
                  </a:cubicBezTo>
                  <a:cubicBezTo>
                    <a:pt x="197" y="193"/>
                    <a:pt x="197" y="193"/>
                    <a:pt x="197" y="193"/>
                  </a:cubicBezTo>
                  <a:cubicBezTo>
                    <a:pt x="198" y="193"/>
                    <a:pt x="198" y="193"/>
                    <a:pt x="198" y="193"/>
                  </a:cubicBezTo>
                  <a:cubicBezTo>
                    <a:pt x="199" y="193"/>
                    <a:pt x="199" y="193"/>
                    <a:pt x="199" y="193"/>
                  </a:cubicBezTo>
                  <a:cubicBezTo>
                    <a:pt x="203" y="193"/>
                    <a:pt x="203" y="193"/>
                    <a:pt x="203" y="193"/>
                  </a:cubicBezTo>
                  <a:cubicBezTo>
                    <a:pt x="214" y="202"/>
                    <a:pt x="214" y="202"/>
                    <a:pt x="214" y="202"/>
                  </a:cubicBezTo>
                  <a:cubicBezTo>
                    <a:pt x="224" y="211"/>
                    <a:pt x="224" y="211"/>
                    <a:pt x="224" y="211"/>
                  </a:cubicBezTo>
                  <a:cubicBezTo>
                    <a:pt x="230" y="211"/>
                    <a:pt x="230" y="211"/>
                    <a:pt x="230" y="211"/>
                  </a:cubicBezTo>
                  <a:cubicBezTo>
                    <a:pt x="236" y="219"/>
                    <a:pt x="236" y="219"/>
                    <a:pt x="236" y="219"/>
                  </a:cubicBezTo>
                  <a:cubicBezTo>
                    <a:pt x="239" y="214"/>
                    <a:pt x="239" y="214"/>
                    <a:pt x="239" y="214"/>
                  </a:cubicBezTo>
                  <a:cubicBezTo>
                    <a:pt x="243" y="214"/>
                    <a:pt x="243" y="214"/>
                    <a:pt x="243" y="214"/>
                  </a:cubicBezTo>
                  <a:cubicBezTo>
                    <a:pt x="247" y="210"/>
                    <a:pt x="247" y="210"/>
                    <a:pt x="247" y="210"/>
                  </a:cubicBezTo>
                  <a:cubicBezTo>
                    <a:pt x="262" y="205"/>
                    <a:pt x="262" y="205"/>
                    <a:pt x="262" y="205"/>
                  </a:cubicBezTo>
                  <a:close/>
                  <a:moveTo>
                    <a:pt x="240" y="221"/>
                  </a:moveTo>
                  <a:cubicBezTo>
                    <a:pt x="239" y="220"/>
                    <a:pt x="239" y="220"/>
                    <a:pt x="239" y="220"/>
                  </a:cubicBezTo>
                  <a:cubicBezTo>
                    <a:pt x="238" y="221"/>
                    <a:pt x="238" y="221"/>
                    <a:pt x="238" y="221"/>
                  </a:cubicBezTo>
                  <a:cubicBezTo>
                    <a:pt x="238" y="222"/>
                    <a:pt x="238" y="222"/>
                    <a:pt x="238" y="222"/>
                  </a:cubicBezTo>
                  <a:cubicBezTo>
                    <a:pt x="238" y="222"/>
                    <a:pt x="238" y="222"/>
                    <a:pt x="238" y="222"/>
                  </a:cubicBezTo>
                  <a:cubicBezTo>
                    <a:pt x="237" y="223"/>
                    <a:pt x="237" y="223"/>
                    <a:pt x="237" y="223"/>
                  </a:cubicBezTo>
                  <a:cubicBezTo>
                    <a:pt x="237" y="224"/>
                    <a:pt x="237" y="224"/>
                    <a:pt x="237" y="224"/>
                  </a:cubicBezTo>
                  <a:cubicBezTo>
                    <a:pt x="236" y="225"/>
                    <a:pt x="236" y="225"/>
                    <a:pt x="236" y="225"/>
                  </a:cubicBezTo>
                  <a:cubicBezTo>
                    <a:pt x="236" y="226"/>
                    <a:pt x="236" y="226"/>
                    <a:pt x="236" y="226"/>
                  </a:cubicBezTo>
                  <a:cubicBezTo>
                    <a:pt x="238" y="226"/>
                    <a:pt x="238" y="226"/>
                    <a:pt x="238" y="226"/>
                  </a:cubicBezTo>
                  <a:cubicBezTo>
                    <a:pt x="239" y="225"/>
                    <a:pt x="239" y="225"/>
                    <a:pt x="239" y="225"/>
                  </a:cubicBezTo>
                  <a:cubicBezTo>
                    <a:pt x="240" y="225"/>
                    <a:pt x="240" y="225"/>
                    <a:pt x="240" y="225"/>
                  </a:cubicBezTo>
                  <a:cubicBezTo>
                    <a:pt x="240" y="224"/>
                    <a:pt x="240" y="224"/>
                    <a:pt x="240" y="224"/>
                  </a:cubicBezTo>
                  <a:cubicBezTo>
                    <a:pt x="241" y="223"/>
                    <a:pt x="241" y="223"/>
                    <a:pt x="241" y="223"/>
                  </a:cubicBezTo>
                  <a:cubicBezTo>
                    <a:pt x="242" y="223"/>
                    <a:pt x="242" y="223"/>
                    <a:pt x="242" y="223"/>
                  </a:cubicBezTo>
                  <a:cubicBezTo>
                    <a:pt x="242" y="222"/>
                    <a:pt x="242" y="222"/>
                    <a:pt x="242" y="222"/>
                  </a:cubicBezTo>
                  <a:cubicBezTo>
                    <a:pt x="242" y="221"/>
                    <a:pt x="242" y="221"/>
                    <a:pt x="242" y="221"/>
                  </a:cubicBezTo>
                  <a:cubicBezTo>
                    <a:pt x="241" y="221"/>
                    <a:pt x="241" y="221"/>
                    <a:pt x="241" y="221"/>
                  </a:cubicBezTo>
                  <a:lnTo>
                    <a:pt x="240" y="221"/>
                  </a:lnTo>
                  <a:close/>
                  <a:moveTo>
                    <a:pt x="299" y="200"/>
                  </a:moveTo>
                  <a:cubicBezTo>
                    <a:pt x="300" y="199"/>
                    <a:pt x="300" y="199"/>
                    <a:pt x="300" y="199"/>
                  </a:cubicBezTo>
                  <a:cubicBezTo>
                    <a:pt x="298" y="199"/>
                    <a:pt x="298" y="199"/>
                    <a:pt x="298" y="199"/>
                  </a:cubicBezTo>
                  <a:cubicBezTo>
                    <a:pt x="298" y="200"/>
                    <a:pt x="298" y="200"/>
                    <a:pt x="298" y="200"/>
                  </a:cubicBezTo>
                  <a:cubicBezTo>
                    <a:pt x="298" y="201"/>
                    <a:pt x="298" y="201"/>
                    <a:pt x="298" y="201"/>
                  </a:cubicBezTo>
                  <a:cubicBezTo>
                    <a:pt x="299" y="201"/>
                    <a:pt x="299" y="201"/>
                    <a:pt x="299" y="201"/>
                  </a:cubicBezTo>
                  <a:lnTo>
                    <a:pt x="299" y="200"/>
                  </a:lnTo>
                  <a:close/>
                  <a:moveTo>
                    <a:pt x="303" y="207"/>
                  </a:moveTo>
                  <a:cubicBezTo>
                    <a:pt x="302" y="207"/>
                    <a:pt x="302" y="207"/>
                    <a:pt x="302" y="207"/>
                  </a:cubicBezTo>
                  <a:cubicBezTo>
                    <a:pt x="302" y="207"/>
                    <a:pt x="302" y="207"/>
                    <a:pt x="302" y="207"/>
                  </a:cubicBezTo>
                  <a:cubicBezTo>
                    <a:pt x="301" y="208"/>
                    <a:pt x="301" y="208"/>
                    <a:pt x="301" y="208"/>
                  </a:cubicBezTo>
                  <a:cubicBezTo>
                    <a:pt x="300" y="208"/>
                    <a:pt x="300" y="208"/>
                    <a:pt x="300" y="208"/>
                  </a:cubicBezTo>
                  <a:cubicBezTo>
                    <a:pt x="298" y="209"/>
                    <a:pt x="298" y="209"/>
                    <a:pt x="298" y="209"/>
                  </a:cubicBezTo>
                  <a:cubicBezTo>
                    <a:pt x="297" y="209"/>
                    <a:pt x="297" y="209"/>
                    <a:pt x="297" y="209"/>
                  </a:cubicBezTo>
                  <a:cubicBezTo>
                    <a:pt x="297" y="208"/>
                    <a:pt x="297" y="208"/>
                    <a:pt x="297" y="208"/>
                  </a:cubicBezTo>
                  <a:cubicBezTo>
                    <a:pt x="296" y="208"/>
                    <a:pt x="296" y="208"/>
                    <a:pt x="296" y="208"/>
                  </a:cubicBezTo>
                  <a:cubicBezTo>
                    <a:pt x="296" y="208"/>
                    <a:pt x="296" y="208"/>
                    <a:pt x="296" y="208"/>
                  </a:cubicBezTo>
                  <a:cubicBezTo>
                    <a:pt x="296" y="209"/>
                    <a:pt x="295" y="208"/>
                    <a:pt x="295" y="208"/>
                  </a:cubicBezTo>
                  <a:cubicBezTo>
                    <a:pt x="294" y="209"/>
                    <a:pt x="294" y="209"/>
                    <a:pt x="294" y="209"/>
                  </a:cubicBezTo>
                  <a:cubicBezTo>
                    <a:pt x="293" y="209"/>
                    <a:pt x="293" y="209"/>
                    <a:pt x="293" y="209"/>
                  </a:cubicBezTo>
                  <a:cubicBezTo>
                    <a:pt x="292" y="209"/>
                    <a:pt x="292" y="209"/>
                    <a:pt x="292" y="209"/>
                  </a:cubicBezTo>
                  <a:cubicBezTo>
                    <a:pt x="291" y="209"/>
                    <a:pt x="291" y="209"/>
                    <a:pt x="291" y="209"/>
                  </a:cubicBezTo>
                  <a:cubicBezTo>
                    <a:pt x="291" y="209"/>
                    <a:pt x="291" y="209"/>
                    <a:pt x="291" y="209"/>
                  </a:cubicBezTo>
                  <a:cubicBezTo>
                    <a:pt x="291" y="209"/>
                    <a:pt x="291" y="209"/>
                    <a:pt x="290" y="210"/>
                  </a:cubicBezTo>
                  <a:cubicBezTo>
                    <a:pt x="289" y="211"/>
                    <a:pt x="288" y="212"/>
                    <a:pt x="288" y="212"/>
                  </a:cubicBezTo>
                  <a:cubicBezTo>
                    <a:pt x="286" y="213"/>
                    <a:pt x="288" y="214"/>
                    <a:pt x="288" y="214"/>
                  </a:cubicBezTo>
                  <a:cubicBezTo>
                    <a:pt x="287" y="215"/>
                    <a:pt x="286" y="213"/>
                    <a:pt x="286" y="213"/>
                  </a:cubicBezTo>
                  <a:cubicBezTo>
                    <a:pt x="284" y="212"/>
                    <a:pt x="284" y="212"/>
                    <a:pt x="284" y="212"/>
                  </a:cubicBezTo>
                  <a:cubicBezTo>
                    <a:pt x="283" y="212"/>
                    <a:pt x="284" y="212"/>
                    <a:pt x="284" y="212"/>
                  </a:cubicBezTo>
                  <a:cubicBezTo>
                    <a:pt x="287" y="209"/>
                    <a:pt x="287" y="209"/>
                    <a:pt x="287" y="209"/>
                  </a:cubicBezTo>
                  <a:cubicBezTo>
                    <a:pt x="288" y="209"/>
                    <a:pt x="290" y="207"/>
                    <a:pt x="290" y="207"/>
                  </a:cubicBezTo>
                  <a:cubicBezTo>
                    <a:pt x="290" y="206"/>
                    <a:pt x="293" y="205"/>
                    <a:pt x="293" y="205"/>
                  </a:cubicBezTo>
                  <a:cubicBezTo>
                    <a:pt x="294" y="205"/>
                    <a:pt x="292" y="204"/>
                    <a:pt x="292" y="204"/>
                  </a:cubicBezTo>
                  <a:cubicBezTo>
                    <a:pt x="292" y="205"/>
                    <a:pt x="290" y="205"/>
                    <a:pt x="290" y="205"/>
                  </a:cubicBezTo>
                  <a:cubicBezTo>
                    <a:pt x="288" y="207"/>
                    <a:pt x="288" y="207"/>
                    <a:pt x="288" y="207"/>
                  </a:cubicBezTo>
                  <a:cubicBezTo>
                    <a:pt x="287" y="207"/>
                    <a:pt x="286" y="208"/>
                    <a:pt x="286" y="208"/>
                  </a:cubicBezTo>
                  <a:cubicBezTo>
                    <a:pt x="284" y="209"/>
                    <a:pt x="284" y="209"/>
                    <a:pt x="284" y="209"/>
                  </a:cubicBezTo>
                  <a:cubicBezTo>
                    <a:pt x="283" y="210"/>
                    <a:pt x="282" y="210"/>
                    <a:pt x="282" y="210"/>
                  </a:cubicBezTo>
                  <a:cubicBezTo>
                    <a:pt x="281" y="210"/>
                    <a:pt x="277" y="210"/>
                    <a:pt x="277" y="210"/>
                  </a:cubicBezTo>
                  <a:cubicBezTo>
                    <a:pt x="275" y="211"/>
                    <a:pt x="270" y="211"/>
                    <a:pt x="270" y="211"/>
                  </a:cubicBezTo>
                  <a:cubicBezTo>
                    <a:pt x="269" y="210"/>
                    <a:pt x="268" y="211"/>
                    <a:pt x="268" y="211"/>
                  </a:cubicBezTo>
                  <a:cubicBezTo>
                    <a:pt x="268" y="212"/>
                    <a:pt x="265" y="213"/>
                    <a:pt x="265" y="213"/>
                  </a:cubicBezTo>
                  <a:cubicBezTo>
                    <a:pt x="265" y="212"/>
                    <a:pt x="264" y="212"/>
                    <a:pt x="264" y="212"/>
                  </a:cubicBezTo>
                  <a:cubicBezTo>
                    <a:pt x="261" y="212"/>
                    <a:pt x="261" y="212"/>
                    <a:pt x="261" y="212"/>
                  </a:cubicBezTo>
                  <a:cubicBezTo>
                    <a:pt x="260" y="212"/>
                    <a:pt x="260" y="212"/>
                    <a:pt x="260" y="212"/>
                  </a:cubicBezTo>
                  <a:cubicBezTo>
                    <a:pt x="259" y="212"/>
                    <a:pt x="259" y="212"/>
                    <a:pt x="259" y="212"/>
                  </a:cubicBezTo>
                  <a:cubicBezTo>
                    <a:pt x="259" y="213"/>
                    <a:pt x="258" y="213"/>
                    <a:pt x="258" y="213"/>
                  </a:cubicBezTo>
                  <a:cubicBezTo>
                    <a:pt x="256" y="212"/>
                    <a:pt x="256" y="213"/>
                    <a:pt x="255" y="213"/>
                  </a:cubicBezTo>
                  <a:cubicBezTo>
                    <a:pt x="254" y="213"/>
                    <a:pt x="252" y="216"/>
                    <a:pt x="251" y="216"/>
                  </a:cubicBezTo>
                  <a:cubicBezTo>
                    <a:pt x="251" y="215"/>
                    <a:pt x="246" y="217"/>
                    <a:pt x="246" y="217"/>
                  </a:cubicBezTo>
                  <a:cubicBezTo>
                    <a:pt x="246" y="217"/>
                    <a:pt x="246" y="217"/>
                    <a:pt x="246" y="217"/>
                  </a:cubicBezTo>
                  <a:cubicBezTo>
                    <a:pt x="247" y="216"/>
                    <a:pt x="247" y="216"/>
                    <a:pt x="247" y="216"/>
                  </a:cubicBezTo>
                  <a:cubicBezTo>
                    <a:pt x="246" y="216"/>
                    <a:pt x="246" y="216"/>
                    <a:pt x="246" y="216"/>
                  </a:cubicBezTo>
                  <a:cubicBezTo>
                    <a:pt x="244" y="218"/>
                    <a:pt x="244" y="218"/>
                    <a:pt x="244" y="218"/>
                  </a:cubicBezTo>
                  <a:cubicBezTo>
                    <a:pt x="244" y="219"/>
                    <a:pt x="244" y="219"/>
                    <a:pt x="244" y="219"/>
                  </a:cubicBezTo>
                  <a:cubicBezTo>
                    <a:pt x="244" y="220"/>
                    <a:pt x="244" y="220"/>
                    <a:pt x="244" y="220"/>
                  </a:cubicBezTo>
                  <a:cubicBezTo>
                    <a:pt x="244" y="220"/>
                    <a:pt x="244" y="220"/>
                    <a:pt x="244" y="220"/>
                  </a:cubicBezTo>
                  <a:cubicBezTo>
                    <a:pt x="244" y="221"/>
                    <a:pt x="244" y="221"/>
                    <a:pt x="244" y="221"/>
                  </a:cubicBezTo>
                  <a:cubicBezTo>
                    <a:pt x="244" y="222"/>
                    <a:pt x="244" y="222"/>
                    <a:pt x="244" y="222"/>
                  </a:cubicBezTo>
                  <a:cubicBezTo>
                    <a:pt x="244" y="223"/>
                    <a:pt x="244" y="223"/>
                    <a:pt x="244" y="223"/>
                  </a:cubicBezTo>
                  <a:cubicBezTo>
                    <a:pt x="245" y="223"/>
                    <a:pt x="245" y="223"/>
                    <a:pt x="245" y="223"/>
                  </a:cubicBezTo>
                  <a:cubicBezTo>
                    <a:pt x="247" y="223"/>
                    <a:pt x="247" y="223"/>
                    <a:pt x="247" y="223"/>
                  </a:cubicBezTo>
                  <a:cubicBezTo>
                    <a:pt x="248" y="223"/>
                    <a:pt x="248" y="223"/>
                    <a:pt x="248" y="223"/>
                  </a:cubicBezTo>
                  <a:cubicBezTo>
                    <a:pt x="250" y="223"/>
                    <a:pt x="250" y="223"/>
                    <a:pt x="250" y="223"/>
                  </a:cubicBezTo>
                  <a:cubicBezTo>
                    <a:pt x="251" y="223"/>
                    <a:pt x="251" y="223"/>
                    <a:pt x="251" y="223"/>
                  </a:cubicBezTo>
                  <a:cubicBezTo>
                    <a:pt x="252" y="222"/>
                    <a:pt x="252" y="222"/>
                    <a:pt x="252" y="222"/>
                  </a:cubicBezTo>
                  <a:cubicBezTo>
                    <a:pt x="253" y="222"/>
                    <a:pt x="253" y="222"/>
                    <a:pt x="253" y="222"/>
                  </a:cubicBezTo>
                  <a:cubicBezTo>
                    <a:pt x="254" y="222"/>
                    <a:pt x="254" y="222"/>
                    <a:pt x="254" y="222"/>
                  </a:cubicBezTo>
                  <a:cubicBezTo>
                    <a:pt x="255" y="222"/>
                    <a:pt x="255" y="222"/>
                    <a:pt x="255" y="222"/>
                  </a:cubicBezTo>
                  <a:cubicBezTo>
                    <a:pt x="256" y="222"/>
                    <a:pt x="256" y="222"/>
                    <a:pt x="256" y="222"/>
                  </a:cubicBezTo>
                  <a:cubicBezTo>
                    <a:pt x="258" y="222"/>
                    <a:pt x="258" y="222"/>
                    <a:pt x="258" y="222"/>
                  </a:cubicBezTo>
                  <a:cubicBezTo>
                    <a:pt x="258" y="222"/>
                    <a:pt x="258" y="222"/>
                    <a:pt x="258" y="222"/>
                  </a:cubicBezTo>
                  <a:cubicBezTo>
                    <a:pt x="259" y="222"/>
                    <a:pt x="259" y="222"/>
                    <a:pt x="259" y="222"/>
                  </a:cubicBezTo>
                  <a:cubicBezTo>
                    <a:pt x="260" y="221"/>
                    <a:pt x="260" y="221"/>
                    <a:pt x="260" y="221"/>
                  </a:cubicBezTo>
                  <a:cubicBezTo>
                    <a:pt x="262" y="221"/>
                    <a:pt x="262" y="221"/>
                    <a:pt x="262" y="221"/>
                  </a:cubicBezTo>
                  <a:cubicBezTo>
                    <a:pt x="264" y="221"/>
                    <a:pt x="264" y="221"/>
                    <a:pt x="264" y="221"/>
                  </a:cubicBezTo>
                  <a:cubicBezTo>
                    <a:pt x="265" y="221"/>
                    <a:pt x="265" y="221"/>
                    <a:pt x="265" y="221"/>
                  </a:cubicBezTo>
                  <a:cubicBezTo>
                    <a:pt x="267" y="221"/>
                    <a:pt x="267" y="221"/>
                    <a:pt x="267" y="221"/>
                  </a:cubicBezTo>
                  <a:cubicBezTo>
                    <a:pt x="269" y="221"/>
                    <a:pt x="269" y="221"/>
                    <a:pt x="269" y="221"/>
                  </a:cubicBezTo>
                  <a:cubicBezTo>
                    <a:pt x="271" y="220"/>
                    <a:pt x="271" y="220"/>
                    <a:pt x="271" y="220"/>
                  </a:cubicBezTo>
                  <a:cubicBezTo>
                    <a:pt x="272" y="220"/>
                    <a:pt x="272" y="220"/>
                    <a:pt x="272" y="220"/>
                  </a:cubicBezTo>
                  <a:cubicBezTo>
                    <a:pt x="273" y="219"/>
                    <a:pt x="273" y="219"/>
                    <a:pt x="273" y="219"/>
                  </a:cubicBezTo>
                  <a:cubicBezTo>
                    <a:pt x="276" y="219"/>
                    <a:pt x="276" y="219"/>
                    <a:pt x="276" y="219"/>
                  </a:cubicBezTo>
                  <a:cubicBezTo>
                    <a:pt x="277" y="219"/>
                    <a:pt x="277" y="219"/>
                    <a:pt x="277" y="219"/>
                  </a:cubicBezTo>
                  <a:cubicBezTo>
                    <a:pt x="279" y="218"/>
                    <a:pt x="279" y="218"/>
                    <a:pt x="279" y="218"/>
                  </a:cubicBezTo>
                  <a:cubicBezTo>
                    <a:pt x="281" y="218"/>
                    <a:pt x="281" y="218"/>
                    <a:pt x="281" y="218"/>
                  </a:cubicBezTo>
                  <a:cubicBezTo>
                    <a:pt x="282" y="217"/>
                    <a:pt x="282" y="217"/>
                    <a:pt x="282" y="217"/>
                  </a:cubicBezTo>
                  <a:cubicBezTo>
                    <a:pt x="285" y="216"/>
                    <a:pt x="285" y="216"/>
                    <a:pt x="285" y="216"/>
                  </a:cubicBezTo>
                  <a:cubicBezTo>
                    <a:pt x="285" y="216"/>
                    <a:pt x="285" y="216"/>
                    <a:pt x="285" y="216"/>
                  </a:cubicBezTo>
                  <a:cubicBezTo>
                    <a:pt x="286" y="216"/>
                    <a:pt x="286" y="216"/>
                    <a:pt x="286" y="216"/>
                  </a:cubicBezTo>
                  <a:cubicBezTo>
                    <a:pt x="288" y="216"/>
                    <a:pt x="288" y="216"/>
                    <a:pt x="288" y="216"/>
                  </a:cubicBezTo>
                  <a:cubicBezTo>
                    <a:pt x="290" y="215"/>
                    <a:pt x="290" y="215"/>
                    <a:pt x="290" y="215"/>
                  </a:cubicBezTo>
                  <a:cubicBezTo>
                    <a:pt x="291" y="214"/>
                    <a:pt x="291" y="214"/>
                    <a:pt x="291" y="214"/>
                  </a:cubicBezTo>
                  <a:cubicBezTo>
                    <a:pt x="292" y="214"/>
                    <a:pt x="292" y="214"/>
                    <a:pt x="292" y="214"/>
                  </a:cubicBezTo>
                  <a:cubicBezTo>
                    <a:pt x="293" y="213"/>
                    <a:pt x="293" y="213"/>
                    <a:pt x="293" y="213"/>
                  </a:cubicBezTo>
                  <a:cubicBezTo>
                    <a:pt x="294" y="213"/>
                    <a:pt x="294" y="213"/>
                    <a:pt x="294" y="213"/>
                  </a:cubicBezTo>
                  <a:cubicBezTo>
                    <a:pt x="295" y="212"/>
                    <a:pt x="295" y="212"/>
                    <a:pt x="295" y="212"/>
                  </a:cubicBezTo>
                  <a:cubicBezTo>
                    <a:pt x="296" y="211"/>
                    <a:pt x="296" y="211"/>
                    <a:pt x="296" y="211"/>
                  </a:cubicBezTo>
                  <a:cubicBezTo>
                    <a:pt x="297" y="211"/>
                    <a:pt x="297" y="211"/>
                    <a:pt x="297" y="211"/>
                  </a:cubicBezTo>
                  <a:cubicBezTo>
                    <a:pt x="298" y="210"/>
                    <a:pt x="298" y="210"/>
                    <a:pt x="298" y="210"/>
                  </a:cubicBezTo>
                  <a:cubicBezTo>
                    <a:pt x="300" y="209"/>
                    <a:pt x="300" y="209"/>
                    <a:pt x="300" y="209"/>
                  </a:cubicBezTo>
                  <a:cubicBezTo>
                    <a:pt x="301" y="209"/>
                    <a:pt x="301" y="209"/>
                    <a:pt x="301" y="209"/>
                  </a:cubicBezTo>
                  <a:cubicBezTo>
                    <a:pt x="302" y="209"/>
                    <a:pt x="302" y="209"/>
                    <a:pt x="302" y="209"/>
                  </a:cubicBezTo>
                  <a:cubicBezTo>
                    <a:pt x="303" y="208"/>
                    <a:pt x="303" y="208"/>
                    <a:pt x="303" y="208"/>
                  </a:cubicBezTo>
                  <a:cubicBezTo>
                    <a:pt x="304" y="208"/>
                    <a:pt x="304" y="208"/>
                    <a:pt x="304" y="208"/>
                  </a:cubicBezTo>
                  <a:cubicBezTo>
                    <a:pt x="304" y="207"/>
                    <a:pt x="304" y="207"/>
                    <a:pt x="304" y="207"/>
                  </a:cubicBezTo>
                  <a:lnTo>
                    <a:pt x="303" y="207"/>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3" name="New Mexico">
              <a:extLst>
                <a:ext uri="{FF2B5EF4-FFF2-40B4-BE49-F238E27FC236}">
                  <a16:creationId xmlns:a16="http://schemas.microsoft.com/office/drawing/2014/main" id="{6BEBF3E6-E8DA-618F-7FAA-F02CA7B66162}"/>
                </a:ext>
              </a:extLst>
            </p:cNvPr>
            <p:cNvSpPr>
              <a:spLocks/>
            </p:cNvSpPr>
            <p:nvPr/>
          </p:nvSpPr>
          <p:spPr bwMode="auto">
            <a:xfrm>
              <a:off x="4504358" y="3189710"/>
              <a:ext cx="901116" cy="1252199"/>
            </a:xfrm>
            <a:custGeom>
              <a:avLst/>
              <a:gdLst>
                <a:gd name="T0" fmla="*/ 217 w 539"/>
                <a:gd name="T1" fmla="*/ 701 h 749"/>
                <a:gd name="T2" fmla="*/ 220 w 539"/>
                <a:gd name="T3" fmla="*/ 701 h 749"/>
                <a:gd name="T4" fmla="*/ 539 w 539"/>
                <a:gd name="T5" fmla="*/ 701 h 749"/>
                <a:gd name="T6" fmla="*/ 539 w 539"/>
                <a:gd name="T7" fmla="*/ 95 h 749"/>
                <a:gd name="T8" fmla="*/ 539 w 539"/>
                <a:gd name="T9" fmla="*/ 95 h 749"/>
                <a:gd name="T10" fmla="*/ 539 w 539"/>
                <a:gd name="T11" fmla="*/ 0 h 749"/>
                <a:gd name="T12" fmla="*/ 2 w 539"/>
                <a:gd name="T13" fmla="*/ 0 h 749"/>
                <a:gd name="T14" fmla="*/ 0 w 539"/>
                <a:gd name="T15" fmla="*/ 0 h 749"/>
                <a:gd name="T16" fmla="*/ 0 w 539"/>
                <a:gd name="T17" fmla="*/ 749 h 749"/>
                <a:gd name="T18" fmla="*/ 56 w 539"/>
                <a:gd name="T19" fmla="*/ 749 h 749"/>
                <a:gd name="T20" fmla="*/ 56 w 539"/>
                <a:gd name="T21" fmla="*/ 704 h 749"/>
                <a:gd name="T22" fmla="*/ 208 w 539"/>
                <a:gd name="T23" fmla="*/ 704 h 749"/>
                <a:gd name="T24" fmla="*/ 208 w 539"/>
                <a:gd name="T25" fmla="*/ 701 h 749"/>
                <a:gd name="T26" fmla="*/ 217 w 539"/>
                <a:gd name="T27" fmla="*/ 701 h 749"/>
                <a:gd name="T28" fmla="*/ 217 w 539"/>
                <a:gd name="T29" fmla="*/ 701 h 749"/>
                <a:gd name="T30" fmla="*/ 217 w 539"/>
                <a:gd name="T31" fmla="*/ 701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9" h="749">
                  <a:moveTo>
                    <a:pt x="217" y="701"/>
                  </a:moveTo>
                  <a:lnTo>
                    <a:pt x="220" y="701"/>
                  </a:lnTo>
                  <a:lnTo>
                    <a:pt x="539" y="701"/>
                  </a:lnTo>
                  <a:lnTo>
                    <a:pt x="539" y="95"/>
                  </a:lnTo>
                  <a:lnTo>
                    <a:pt x="539" y="95"/>
                  </a:lnTo>
                  <a:lnTo>
                    <a:pt x="539" y="0"/>
                  </a:lnTo>
                  <a:lnTo>
                    <a:pt x="2" y="0"/>
                  </a:lnTo>
                  <a:lnTo>
                    <a:pt x="0" y="0"/>
                  </a:lnTo>
                  <a:lnTo>
                    <a:pt x="0" y="749"/>
                  </a:lnTo>
                  <a:lnTo>
                    <a:pt x="56" y="749"/>
                  </a:lnTo>
                  <a:lnTo>
                    <a:pt x="56" y="704"/>
                  </a:lnTo>
                  <a:lnTo>
                    <a:pt x="208" y="704"/>
                  </a:lnTo>
                  <a:lnTo>
                    <a:pt x="208" y="701"/>
                  </a:lnTo>
                  <a:lnTo>
                    <a:pt x="217" y="701"/>
                  </a:lnTo>
                  <a:lnTo>
                    <a:pt x="217" y="701"/>
                  </a:lnTo>
                  <a:lnTo>
                    <a:pt x="217" y="701"/>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4" name="New Jersey">
              <a:extLst>
                <a:ext uri="{FF2B5EF4-FFF2-40B4-BE49-F238E27FC236}">
                  <a16:creationId xmlns:a16="http://schemas.microsoft.com/office/drawing/2014/main" id="{2D147116-9E5E-93C8-76E5-0C90EAF13624}"/>
                </a:ext>
              </a:extLst>
            </p:cNvPr>
            <p:cNvSpPr>
              <a:spLocks/>
            </p:cNvSpPr>
            <p:nvPr/>
          </p:nvSpPr>
          <p:spPr bwMode="auto">
            <a:xfrm>
              <a:off x="9623941" y="2547728"/>
              <a:ext cx="258691" cy="471790"/>
            </a:xfrm>
            <a:custGeom>
              <a:avLst/>
              <a:gdLst>
                <a:gd name="connsiteX0" fmla="*/ 111667 w 258691"/>
                <a:gd name="connsiteY0" fmla="*/ 0 h 471790"/>
                <a:gd name="connsiteX1" fmla="*/ 127561 w 258691"/>
                <a:gd name="connsiteY1" fmla="*/ 0 h 471790"/>
                <a:gd name="connsiteX2" fmla="*/ 171271 w 258691"/>
                <a:gd name="connsiteY2" fmla="*/ 35682 h 471790"/>
                <a:gd name="connsiteX3" fmla="*/ 211008 w 258691"/>
                <a:gd name="connsiteY3" fmla="*/ 71363 h 471790"/>
                <a:gd name="connsiteX4" fmla="*/ 234849 w 258691"/>
                <a:gd name="connsiteY4" fmla="*/ 71363 h 471790"/>
                <a:gd name="connsiteX5" fmla="*/ 258691 w 258691"/>
                <a:gd name="connsiteY5" fmla="*/ 103080 h 471790"/>
                <a:gd name="connsiteX6" fmla="*/ 222928 w 258691"/>
                <a:gd name="connsiteY6" fmla="*/ 162550 h 471790"/>
                <a:gd name="connsiteX7" fmla="*/ 222928 w 258691"/>
                <a:gd name="connsiteY7" fmla="*/ 178408 h 471790"/>
                <a:gd name="connsiteX8" fmla="*/ 238823 w 258691"/>
                <a:gd name="connsiteY8" fmla="*/ 194267 h 471790"/>
                <a:gd name="connsiteX9" fmla="*/ 254717 w 258691"/>
                <a:gd name="connsiteY9" fmla="*/ 210125 h 471790"/>
                <a:gd name="connsiteX10" fmla="*/ 254717 w 258691"/>
                <a:gd name="connsiteY10" fmla="*/ 225984 h 471790"/>
                <a:gd name="connsiteX11" fmla="*/ 254717 w 258691"/>
                <a:gd name="connsiteY11" fmla="*/ 269594 h 471790"/>
                <a:gd name="connsiteX12" fmla="*/ 238823 w 258691"/>
                <a:gd name="connsiteY12" fmla="*/ 269594 h 471790"/>
                <a:gd name="connsiteX13" fmla="*/ 222928 w 258691"/>
                <a:gd name="connsiteY13" fmla="*/ 285453 h 471790"/>
                <a:gd name="connsiteX14" fmla="*/ 222928 w 258691"/>
                <a:gd name="connsiteY14" fmla="*/ 333028 h 471790"/>
                <a:gd name="connsiteX15" fmla="*/ 207034 w 258691"/>
                <a:gd name="connsiteY15" fmla="*/ 348887 h 471790"/>
                <a:gd name="connsiteX16" fmla="*/ 191139 w 258691"/>
                <a:gd name="connsiteY16" fmla="*/ 348887 h 471790"/>
                <a:gd name="connsiteX17" fmla="*/ 191139 w 258691"/>
                <a:gd name="connsiteY17" fmla="*/ 364745 h 471790"/>
                <a:gd name="connsiteX18" fmla="*/ 115641 w 258691"/>
                <a:gd name="connsiteY18" fmla="*/ 471790 h 471790"/>
                <a:gd name="connsiteX19" fmla="*/ 115641 w 258691"/>
                <a:gd name="connsiteY19" fmla="*/ 455932 h 471790"/>
                <a:gd name="connsiteX20" fmla="*/ 115641 w 258691"/>
                <a:gd name="connsiteY20" fmla="*/ 424215 h 471790"/>
                <a:gd name="connsiteX21" fmla="*/ 83852 w 258691"/>
                <a:gd name="connsiteY21" fmla="*/ 424215 h 471790"/>
                <a:gd name="connsiteX22" fmla="*/ 67957 w 258691"/>
                <a:gd name="connsiteY22" fmla="*/ 408356 h 471790"/>
                <a:gd name="connsiteX23" fmla="*/ 52063 w 258691"/>
                <a:gd name="connsiteY23" fmla="*/ 392498 h 471790"/>
                <a:gd name="connsiteX24" fmla="*/ 31946 w 258691"/>
                <a:gd name="connsiteY24" fmla="*/ 374099 h 471790"/>
                <a:gd name="connsiteX25" fmla="*/ 7543 w 258691"/>
                <a:gd name="connsiteY25" fmla="*/ 351780 h 471790"/>
                <a:gd name="connsiteX26" fmla="*/ 0 w 258691"/>
                <a:gd name="connsiteY26" fmla="*/ 341160 h 471790"/>
                <a:gd name="connsiteX27" fmla="*/ 8353 w 258691"/>
                <a:gd name="connsiteY27" fmla="*/ 336993 h 471790"/>
                <a:gd name="connsiteX28" fmla="*/ 60010 w 258691"/>
                <a:gd name="connsiteY28" fmla="*/ 289418 h 471790"/>
                <a:gd name="connsiteX29" fmla="*/ 60010 w 258691"/>
                <a:gd name="connsiteY29" fmla="*/ 269594 h 471790"/>
                <a:gd name="connsiteX30" fmla="*/ 75904 w 258691"/>
                <a:gd name="connsiteY30" fmla="*/ 245807 h 471790"/>
                <a:gd name="connsiteX31" fmla="*/ 75904 w 258691"/>
                <a:gd name="connsiteY31" fmla="*/ 186337 h 471790"/>
                <a:gd name="connsiteX32" fmla="*/ 48089 w 258691"/>
                <a:gd name="connsiteY32" fmla="*/ 134797 h 471790"/>
                <a:gd name="connsiteX33" fmla="*/ 36168 w 258691"/>
                <a:gd name="connsiteY33" fmla="*/ 138762 h 471790"/>
                <a:gd name="connsiteX34" fmla="*/ 40142 w 258691"/>
                <a:gd name="connsiteY34" fmla="*/ 130833 h 471790"/>
                <a:gd name="connsiteX35" fmla="*/ 44115 w 258691"/>
                <a:gd name="connsiteY35" fmla="*/ 118939 h 471790"/>
                <a:gd name="connsiteX36" fmla="*/ 52063 w 258691"/>
                <a:gd name="connsiteY36" fmla="*/ 95151 h 471790"/>
                <a:gd name="connsiteX37" fmla="*/ 75904 w 258691"/>
                <a:gd name="connsiteY37" fmla="*/ 59469 h 471790"/>
                <a:gd name="connsiteX38" fmla="*/ 75904 w 258691"/>
                <a:gd name="connsiteY38" fmla="*/ 15859 h 471790"/>
                <a:gd name="connsiteX39" fmla="*/ 111667 w 258691"/>
                <a:gd name="connsiteY39" fmla="*/ 3965 h 471790"/>
                <a:gd name="connsiteX40" fmla="*/ 107693 w 258691"/>
                <a:gd name="connsiteY40" fmla="*/ 3965 h 471790"/>
                <a:gd name="connsiteX41" fmla="*/ 111667 w 258691"/>
                <a:gd name="connsiteY41" fmla="*/ 0 h 47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58691" h="471790">
                  <a:moveTo>
                    <a:pt x="111667" y="0"/>
                  </a:moveTo>
                  <a:cubicBezTo>
                    <a:pt x="111667" y="0"/>
                    <a:pt x="111667" y="0"/>
                    <a:pt x="127561" y="0"/>
                  </a:cubicBezTo>
                  <a:cubicBezTo>
                    <a:pt x="127561" y="0"/>
                    <a:pt x="127561" y="0"/>
                    <a:pt x="171271" y="35682"/>
                  </a:cubicBezTo>
                  <a:cubicBezTo>
                    <a:pt x="171271" y="35682"/>
                    <a:pt x="171271" y="35682"/>
                    <a:pt x="211008" y="71363"/>
                  </a:cubicBezTo>
                  <a:lnTo>
                    <a:pt x="234849" y="71363"/>
                  </a:lnTo>
                  <a:cubicBezTo>
                    <a:pt x="234849" y="71363"/>
                    <a:pt x="234849" y="71363"/>
                    <a:pt x="258691" y="103080"/>
                  </a:cubicBezTo>
                  <a:cubicBezTo>
                    <a:pt x="258691" y="103080"/>
                    <a:pt x="258691" y="103080"/>
                    <a:pt x="222928" y="162550"/>
                  </a:cubicBezTo>
                  <a:cubicBezTo>
                    <a:pt x="222928" y="162550"/>
                    <a:pt x="222928" y="162550"/>
                    <a:pt x="222928" y="178408"/>
                  </a:cubicBezTo>
                  <a:cubicBezTo>
                    <a:pt x="222928" y="178408"/>
                    <a:pt x="222928" y="178408"/>
                    <a:pt x="238823" y="194267"/>
                  </a:cubicBezTo>
                  <a:cubicBezTo>
                    <a:pt x="238823" y="194267"/>
                    <a:pt x="238823" y="194267"/>
                    <a:pt x="254717" y="210125"/>
                  </a:cubicBezTo>
                  <a:cubicBezTo>
                    <a:pt x="254717" y="210125"/>
                    <a:pt x="254717" y="210125"/>
                    <a:pt x="254717" y="225984"/>
                  </a:cubicBezTo>
                  <a:cubicBezTo>
                    <a:pt x="254717" y="225984"/>
                    <a:pt x="254717" y="225984"/>
                    <a:pt x="254717" y="269594"/>
                  </a:cubicBezTo>
                  <a:cubicBezTo>
                    <a:pt x="254717" y="269594"/>
                    <a:pt x="254717" y="269594"/>
                    <a:pt x="238823" y="269594"/>
                  </a:cubicBezTo>
                  <a:cubicBezTo>
                    <a:pt x="238823" y="269594"/>
                    <a:pt x="238823" y="269594"/>
                    <a:pt x="222928" y="285453"/>
                  </a:cubicBezTo>
                  <a:cubicBezTo>
                    <a:pt x="222928" y="285453"/>
                    <a:pt x="222928" y="285453"/>
                    <a:pt x="222928" y="333028"/>
                  </a:cubicBezTo>
                  <a:cubicBezTo>
                    <a:pt x="222928" y="333028"/>
                    <a:pt x="222928" y="333028"/>
                    <a:pt x="207034" y="348887"/>
                  </a:cubicBezTo>
                  <a:cubicBezTo>
                    <a:pt x="207034" y="348887"/>
                    <a:pt x="207034" y="348887"/>
                    <a:pt x="191139" y="348887"/>
                  </a:cubicBezTo>
                  <a:cubicBezTo>
                    <a:pt x="191139" y="348887"/>
                    <a:pt x="191139" y="348887"/>
                    <a:pt x="191139" y="364745"/>
                  </a:cubicBezTo>
                  <a:cubicBezTo>
                    <a:pt x="191139" y="364745"/>
                    <a:pt x="191139" y="364745"/>
                    <a:pt x="115641" y="471790"/>
                  </a:cubicBezTo>
                  <a:cubicBezTo>
                    <a:pt x="115641" y="471790"/>
                    <a:pt x="115641" y="471790"/>
                    <a:pt x="115641" y="455932"/>
                  </a:cubicBezTo>
                  <a:cubicBezTo>
                    <a:pt x="115641" y="455932"/>
                    <a:pt x="115641" y="455932"/>
                    <a:pt x="115641" y="424215"/>
                  </a:cubicBezTo>
                  <a:cubicBezTo>
                    <a:pt x="115641" y="424215"/>
                    <a:pt x="115641" y="424215"/>
                    <a:pt x="83852" y="424215"/>
                  </a:cubicBezTo>
                  <a:cubicBezTo>
                    <a:pt x="83852" y="424215"/>
                    <a:pt x="83852" y="424215"/>
                    <a:pt x="67957" y="408356"/>
                  </a:cubicBezTo>
                  <a:cubicBezTo>
                    <a:pt x="67957" y="408356"/>
                    <a:pt x="67957" y="408356"/>
                    <a:pt x="52063" y="392498"/>
                  </a:cubicBezTo>
                  <a:cubicBezTo>
                    <a:pt x="52063" y="392498"/>
                    <a:pt x="52063" y="392498"/>
                    <a:pt x="31946" y="374099"/>
                  </a:cubicBezTo>
                  <a:lnTo>
                    <a:pt x="7543" y="351780"/>
                  </a:lnTo>
                  <a:lnTo>
                    <a:pt x="0" y="341160"/>
                  </a:lnTo>
                  <a:lnTo>
                    <a:pt x="8353" y="336993"/>
                  </a:lnTo>
                  <a:cubicBezTo>
                    <a:pt x="32194" y="313205"/>
                    <a:pt x="52063" y="293382"/>
                    <a:pt x="60010" y="289418"/>
                  </a:cubicBezTo>
                  <a:cubicBezTo>
                    <a:pt x="60010" y="289418"/>
                    <a:pt x="60010" y="289418"/>
                    <a:pt x="60010" y="269594"/>
                  </a:cubicBezTo>
                  <a:cubicBezTo>
                    <a:pt x="60010" y="269594"/>
                    <a:pt x="60010" y="269594"/>
                    <a:pt x="75904" y="245807"/>
                  </a:cubicBezTo>
                  <a:cubicBezTo>
                    <a:pt x="75904" y="245807"/>
                    <a:pt x="75904" y="245807"/>
                    <a:pt x="75904" y="186337"/>
                  </a:cubicBezTo>
                  <a:cubicBezTo>
                    <a:pt x="75904" y="186337"/>
                    <a:pt x="75904" y="186337"/>
                    <a:pt x="48089" y="134797"/>
                  </a:cubicBezTo>
                  <a:cubicBezTo>
                    <a:pt x="48089" y="134797"/>
                    <a:pt x="48089" y="134797"/>
                    <a:pt x="36168" y="138762"/>
                  </a:cubicBezTo>
                  <a:cubicBezTo>
                    <a:pt x="36168" y="138762"/>
                    <a:pt x="36168" y="138762"/>
                    <a:pt x="40142" y="130833"/>
                  </a:cubicBezTo>
                  <a:cubicBezTo>
                    <a:pt x="40142" y="130833"/>
                    <a:pt x="40142" y="130833"/>
                    <a:pt x="44115" y="118939"/>
                  </a:cubicBezTo>
                  <a:cubicBezTo>
                    <a:pt x="44115" y="118939"/>
                    <a:pt x="44115" y="118939"/>
                    <a:pt x="52063" y="95151"/>
                  </a:cubicBezTo>
                  <a:cubicBezTo>
                    <a:pt x="52063" y="95151"/>
                    <a:pt x="52063" y="95151"/>
                    <a:pt x="75904" y="59469"/>
                  </a:cubicBezTo>
                  <a:cubicBezTo>
                    <a:pt x="75904" y="59469"/>
                    <a:pt x="75904" y="59469"/>
                    <a:pt x="75904" y="15859"/>
                  </a:cubicBezTo>
                  <a:cubicBezTo>
                    <a:pt x="75904" y="15859"/>
                    <a:pt x="75904" y="15859"/>
                    <a:pt x="111667" y="3965"/>
                  </a:cubicBezTo>
                  <a:cubicBezTo>
                    <a:pt x="111667" y="3965"/>
                    <a:pt x="111667" y="3965"/>
                    <a:pt x="107693" y="3965"/>
                  </a:cubicBezTo>
                  <a:cubicBezTo>
                    <a:pt x="107693" y="0"/>
                    <a:pt x="111667" y="0"/>
                    <a:pt x="111667" y="0"/>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p>
          </p:txBody>
        </p:sp>
        <p:sp>
          <p:nvSpPr>
            <p:cNvPr id="25" name="New Hampshire">
              <a:extLst>
                <a:ext uri="{FF2B5EF4-FFF2-40B4-BE49-F238E27FC236}">
                  <a16:creationId xmlns:a16="http://schemas.microsoft.com/office/drawing/2014/main" id="{A0A3A7EF-85E1-0663-5DEF-905450229AA7}"/>
                </a:ext>
              </a:extLst>
            </p:cNvPr>
            <p:cNvSpPr>
              <a:spLocks/>
            </p:cNvSpPr>
            <p:nvPr/>
          </p:nvSpPr>
          <p:spPr bwMode="auto">
            <a:xfrm>
              <a:off x="10103313" y="1705127"/>
              <a:ext cx="312632" cy="538329"/>
            </a:xfrm>
            <a:custGeom>
              <a:avLst/>
              <a:gdLst>
                <a:gd name="T0" fmla="*/ 74 w 79"/>
                <a:gd name="T1" fmla="*/ 101 h 136"/>
                <a:gd name="T2" fmla="*/ 74 w 79"/>
                <a:gd name="T3" fmla="*/ 75 h 136"/>
                <a:gd name="T4" fmla="*/ 67 w 79"/>
                <a:gd name="T5" fmla="*/ 48 h 136"/>
                <a:gd name="T6" fmla="*/ 67 w 79"/>
                <a:gd name="T7" fmla="*/ 42 h 136"/>
                <a:gd name="T8" fmla="*/ 66 w 79"/>
                <a:gd name="T9" fmla="*/ 36 h 136"/>
                <a:gd name="T10" fmla="*/ 66 w 79"/>
                <a:gd name="T11" fmla="*/ 17 h 136"/>
                <a:gd name="T12" fmla="*/ 66 w 79"/>
                <a:gd name="T13" fmla="*/ 6 h 136"/>
                <a:gd name="T14" fmla="*/ 66 w 79"/>
                <a:gd name="T15" fmla="*/ 3 h 136"/>
                <a:gd name="T16" fmla="*/ 60 w 79"/>
                <a:gd name="T17" fmla="*/ 0 h 136"/>
                <a:gd name="T18" fmla="*/ 52 w 79"/>
                <a:gd name="T19" fmla="*/ 4 h 136"/>
                <a:gd name="T20" fmla="*/ 44 w 79"/>
                <a:gd name="T21" fmla="*/ 4 h 136"/>
                <a:gd name="T22" fmla="*/ 41 w 79"/>
                <a:gd name="T23" fmla="*/ 8 h 136"/>
                <a:gd name="T24" fmla="*/ 39 w 79"/>
                <a:gd name="T25" fmla="*/ 12 h 136"/>
                <a:gd name="T26" fmla="*/ 38 w 79"/>
                <a:gd name="T27" fmla="*/ 16 h 136"/>
                <a:gd name="T28" fmla="*/ 38 w 79"/>
                <a:gd name="T29" fmla="*/ 18 h 136"/>
                <a:gd name="T30" fmla="*/ 38 w 79"/>
                <a:gd name="T31" fmla="*/ 30 h 136"/>
                <a:gd name="T32" fmla="*/ 32 w 79"/>
                <a:gd name="T33" fmla="*/ 36 h 136"/>
                <a:gd name="T34" fmla="*/ 31 w 79"/>
                <a:gd name="T35" fmla="*/ 36 h 136"/>
                <a:gd name="T36" fmla="*/ 31 w 79"/>
                <a:gd name="T37" fmla="*/ 42 h 136"/>
                <a:gd name="T38" fmla="*/ 26 w 79"/>
                <a:gd name="T39" fmla="*/ 48 h 136"/>
                <a:gd name="T40" fmla="*/ 26 w 79"/>
                <a:gd name="T41" fmla="*/ 49 h 136"/>
                <a:gd name="T42" fmla="*/ 21 w 79"/>
                <a:gd name="T43" fmla="*/ 56 h 136"/>
                <a:gd name="T44" fmla="*/ 19 w 79"/>
                <a:gd name="T45" fmla="*/ 60 h 136"/>
                <a:gd name="T46" fmla="*/ 21 w 79"/>
                <a:gd name="T47" fmla="*/ 61 h 136"/>
                <a:gd name="T48" fmla="*/ 15 w 79"/>
                <a:gd name="T49" fmla="*/ 72 h 136"/>
                <a:gd name="T50" fmla="*/ 15 w 79"/>
                <a:gd name="T51" fmla="*/ 73 h 136"/>
                <a:gd name="T52" fmla="*/ 10 w 79"/>
                <a:gd name="T53" fmla="*/ 81 h 136"/>
                <a:gd name="T54" fmla="*/ 7 w 79"/>
                <a:gd name="T55" fmla="*/ 85 h 136"/>
                <a:gd name="T56" fmla="*/ 7 w 79"/>
                <a:gd name="T57" fmla="*/ 85 h 136"/>
                <a:gd name="T58" fmla="*/ 8 w 79"/>
                <a:gd name="T59" fmla="*/ 85 h 136"/>
                <a:gd name="T60" fmla="*/ 10 w 79"/>
                <a:gd name="T61" fmla="*/ 86 h 136"/>
                <a:gd name="T62" fmla="*/ 10 w 79"/>
                <a:gd name="T63" fmla="*/ 99 h 136"/>
                <a:gd name="T64" fmla="*/ 10 w 79"/>
                <a:gd name="T65" fmla="*/ 102 h 136"/>
                <a:gd name="T66" fmla="*/ 10 w 79"/>
                <a:gd name="T67" fmla="*/ 102 h 136"/>
                <a:gd name="T68" fmla="*/ 10 w 79"/>
                <a:gd name="T69" fmla="*/ 102 h 136"/>
                <a:gd name="T70" fmla="*/ 10 w 79"/>
                <a:gd name="T71" fmla="*/ 103 h 136"/>
                <a:gd name="T72" fmla="*/ 10 w 79"/>
                <a:gd name="T73" fmla="*/ 103 h 136"/>
                <a:gd name="T74" fmla="*/ 9 w 79"/>
                <a:gd name="T75" fmla="*/ 108 h 136"/>
                <a:gd name="T76" fmla="*/ 8 w 79"/>
                <a:gd name="T77" fmla="*/ 111 h 136"/>
                <a:gd name="T78" fmla="*/ 8 w 79"/>
                <a:gd name="T79" fmla="*/ 112 h 136"/>
                <a:gd name="T80" fmla="*/ 8 w 79"/>
                <a:gd name="T81" fmla="*/ 112 h 136"/>
                <a:gd name="T82" fmla="*/ 7 w 79"/>
                <a:gd name="T83" fmla="*/ 112 h 136"/>
                <a:gd name="T84" fmla="*/ 7 w 79"/>
                <a:gd name="T85" fmla="*/ 112 h 136"/>
                <a:gd name="T86" fmla="*/ 7 w 79"/>
                <a:gd name="T87" fmla="*/ 113 h 136"/>
                <a:gd name="T88" fmla="*/ 1 w 79"/>
                <a:gd name="T89" fmla="*/ 120 h 136"/>
                <a:gd name="T90" fmla="*/ 0 w 79"/>
                <a:gd name="T91" fmla="*/ 120 h 136"/>
                <a:gd name="T92" fmla="*/ 0 w 79"/>
                <a:gd name="T93" fmla="*/ 128 h 136"/>
                <a:gd name="T94" fmla="*/ 0 w 79"/>
                <a:gd name="T95" fmla="*/ 128 h 136"/>
                <a:gd name="T96" fmla="*/ 1 w 79"/>
                <a:gd name="T97" fmla="*/ 128 h 136"/>
                <a:gd name="T98" fmla="*/ 39 w 79"/>
                <a:gd name="T99" fmla="*/ 128 h 136"/>
                <a:gd name="T100" fmla="*/ 39 w 79"/>
                <a:gd name="T101" fmla="*/ 136 h 136"/>
                <a:gd name="T102" fmla="*/ 55 w 79"/>
                <a:gd name="T103" fmla="*/ 136 h 136"/>
                <a:gd name="T104" fmla="*/ 66 w 79"/>
                <a:gd name="T105" fmla="*/ 127 h 136"/>
                <a:gd name="T106" fmla="*/ 67 w 79"/>
                <a:gd name="T107" fmla="*/ 125 h 136"/>
                <a:gd name="T108" fmla="*/ 68 w 79"/>
                <a:gd name="T109" fmla="*/ 121 h 136"/>
                <a:gd name="T110" fmla="*/ 76 w 79"/>
                <a:gd name="T111" fmla="*/ 113 h 136"/>
                <a:gd name="T112" fmla="*/ 79 w 79"/>
                <a:gd name="T113" fmla="*/ 109 h 136"/>
                <a:gd name="T114" fmla="*/ 78 w 79"/>
                <a:gd name="T115" fmla="*/ 108 h 136"/>
                <a:gd name="T116" fmla="*/ 74 w 79"/>
                <a:gd name="T117" fmla="*/ 10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36">
                  <a:moveTo>
                    <a:pt x="74" y="101"/>
                  </a:moveTo>
                  <a:cubicBezTo>
                    <a:pt x="74" y="75"/>
                    <a:pt x="74" y="75"/>
                    <a:pt x="74" y="75"/>
                  </a:cubicBezTo>
                  <a:cubicBezTo>
                    <a:pt x="67" y="48"/>
                    <a:pt x="67" y="48"/>
                    <a:pt x="67" y="48"/>
                  </a:cubicBezTo>
                  <a:cubicBezTo>
                    <a:pt x="67" y="42"/>
                    <a:pt x="67" y="42"/>
                    <a:pt x="67" y="42"/>
                  </a:cubicBezTo>
                  <a:cubicBezTo>
                    <a:pt x="66" y="36"/>
                    <a:pt x="66" y="36"/>
                    <a:pt x="66" y="36"/>
                  </a:cubicBezTo>
                  <a:cubicBezTo>
                    <a:pt x="66" y="34"/>
                    <a:pt x="67" y="20"/>
                    <a:pt x="66" y="17"/>
                  </a:cubicBezTo>
                  <a:cubicBezTo>
                    <a:pt x="65" y="14"/>
                    <a:pt x="66" y="7"/>
                    <a:pt x="66" y="6"/>
                  </a:cubicBezTo>
                  <a:cubicBezTo>
                    <a:pt x="66" y="3"/>
                    <a:pt x="66" y="3"/>
                    <a:pt x="66" y="3"/>
                  </a:cubicBezTo>
                  <a:cubicBezTo>
                    <a:pt x="60" y="0"/>
                    <a:pt x="60" y="0"/>
                    <a:pt x="60" y="0"/>
                  </a:cubicBezTo>
                  <a:cubicBezTo>
                    <a:pt x="52" y="4"/>
                    <a:pt x="52" y="4"/>
                    <a:pt x="52" y="4"/>
                  </a:cubicBezTo>
                  <a:cubicBezTo>
                    <a:pt x="44" y="4"/>
                    <a:pt x="44" y="4"/>
                    <a:pt x="44" y="4"/>
                  </a:cubicBezTo>
                  <a:cubicBezTo>
                    <a:pt x="41" y="8"/>
                    <a:pt x="41" y="8"/>
                    <a:pt x="41" y="8"/>
                  </a:cubicBezTo>
                  <a:cubicBezTo>
                    <a:pt x="39" y="12"/>
                    <a:pt x="39" y="12"/>
                    <a:pt x="39" y="12"/>
                  </a:cubicBezTo>
                  <a:cubicBezTo>
                    <a:pt x="38" y="16"/>
                    <a:pt x="38" y="16"/>
                    <a:pt x="38" y="16"/>
                  </a:cubicBezTo>
                  <a:cubicBezTo>
                    <a:pt x="38" y="18"/>
                    <a:pt x="38" y="18"/>
                    <a:pt x="38" y="18"/>
                  </a:cubicBezTo>
                  <a:cubicBezTo>
                    <a:pt x="38" y="30"/>
                    <a:pt x="38" y="30"/>
                    <a:pt x="38" y="30"/>
                  </a:cubicBezTo>
                  <a:cubicBezTo>
                    <a:pt x="38" y="32"/>
                    <a:pt x="35" y="34"/>
                    <a:pt x="32" y="36"/>
                  </a:cubicBezTo>
                  <a:cubicBezTo>
                    <a:pt x="31" y="36"/>
                    <a:pt x="31" y="36"/>
                    <a:pt x="31" y="36"/>
                  </a:cubicBezTo>
                  <a:cubicBezTo>
                    <a:pt x="31" y="42"/>
                    <a:pt x="31" y="42"/>
                    <a:pt x="31" y="42"/>
                  </a:cubicBezTo>
                  <a:cubicBezTo>
                    <a:pt x="26" y="48"/>
                    <a:pt x="26" y="48"/>
                    <a:pt x="26" y="48"/>
                  </a:cubicBezTo>
                  <a:cubicBezTo>
                    <a:pt x="26" y="49"/>
                    <a:pt x="26" y="49"/>
                    <a:pt x="26" y="49"/>
                  </a:cubicBezTo>
                  <a:cubicBezTo>
                    <a:pt x="26" y="50"/>
                    <a:pt x="24" y="53"/>
                    <a:pt x="21" y="56"/>
                  </a:cubicBezTo>
                  <a:cubicBezTo>
                    <a:pt x="19" y="58"/>
                    <a:pt x="19" y="59"/>
                    <a:pt x="19" y="60"/>
                  </a:cubicBezTo>
                  <a:cubicBezTo>
                    <a:pt x="19" y="61"/>
                    <a:pt x="20" y="61"/>
                    <a:pt x="21" y="61"/>
                  </a:cubicBezTo>
                  <a:cubicBezTo>
                    <a:pt x="15" y="72"/>
                    <a:pt x="15" y="72"/>
                    <a:pt x="15" y="72"/>
                  </a:cubicBezTo>
                  <a:cubicBezTo>
                    <a:pt x="15" y="73"/>
                    <a:pt x="15" y="73"/>
                    <a:pt x="15" y="73"/>
                  </a:cubicBezTo>
                  <a:cubicBezTo>
                    <a:pt x="15" y="73"/>
                    <a:pt x="15" y="77"/>
                    <a:pt x="10" y="81"/>
                  </a:cubicBezTo>
                  <a:cubicBezTo>
                    <a:pt x="8" y="83"/>
                    <a:pt x="7" y="84"/>
                    <a:pt x="7" y="85"/>
                  </a:cubicBezTo>
                  <a:cubicBezTo>
                    <a:pt x="7" y="85"/>
                    <a:pt x="7" y="85"/>
                    <a:pt x="7" y="85"/>
                  </a:cubicBezTo>
                  <a:cubicBezTo>
                    <a:pt x="8" y="85"/>
                    <a:pt x="8" y="85"/>
                    <a:pt x="8" y="85"/>
                  </a:cubicBezTo>
                  <a:cubicBezTo>
                    <a:pt x="8" y="86"/>
                    <a:pt x="9" y="86"/>
                    <a:pt x="10" y="86"/>
                  </a:cubicBezTo>
                  <a:cubicBezTo>
                    <a:pt x="10" y="99"/>
                    <a:pt x="10" y="99"/>
                    <a:pt x="10" y="99"/>
                  </a:cubicBezTo>
                  <a:cubicBezTo>
                    <a:pt x="10" y="100"/>
                    <a:pt x="10" y="101"/>
                    <a:pt x="10" y="102"/>
                  </a:cubicBezTo>
                  <a:cubicBezTo>
                    <a:pt x="10" y="102"/>
                    <a:pt x="10" y="102"/>
                    <a:pt x="10" y="102"/>
                  </a:cubicBezTo>
                  <a:cubicBezTo>
                    <a:pt x="10" y="102"/>
                    <a:pt x="10" y="102"/>
                    <a:pt x="10" y="102"/>
                  </a:cubicBezTo>
                  <a:cubicBezTo>
                    <a:pt x="10" y="103"/>
                    <a:pt x="10" y="103"/>
                    <a:pt x="10" y="103"/>
                  </a:cubicBezTo>
                  <a:cubicBezTo>
                    <a:pt x="10" y="103"/>
                    <a:pt x="10" y="103"/>
                    <a:pt x="10" y="103"/>
                  </a:cubicBezTo>
                  <a:cubicBezTo>
                    <a:pt x="9" y="104"/>
                    <a:pt x="9" y="105"/>
                    <a:pt x="9" y="108"/>
                  </a:cubicBezTo>
                  <a:cubicBezTo>
                    <a:pt x="9" y="109"/>
                    <a:pt x="8" y="111"/>
                    <a:pt x="8" y="111"/>
                  </a:cubicBezTo>
                  <a:cubicBezTo>
                    <a:pt x="8" y="112"/>
                    <a:pt x="8" y="112"/>
                    <a:pt x="8" y="112"/>
                  </a:cubicBezTo>
                  <a:cubicBezTo>
                    <a:pt x="8" y="112"/>
                    <a:pt x="8" y="112"/>
                    <a:pt x="8" y="112"/>
                  </a:cubicBezTo>
                  <a:cubicBezTo>
                    <a:pt x="7" y="112"/>
                    <a:pt x="7" y="112"/>
                    <a:pt x="7" y="112"/>
                  </a:cubicBezTo>
                  <a:cubicBezTo>
                    <a:pt x="7" y="112"/>
                    <a:pt x="7" y="112"/>
                    <a:pt x="7" y="112"/>
                  </a:cubicBezTo>
                  <a:cubicBezTo>
                    <a:pt x="7" y="113"/>
                    <a:pt x="7" y="113"/>
                    <a:pt x="7" y="113"/>
                  </a:cubicBezTo>
                  <a:cubicBezTo>
                    <a:pt x="5" y="117"/>
                    <a:pt x="2" y="119"/>
                    <a:pt x="1" y="120"/>
                  </a:cubicBezTo>
                  <a:cubicBezTo>
                    <a:pt x="0" y="120"/>
                    <a:pt x="0" y="120"/>
                    <a:pt x="0" y="120"/>
                  </a:cubicBezTo>
                  <a:cubicBezTo>
                    <a:pt x="0" y="128"/>
                    <a:pt x="0" y="128"/>
                    <a:pt x="0" y="128"/>
                  </a:cubicBezTo>
                  <a:cubicBezTo>
                    <a:pt x="0" y="128"/>
                    <a:pt x="0" y="128"/>
                    <a:pt x="0" y="128"/>
                  </a:cubicBezTo>
                  <a:cubicBezTo>
                    <a:pt x="1" y="128"/>
                    <a:pt x="1" y="128"/>
                    <a:pt x="1" y="128"/>
                  </a:cubicBezTo>
                  <a:cubicBezTo>
                    <a:pt x="39" y="128"/>
                    <a:pt x="39" y="128"/>
                    <a:pt x="39" y="128"/>
                  </a:cubicBezTo>
                  <a:cubicBezTo>
                    <a:pt x="39" y="136"/>
                    <a:pt x="39" y="136"/>
                    <a:pt x="39" y="136"/>
                  </a:cubicBezTo>
                  <a:cubicBezTo>
                    <a:pt x="55" y="136"/>
                    <a:pt x="55" y="136"/>
                    <a:pt x="55" y="136"/>
                  </a:cubicBezTo>
                  <a:cubicBezTo>
                    <a:pt x="66" y="127"/>
                    <a:pt x="66" y="127"/>
                    <a:pt x="66" y="127"/>
                  </a:cubicBezTo>
                  <a:cubicBezTo>
                    <a:pt x="67" y="125"/>
                    <a:pt x="67" y="125"/>
                    <a:pt x="67" y="125"/>
                  </a:cubicBezTo>
                  <a:cubicBezTo>
                    <a:pt x="68" y="121"/>
                    <a:pt x="68" y="121"/>
                    <a:pt x="68" y="121"/>
                  </a:cubicBezTo>
                  <a:cubicBezTo>
                    <a:pt x="76" y="113"/>
                    <a:pt x="76" y="113"/>
                    <a:pt x="76" y="113"/>
                  </a:cubicBezTo>
                  <a:cubicBezTo>
                    <a:pt x="79" y="109"/>
                    <a:pt x="79" y="109"/>
                    <a:pt x="79" y="109"/>
                  </a:cubicBezTo>
                  <a:cubicBezTo>
                    <a:pt x="78" y="108"/>
                    <a:pt x="78" y="108"/>
                    <a:pt x="78" y="108"/>
                  </a:cubicBezTo>
                  <a:lnTo>
                    <a:pt x="74" y="101"/>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6" name="Nevada">
              <a:extLst>
                <a:ext uri="{FF2B5EF4-FFF2-40B4-BE49-F238E27FC236}">
                  <a16:creationId xmlns:a16="http://schemas.microsoft.com/office/drawing/2014/main" id="{998D1DB3-C923-D94D-45A9-CE2A9D44C204}"/>
                </a:ext>
              </a:extLst>
            </p:cNvPr>
            <p:cNvSpPr>
              <a:spLocks/>
            </p:cNvSpPr>
            <p:nvPr/>
          </p:nvSpPr>
          <p:spPr bwMode="auto">
            <a:xfrm>
              <a:off x="2799093" y="2223394"/>
              <a:ext cx="926193" cy="1414367"/>
            </a:xfrm>
            <a:custGeom>
              <a:avLst/>
              <a:gdLst>
                <a:gd name="T0" fmla="*/ 118 w 234"/>
                <a:gd name="T1" fmla="*/ 0 h 357"/>
                <a:gd name="T2" fmla="*/ 118 w 234"/>
                <a:gd name="T3" fmla="*/ 0 h 357"/>
                <a:gd name="T4" fmla="*/ 0 w 234"/>
                <a:gd name="T5" fmla="*/ 0 h 357"/>
                <a:gd name="T6" fmla="*/ 0 w 234"/>
                <a:gd name="T7" fmla="*/ 142 h 357"/>
                <a:gd name="T8" fmla="*/ 217 w 234"/>
                <a:gd name="T9" fmla="*/ 357 h 357"/>
                <a:gd name="T10" fmla="*/ 217 w 234"/>
                <a:gd name="T11" fmla="*/ 357 h 357"/>
                <a:gd name="T12" fmla="*/ 217 w 234"/>
                <a:gd name="T13" fmla="*/ 326 h 357"/>
                <a:gd name="T14" fmla="*/ 220 w 234"/>
                <a:gd name="T15" fmla="*/ 323 h 357"/>
                <a:gd name="T16" fmla="*/ 217 w 234"/>
                <a:gd name="T17" fmla="*/ 317 h 357"/>
                <a:gd name="T18" fmla="*/ 210 w 234"/>
                <a:gd name="T19" fmla="*/ 310 h 357"/>
                <a:gd name="T20" fmla="*/ 214 w 234"/>
                <a:gd name="T21" fmla="*/ 288 h 357"/>
                <a:gd name="T22" fmla="*/ 234 w 234"/>
                <a:gd name="T23" fmla="*/ 301 h 357"/>
                <a:gd name="T24" fmla="*/ 234 w 234"/>
                <a:gd name="T25" fmla="*/ 244 h 357"/>
                <a:gd name="T26" fmla="*/ 234 w 234"/>
                <a:gd name="T27" fmla="*/ 0 h 357"/>
                <a:gd name="T28" fmla="*/ 118 w 234"/>
                <a:gd name="T2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4" h="357">
                  <a:moveTo>
                    <a:pt x="118" y="0"/>
                  </a:moveTo>
                  <a:cubicBezTo>
                    <a:pt x="118" y="0"/>
                    <a:pt x="118" y="0"/>
                    <a:pt x="118" y="0"/>
                  </a:cubicBezTo>
                  <a:cubicBezTo>
                    <a:pt x="0" y="0"/>
                    <a:pt x="0" y="0"/>
                    <a:pt x="0" y="0"/>
                  </a:cubicBezTo>
                  <a:cubicBezTo>
                    <a:pt x="0" y="142"/>
                    <a:pt x="0" y="142"/>
                    <a:pt x="0" y="142"/>
                  </a:cubicBezTo>
                  <a:cubicBezTo>
                    <a:pt x="217" y="357"/>
                    <a:pt x="217" y="357"/>
                    <a:pt x="217" y="357"/>
                  </a:cubicBezTo>
                  <a:cubicBezTo>
                    <a:pt x="217" y="357"/>
                    <a:pt x="217" y="357"/>
                    <a:pt x="217" y="357"/>
                  </a:cubicBezTo>
                  <a:cubicBezTo>
                    <a:pt x="217" y="326"/>
                    <a:pt x="217" y="326"/>
                    <a:pt x="217" y="326"/>
                  </a:cubicBezTo>
                  <a:cubicBezTo>
                    <a:pt x="218" y="326"/>
                    <a:pt x="220" y="325"/>
                    <a:pt x="220" y="323"/>
                  </a:cubicBezTo>
                  <a:cubicBezTo>
                    <a:pt x="221" y="321"/>
                    <a:pt x="220" y="319"/>
                    <a:pt x="217" y="317"/>
                  </a:cubicBezTo>
                  <a:cubicBezTo>
                    <a:pt x="210" y="310"/>
                    <a:pt x="210" y="310"/>
                    <a:pt x="210" y="310"/>
                  </a:cubicBezTo>
                  <a:cubicBezTo>
                    <a:pt x="214" y="288"/>
                    <a:pt x="214" y="288"/>
                    <a:pt x="214" y="288"/>
                  </a:cubicBezTo>
                  <a:cubicBezTo>
                    <a:pt x="234" y="301"/>
                    <a:pt x="234" y="301"/>
                    <a:pt x="234" y="301"/>
                  </a:cubicBezTo>
                  <a:cubicBezTo>
                    <a:pt x="234" y="244"/>
                    <a:pt x="234" y="244"/>
                    <a:pt x="234" y="244"/>
                  </a:cubicBezTo>
                  <a:cubicBezTo>
                    <a:pt x="234" y="0"/>
                    <a:pt x="234" y="0"/>
                    <a:pt x="234" y="0"/>
                  </a:cubicBezTo>
                  <a:lnTo>
                    <a:pt x="118"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7" name="Nebraska">
              <a:extLst>
                <a:ext uri="{FF2B5EF4-FFF2-40B4-BE49-F238E27FC236}">
                  <a16:creationId xmlns:a16="http://schemas.microsoft.com/office/drawing/2014/main" id="{EAC676C1-82FF-64C5-80DE-8331EE93D6DD}"/>
                </a:ext>
              </a:extLst>
            </p:cNvPr>
            <p:cNvSpPr>
              <a:spLocks/>
            </p:cNvSpPr>
            <p:nvPr/>
          </p:nvSpPr>
          <p:spPr bwMode="auto">
            <a:xfrm>
              <a:off x="5239963" y="2032805"/>
              <a:ext cx="1315729" cy="583468"/>
            </a:xfrm>
            <a:custGeom>
              <a:avLst/>
              <a:gdLst>
                <a:gd name="T0" fmla="*/ 787 w 787"/>
                <a:gd name="T1" fmla="*/ 323 h 349"/>
                <a:gd name="T2" fmla="*/ 740 w 787"/>
                <a:gd name="T3" fmla="*/ 294 h 349"/>
                <a:gd name="T4" fmla="*/ 740 w 787"/>
                <a:gd name="T5" fmla="*/ 294 h 349"/>
                <a:gd name="T6" fmla="*/ 740 w 787"/>
                <a:gd name="T7" fmla="*/ 294 h 349"/>
                <a:gd name="T8" fmla="*/ 738 w 787"/>
                <a:gd name="T9" fmla="*/ 292 h 349"/>
                <a:gd name="T10" fmla="*/ 740 w 787"/>
                <a:gd name="T11" fmla="*/ 292 h 349"/>
                <a:gd name="T12" fmla="*/ 735 w 787"/>
                <a:gd name="T13" fmla="*/ 249 h 349"/>
                <a:gd name="T14" fmla="*/ 735 w 787"/>
                <a:gd name="T15" fmla="*/ 188 h 349"/>
                <a:gd name="T16" fmla="*/ 707 w 787"/>
                <a:gd name="T17" fmla="*/ 176 h 349"/>
                <a:gd name="T18" fmla="*/ 707 w 787"/>
                <a:gd name="T19" fmla="*/ 105 h 349"/>
                <a:gd name="T20" fmla="*/ 679 w 787"/>
                <a:gd name="T21" fmla="*/ 60 h 349"/>
                <a:gd name="T22" fmla="*/ 650 w 787"/>
                <a:gd name="T23" fmla="*/ 48 h 349"/>
                <a:gd name="T24" fmla="*/ 622 w 787"/>
                <a:gd name="T25" fmla="*/ 27 h 349"/>
                <a:gd name="T26" fmla="*/ 525 w 787"/>
                <a:gd name="T27" fmla="*/ 27 h 349"/>
                <a:gd name="T28" fmla="*/ 492 w 787"/>
                <a:gd name="T29" fmla="*/ 0 h 349"/>
                <a:gd name="T30" fmla="*/ 0 w 787"/>
                <a:gd name="T31" fmla="*/ 0 h 349"/>
                <a:gd name="T32" fmla="*/ 0 w 787"/>
                <a:gd name="T33" fmla="*/ 249 h 349"/>
                <a:gd name="T34" fmla="*/ 196 w 787"/>
                <a:gd name="T35" fmla="*/ 249 h 349"/>
                <a:gd name="T36" fmla="*/ 196 w 787"/>
                <a:gd name="T37" fmla="*/ 349 h 349"/>
                <a:gd name="T38" fmla="*/ 787 w 787"/>
                <a:gd name="T39" fmla="*/ 349 h 349"/>
                <a:gd name="T40" fmla="*/ 787 w 787"/>
                <a:gd name="T41" fmla="*/ 323 h 349"/>
                <a:gd name="T42" fmla="*/ 787 w 787"/>
                <a:gd name="T43" fmla="*/ 323 h 349"/>
                <a:gd name="T44" fmla="*/ 787 w 787"/>
                <a:gd name="T45" fmla="*/ 32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7" h="349">
                  <a:moveTo>
                    <a:pt x="787" y="323"/>
                  </a:moveTo>
                  <a:lnTo>
                    <a:pt x="740" y="294"/>
                  </a:lnTo>
                  <a:lnTo>
                    <a:pt x="740" y="294"/>
                  </a:lnTo>
                  <a:lnTo>
                    <a:pt x="740" y="294"/>
                  </a:lnTo>
                  <a:lnTo>
                    <a:pt x="738" y="292"/>
                  </a:lnTo>
                  <a:lnTo>
                    <a:pt x="740" y="292"/>
                  </a:lnTo>
                  <a:lnTo>
                    <a:pt x="735" y="249"/>
                  </a:lnTo>
                  <a:lnTo>
                    <a:pt x="735" y="188"/>
                  </a:lnTo>
                  <a:lnTo>
                    <a:pt x="707" y="176"/>
                  </a:lnTo>
                  <a:lnTo>
                    <a:pt x="707" y="105"/>
                  </a:lnTo>
                  <a:lnTo>
                    <a:pt x="679" y="60"/>
                  </a:lnTo>
                  <a:lnTo>
                    <a:pt x="650" y="48"/>
                  </a:lnTo>
                  <a:lnTo>
                    <a:pt x="622" y="27"/>
                  </a:lnTo>
                  <a:lnTo>
                    <a:pt x="525" y="27"/>
                  </a:lnTo>
                  <a:lnTo>
                    <a:pt x="492" y="0"/>
                  </a:lnTo>
                  <a:lnTo>
                    <a:pt x="0" y="0"/>
                  </a:lnTo>
                  <a:lnTo>
                    <a:pt x="0" y="249"/>
                  </a:lnTo>
                  <a:lnTo>
                    <a:pt x="196" y="249"/>
                  </a:lnTo>
                  <a:lnTo>
                    <a:pt x="196" y="349"/>
                  </a:lnTo>
                  <a:lnTo>
                    <a:pt x="787" y="349"/>
                  </a:lnTo>
                  <a:lnTo>
                    <a:pt x="787" y="323"/>
                  </a:lnTo>
                  <a:lnTo>
                    <a:pt x="787" y="323"/>
                  </a:lnTo>
                  <a:lnTo>
                    <a:pt x="787" y="323"/>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8" name="Montana">
              <a:extLst>
                <a:ext uri="{FF2B5EF4-FFF2-40B4-BE49-F238E27FC236}">
                  <a16:creationId xmlns:a16="http://schemas.microsoft.com/office/drawing/2014/main" id="{D1915C1B-F764-47B8-CF7E-1B81101B43AE}"/>
                </a:ext>
              </a:extLst>
            </p:cNvPr>
            <p:cNvSpPr>
              <a:spLocks/>
            </p:cNvSpPr>
            <p:nvPr/>
          </p:nvSpPr>
          <p:spPr bwMode="auto">
            <a:xfrm>
              <a:off x="3415998" y="885931"/>
              <a:ext cx="1827309" cy="891085"/>
            </a:xfrm>
            <a:custGeom>
              <a:avLst/>
              <a:gdLst>
                <a:gd name="T0" fmla="*/ 10 w 462"/>
                <a:gd name="T1" fmla="*/ 63 h 225"/>
                <a:gd name="T2" fmla="*/ 13 w 462"/>
                <a:gd name="T3" fmla="*/ 77 h 225"/>
                <a:gd name="T4" fmla="*/ 23 w 462"/>
                <a:gd name="T5" fmla="*/ 82 h 225"/>
                <a:gd name="T6" fmla="*/ 31 w 462"/>
                <a:gd name="T7" fmla="*/ 87 h 225"/>
                <a:gd name="T8" fmla="*/ 38 w 462"/>
                <a:gd name="T9" fmla="*/ 97 h 225"/>
                <a:gd name="T10" fmla="*/ 38 w 462"/>
                <a:gd name="T11" fmla="*/ 101 h 225"/>
                <a:gd name="T12" fmla="*/ 53 w 462"/>
                <a:gd name="T13" fmla="*/ 107 h 225"/>
                <a:gd name="T14" fmla="*/ 59 w 462"/>
                <a:gd name="T15" fmla="*/ 141 h 225"/>
                <a:gd name="T16" fmla="*/ 60 w 462"/>
                <a:gd name="T17" fmla="*/ 151 h 225"/>
                <a:gd name="T18" fmla="*/ 60 w 462"/>
                <a:gd name="T19" fmla="*/ 153 h 225"/>
                <a:gd name="T20" fmla="*/ 60 w 462"/>
                <a:gd name="T21" fmla="*/ 167 h 225"/>
                <a:gd name="T22" fmla="*/ 70 w 462"/>
                <a:gd name="T23" fmla="*/ 166 h 225"/>
                <a:gd name="T24" fmla="*/ 71 w 462"/>
                <a:gd name="T25" fmla="*/ 166 h 225"/>
                <a:gd name="T26" fmla="*/ 75 w 462"/>
                <a:gd name="T27" fmla="*/ 167 h 225"/>
                <a:gd name="T28" fmla="*/ 88 w 462"/>
                <a:gd name="T29" fmla="*/ 188 h 225"/>
                <a:gd name="T30" fmla="*/ 100 w 462"/>
                <a:gd name="T31" fmla="*/ 206 h 225"/>
                <a:gd name="T32" fmla="*/ 104 w 462"/>
                <a:gd name="T33" fmla="*/ 214 h 225"/>
                <a:gd name="T34" fmla="*/ 105 w 462"/>
                <a:gd name="T35" fmla="*/ 214 h 225"/>
                <a:gd name="T36" fmla="*/ 107 w 462"/>
                <a:gd name="T37" fmla="*/ 212 h 225"/>
                <a:gd name="T38" fmla="*/ 122 w 462"/>
                <a:gd name="T39" fmla="*/ 224 h 225"/>
                <a:gd name="T40" fmla="*/ 138 w 462"/>
                <a:gd name="T41" fmla="*/ 224 h 225"/>
                <a:gd name="T42" fmla="*/ 143 w 462"/>
                <a:gd name="T43" fmla="*/ 224 h 225"/>
                <a:gd name="T44" fmla="*/ 154 w 462"/>
                <a:gd name="T45" fmla="*/ 224 h 225"/>
                <a:gd name="T46" fmla="*/ 156 w 462"/>
                <a:gd name="T47" fmla="*/ 225 h 225"/>
                <a:gd name="T48" fmla="*/ 165 w 462"/>
                <a:gd name="T49" fmla="*/ 221 h 225"/>
                <a:gd name="T50" fmla="*/ 182 w 462"/>
                <a:gd name="T51" fmla="*/ 216 h 225"/>
                <a:gd name="T52" fmla="*/ 189 w 462"/>
                <a:gd name="T53" fmla="*/ 215 h 225"/>
                <a:gd name="T54" fmla="*/ 461 w 462"/>
                <a:gd name="T55" fmla="*/ 204 h 225"/>
                <a:gd name="T56" fmla="*/ 462 w 462"/>
                <a:gd name="T57" fmla="*/ 203 h 225"/>
                <a:gd name="T58" fmla="*/ 461 w 462"/>
                <a:gd name="T59" fmla="*/ 154 h 225"/>
                <a:gd name="T60" fmla="*/ 461 w 462"/>
                <a:gd name="T61" fmla="*/ 0 h 225"/>
                <a:gd name="T62" fmla="*/ 0 w 462"/>
                <a:gd name="T63" fmla="*/ 5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2" h="225">
                  <a:moveTo>
                    <a:pt x="10" y="59"/>
                  </a:moveTo>
                  <a:cubicBezTo>
                    <a:pt x="10" y="63"/>
                    <a:pt x="10" y="63"/>
                    <a:pt x="10" y="63"/>
                  </a:cubicBezTo>
                  <a:cubicBezTo>
                    <a:pt x="13" y="69"/>
                    <a:pt x="13" y="69"/>
                    <a:pt x="13" y="69"/>
                  </a:cubicBezTo>
                  <a:cubicBezTo>
                    <a:pt x="13" y="77"/>
                    <a:pt x="13" y="77"/>
                    <a:pt x="13" y="77"/>
                  </a:cubicBezTo>
                  <a:cubicBezTo>
                    <a:pt x="19" y="77"/>
                    <a:pt x="19" y="77"/>
                    <a:pt x="19" y="77"/>
                  </a:cubicBezTo>
                  <a:cubicBezTo>
                    <a:pt x="23" y="82"/>
                    <a:pt x="23" y="82"/>
                    <a:pt x="23" y="82"/>
                  </a:cubicBezTo>
                  <a:cubicBezTo>
                    <a:pt x="23" y="87"/>
                    <a:pt x="23" y="87"/>
                    <a:pt x="23" y="87"/>
                  </a:cubicBezTo>
                  <a:cubicBezTo>
                    <a:pt x="31" y="87"/>
                    <a:pt x="31" y="87"/>
                    <a:pt x="31" y="87"/>
                  </a:cubicBezTo>
                  <a:cubicBezTo>
                    <a:pt x="31" y="93"/>
                    <a:pt x="31" y="93"/>
                    <a:pt x="31" y="93"/>
                  </a:cubicBezTo>
                  <a:cubicBezTo>
                    <a:pt x="38" y="97"/>
                    <a:pt x="38" y="97"/>
                    <a:pt x="38" y="97"/>
                  </a:cubicBezTo>
                  <a:cubicBezTo>
                    <a:pt x="38" y="101"/>
                    <a:pt x="38" y="101"/>
                    <a:pt x="38" y="101"/>
                  </a:cubicBezTo>
                  <a:cubicBezTo>
                    <a:pt x="38" y="101"/>
                    <a:pt x="38" y="101"/>
                    <a:pt x="38" y="101"/>
                  </a:cubicBezTo>
                  <a:cubicBezTo>
                    <a:pt x="40" y="102"/>
                    <a:pt x="46" y="105"/>
                    <a:pt x="49" y="106"/>
                  </a:cubicBezTo>
                  <a:cubicBezTo>
                    <a:pt x="53" y="107"/>
                    <a:pt x="53" y="107"/>
                    <a:pt x="53" y="107"/>
                  </a:cubicBezTo>
                  <a:cubicBezTo>
                    <a:pt x="59" y="113"/>
                    <a:pt x="59" y="113"/>
                    <a:pt x="59" y="113"/>
                  </a:cubicBezTo>
                  <a:cubicBezTo>
                    <a:pt x="59" y="141"/>
                    <a:pt x="59" y="141"/>
                    <a:pt x="59" y="141"/>
                  </a:cubicBezTo>
                  <a:cubicBezTo>
                    <a:pt x="58" y="141"/>
                    <a:pt x="58" y="144"/>
                    <a:pt x="59" y="148"/>
                  </a:cubicBezTo>
                  <a:cubicBezTo>
                    <a:pt x="59" y="150"/>
                    <a:pt x="60" y="151"/>
                    <a:pt x="60" y="151"/>
                  </a:cubicBezTo>
                  <a:cubicBezTo>
                    <a:pt x="60" y="151"/>
                    <a:pt x="60" y="151"/>
                    <a:pt x="60" y="151"/>
                  </a:cubicBezTo>
                  <a:cubicBezTo>
                    <a:pt x="60" y="151"/>
                    <a:pt x="60" y="152"/>
                    <a:pt x="60" y="153"/>
                  </a:cubicBezTo>
                  <a:cubicBezTo>
                    <a:pt x="58" y="156"/>
                    <a:pt x="60" y="163"/>
                    <a:pt x="60" y="166"/>
                  </a:cubicBezTo>
                  <a:cubicBezTo>
                    <a:pt x="60" y="167"/>
                    <a:pt x="60" y="167"/>
                    <a:pt x="60" y="167"/>
                  </a:cubicBezTo>
                  <a:cubicBezTo>
                    <a:pt x="70" y="167"/>
                    <a:pt x="70" y="167"/>
                    <a:pt x="70" y="167"/>
                  </a:cubicBezTo>
                  <a:cubicBezTo>
                    <a:pt x="70" y="166"/>
                    <a:pt x="70" y="166"/>
                    <a:pt x="70" y="166"/>
                  </a:cubicBezTo>
                  <a:cubicBezTo>
                    <a:pt x="70" y="166"/>
                    <a:pt x="70" y="166"/>
                    <a:pt x="70" y="166"/>
                  </a:cubicBezTo>
                  <a:cubicBezTo>
                    <a:pt x="71" y="166"/>
                    <a:pt x="71" y="166"/>
                    <a:pt x="71" y="166"/>
                  </a:cubicBezTo>
                  <a:cubicBezTo>
                    <a:pt x="71" y="166"/>
                    <a:pt x="72" y="166"/>
                    <a:pt x="73" y="166"/>
                  </a:cubicBezTo>
                  <a:cubicBezTo>
                    <a:pt x="73" y="166"/>
                    <a:pt x="74" y="166"/>
                    <a:pt x="75" y="167"/>
                  </a:cubicBezTo>
                  <a:cubicBezTo>
                    <a:pt x="82" y="168"/>
                    <a:pt x="87" y="172"/>
                    <a:pt x="88" y="173"/>
                  </a:cubicBezTo>
                  <a:cubicBezTo>
                    <a:pt x="88" y="188"/>
                    <a:pt x="88" y="188"/>
                    <a:pt x="88" y="188"/>
                  </a:cubicBezTo>
                  <a:cubicBezTo>
                    <a:pt x="93" y="194"/>
                    <a:pt x="93" y="194"/>
                    <a:pt x="93" y="194"/>
                  </a:cubicBezTo>
                  <a:cubicBezTo>
                    <a:pt x="100" y="206"/>
                    <a:pt x="100" y="206"/>
                    <a:pt x="100" y="206"/>
                  </a:cubicBezTo>
                  <a:cubicBezTo>
                    <a:pt x="104" y="206"/>
                    <a:pt x="104" y="206"/>
                    <a:pt x="104" y="206"/>
                  </a:cubicBezTo>
                  <a:cubicBezTo>
                    <a:pt x="104" y="214"/>
                    <a:pt x="104" y="214"/>
                    <a:pt x="104" y="214"/>
                  </a:cubicBezTo>
                  <a:cubicBezTo>
                    <a:pt x="105" y="214"/>
                    <a:pt x="105" y="214"/>
                    <a:pt x="105" y="214"/>
                  </a:cubicBezTo>
                  <a:cubicBezTo>
                    <a:pt x="105" y="214"/>
                    <a:pt x="105" y="214"/>
                    <a:pt x="105" y="214"/>
                  </a:cubicBezTo>
                  <a:cubicBezTo>
                    <a:pt x="106" y="213"/>
                    <a:pt x="106" y="213"/>
                    <a:pt x="106" y="213"/>
                  </a:cubicBezTo>
                  <a:cubicBezTo>
                    <a:pt x="107" y="212"/>
                    <a:pt x="107" y="212"/>
                    <a:pt x="107" y="212"/>
                  </a:cubicBezTo>
                  <a:cubicBezTo>
                    <a:pt x="109" y="212"/>
                    <a:pt x="110" y="213"/>
                    <a:pt x="111" y="216"/>
                  </a:cubicBezTo>
                  <a:cubicBezTo>
                    <a:pt x="117" y="222"/>
                    <a:pt x="121" y="224"/>
                    <a:pt x="122" y="224"/>
                  </a:cubicBezTo>
                  <a:cubicBezTo>
                    <a:pt x="134" y="224"/>
                    <a:pt x="134" y="224"/>
                    <a:pt x="134" y="224"/>
                  </a:cubicBezTo>
                  <a:cubicBezTo>
                    <a:pt x="136" y="224"/>
                    <a:pt x="137" y="224"/>
                    <a:pt x="138" y="224"/>
                  </a:cubicBezTo>
                  <a:cubicBezTo>
                    <a:pt x="139" y="223"/>
                    <a:pt x="139" y="223"/>
                    <a:pt x="140" y="223"/>
                  </a:cubicBezTo>
                  <a:cubicBezTo>
                    <a:pt x="141" y="223"/>
                    <a:pt x="142" y="224"/>
                    <a:pt x="143" y="224"/>
                  </a:cubicBezTo>
                  <a:cubicBezTo>
                    <a:pt x="143" y="224"/>
                    <a:pt x="145" y="224"/>
                    <a:pt x="147" y="224"/>
                  </a:cubicBezTo>
                  <a:cubicBezTo>
                    <a:pt x="149" y="224"/>
                    <a:pt x="153" y="224"/>
                    <a:pt x="154" y="224"/>
                  </a:cubicBezTo>
                  <a:cubicBezTo>
                    <a:pt x="155" y="225"/>
                    <a:pt x="155" y="225"/>
                    <a:pt x="155" y="225"/>
                  </a:cubicBezTo>
                  <a:cubicBezTo>
                    <a:pt x="156" y="225"/>
                    <a:pt x="156" y="225"/>
                    <a:pt x="156" y="225"/>
                  </a:cubicBezTo>
                  <a:cubicBezTo>
                    <a:pt x="157" y="225"/>
                    <a:pt x="158" y="225"/>
                    <a:pt x="160" y="224"/>
                  </a:cubicBezTo>
                  <a:cubicBezTo>
                    <a:pt x="165" y="221"/>
                    <a:pt x="165" y="221"/>
                    <a:pt x="165" y="221"/>
                  </a:cubicBezTo>
                  <a:cubicBezTo>
                    <a:pt x="176" y="217"/>
                    <a:pt x="176" y="217"/>
                    <a:pt x="176" y="217"/>
                  </a:cubicBezTo>
                  <a:cubicBezTo>
                    <a:pt x="182" y="216"/>
                    <a:pt x="182" y="216"/>
                    <a:pt x="182" y="216"/>
                  </a:cubicBezTo>
                  <a:cubicBezTo>
                    <a:pt x="189" y="216"/>
                    <a:pt x="189" y="216"/>
                    <a:pt x="189" y="216"/>
                  </a:cubicBezTo>
                  <a:cubicBezTo>
                    <a:pt x="189" y="215"/>
                    <a:pt x="189" y="215"/>
                    <a:pt x="189" y="215"/>
                  </a:cubicBezTo>
                  <a:cubicBezTo>
                    <a:pt x="189" y="204"/>
                    <a:pt x="189" y="204"/>
                    <a:pt x="189" y="204"/>
                  </a:cubicBezTo>
                  <a:cubicBezTo>
                    <a:pt x="461" y="204"/>
                    <a:pt x="461" y="204"/>
                    <a:pt x="461" y="204"/>
                  </a:cubicBezTo>
                  <a:cubicBezTo>
                    <a:pt x="462" y="204"/>
                    <a:pt x="462" y="204"/>
                    <a:pt x="462" y="204"/>
                  </a:cubicBezTo>
                  <a:cubicBezTo>
                    <a:pt x="462" y="203"/>
                    <a:pt x="462" y="203"/>
                    <a:pt x="462" y="203"/>
                  </a:cubicBezTo>
                  <a:cubicBezTo>
                    <a:pt x="462" y="154"/>
                    <a:pt x="462" y="154"/>
                    <a:pt x="462" y="154"/>
                  </a:cubicBezTo>
                  <a:cubicBezTo>
                    <a:pt x="461" y="154"/>
                    <a:pt x="461" y="154"/>
                    <a:pt x="461" y="154"/>
                  </a:cubicBezTo>
                  <a:cubicBezTo>
                    <a:pt x="461" y="154"/>
                    <a:pt x="461" y="154"/>
                    <a:pt x="461" y="154"/>
                  </a:cubicBezTo>
                  <a:cubicBezTo>
                    <a:pt x="461" y="0"/>
                    <a:pt x="461" y="0"/>
                    <a:pt x="461" y="0"/>
                  </a:cubicBezTo>
                  <a:cubicBezTo>
                    <a:pt x="0" y="0"/>
                    <a:pt x="0" y="0"/>
                    <a:pt x="0" y="0"/>
                  </a:cubicBezTo>
                  <a:cubicBezTo>
                    <a:pt x="0" y="59"/>
                    <a:pt x="0" y="59"/>
                    <a:pt x="0" y="59"/>
                  </a:cubicBezTo>
                  <a:lnTo>
                    <a:pt x="10" y="59"/>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9" name="Missouri">
              <a:extLst>
                <a:ext uri="{FF2B5EF4-FFF2-40B4-BE49-F238E27FC236}">
                  <a16:creationId xmlns:a16="http://schemas.microsoft.com/office/drawing/2014/main" id="{DE293943-CEFC-CE19-71F5-4EBF907FC4FD}"/>
                </a:ext>
              </a:extLst>
            </p:cNvPr>
            <p:cNvSpPr>
              <a:spLocks/>
            </p:cNvSpPr>
            <p:nvPr/>
          </p:nvSpPr>
          <p:spPr bwMode="auto">
            <a:xfrm>
              <a:off x="6477116" y="2524323"/>
              <a:ext cx="1051580" cy="887741"/>
            </a:xfrm>
            <a:custGeom>
              <a:avLst/>
              <a:gdLst>
                <a:gd name="T0" fmla="*/ 0 w 266"/>
                <a:gd name="T1" fmla="*/ 0 h 224"/>
                <a:gd name="T2" fmla="*/ 20 w 266"/>
                <a:gd name="T3" fmla="*/ 12 h 224"/>
                <a:gd name="T4" fmla="*/ 20 w 266"/>
                <a:gd name="T5" fmla="*/ 23 h 224"/>
                <a:gd name="T6" fmla="*/ 20 w 266"/>
                <a:gd name="T7" fmla="*/ 23 h 224"/>
                <a:gd name="T8" fmla="*/ 25 w 266"/>
                <a:gd name="T9" fmla="*/ 30 h 224"/>
                <a:gd name="T10" fmla="*/ 25 w 266"/>
                <a:gd name="T11" fmla="*/ 36 h 224"/>
                <a:gd name="T12" fmla="*/ 30 w 266"/>
                <a:gd name="T13" fmla="*/ 36 h 224"/>
                <a:gd name="T14" fmla="*/ 34 w 266"/>
                <a:gd name="T15" fmla="*/ 36 h 224"/>
                <a:gd name="T16" fmla="*/ 38 w 266"/>
                <a:gd name="T17" fmla="*/ 38 h 224"/>
                <a:gd name="T18" fmla="*/ 38 w 266"/>
                <a:gd name="T19" fmla="*/ 38 h 224"/>
                <a:gd name="T20" fmla="*/ 38 w 266"/>
                <a:gd name="T21" fmla="*/ 38 h 224"/>
                <a:gd name="T22" fmla="*/ 38 w 266"/>
                <a:gd name="T23" fmla="*/ 38 h 224"/>
                <a:gd name="T24" fmla="*/ 38 w 266"/>
                <a:gd name="T25" fmla="*/ 38 h 224"/>
                <a:gd name="T26" fmla="*/ 38 w 266"/>
                <a:gd name="T27" fmla="*/ 39 h 224"/>
                <a:gd name="T28" fmla="*/ 39 w 266"/>
                <a:gd name="T29" fmla="*/ 58 h 224"/>
                <a:gd name="T30" fmla="*/ 42 w 266"/>
                <a:gd name="T31" fmla="*/ 58 h 224"/>
                <a:gd name="T32" fmla="*/ 42 w 266"/>
                <a:gd name="T33" fmla="*/ 65 h 224"/>
                <a:gd name="T34" fmla="*/ 51 w 266"/>
                <a:gd name="T35" fmla="*/ 73 h 224"/>
                <a:gd name="T36" fmla="*/ 54 w 266"/>
                <a:gd name="T37" fmla="*/ 76 h 224"/>
                <a:gd name="T38" fmla="*/ 54 w 266"/>
                <a:gd name="T39" fmla="*/ 77 h 224"/>
                <a:gd name="T40" fmla="*/ 54 w 266"/>
                <a:gd name="T41" fmla="*/ 167 h 224"/>
                <a:gd name="T42" fmla="*/ 54 w 266"/>
                <a:gd name="T43" fmla="*/ 168 h 224"/>
                <a:gd name="T44" fmla="*/ 54 w 266"/>
                <a:gd name="T45" fmla="*/ 168 h 224"/>
                <a:gd name="T46" fmla="*/ 54 w 266"/>
                <a:gd name="T47" fmla="*/ 207 h 224"/>
                <a:gd name="T48" fmla="*/ 54 w 266"/>
                <a:gd name="T49" fmla="*/ 208 h 224"/>
                <a:gd name="T50" fmla="*/ 54 w 266"/>
                <a:gd name="T51" fmla="*/ 208 h 224"/>
                <a:gd name="T52" fmla="*/ 220 w 266"/>
                <a:gd name="T53" fmla="*/ 208 h 224"/>
                <a:gd name="T54" fmla="*/ 220 w 266"/>
                <a:gd name="T55" fmla="*/ 224 h 224"/>
                <a:gd name="T56" fmla="*/ 244 w 266"/>
                <a:gd name="T57" fmla="*/ 224 h 224"/>
                <a:gd name="T58" fmla="*/ 244 w 266"/>
                <a:gd name="T59" fmla="*/ 224 h 224"/>
                <a:gd name="T60" fmla="*/ 244 w 266"/>
                <a:gd name="T61" fmla="*/ 224 h 224"/>
                <a:gd name="T62" fmla="*/ 249 w 266"/>
                <a:gd name="T63" fmla="*/ 215 h 224"/>
                <a:gd name="T64" fmla="*/ 249 w 266"/>
                <a:gd name="T65" fmla="*/ 215 h 224"/>
                <a:gd name="T66" fmla="*/ 256 w 266"/>
                <a:gd name="T67" fmla="*/ 201 h 224"/>
                <a:gd name="T68" fmla="*/ 257 w 266"/>
                <a:gd name="T69" fmla="*/ 201 h 224"/>
                <a:gd name="T70" fmla="*/ 263 w 266"/>
                <a:gd name="T71" fmla="*/ 184 h 224"/>
                <a:gd name="T72" fmla="*/ 261 w 266"/>
                <a:gd name="T73" fmla="*/ 172 h 224"/>
                <a:gd name="T74" fmla="*/ 261 w 266"/>
                <a:gd name="T75" fmla="*/ 172 h 224"/>
                <a:gd name="T76" fmla="*/ 249 w 266"/>
                <a:gd name="T77" fmla="*/ 156 h 224"/>
                <a:gd name="T78" fmla="*/ 247 w 266"/>
                <a:gd name="T79" fmla="*/ 148 h 224"/>
                <a:gd name="T80" fmla="*/ 240 w 266"/>
                <a:gd name="T81" fmla="*/ 135 h 224"/>
                <a:gd name="T82" fmla="*/ 220 w 266"/>
                <a:gd name="T83" fmla="*/ 125 h 224"/>
                <a:gd name="T84" fmla="*/ 215 w 266"/>
                <a:gd name="T85" fmla="*/ 108 h 224"/>
                <a:gd name="T86" fmla="*/ 218 w 266"/>
                <a:gd name="T87" fmla="*/ 92 h 224"/>
                <a:gd name="T88" fmla="*/ 201 w 266"/>
                <a:gd name="T89" fmla="*/ 75 h 224"/>
                <a:gd name="T90" fmla="*/ 184 w 266"/>
                <a:gd name="T91" fmla="*/ 64 h 224"/>
                <a:gd name="T92" fmla="*/ 169 w 266"/>
                <a:gd name="T93" fmla="*/ 54 h 224"/>
                <a:gd name="T94" fmla="*/ 169 w 266"/>
                <a:gd name="T95" fmla="*/ 19 h 224"/>
                <a:gd name="T96" fmla="*/ 162 w 266"/>
                <a:gd name="T97" fmla="*/ 0 h 224"/>
                <a:gd name="T98" fmla="*/ 0 w 266"/>
                <a:gd name="T9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24">
                  <a:moveTo>
                    <a:pt x="0" y="0"/>
                  </a:moveTo>
                  <a:cubicBezTo>
                    <a:pt x="20" y="12"/>
                    <a:pt x="20" y="12"/>
                    <a:pt x="20" y="12"/>
                  </a:cubicBezTo>
                  <a:cubicBezTo>
                    <a:pt x="20" y="23"/>
                    <a:pt x="20" y="23"/>
                    <a:pt x="20" y="23"/>
                  </a:cubicBezTo>
                  <a:cubicBezTo>
                    <a:pt x="20" y="23"/>
                    <a:pt x="20" y="23"/>
                    <a:pt x="20" y="23"/>
                  </a:cubicBezTo>
                  <a:cubicBezTo>
                    <a:pt x="25" y="30"/>
                    <a:pt x="25" y="30"/>
                    <a:pt x="25" y="30"/>
                  </a:cubicBezTo>
                  <a:cubicBezTo>
                    <a:pt x="25" y="36"/>
                    <a:pt x="25" y="36"/>
                    <a:pt x="25" y="36"/>
                  </a:cubicBezTo>
                  <a:cubicBezTo>
                    <a:pt x="30" y="36"/>
                    <a:pt x="30" y="36"/>
                    <a:pt x="30" y="36"/>
                  </a:cubicBezTo>
                  <a:cubicBezTo>
                    <a:pt x="34" y="36"/>
                    <a:pt x="34" y="36"/>
                    <a:pt x="34" y="36"/>
                  </a:cubicBezTo>
                  <a:cubicBezTo>
                    <a:pt x="36" y="36"/>
                    <a:pt x="37" y="37"/>
                    <a:pt x="38" y="38"/>
                  </a:cubicBezTo>
                  <a:cubicBezTo>
                    <a:pt x="38" y="38"/>
                    <a:pt x="38" y="38"/>
                    <a:pt x="38" y="38"/>
                  </a:cubicBezTo>
                  <a:cubicBezTo>
                    <a:pt x="38" y="38"/>
                    <a:pt x="38" y="38"/>
                    <a:pt x="38" y="38"/>
                  </a:cubicBezTo>
                  <a:cubicBezTo>
                    <a:pt x="38" y="38"/>
                    <a:pt x="38" y="38"/>
                    <a:pt x="38" y="38"/>
                  </a:cubicBezTo>
                  <a:cubicBezTo>
                    <a:pt x="38" y="38"/>
                    <a:pt x="38" y="38"/>
                    <a:pt x="38" y="38"/>
                  </a:cubicBezTo>
                  <a:cubicBezTo>
                    <a:pt x="38" y="39"/>
                    <a:pt x="38" y="39"/>
                    <a:pt x="38" y="39"/>
                  </a:cubicBezTo>
                  <a:cubicBezTo>
                    <a:pt x="39" y="58"/>
                    <a:pt x="39" y="58"/>
                    <a:pt x="39" y="58"/>
                  </a:cubicBezTo>
                  <a:cubicBezTo>
                    <a:pt x="42" y="58"/>
                    <a:pt x="42" y="58"/>
                    <a:pt x="42" y="58"/>
                  </a:cubicBezTo>
                  <a:cubicBezTo>
                    <a:pt x="42" y="65"/>
                    <a:pt x="42" y="65"/>
                    <a:pt x="42" y="65"/>
                  </a:cubicBezTo>
                  <a:cubicBezTo>
                    <a:pt x="51" y="73"/>
                    <a:pt x="51" y="73"/>
                    <a:pt x="51" y="73"/>
                  </a:cubicBezTo>
                  <a:cubicBezTo>
                    <a:pt x="52" y="75"/>
                    <a:pt x="53" y="76"/>
                    <a:pt x="54" y="76"/>
                  </a:cubicBezTo>
                  <a:cubicBezTo>
                    <a:pt x="54" y="77"/>
                    <a:pt x="54" y="77"/>
                    <a:pt x="54" y="77"/>
                  </a:cubicBezTo>
                  <a:cubicBezTo>
                    <a:pt x="54" y="167"/>
                    <a:pt x="54" y="167"/>
                    <a:pt x="54" y="167"/>
                  </a:cubicBezTo>
                  <a:cubicBezTo>
                    <a:pt x="54" y="168"/>
                    <a:pt x="54" y="168"/>
                    <a:pt x="54" y="168"/>
                  </a:cubicBezTo>
                  <a:cubicBezTo>
                    <a:pt x="54" y="168"/>
                    <a:pt x="54" y="168"/>
                    <a:pt x="54" y="168"/>
                  </a:cubicBezTo>
                  <a:cubicBezTo>
                    <a:pt x="54" y="207"/>
                    <a:pt x="54" y="207"/>
                    <a:pt x="54" y="207"/>
                  </a:cubicBezTo>
                  <a:cubicBezTo>
                    <a:pt x="54" y="208"/>
                    <a:pt x="54" y="208"/>
                    <a:pt x="54" y="208"/>
                  </a:cubicBezTo>
                  <a:cubicBezTo>
                    <a:pt x="54" y="208"/>
                    <a:pt x="54" y="208"/>
                    <a:pt x="54" y="208"/>
                  </a:cubicBezTo>
                  <a:cubicBezTo>
                    <a:pt x="220" y="208"/>
                    <a:pt x="220" y="208"/>
                    <a:pt x="220" y="208"/>
                  </a:cubicBezTo>
                  <a:cubicBezTo>
                    <a:pt x="220" y="224"/>
                    <a:pt x="220" y="224"/>
                    <a:pt x="220" y="224"/>
                  </a:cubicBezTo>
                  <a:cubicBezTo>
                    <a:pt x="244" y="224"/>
                    <a:pt x="244" y="224"/>
                    <a:pt x="244" y="224"/>
                  </a:cubicBezTo>
                  <a:cubicBezTo>
                    <a:pt x="244" y="224"/>
                    <a:pt x="244" y="224"/>
                    <a:pt x="244" y="224"/>
                  </a:cubicBezTo>
                  <a:cubicBezTo>
                    <a:pt x="244" y="224"/>
                    <a:pt x="244" y="224"/>
                    <a:pt x="244" y="224"/>
                  </a:cubicBezTo>
                  <a:cubicBezTo>
                    <a:pt x="249" y="215"/>
                    <a:pt x="249" y="215"/>
                    <a:pt x="249" y="215"/>
                  </a:cubicBezTo>
                  <a:cubicBezTo>
                    <a:pt x="249" y="215"/>
                    <a:pt x="249" y="215"/>
                    <a:pt x="249" y="215"/>
                  </a:cubicBezTo>
                  <a:cubicBezTo>
                    <a:pt x="256" y="201"/>
                    <a:pt x="256" y="201"/>
                    <a:pt x="256" y="201"/>
                  </a:cubicBezTo>
                  <a:cubicBezTo>
                    <a:pt x="257" y="201"/>
                    <a:pt x="257" y="201"/>
                    <a:pt x="257" y="201"/>
                  </a:cubicBezTo>
                  <a:cubicBezTo>
                    <a:pt x="258" y="200"/>
                    <a:pt x="266" y="194"/>
                    <a:pt x="263" y="184"/>
                  </a:cubicBezTo>
                  <a:cubicBezTo>
                    <a:pt x="261" y="172"/>
                    <a:pt x="261" y="172"/>
                    <a:pt x="261" y="172"/>
                  </a:cubicBezTo>
                  <a:cubicBezTo>
                    <a:pt x="261" y="172"/>
                    <a:pt x="261" y="172"/>
                    <a:pt x="261" y="172"/>
                  </a:cubicBezTo>
                  <a:cubicBezTo>
                    <a:pt x="259" y="170"/>
                    <a:pt x="251" y="162"/>
                    <a:pt x="249" y="156"/>
                  </a:cubicBezTo>
                  <a:cubicBezTo>
                    <a:pt x="247" y="148"/>
                    <a:pt x="247" y="148"/>
                    <a:pt x="247" y="148"/>
                  </a:cubicBezTo>
                  <a:cubicBezTo>
                    <a:pt x="240" y="135"/>
                    <a:pt x="240" y="135"/>
                    <a:pt x="240" y="135"/>
                  </a:cubicBezTo>
                  <a:cubicBezTo>
                    <a:pt x="220" y="125"/>
                    <a:pt x="220" y="125"/>
                    <a:pt x="220" y="125"/>
                  </a:cubicBezTo>
                  <a:cubicBezTo>
                    <a:pt x="215" y="108"/>
                    <a:pt x="215" y="108"/>
                    <a:pt x="215" y="108"/>
                  </a:cubicBezTo>
                  <a:cubicBezTo>
                    <a:pt x="218" y="92"/>
                    <a:pt x="218" y="92"/>
                    <a:pt x="218" y="92"/>
                  </a:cubicBezTo>
                  <a:cubicBezTo>
                    <a:pt x="201" y="75"/>
                    <a:pt x="201" y="75"/>
                    <a:pt x="201" y="75"/>
                  </a:cubicBezTo>
                  <a:cubicBezTo>
                    <a:pt x="184" y="64"/>
                    <a:pt x="184" y="64"/>
                    <a:pt x="184" y="64"/>
                  </a:cubicBezTo>
                  <a:cubicBezTo>
                    <a:pt x="169" y="54"/>
                    <a:pt x="169" y="54"/>
                    <a:pt x="169" y="54"/>
                  </a:cubicBezTo>
                  <a:cubicBezTo>
                    <a:pt x="169" y="19"/>
                    <a:pt x="169" y="19"/>
                    <a:pt x="169" y="19"/>
                  </a:cubicBezTo>
                  <a:cubicBezTo>
                    <a:pt x="162" y="0"/>
                    <a:pt x="162" y="0"/>
                    <a:pt x="162" y="0"/>
                  </a:cubicBezTo>
                  <a:lnTo>
                    <a:pt x="0"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30" name="Mississippi">
              <a:extLst>
                <a:ext uri="{FF2B5EF4-FFF2-40B4-BE49-F238E27FC236}">
                  <a16:creationId xmlns:a16="http://schemas.microsoft.com/office/drawing/2014/main" id="{AD7198DA-77F6-4BD9-6AD5-B954A57308B5}"/>
                </a:ext>
              </a:extLst>
            </p:cNvPr>
            <p:cNvSpPr>
              <a:spLocks/>
            </p:cNvSpPr>
            <p:nvPr/>
          </p:nvSpPr>
          <p:spPr bwMode="auto">
            <a:xfrm>
              <a:off x="7125786" y="3637760"/>
              <a:ext cx="556719" cy="1004769"/>
            </a:xfrm>
            <a:custGeom>
              <a:avLst/>
              <a:gdLst>
                <a:gd name="T0" fmla="*/ 131 w 141"/>
                <a:gd name="T1" fmla="*/ 108 h 254"/>
                <a:gd name="T2" fmla="*/ 141 w 141"/>
                <a:gd name="T3" fmla="*/ 68 h 254"/>
                <a:gd name="T4" fmla="*/ 141 w 141"/>
                <a:gd name="T5" fmla="*/ 56 h 254"/>
                <a:gd name="T6" fmla="*/ 47 w 141"/>
                <a:gd name="T7" fmla="*/ 0 h 254"/>
                <a:gd name="T8" fmla="*/ 44 w 141"/>
                <a:gd name="T9" fmla="*/ 10 h 254"/>
                <a:gd name="T10" fmla="*/ 37 w 141"/>
                <a:gd name="T11" fmla="*/ 35 h 254"/>
                <a:gd name="T12" fmla="*/ 32 w 141"/>
                <a:gd name="T13" fmla="*/ 44 h 254"/>
                <a:gd name="T14" fmla="*/ 30 w 141"/>
                <a:gd name="T15" fmla="*/ 46 h 254"/>
                <a:gd name="T16" fmla="*/ 27 w 141"/>
                <a:gd name="T17" fmla="*/ 49 h 254"/>
                <a:gd name="T18" fmla="*/ 25 w 141"/>
                <a:gd name="T19" fmla="*/ 50 h 254"/>
                <a:gd name="T20" fmla="*/ 24 w 141"/>
                <a:gd name="T21" fmla="*/ 50 h 254"/>
                <a:gd name="T22" fmla="*/ 17 w 141"/>
                <a:gd name="T23" fmla="*/ 59 h 254"/>
                <a:gd name="T24" fmla="*/ 19 w 141"/>
                <a:gd name="T25" fmla="*/ 75 h 254"/>
                <a:gd name="T26" fmla="*/ 20 w 141"/>
                <a:gd name="T27" fmla="*/ 86 h 254"/>
                <a:gd name="T28" fmla="*/ 19 w 141"/>
                <a:gd name="T29" fmla="*/ 87 h 254"/>
                <a:gd name="T30" fmla="*/ 18 w 141"/>
                <a:gd name="T31" fmla="*/ 88 h 254"/>
                <a:gd name="T32" fmla="*/ 17 w 141"/>
                <a:gd name="T33" fmla="*/ 89 h 254"/>
                <a:gd name="T34" fmla="*/ 17 w 141"/>
                <a:gd name="T35" fmla="*/ 90 h 254"/>
                <a:gd name="T36" fmla="*/ 14 w 141"/>
                <a:gd name="T37" fmla="*/ 100 h 254"/>
                <a:gd name="T38" fmla="*/ 14 w 141"/>
                <a:gd name="T39" fmla="*/ 148 h 254"/>
                <a:gd name="T40" fmla="*/ 0 w 141"/>
                <a:gd name="T41" fmla="*/ 195 h 254"/>
                <a:gd name="T42" fmla="*/ 60 w 141"/>
                <a:gd name="T43" fmla="*/ 200 h 254"/>
                <a:gd name="T44" fmla="*/ 55 w 141"/>
                <a:gd name="T45" fmla="*/ 205 h 254"/>
                <a:gd name="T46" fmla="*/ 59 w 141"/>
                <a:gd name="T47" fmla="*/ 217 h 254"/>
                <a:gd name="T48" fmla="*/ 63 w 141"/>
                <a:gd name="T49" fmla="*/ 220 h 254"/>
                <a:gd name="T50" fmla="*/ 61 w 141"/>
                <a:gd name="T51" fmla="*/ 241 h 254"/>
                <a:gd name="T52" fmla="*/ 56 w 141"/>
                <a:gd name="T53" fmla="*/ 249 h 254"/>
                <a:gd name="T54" fmla="*/ 57 w 141"/>
                <a:gd name="T55" fmla="*/ 249 h 254"/>
                <a:gd name="T56" fmla="*/ 87 w 141"/>
                <a:gd name="T57" fmla="*/ 254 h 254"/>
                <a:gd name="T58" fmla="*/ 103 w 141"/>
                <a:gd name="T59" fmla="*/ 250 h 254"/>
                <a:gd name="T60" fmla="*/ 126 w 141"/>
                <a:gd name="T61" fmla="*/ 248 h 254"/>
                <a:gd name="T62" fmla="*/ 126 w 141"/>
                <a:gd name="T63" fmla="*/ 15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 h="254">
                  <a:moveTo>
                    <a:pt x="126" y="157"/>
                  </a:moveTo>
                  <a:cubicBezTo>
                    <a:pt x="125" y="154"/>
                    <a:pt x="128" y="126"/>
                    <a:pt x="131" y="108"/>
                  </a:cubicBezTo>
                  <a:cubicBezTo>
                    <a:pt x="132" y="99"/>
                    <a:pt x="132" y="93"/>
                    <a:pt x="132" y="92"/>
                  </a:cubicBezTo>
                  <a:cubicBezTo>
                    <a:pt x="132" y="90"/>
                    <a:pt x="137" y="78"/>
                    <a:pt x="141" y="68"/>
                  </a:cubicBezTo>
                  <a:cubicBezTo>
                    <a:pt x="141" y="68"/>
                    <a:pt x="141" y="68"/>
                    <a:pt x="141" y="68"/>
                  </a:cubicBezTo>
                  <a:cubicBezTo>
                    <a:pt x="141" y="56"/>
                    <a:pt x="141" y="56"/>
                    <a:pt x="141" y="56"/>
                  </a:cubicBezTo>
                  <a:cubicBezTo>
                    <a:pt x="141" y="0"/>
                    <a:pt x="141" y="0"/>
                    <a:pt x="141" y="0"/>
                  </a:cubicBezTo>
                  <a:cubicBezTo>
                    <a:pt x="47" y="0"/>
                    <a:pt x="47" y="0"/>
                    <a:pt x="47" y="0"/>
                  </a:cubicBezTo>
                  <a:cubicBezTo>
                    <a:pt x="45" y="5"/>
                    <a:pt x="45" y="5"/>
                    <a:pt x="45" y="5"/>
                  </a:cubicBezTo>
                  <a:cubicBezTo>
                    <a:pt x="44" y="10"/>
                    <a:pt x="44" y="10"/>
                    <a:pt x="44" y="10"/>
                  </a:cubicBezTo>
                  <a:cubicBezTo>
                    <a:pt x="37" y="16"/>
                    <a:pt x="37" y="16"/>
                    <a:pt x="37" y="16"/>
                  </a:cubicBezTo>
                  <a:cubicBezTo>
                    <a:pt x="37" y="35"/>
                    <a:pt x="37" y="35"/>
                    <a:pt x="37" y="35"/>
                  </a:cubicBezTo>
                  <a:cubicBezTo>
                    <a:pt x="37" y="35"/>
                    <a:pt x="37" y="35"/>
                    <a:pt x="37" y="35"/>
                  </a:cubicBezTo>
                  <a:cubicBezTo>
                    <a:pt x="37" y="35"/>
                    <a:pt x="35" y="39"/>
                    <a:pt x="32" y="44"/>
                  </a:cubicBezTo>
                  <a:cubicBezTo>
                    <a:pt x="30" y="46"/>
                    <a:pt x="30" y="46"/>
                    <a:pt x="30" y="46"/>
                  </a:cubicBezTo>
                  <a:cubicBezTo>
                    <a:pt x="30" y="46"/>
                    <a:pt x="30" y="46"/>
                    <a:pt x="30" y="46"/>
                  </a:cubicBezTo>
                  <a:cubicBezTo>
                    <a:pt x="30" y="46"/>
                    <a:pt x="30" y="46"/>
                    <a:pt x="30" y="46"/>
                  </a:cubicBezTo>
                  <a:cubicBezTo>
                    <a:pt x="29" y="46"/>
                    <a:pt x="29" y="47"/>
                    <a:pt x="27" y="49"/>
                  </a:cubicBezTo>
                  <a:cubicBezTo>
                    <a:pt x="26" y="50"/>
                    <a:pt x="26" y="50"/>
                    <a:pt x="26" y="50"/>
                  </a:cubicBezTo>
                  <a:cubicBezTo>
                    <a:pt x="25" y="50"/>
                    <a:pt x="25" y="50"/>
                    <a:pt x="25" y="50"/>
                  </a:cubicBezTo>
                  <a:cubicBezTo>
                    <a:pt x="25" y="50"/>
                    <a:pt x="25" y="50"/>
                    <a:pt x="25" y="50"/>
                  </a:cubicBezTo>
                  <a:cubicBezTo>
                    <a:pt x="24" y="50"/>
                    <a:pt x="24" y="50"/>
                    <a:pt x="24" y="50"/>
                  </a:cubicBezTo>
                  <a:cubicBezTo>
                    <a:pt x="24" y="50"/>
                    <a:pt x="24" y="50"/>
                    <a:pt x="24" y="50"/>
                  </a:cubicBezTo>
                  <a:cubicBezTo>
                    <a:pt x="23" y="52"/>
                    <a:pt x="19" y="56"/>
                    <a:pt x="17" y="59"/>
                  </a:cubicBezTo>
                  <a:cubicBezTo>
                    <a:pt x="17" y="63"/>
                    <a:pt x="17" y="63"/>
                    <a:pt x="17" y="63"/>
                  </a:cubicBezTo>
                  <a:cubicBezTo>
                    <a:pt x="18" y="68"/>
                    <a:pt x="19" y="75"/>
                    <a:pt x="19" y="75"/>
                  </a:cubicBezTo>
                  <a:cubicBezTo>
                    <a:pt x="19" y="78"/>
                    <a:pt x="20" y="81"/>
                    <a:pt x="20" y="84"/>
                  </a:cubicBezTo>
                  <a:cubicBezTo>
                    <a:pt x="20" y="86"/>
                    <a:pt x="20" y="86"/>
                    <a:pt x="20" y="86"/>
                  </a:cubicBezTo>
                  <a:cubicBezTo>
                    <a:pt x="19" y="86"/>
                    <a:pt x="19" y="86"/>
                    <a:pt x="19" y="86"/>
                  </a:cubicBezTo>
                  <a:cubicBezTo>
                    <a:pt x="19" y="87"/>
                    <a:pt x="19" y="87"/>
                    <a:pt x="19" y="87"/>
                  </a:cubicBezTo>
                  <a:cubicBezTo>
                    <a:pt x="18" y="87"/>
                    <a:pt x="18" y="87"/>
                    <a:pt x="18" y="87"/>
                  </a:cubicBezTo>
                  <a:cubicBezTo>
                    <a:pt x="18" y="88"/>
                    <a:pt x="18" y="88"/>
                    <a:pt x="18" y="88"/>
                  </a:cubicBezTo>
                  <a:cubicBezTo>
                    <a:pt x="18" y="88"/>
                    <a:pt x="18" y="88"/>
                    <a:pt x="17" y="88"/>
                  </a:cubicBezTo>
                  <a:cubicBezTo>
                    <a:pt x="17" y="89"/>
                    <a:pt x="17" y="89"/>
                    <a:pt x="17" y="89"/>
                  </a:cubicBezTo>
                  <a:cubicBezTo>
                    <a:pt x="17" y="90"/>
                    <a:pt x="17" y="90"/>
                    <a:pt x="17" y="90"/>
                  </a:cubicBezTo>
                  <a:cubicBezTo>
                    <a:pt x="17" y="90"/>
                    <a:pt x="17" y="90"/>
                    <a:pt x="17" y="90"/>
                  </a:cubicBezTo>
                  <a:cubicBezTo>
                    <a:pt x="17" y="91"/>
                    <a:pt x="16" y="93"/>
                    <a:pt x="14" y="99"/>
                  </a:cubicBezTo>
                  <a:cubicBezTo>
                    <a:pt x="14" y="100"/>
                    <a:pt x="14" y="100"/>
                    <a:pt x="14" y="100"/>
                  </a:cubicBezTo>
                  <a:cubicBezTo>
                    <a:pt x="14" y="100"/>
                    <a:pt x="14" y="100"/>
                    <a:pt x="14" y="100"/>
                  </a:cubicBezTo>
                  <a:cubicBezTo>
                    <a:pt x="14" y="148"/>
                    <a:pt x="14" y="148"/>
                    <a:pt x="14" y="148"/>
                  </a:cubicBezTo>
                  <a:cubicBezTo>
                    <a:pt x="0" y="171"/>
                    <a:pt x="0" y="171"/>
                    <a:pt x="0" y="171"/>
                  </a:cubicBezTo>
                  <a:cubicBezTo>
                    <a:pt x="0" y="195"/>
                    <a:pt x="0" y="195"/>
                    <a:pt x="0" y="195"/>
                  </a:cubicBezTo>
                  <a:cubicBezTo>
                    <a:pt x="59" y="195"/>
                    <a:pt x="59" y="195"/>
                    <a:pt x="59" y="195"/>
                  </a:cubicBezTo>
                  <a:cubicBezTo>
                    <a:pt x="60" y="200"/>
                    <a:pt x="60" y="200"/>
                    <a:pt x="60" y="200"/>
                  </a:cubicBezTo>
                  <a:cubicBezTo>
                    <a:pt x="61" y="201"/>
                    <a:pt x="61" y="202"/>
                    <a:pt x="60" y="203"/>
                  </a:cubicBezTo>
                  <a:cubicBezTo>
                    <a:pt x="59" y="205"/>
                    <a:pt x="56" y="205"/>
                    <a:pt x="55" y="205"/>
                  </a:cubicBezTo>
                  <a:cubicBezTo>
                    <a:pt x="55" y="217"/>
                    <a:pt x="55" y="217"/>
                    <a:pt x="55" y="217"/>
                  </a:cubicBezTo>
                  <a:cubicBezTo>
                    <a:pt x="59" y="217"/>
                    <a:pt x="59" y="217"/>
                    <a:pt x="59" y="217"/>
                  </a:cubicBezTo>
                  <a:cubicBezTo>
                    <a:pt x="59" y="220"/>
                    <a:pt x="59" y="220"/>
                    <a:pt x="59" y="220"/>
                  </a:cubicBezTo>
                  <a:cubicBezTo>
                    <a:pt x="63" y="220"/>
                    <a:pt x="63" y="220"/>
                    <a:pt x="63" y="220"/>
                  </a:cubicBezTo>
                  <a:cubicBezTo>
                    <a:pt x="61" y="233"/>
                    <a:pt x="61" y="233"/>
                    <a:pt x="61" y="233"/>
                  </a:cubicBezTo>
                  <a:cubicBezTo>
                    <a:pt x="61" y="241"/>
                    <a:pt x="61" y="241"/>
                    <a:pt x="61" y="241"/>
                  </a:cubicBezTo>
                  <a:cubicBezTo>
                    <a:pt x="61" y="243"/>
                    <a:pt x="58" y="244"/>
                    <a:pt x="56" y="244"/>
                  </a:cubicBezTo>
                  <a:cubicBezTo>
                    <a:pt x="56" y="249"/>
                    <a:pt x="56" y="249"/>
                    <a:pt x="56" y="249"/>
                  </a:cubicBezTo>
                  <a:cubicBezTo>
                    <a:pt x="57" y="249"/>
                    <a:pt x="57" y="249"/>
                    <a:pt x="57" y="249"/>
                  </a:cubicBezTo>
                  <a:cubicBezTo>
                    <a:pt x="57" y="249"/>
                    <a:pt x="57" y="249"/>
                    <a:pt x="57" y="249"/>
                  </a:cubicBezTo>
                  <a:cubicBezTo>
                    <a:pt x="64" y="246"/>
                    <a:pt x="64" y="246"/>
                    <a:pt x="64" y="246"/>
                  </a:cubicBezTo>
                  <a:cubicBezTo>
                    <a:pt x="87" y="254"/>
                    <a:pt x="87" y="254"/>
                    <a:pt x="87" y="254"/>
                  </a:cubicBezTo>
                  <a:cubicBezTo>
                    <a:pt x="95" y="250"/>
                    <a:pt x="95" y="250"/>
                    <a:pt x="95" y="250"/>
                  </a:cubicBezTo>
                  <a:cubicBezTo>
                    <a:pt x="103" y="250"/>
                    <a:pt x="103" y="250"/>
                    <a:pt x="103" y="250"/>
                  </a:cubicBezTo>
                  <a:cubicBezTo>
                    <a:pt x="110" y="246"/>
                    <a:pt x="110" y="246"/>
                    <a:pt x="110" y="246"/>
                  </a:cubicBezTo>
                  <a:cubicBezTo>
                    <a:pt x="126" y="248"/>
                    <a:pt x="126" y="248"/>
                    <a:pt x="126" y="248"/>
                  </a:cubicBezTo>
                  <a:cubicBezTo>
                    <a:pt x="126" y="248"/>
                    <a:pt x="126" y="248"/>
                    <a:pt x="126" y="248"/>
                  </a:cubicBezTo>
                  <a:cubicBezTo>
                    <a:pt x="126" y="227"/>
                    <a:pt x="127" y="161"/>
                    <a:pt x="126" y="157"/>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31" name="Minnesota">
              <a:extLst>
                <a:ext uri="{FF2B5EF4-FFF2-40B4-BE49-F238E27FC236}">
                  <a16:creationId xmlns:a16="http://schemas.microsoft.com/office/drawing/2014/main" id="{8B3FB232-F05B-34A0-07A1-C34FAEAC853E}"/>
                </a:ext>
              </a:extLst>
            </p:cNvPr>
            <p:cNvSpPr>
              <a:spLocks/>
            </p:cNvSpPr>
            <p:nvPr/>
          </p:nvSpPr>
          <p:spPr bwMode="auto">
            <a:xfrm>
              <a:off x="6279840" y="778934"/>
              <a:ext cx="1173624" cy="1195357"/>
            </a:xfrm>
            <a:custGeom>
              <a:avLst/>
              <a:gdLst>
                <a:gd name="T0" fmla="*/ 10 w 297"/>
                <a:gd name="T1" fmla="*/ 129 h 302"/>
                <a:gd name="T2" fmla="*/ 22 w 297"/>
                <a:gd name="T3" fmla="*/ 162 h 302"/>
                <a:gd name="T4" fmla="*/ 24 w 297"/>
                <a:gd name="T5" fmla="*/ 180 h 302"/>
                <a:gd name="T6" fmla="*/ 24 w 297"/>
                <a:gd name="T7" fmla="*/ 219 h 302"/>
                <a:gd name="T8" fmla="*/ 36 w 297"/>
                <a:gd name="T9" fmla="*/ 301 h 302"/>
                <a:gd name="T10" fmla="*/ 37 w 297"/>
                <a:gd name="T11" fmla="*/ 302 h 302"/>
                <a:gd name="T12" fmla="*/ 228 w 297"/>
                <a:gd name="T13" fmla="*/ 302 h 302"/>
                <a:gd name="T14" fmla="*/ 227 w 297"/>
                <a:gd name="T15" fmla="*/ 294 h 302"/>
                <a:gd name="T16" fmla="*/ 229 w 297"/>
                <a:gd name="T17" fmla="*/ 289 h 302"/>
                <a:gd name="T18" fmla="*/ 227 w 297"/>
                <a:gd name="T19" fmla="*/ 287 h 302"/>
                <a:gd name="T20" fmla="*/ 193 w 297"/>
                <a:gd name="T21" fmla="*/ 249 h 302"/>
                <a:gd name="T22" fmla="*/ 172 w 297"/>
                <a:gd name="T23" fmla="*/ 226 h 302"/>
                <a:gd name="T24" fmla="*/ 172 w 297"/>
                <a:gd name="T25" fmla="*/ 205 h 302"/>
                <a:gd name="T26" fmla="*/ 181 w 297"/>
                <a:gd name="T27" fmla="*/ 174 h 302"/>
                <a:gd name="T28" fmla="*/ 193 w 297"/>
                <a:gd name="T29" fmla="*/ 159 h 302"/>
                <a:gd name="T30" fmla="*/ 204 w 297"/>
                <a:gd name="T31" fmla="*/ 160 h 302"/>
                <a:gd name="T32" fmla="*/ 266 w 297"/>
                <a:gd name="T33" fmla="*/ 105 h 302"/>
                <a:gd name="T34" fmla="*/ 285 w 297"/>
                <a:gd name="T35" fmla="*/ 94 h 302"/>
                <a:gd name="T36" fmla="*/ 293 w 297"/>
                <a:gd name="T37" fmla="*/ 86 h 302"/>
                <a:gd name="T38" fmla="*/ 266 w 297"/>
                <a:gd name="T39" fmla="*/ 78 h 302"/>
                <a:gd name="T40" fmla="*/ 246 w 297"/>
                <a:gd name="T41" fmla="*/ 78 h 302"/>
                <a:gd name="T42" fmla="*/ 231 w 297"/>
                <a:gd name="T43" fmla="*/ 82 h 302"/>
                <a:gd name="T44" fmla="*/ 219 w 297"/>
                <a:gd name="T45" fmla="*/ 70 h 302"/>
                <a:gd name="T46" fmla="*/ 192 w 297"/>
                <a:gd name="T47" fmla="*/ 55 h 302"/>
                <a:gd name="T48" fmla="*/ 161 w 297"/>
                <a:gd name="T49" fmla="*/ 47 h 302"/>
                <a:gd name="T50" fmla="*/ 145 w 297"/>
                <a:gd name="T51" fmla="*/ 51 h 302"/>
                <a:gd name="T52" fmla="*/ 141 w 297"/>
                <a:gd name="T53" fmla="*/ 47 h 302"/>
                <a:gd name="T54" fmla="*/ 118 w 297"/>
                <a:gd name="T55" fmla="*/ 43 h 302"/>
                <a:gd name="T56" fmla="*/ 110 w 297"/>
                <a:gd name="T57" fmla="*/ 43 h 302"/>
                <a:gd name="T58" fmla="*/ 102 w 297"/>
                <a:gd name="T59" fmla="*/ 23 h 302"/>
                <a:gd name="T60" fmla="*/ 86 w 297"/>
                <a:gd name="T61" fmla="*/ 0 h 302"/>
                <a:gd name="T62" fmla="*/ 0 w 297"/>
                <a:gd name="T63" fmla="*/ 27 h 302"/>
                <a:gd name="T64" fmla="*/ 10 w 297"/>
                <a:gd name="T65" fmla="*/ 9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302">
                  <a:moveTo>
                    <a:pt x="10" y="96"/>
                  </a:moveTo>
                  <a:cubicBezTo>
                    <a:pt x="10" y="129"/>
                    <a:pt x="10" y="129"/>
                    <a:pt x="10" y="129"/>
                  </a:cubicBezTo>
                  <a:cubicBezTo>
                    <a:pt x="22" y="150"/>
                    <a:pt x="22" y="150"/>
                    <a:pt x="22" y="150"/>
                  </a:cubicBezTo>
                  <a:cubicBezTo>
                    <a:pt x="22" y="162"/>
                    <a:pt x="22" y="162"/>
                    <a:pt x="22" y="162"/>
                  </a:cubicBezTo>
                  <a:cubicBezTo>
                    <a:pt x="24" y="180"/>
                    <a:pt x="24" y="180"/>
                    <a:pt x="24" y="180"/>
                  </a:cubicBezTo>
                  <a:cubicBezTo>
                    <a:pt x="24" y="180"/>
                    <a:pt x="24" y="180"/>
                    <a:pt x="24" y="180"/>
                  </a:cubicBezTo>
                  <a:cubicBezTo>
                    <a:pt x="24" y="181"/>
                    <a:pt x="24" y="181"/>
                    <a:pt x="24" y="181"/>
                  </a:cubicBezTo>
                  <a:cubicBezTo>
                    <a:pt x="24" y="219"/>
                    <a:pt x="24" y="219"/>
                    <a:pt x="24" y="219"/>
                  </a:cubicBezTo>
                  <a:cubicBezTo>
                    <a:pt x="36" y="233"/>
                    <a:pt x="36" y="233"/>
                    <a:pt x="36" y="233"/>
                  </a:cubicBezTo>
                  <a:cubicBezTo>
                    <a:pt x="36" y="301"/>
                    <a:pt x="36" y="301"/>
                    <a:pt x="36" y="301"/>
                  </a:cubicBezTo>
                  <a:cubicBezTo>
                    <a:pt x="36" y="302"/>
                    <a:pt x="36" y="302"/>
                    <a:pt x="36" y="302"/>
                  </a:cubicBezTo>
                  <a:cubicBezTo>
                    <a:pt x="37" y="302"/>
                    <a:pt x="37" y="302"/>
                    <a:pt x="37" y="302"/>
                  </a:cubicBezTo>
                  <a:cubicBezTo>
                    <a:pt x="227" y="302"/>
                    <a:pt x="227" y="302"/>
                    <a:pt x="227" y="302"/>
                  </a:cubicBezTo>
                  <a:cubicBezTo>
                    <a:pt x="228" y="302"/>
                    <a:pt x="228" y="302"/>
                    <a:pt x="228" y="302"/>
                  </a:cubicBezTo>
                  <a:cubicBezTo>
                    <a:pt x="227" y="300"/>
                    <a:pt x="227" y="300"/>
                    <a:pt x="227" y="300"/>
                  </a:cubicBezTo>
                  <a:cubicBezTo>
                    <a:pt x="227" y="298"/>
                    <a:pt x="227" y="296"/>
                    <a:pt x="227" y="294"/>
                  </a:cubicBezTo>
                  <a:cubicBezTo>
                    <a:pt x="227" y="291"/>
                    <a:pt x="228" y="290"/>
                    <a:pt x="228" y="290"/>
                  </a:cubicBezTo>
                  <a:cubicBezTo>
                    <a:pt x="229" y="289"/>
                    <a:pt x="229" y="289"/>
                    <a:pt x="229" y="289"/>
                  </a:cubicBezTo>
                  <a:cubicBezTo>
                    <a:pt x="228" y="289"/>
                    <a:pt x="228" y="289"/>
                    <a:pt x="228" y="289"/>
                  </a:cubicBezTo>
                  <a:cubicBezTo>
                    <a:pt x="228" y="288"/>
                    <a:pt x="228" y="288"/>
                    <a:pt x="227" y="287"/>
                  </a:cubicBezTo>
                  <a:cubicBezTo>
                    <a:pt x="218" y="276"/>
                    <a:pt x="216" y="273"/>
                    <a:pt x="215" y="273"/>
                  </a:cubicBezTo>
                  <a:cubicBezTo>
                    <a:pt x="193" y="249"/>
                    <a:pt x="193" y="249"/>
                    <a:pt x="193" y="249"/>
                  </a:cubicBezTo>
                  <a:cubicBezTo>
                    <a:pt x="176" y="237"/>
                    <a:pt x="176" y="237"/>
                    <a:pt x="176" y="237"/>
                  </a:cubicBezTo>
                  <a:cubicBezTo>
                    <a:pt x="172" y="226"/>
                    <a:pt x="172" y="226"/>
                    <a:pt x="172" y="226"/>
                  </a:cubicBezTo>
                  <a:cubicBezTo>
                    <a:pt x="173" y="225"/>
                    <a:pt x="176" y="222"/>
                    <a:pt x="174" y="214"/>
                  </a:cubicBezTo>
                  <a:cubicBezTo>
                    <a:pt x="172" y="205"/>
                    <a:pt x="172" y="205"/>
                    <a:pt x="172" y="205"/>
                  </a:cubicBezTo>
                  <a:cubicBezTo>
                    <a:pt x="172" y="193"/>
                    <a:pt x="172" y="193"/>
                    <a:pt x="172" y="193"/>
                  </a:cubicBezTo>
                  <a:cubicBezTo>
                    <a:pt x="181" y="174"/>
                    <a:pt x="181" y="174"/>
                    <a:pt x="181" y="174"/>
                  </a:cubicBezTo>
                  <a:cubicBezTo>
                    <a:pt x="182" y="174"/>
                    <a:pt x="188" y="173"/>
                    <a:pt x="190" y="164"/>
                  </a:cubicBezTo>
                  <a:cubicBezTo>
                    <a:pt x="190" y="162"/>
                    <a:pt x="192" y="160"/>
                    <a:pt x="193" y="159"/>
                  </a:cubicBezTo>
                  <a:cubicBezTo>
                    <a:pt x="194" y="159"/>
                    <a:pt x="195" y="159"/>
                    <a:pt x="196" y="159"/>
                  </a:cubicBezTo>
                  <a:cubicBezTo>
                    <a:pt x="199" y="159"/>
                    <a:pt x="202" y="160"/>
                    <a:pt x="204" y="160"/>
                  </a:cubicBezTo>
                  <a:cubicBezTo>
                    <a:pt x="204" y="160"/>
                    <a:pt x="204" y="160"/>
                    <a:pt x="204" y="160"/>
                  </a:cubicBezTo>
                  <a:cubicBezTo>
                    <a:pt x="266" y="105"/>
                    <a:pt x="266" y="105"/>
                    <a:pt x="266" y="105"/>
                  </a:cubicBezTo>
                  <a:cubicBezTo>
                    <a:pt x="282" y="102"/>
                    <a:pt x="282" y="102"/>
                    <a:pt x="282" y="102"/>
                  </a:cubicBezTo>
                  <a:cubicBezTo>
                    <a:pt x="285" y="94"/>
                    <a:pt x="285" y="94"/>
                    <a:pt x="285" y="94"/>
                  </a:cubicBezTo>
                  <a:cubicBezTo>
                    <a:pt x="297" y="86"/>
                    <a:pt x="297" y="86"/>
                    <a:pt x="297" y="86"/>
                  </a:cubicBezTo>
                  <a:cubicBezTo>
                    <a:pt x="293" y="86"/>
                    <a:pt x="293" y="86"/>
                    <a:pt x="293" y="86"/>
                  </a:cubicBezTo>
                  <a:cubicBezTo>
                    <a:pt x="282" y="82"/>
                    <a:pt x="282" y="82"/>
                    <a:pt x="282" y="82"/>
                  </a:cubicBezTo>
                  <a:cubicBezTo>
                    <a:pt x="266" y="78"/>
                    <a:pt x="266" y="78"/>
                    <a:pt x="266" y="78"/>
                  </a:cubicBezTo>
                  <a:cubicBezTo>
                    <a:pt x="254" y="74"/>
                    <a:pt x="254" y="74"/>
                    <a:pt x="254" y="74"/>
                  </a:cubicBezTo>
                  <a:cubicBezTo>
                    <a:pt x="246" y="78"/>
                    <a:pt x="246" y="78"/>
                    <a:pt x="246" y="78"/>
                  </a:cubicBezTo>
                  <a:cubicBezTo>
                    <a:pt x="239" y="82"/>
                    <a:pt x="239" y="82"/>
                    <a:pt x="239" y="82"/>
                  </a:cubicBezTo>
                  <a:cubicBezTo>
                    <a:pt x="231" y="82"/>
                    <a:pt x="231" y="82"/>
                    <a:pt x="231" y="82"/>
                  </a:cubicBezTo>
                  <a:cubicBezTo>
                    <a:pt x="223" y="78"/>
                    <a:pt x="223" y="78"/>
                    <a:pt x="223" y="78"/>
                  </a:cubicBezTo>
                  <a:cubicBezTo>
                    <a:pt x="219" y="70"/>
                    <a:pt x="219" y="70"/>
                    <a:pt x="219" y="70"/>
                  </a:cubicBezTo>
                  <a:cubicBezTo>
                    <a:pt x="196" y="59"/>
                    <a:pt x="196" y="59"/>
                    <a:pt x="196" y="59"/>
                  </a:cubicBezTo>
                  <a:cubicBezTo>
                    <a:pt x="192" y="55"/>
                    <a:pt x="192" y="55"/>
                    <a:pt x="192" y="55"/>
                  </a:cubicBezTo>
                  <a:cubicBezTo>
                    <a:pt x="176" y="47"/>
                    <a:pt x="176" y="47"/>
                    <a:pt x="176" y="47"/>
                  </a:cubicBezTo>
                  <a:cubicBezTo>
                    <a:pt x="161" y="47"/>
                    <a:pt x="161" y="47"/>
                    <a:pt x="161" y="47"/>
                  </a:cubicBezTo>
                  <a:cubicBezTo>
                    <a:pt x="153" y="51"/>
                    <a:pt x="153" y="51"/>
                    <a:pt x="153" y="51"/>
                  </a:cubicBezTo>
                  <a:cubicBezTo>
                    <a:pt x="145" y="51"/>
                    <a:pt x="145" y="51"/>
                    <a:pt x="145" y="51"/>
                  </a:cubicBezTo>
                  <a:cubicBezTo>
                    <a:pt x="141" y="51"/>
                    <a:pt x="141" y="51"/>
                    <a:pt x="141" y="51"/>
                  </a:cubicBezTo>
                  <a:cubicBezTo>
                    <a:pt x="141" y="47"/>
                    <a:pt x="141" y="47"/>
                    <a:pt x="141" y="47"/>
                  </a:cubicBezTo>
                  <a:cubicBezTo>
                    <a:pt x="125" y="43"/>
                    <a:pt x="125" y="43"/>
                    <a:pt x="125" y="43"/>
                  </a:cubicBezTo>
                  <a:cubicBezTo>
                    <a:pt x="118" y="43"/>
                    <a:pt x="118" y="43"/>
                    <a:pt x="118" y="43"/>
                  </a:cubicBezTo>
                  <a:cubicBezTo>
                    <a:pt x="114" y="43"/>
                    <a:pt x="114" y="43"/>
                    <a:pt x="114" y="43"/>
                  </a:cubicBezTo>
                  <a:cubicBezTo>
                    <a:pt x="110" y="43"/>
                    <a:pt x="110" y="43"/>
                    <a:pt x="110" y="43"/>
                  </a:cubicBezTo>
                  <a:cubicBezTo>
                    <a:pt x="102" y="27"/>
                    <a:pt x="102" y="27"/>
                    <a:pt x="102" y="27"/>
                  </a:cubicBezTo>
                  <a:cubicBezTo>
                    <a:pt x="102" y="23"/>
                    <a:pt x="102" y="23"/>
                    <a:pt x="102" y="23"/>
                  </a:cubicBezTo>
                  <a:cubicBezTo>
                    <a:pt x="94" y="4"/>
                    <a:pt x="94" y="4"/>
                    <a:pt x="94" y="4"/>
                  </a:cubicBezTo>
                  <a:cubicBezTo>
                    <a:pt x="86" y="0"/>
                    <a:pt x="86" y="0"/>
                    <a:pt x="86" y="0"/>
                  </a:cubicBezTo>
                  <a:cubicBezTo>
                    <a:pt x="86" y="27"/>
                    <a:pt x="86" y="27"/>
                    <a:pt x="86" y="27"/>
                  </a:cubicBezTo>
                  <a:cubicBezTo>
                    <a:pt x="0" y="27"/>
                    <a:pt x="0" y="27"/>
                    <a:pt x="0" y="27"/>
                  </a:cubicBezTo>
                  <a:cubicBezTo>
                    <a:pt x="0" y="77"/>
                    <a:pt x="0" y="77"/>
                    <a:pt x="0" y="77"/>
                  </a:cubicBezTo>
                  <a:lnTo>
                    <a:pt x="10" y="9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32" name="Michigan">
              <a:extLst>
                <a:ext uri="{FF2B5EF4-FFF2-40B4-BE49-F238E27FC236}">
                  <a16:creationId xmlns:a16="http://schemas.microsoft.com/office/drawing/2014/main" id="{675BE53B-F9A3-8845-FFBF-3FF40EA38B23}"/>
                </a:ext>
              </a:extLst>
            </p:cNvPr>
            <p:cNvSpPr>
              <a:spLocks/>
            </p:cNvSpPr>
            <p:nvPr/>
          </p:nvSpPr>
          <p:spPr bwMode="auto">
            <a:xfrm>
              <a:off x="7354825" y="1225311"/>
              <a:ext cx="1225450" cy="1235482"/>
            </a:xfrm>
            <a:custGeom>
              <a:avLst/>
              <a:gdLst>
                <a:gd name="connsiteX0" fmla="*/ 827555 w 1225450"/>
                <a:gd name="connsiteY0" fmla="*/ 404583 h 1235482"/>
                <a:gd name="connsiteX1" fmla="*/ 854304 w 1225450"/>
                <a:gd name="connsiteY1" fmla="*/ 404583 h 1235482"/>
                <a:gd name="connsiteX2" fmla="*/ 886069 w 1225450"/>
                <a:gd name="connsiteY2" fmla="*/ 404583 h 1235482"/>
                <a:gd name="connsiteX3" fmla="*/ 886069 w 1225450"/>
                <a:gd name="connsiteY3" fmla="*/ 419630 h 1235482"/>
                <a:gd name="connsiteX4" fmla="*/ 917834 w 1225450"/>
                <a:gd name="connsiteY4" fmla="*/ 404583 h 1235482"/>
                <a:gd name="connsiteX5" fmla="*/ 932880 w 1225450"/>
                <a:gd name="connsiteY5" fmla="*/ 419630 h 1235482"/>
                <a:gd name="connsiteX6" fmla="*/ 964645 w 1225450"/>
                <a:gd name="connsiteY6" fmla="*/ 448051 h 1235482"/>
                <a:gd name="connsiteX7" fmla="*/ 981363 w 1225450"/>
                <a:gd name="connsiteY7" fmla="*/ 448051 h 1235482"/>
                <a:gd name="connsiteX8" fmla="*/ 996410 w 1225450"/>
                <a:gd name="connsiteY8" fmla="*/ 463097 h 1235482"/>
                <a:gd name="connsiteX9" fmla="*/ 1039877 w 1225450"/>
                <a:gd name="connsiteY9" fmla="*/ 479815 h 1235482"/>
                <a:gd name="connsiteX10" fmla="*/ 1056595 w 1225450"/>
                <a:gd name="connsiteY10" fmla="*/ 494862 h 1235482"/>
                <a:gd name="connsiteX11" fmla="*/ 1071642 w 1225450"/>
                <a:gd name="connsiteY11" fmla="*/ 543345 h 1235482"/>
                <a:gd name="connsiteX12" fmla="*/ 1056595 w 1225450"/>
                <a:gd name="connsiteY12" fmla="*/ 558391 h 1235482"/>
                <a:gd name="connsiteX13" fmla="*/ 1056595 w 1225450"/>
                <a:gd name="connsiteY13" fmla="*/ 575110 h 1235482"/>
                <a:gd name="connsiteX14" fmla="*/ 1071642 w 1225450"/>
                <a:gd name="connsiteY14" fmla="*/ 590156 h 1235482"/>
                <a:gd name="connsiteX15" fmla="*/ 1088360 w 1225450"/>
                <a:gd name="connsiteY15" fmla="*/ 682107 h 1235482"/>
                <a:gd name="connsiteX16" fmla="*/ 1071642 w 1225450"/>
                <a:gd name="connsiteY16" fmla="*/ 697153 h 1235482"/>
                <a:gd name="connsiteX17" fmla="*/ 1056595 w 1225450"/>
                <a:gd name="connsiteY17" fmla="*/ 713871 h 1235482"/>
                <a:gd name="connsiteX18" fmla="*/ 1039877 w 1225450"/>
                <a:gd name="connsiteY18" fmla="*/ 745636 h 1235482"/>
                <a:gd name="connsiteX19" fmla="*/ 1008113 w 1225450"/>
                <a:gd name="connsiteY19" fmla="*/ 772385 h 1235482"/>
                <a:gd name="connsiteX20" fmla="*/ 981363 w 1225450"/>
                <a:gd name="connsiteY20" fmla="*/ 820868 h 1235482"/>
                <a:gd name="connsiteX21" fmla="*/ 996410 w 1225450"/>
                <a:gd name="connsiteY21" fmla="*/ 835915 h 1235482"/>
                <a:gd name="connsiteX22" fmla="*/ 1008113 w 1225450"/>
                <a:gd name="connsiteY22" fmla="*/ 835915 h 1235482"/>
                <a:gd name="connsiteX23" fmla="*/ 1056595 w 1225450"/>
                <a:gd name="connsiteY23" fmla="*/ 820868 h 1235482"/>
                <a:gd name="connsiteX24" fmla="*/ 1071642 w 1225450"/>
                <a:gd name="connsiteY24" fmla="*/ 772385 h 1235482"/>
                <a:gd name="connsiteX25" fmla="*/ 1120125 w 1225450"/>
                <a:gd name="connsiteY25" fmla="*/ 757339 h 1235482"/>
                <a:gd name="connsiteX26" fmla="*/ 1150218 w 1225450"/>
                <a:gd name="connsiteY26" fmla="*/ 745636 h 1235482"/>
                <a:gd name="connsiteX27" fmla="*/ 1195357 w 1225450"/>
                <a:gd name="connsiteY27" fmla="*/ 835915 h 1235482"/>
                <a:gd name="connsiteX28" fmla="*/ 1195357 w 1225450"/>
                <a:gd name="connsiteY28" fmla="*/ 927866 h 1235482"/>
                <a:gd name="connsiteX29" fmla="*/ 1210404 w 1225450"/>
                <a:gd name="connsiteY29" fmla="*/ 957959 h 1235482"/>
                <a:gd name="connsiteX30" fmla="*/ 1210404 w 1225450"/>
                <a:gd name="connsiteY30" fmla="*/ 974677 h 1235482"/>
                <a:gd name="connsiteX31" fmla="*/ 1225450 w 1225450"/>
                <a:gd name="connsiteY31" fmla="*/ 957959 h 1235482"/>
                <a:gd name="connsiteX32" fmla="*/ 1195357 w 1225450"/>
                <a:gd name="connsiteY32" fmla="*/ 1053253 h 1235482"/>
                <a:gd name="connsiteX33" fmla="*/ 1163592 w 1225450"/>
                <a:gd name="connsiteY33" fmla="*/ 1053253 h 1235482"/>
                <a:gd name="connsiteX34" fmla="*/ 1150218 w 1225450"/>
                <a:gd name="connsiteY34" fmla="*/ 1069971 h 1235482"/>
                <a:gd name="connsiteX35" fmla="*/ 1150218 w 1225450"/>
                <a:gd name="connsiteY35" fmla="*/ 1081674 h 1235482"/>
                <a:gd name="connsiteX36" fmla="*/ 1150218 w 1225450"/>
                <a:gd name="connsiteY36" fmla="*/ 1113439 h 1235482"/>
                <a:gd name="connsiteX37" fmla="*/ 1135171 w 1225450"/>
                <a:gd name="connsiteY37" fmla="*/ 1113439 h 1235482"/>
                <a:gd name="connsiteX38" fmla="*/ 1135171 w 1225450"/>
                <a:gd name="connsiteY38" fmla="*/ 1128485 h 1235482"/>
                <a:gd name="connsiteX39" fmla="*/ 1120125 w 1225450"/>
                <a:gd name="connsiteY39" fmla="*/ 1160250 h 1235482"/>
                <a:gd name="connsiteX40" fmla="*/ 1120125 w 1225450"/>
                <a:gd name="connsiteY40" fmla="*/ 1192015 h 1235482"/>
                <a:gd name="connsiteX41" fmla="*/ 1076657 w 1225450"/>
                <a:gd name="connsiteY41" fmla="*/ 1235482 h 1235482"/>
                <a:gd name="connsiteX42" fmla="*/ 834242 w 1225450"/>
                <a:gd name="connsiteY42" fmla="*/ 1235482 h 1235482"/>
                <a:gd name="connsiteX43" fmla="*/ 830899 w 1225450"/>
                <a:gd name="connsiteY43" fmla="*/ 1235482 h 1235482"/>
                <a:gd name="connsiteX44" fmla="*/ 514923 w 1225450"/>
                <a:gd name="connsiteY44" fmla="*/ 1235482 h 1235482"/>
                <a:gd name="connsiteX45" fmla="*/ 561734 w 1225450"/>
                <a:gd name="connsiteY45" fmla="*/ 1208733 h 1235482"/>
                <a:gd name="connsiteX46" fmla="*/ 625264 w 1225450"/>
                <a:gd name="connsiteY46" fmla="*/ 1053253 h 1235482"/>
                <a:gd name="connsiteX47" fmla="*/ 625264 w 1225450"/>
                <a:gd name="connsiteY47" fmla="*/ 957959 h 1235482"/>
                <a:gd name="connsiteX48" fmla="*/ 578453 w 1225450"/>
                <a:gd name="connsiteY48" fmla="*/ 835915 h 1235482"/>
                <a:gd name="connsiteX49" fmla="*/ 608546 w 1225450"/>
                <a:gd name="connsiteY49" fmla="*/ 728918 h 1235482"/>
                <a:gd name="connsiteX50" fmla="*/ 625264 w 1225450"/>
                <a:gd name="connsiteY50" fmla="*/ 713871 h 1235482"/>
                <a:gd name="connsiteX51" fmla="*/ 625264 w 1225450"/>
                <a:gd name="connsiteY51" fmla="*/ 618577 h 1235482"/>
                <a:gd name="connsiteX52" fmla="*/ 640310 w 1225450"/>
                <a:gd name="connsiteY52" fmla="*/ 601859 h 1235482"/>
                <a:gd name="connsiteX53" fmla="*/ 657029 w 1225450"/>
                <a:gd name="connsiteY53" fmla="*/ 575110 h 1235482"/>
                <a:gd name="connsiteX54" fmla="*/ 683778 w 1225450"/>
                <a:gd name="connsiteY54" fmla="*/ 558391 h 1235482"/>
                <a:gd name="connsiteX55" fmla="*/ 700496 w 1225450"/>
                <a:gd name="connsiteY55" fmla="*/ 543345 h 1235482"/>
                <a:gd name="connsiteX56" fmla="*/ 715543 w 1225450"/>
                <a:gd name="connsiteY56" fmla="*/ 526627 h 1235482"/>
                <a:gd name="connsiteX57" fmla="*/ 715543 w 1225450"/>
                <a:gd name="connsiteY57" fmla="*/ 543345 h 1235482"/>
                <a:gd name="connsiteX58" fmla="*/ 732261 w 1225450"/>
                <a:gd name="connsiteY58" fmla="*/ 590156 h 1235482"/>
                <a:gd name="connsiteX59" fmla="*/ 732261 w 1225450"/>
                <a:gd name="connsiteY59" fmla="*/ 575110 h 1235482"/>
                <a:gd name="connsiteX60" fmla="*/ 747307 w 1225450"/>
                <a:gd name="connsiteY60" fmla="*/ 575110 h 1235482"/>
                <a:gd name="connsiteX61" fmla="*/ 764026 w 1225450"/>
                <a:gd name="connsiteY61" fmla="*/ 494862 h 1235482"/>
                <a:gd name="connsiteX62" fmla="*/ 827555 w 1225450"/>
                <a:gd name="connsiteY62" fmla="*/ 479815 h 1235482"/>
                <a:gd name="connsiteX63" fmla="*/ 827555 w 1225450"/>
                <a:gd name="connsiteY63" fmla="*/ 463097 h 1235482"/>
                <a:gd name="connsiteX64" fmla="*/ 810837 w 1225450"/>
                <a:gd name="connsiteY64" fmla="*/ 448051 h 1235482"/>
                <a:gd name="connsiteX65" fmla="*/ 810837 w 1225450"/>
                <a:gd name="connsiteY65" fmla="*/ 419630 h 1235482"/>
                <a:gd name="connsiteX66" fmla="*/ 364054 w 1225450"/>
                <a:gd name="connsiteY66" fmla="*/ 0 h 1235482"/>
                <a:gd name="connsiteX67" fmla="*/ 391754 w 1225450"/>
                <a:gd name="connsiteY67" fmla="*/ 0 h 1235482"/>
                <a:gd name="connsiteX68" fmla="*/ 391754 w 1225450"/>
                <a:gd name="connsiteY68" fmla="*/ 15871 h 1235482"/>
                <a:gd name="connsiteX69" fmla="*/ 364054 w 1225450"/>
                <a:gd name="connsiteY69" fmla="*/ 31742 h 1235482"/>
                <a:gd name="connsiteX70" fmla="*/ 316568 w 1225450"/>
                <a:gd name="connsiteY70" fmla="*/ 95227 h 1235482"/>
                <a:gd name="connsiteX71" fmla="*/ 300740 w 1225450"/>
                <a:gd name="connsiteY71" fmla="*/ 111099 h 1235482"/>
                <a:gd name="connsiteX72" fmla="*/ 284912 w 1225450"/>
                <a:gd name="connsiteY72" fmla="*/ 123002 h 1235482"/>
                <a:gd name="connsiteX73" fmla="*/ 284912 w 1225450"/>
                <a:gd name="connsiteY73" fmla="*/ 170616 h 1235482"/>
                <a:gd name="connsiteX74" fmla="*/ 316568 w 1225450"/>
                <a:gd name="connsiteY74" fmla="*/ 138873 h 1235482"/>
                <a:gd name="connsiteX75" fmla="*/ 332397 w 1225450"/>
                <a:gd name="connsiteY75" fmla="*/ 154744 h 1235482"/>
                <a:gd name="connsiteX76" fmla="*/ 364054 w 1225450"/>
                <a:gd name="connsiteY76" fmla="*/ 138873 h 1235482"/>
                <a:gd name="connsiteX77" fmla="*/ 423410 w 1225450"/>
                <a:gd name="connsiteY77" fmla="*/ 170616 h 1235482"/>
                <a:gd name="connsiteX78" fmla="*/ 470896 w 1225450"/>
                <a:gd name="connsiteY78" fmla="*/ 234101 h 1235482"/>
                <a:gd name="connsiteX79" fmla="*/ 486724 w 1225450"/>
                <a:gd name="connsiteY79" fmla="*/ 234101 h 1235482"/>
                <a:gd name="connsiteX80" fmla="*/ 561910 w 1225450"/>
                <a:gd name="connsiteY80" fmla="*/ 234101 h 1235482"/>
                <a:gd name="connsiteX81" fmla="*/ 577738 w 1225450"/>
                <a:gd name="connsiteY81" fmla="*/ 234101 h 1235482"/>
                <a:gd name="connsiteX82" fmla="*/ 593567 w 1225450"/>
                <a:gd name="connsiteY82" fmla="*/ 218229 h 1235482"/>
                <a:gd name="connsiteX83" fmla="*/ 641052 w 1225450"/>
                <a:gd name="connsiteY83" fmla="*/ 186487 h 1235482"/>
                <a:gd name="connsiteX84" fmla="*/ 763722 w 1225450"/>
                <a:gd name="connsiteY84" fmla="*/ 186487 h 1235482"/>
                <a:gd name="connsiteX85" fmla="*/ 779551 w 1225450"/>
                <a:gd name="connsiteY85" fmla="*/ 170616 h 1235482"/>
                <a:gd name="connsiteX86" fmla="*/ 811208 w 1225450"/>
                <a:gd name="connsiteY86" fmla="*/ 170616 h 1235482"/>
                <a:gd name="connsiteX87" fmla="*/ 811208 w 1225450"/>
                <a:gd name="connsiteY87" fmla="*/ 186487 h 1235482"/>
                <a:gd name="connsiteX88" fmla="*/ 811208 w 1225450"/>
                <a:gd name="connsiteY88" fmla="*/ 218229 h 1235482"/>
                <a:gd name="connsiteX89" fmla="*/ 854736 w 1225450"/>
                <a:gd name="connsiteY89" fmla="*/ 234101 h 1235482"/>
                <a:gd name="connsiteX90" fmla="*/ 918049 w 1225450"/>
                <a:gd name="connsiteY90" fmla="*/ 234101 h 1235482"/>
                <a:gd name="connsiteX91" fmla="*/ 933878 w 1225450"/>
                <a:gd name="connsiteY91" fmla="*/ 234101 h 1235482"/>
                <a:gd name="connsiteX92" fmla="*/ 933878 w 1225450"/>
                <a:gd name="connsiteY92" fmla="*/ 249972 h 1235482"/>
                <a:gd name="connsiteX93" fmla="*/ 933878 w 1225450"/>
                <a:gd name="connsiteY93" fmla="*/ 265843 h 1235482"/>
                <a:gd name="connsiteX94" fmla="*/ 933878 w 1225450"/>
                <a:gd name="connsiteY94" fmla="*/ 293618 h 1235482"/>
                <a:gd name="connsiteX95" fmla="*/ 949706 w 1225450"/>
                <a:gd name="connsiteY95" fmla="*/ 309489 h 1235482"/>
                <a:gd name="connsiteX96" fmla="*/ 965535 w 1225450"/>
                <a:gd name="connsiteY96" fmla="*/ 325360 h 1235482"/>
                <a:gd name="connsiteX97" fmla="*/ 981363 w 1225450"/>
                <a:gd name="connsiteY97" fmla="*/ 325360 h 1235482"/>
                <a:gd name="connsiteX98" fmla="*/ 981363 w 1225450"/>
                <a:gd name="connsiteY98" fmla="*/ 341231 h 1235482"/>
                <a:gd name="connsiteX99" fmla="*/ 918049 w 1225450"/>
                <a:gd name="connsiteY99" fmla="*/ 357103 h 1235482"/>
                <a:gd name="connsiteX100" fmla="*/ 902221 w 1225450"/>
                <a:gd name="connsiteY100" fmla="*/ 341231 h 1235482"/>
                <a:gd name="connsiteX101" fmla="*/ 886393 w 1225450"/>
                <a:gd name="connsiteY101" fmla="*/ 325360 h 1235482"/>
                <a:gd name="connsiteX102" fmla="*/ 886393 w 1225450"/>
                <a:gd name="connsiteY102" fmla="*/ 341231 h 1235482"/>
                <a:gd name="connsiteX103" fmla="*/ 870564 w 1225450"/>
                <a:gd name="connsiteY103" fmla="*/ 357103 h 1235482"/>
                <a:gd name="connsiteX104" fmla="*/ 854736 w 1225450"/>
                <a:gd name="connsiteY104" fmla="*/ 357103 h 1235482"/>
                <a:gd name="connsiteX105" fmla="*/ 842864 w 1225450"/>
                <a:gd name="connsiteY105" fmla="*/ 341231 h 1235482"/>
                <a:gd name="connsiteX106" fmla="*/ 811208 w 1225450"/>
                <a:gd name="connsiteY106" fmla="*/ 325360 h 1235482"/>
                <a:gd name="connsiteX107" fmla="*/ 763722 w 1225450"/>
                <a:gd name="connsiteY107" fmla="*/ 325360 h 1235482"/>
                <a:gd name="connsiteX108" fmla="*/ 732065 w 1225450"/>
                <a:gd name="connsiteY108" fmla="*/ 325360 h 1235482"/>
                <a:gd name="connsiteX109" fmla="*/ 716237 w 1225450"/>
                <a:gd name="connsiteY109" fmla="*/ 341231 h 1235482"/>
                <a:gd name="connsiteX110" fmla="*/ 641052 w 1225450"/>
                <a:gd name="connsiteY110" fmla="*/ 372974 h 1235482"/>
                <a:gd name="connsiteX111" fmla="*/ 577738 w 1225450"/>
                <a:gd name="connsiteY111" fmla="*/ 420588 h 1235482"/>
                <a:gd name="connsiteX112" fmla="*/ 561910 w 1225450"/>
                <a:gd name="connsiteY112" fmla="*/ 420588 h 1235482"/>
                <a:gd name="connsiteX113" fmla="*/ 577738 w 1225450"/>
                <a:gd name="connsiteY113" fmla="*/ 372974 h 1235482"/>
                <a:gd name="connsiteX114" fmla="*/ 546081 w 1225450"/>
                <a:gd name="connsiteY114" fmla="*/ 388845 h 1235482"/>
                <a:gd name="connsiteX115" fmla="*/ 530253 w 1225450"/>
                <a:gd name="connsiteY115" fmla="*/ 388845 h 1235482"/>
                <a:gd name="connsiteX116" fmla="*/ 518381 w 1225450"/>
                <a:gd name="connsiteY116" fmla="*/ 388845 h 1235482"/>
                <a:gd name="connsiteX117" fmla="*/ 407582 w 1225450"/>
                <a:gd name="connsiteY117" fmla="*/ 559461 h 1235482"/>
                <a:gd name="connsiteX118" fmla="*/ 391754 w 1225450"/>
                <a:gd name="connsiteY118" fmla="*/ 591203 h 1235482"/>
                <a:gd name="connsiteX119" fmla="*/ 387796 w 1225450"/>
                <a:gd name="connsiteY119" fmla="*/ 595171 h 1235482"/>
                <a:gd name="connsiteX120" fmla="*/ 387796 w 1225450"/>
                <a:gd name="connsiteY120" fmla="*/ 591203 h 1235482"/>
                <a:gd name="connsiteX121" fmla="*/ 383839 w 1225450"/>
                <a:gd name="connsiteY121" fmla="*/ 567396 h 1235482"/>
                <a:gd name="connsiteX122" fmla="*/ 379882 w 1225450"/>
                <a:gd name="connsiteY122" fmla="*/ 535654 h 1235482"/>
                <a:gd name="connsiteX123" fmla="*/ 379882 w 1225450"/>
                <a:gd name="connsiteY123" fmla="*/ 484072 h 1235482"/>
                <a:gd name="connsiteX124" fmla="*/ 379882 w 1225450"/>
                <a:gd name="connsiteY124" fmla="*/ 480105 h 1235482"/>
                <a:gd name="connsiteX125" fmla="*/ 383839 w 1225450"/>
                <a:gd name="connsiteY125" fmla="*/ 476137 h 1235482"/>
                <a:gd name="connsiteX126" fmla="*/ 375925 w 1225450"/>
                <a:gd name="connsiteY126" fmla="*/ 468201 h 1235482"/>
                <a:gd name="connsiteX127" fmla="*/ 368011 w 1225450"/>
                <a:gd name="connsiteY127" fmla="*/ 448362 h 1235482"/>
                <a:gd name="connsiteX128" fmla="*/ 360097 w 1225450"/>
                <a:gd name="connsiteY128" fmla="*/ 440427 h 1235482"/>
                <a:gd name="connsiteX129" fmla="*/ 316568 w 1225450"/>
                <a:gd name="connsiteY129" fmla="*/ 392813 h 1235482"/>
                <a:gd name="connsiteX130" fmla="*/ 328440 w 1225450"/>
                <a:gd name="connsiteY130" fmla="*/ 372974 h 1235482"/>
                <a:gd name="connsiteX131" fmla="*/ 312611 w 1225450"/>
                <a:gd name="connsiteY131" fmla="*/ 365038 h 1235482"/>
                <a:gd name="connsiteX132" fmla="*/ 189941 w 1225450"/>
                <a:gd name="connsiteY132" fmla="*/ 365038 h 1235482"/>
                <a:gd name="connsiteX133" fmla="*/ 189941 w 1225450"/>
                <a:gd name="connsiteY133" fmla="*/ 321392 h 1235482"/>
                <a:gd name="connsiteX134" fmla="*/ 174113 w 1225450"/>
                <a:gd name="connsiteY134" fmla="*/ 305521 h 1235482"/>
                <a:gd name="connsiteX135" fmla="*/ 162241 w 1225450"/>
                <a:gd name="connsiteY135" fmla="*/ 301553 h 1235482"/>
                <a:gd name="connsiteX136" fmla="*/ 158284 w 1225450"/>
                <a:gd name="connsiteY136" fmla="*/ 301553 h 1235482"/>
                <a:gd name="connsiteX137" fmla="*/ 158284 w 1225450"/>
                <a:gd name="connsiteY137" fmla="*/ 297585 h 1235482"/>
                <a:gd name="connsiteX138" fmla="*/ 150370 w 1225450"/>
                <a:gd name="connsiteY138" fmla="*/ 297585 h 1235482"/>
                <a:gd name="connsiteX139" fmla="*/ 126627 w 1225450"/>
                <a:gd name="connsiteY139" fmla="*/ 293618 h 1235482"/>
                <a:gd name="connsiteX140" fmla="*/ 91013 w 1225450"/>
                <a:gd name="connsiteY140" fmla="*/ 297585 h 1235482"/>
                <a:gd name="connsiteX141" fmla="*/ 67271 w 1225450"/>
                <a:gd name="connsiteY141" fmla="*/ 293618 h 1235482"/>
                <a:gd name="connsiteX142" fmla="*/ 35614 w 1225450"/>
                <a:gd name="connsiteY142" fmla="*/ 277746 h 1235482"/>
                <a:gd name="connsiteX143" fmla="*/ 23742 w 1225450"/>
                <a:gd name="connsiteY143" fmla="*/ 277746 h 1235482"/>
                <a:gd name="connsiteX144" fmla="*/ 0 w 1225450"/>
                <a:gd name="connsiteY144" fmla="*/ 238068 h 1235482"/>
                <a:gd name="connsiteX145" fmla="*/ 0 w 1225450"/>
                <a:gd name="connsiteY145" fmla="*/ 202358 h 1235482"/>
                <a:gd name="connsiteX146" fmla="*/ 23742 w 1225450"/>
                <a:gd name="connsiteY146" fmla="*/ 202358 h 1235482"/>
                <a:gd name="connsiteX147" fmla="*/ 83099 w 1225450"/>
                <a:gd name="connsiteY147" fmla="*/ 170616 h 1235482"/>
                <a:gd name="connsiteX148" fmla="*/ 162241 w 1225450"/>
                <a:gd name="connsiteY148" fmla="*/ 138873 h 1235482"/>
                <a:gd name="connsiteX149" fmla="*/ 300740 w 1225450"/>
                <a:gd name="connsiteY149" fmla="*/ 31742 h 1235482"/>
                <a:gd name="connsiteX150" fmla="*/ 364054 w 1225450"/>
                <a:gd name="connsiteY150" fmla="*/ 0 h 123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1225450" h="1235482">
                  <a:moveTo>
                    <a:pt x="827555" y="404583"/>
                  </a:moveTo>
                  <a:lnTo>
                    <a:pt x="854304" y="404583"/>
                  </a:lnTo>
                  <a:lnTo>
                    <a:pt x="886069" y="404583"/>
                  </a:lnTo>
                  <a:lnTo>
                    <a:pt x="886069" y="419630"/>
                  </a:lnTo>
                  <a:lnTo>
                    <a:pt x="917834" y="404583"/>
                  </a:lnTo>
                  <a:lnTo>
                    <a:pt x="932880" y="419630"/>
                  </a:lnTo>
                  <a:lnTo>
                    <a:pt x="964645" y="448051"/>
                  </a:lnTo>
                  <a:lnTo>
                    <a:pt x="981363" y="448051"/>
                  </a:lnTo>
                  <a:lnTo>
                    <a:pt x="996410" y="463097"/>
                  </a:lnTo>
                  <a:lnTo>
                    <a:pt x="1039877" y="479815"/>
                  </a:lnTo>
                  <a:lnTo>
                    <a:pt x="1056595" y="494862"/>
                  </a:lnTo>
                  <a:lnTo>
                    <a:pt x="1071642" y="543345"/>
                  </a:lnTo>
                  <a:lnTo>
                    <a:pt x="1056595" y="558391"/>
                  </a:lnTo>
                  <a:lnTo>
                    <a:pt x="1056595" y="575110"/>
                  </a:lnTo>
                  <a:lnTo>
                    <a:pt x="1071642" y="590156"/>
                  </a:lnTo>
                  <a:lnTo>
                    <a:pt x="1088360" y="682107"/>
                  </a:lnTo>
                  <a:lnTo>
                    <a:pt x="1071642" y="697153"/>
                  </a:lnTo>
                  <a:lnTo>
                    <a:pt x="1056595" y="713871"/>
                  </a:lnTo>
                  <a:lnTo>
                    <a:pt x="1039877" y="745636"/>
                  </a:lnTo>
                  <a:lnTo>
                    <a:pt x="1008113" y="772385"/>
                  </a:lnTo>
                  <a:lnTo>
                    <a:pt x="981363" y="820868"/>
                  </a:lnTo>
                  <a:lnTo>
                    <a:pt x="996410" y="835915"/>
                  </a:lnTo>
                  <a:lnTo>
                    <a:pt x="1008113" y="835915"/>
                  </a:lnTo>
                  <a:lnTo>
                    <a:pt x="1056595" y="820868"/>
                  </a:lnTo>
                  <a:lnTo>
                    <a:pt x="1071642" y="772385"/>
                  </a:lnTo>
                  <a:lnTo>
                    <a:pt x="1120125" y="757339"/>
                  </a:lnTo>
                  <a:lnTo>
                    <a:pt x="1150218" y="745636"/>
                  </a:lnTo>
                  <a:lnTo>
                    <a:pt x="1195357" y="835915"/>
                  </a:lnTo>
                  <a:lnTo>
                    <a:pt x="1195357" y="927866"/>
                  </a:lnTo>
                  <a:lnTo>
                    <a:pt x="1210404" y="957959"/>
                  </a:lnTo>
                  <a:lnTo>
                    <a:pt x="1210404" y="974677"/>
                  </a:lnTo>
                  <a:lnTo>
                    <a:pt x="1225450" y="957959"/>
                  </a:lnTo>
                  <a:lnTo>
                    <a:pt x="1195357" y="1053253"/>
                  </a:lnTo>
                  <a:lnTo>
                    <a:pt x="1163592" y="1053253"/>
                  </a:lnTo>
                  <a:lnTo>
                    <a:pt x="1150218" y="1069971"/>
                  </a:lnTo>
                  <a:lnTo>
                    <a:pt x="1150218" y="1081674"/>
                  </a:lnTo>
                  <a:lnTo>
                    <a:pt x="1150218" y="1113439"/>
                  </a:lnTo>
                  <a:lnTo>
                    <a:pt x="1135171" y="1113439"/>
                  </a:lnTo>
                  <a:lnTo>
                    <a:pt x="1135171" y="1128485"/>
                  </a:lnTo>
                  <a:lnTo>
                    <a:pt x="1120125" y="1160250"/>
                  </a:lnTo>
                  <a:lnTo>
                    <a:pt x="1120125" y="1192015"/>
                  </a:lnTo>
                  <a:lnTo>
                    <a:pt x="1076657" y="1235482"/>
                  </a:lnTo>
                  <a:lnTo>
                    <a:pt x="834242" y="1235482"/>
                  </a:lnTo>
                  <a:lnTo>
                    <a:pt x="830899" y="1235482"/>
                  </a:lnTo>
                  <a:lnTo>
                    <a:pt x="514923" y="1235482"/>
                  </a:lnTo>
                  <a:lnTo>
                    <a:pt x="561734" y="1208733"/>
                  </a:lnTo>
                  <a:lnTo>
                    <a:pt x="625264" y="1053253"/>
                  </a:lnTo>
                  <a:lnTo>
                    <a:pt x="625264" y="957959"/>
                  </a:lnTo>
                  <a:lnTo>
                    <a:pt x="578453" y="835915"/>
                  </a:lnTo>
                  <a:lnTo>
                    <a:pt x="608546" y="728918"/>
                  </a:lnTo>
                  <a:lnTo>
                    <a:pt x="625264" y="713871"/>
                  </a:lnTo>
                  <a:lnTo>
                    <a:pt x="625264" y="618577"/>
                  </a:lnTo>
                  <a:lnTo>
                    <a:pt x="640310" y="601859"/>
                  </a:lnTo>
                  <a:lnTo>
                    <a:pt x="657029" y="575110"/>
                  </a:lnTo>
                  <a:lnTo>
                    <a:pt x="683778" y="558391"/>
                  </a:lnTo>
                  <a:lnTo>
                    <a:pt x="700496" y="543345"/>
                  </a:lnTo>
                  <a:lnTo>
                    <a:pt x="715543" y="526627"/>
                  </a:lnTo>
                  <a:lnTo>
                    <a:pt x="715543" y="543345"/>
                  </a:lnTo>
                  <a:lnTo>
                    <a:pt x="732261" y="590156"/>
                  </a:lnTo>
                  <a:lnTo>
                    <a:pt x="732261" y="575110"/>
                  </a:lnTo>
                  <a:lnTo>
                    <a:pt x="747307" y="575110"/>
                  </a:lnTo>
                  <a:lnTo>
                    <a:pt x="764026" y="494862"/>
                  </a:lnTo>
                  <a:lnTo>
                    <a:pt x="827555" y="479815"/>
                  </a:lnTo>
                  <a:lnTo>
                    <a:pt x="827555" y="463097"/>
                  </a:lnTo>
                  <a:lnTo>
                    <a:pt x="810837" y="448051"/>
                  </a:lnTo>
                  <a:lnTo>
                    <a:pt x="810837" y="419630"/>
                  </a:lnTo>
                  <a:close/>
                  <a:moveTo>
                    <a:pt x="364054" y="0"/>
                  </a:moveTo>
                  <a:cubicBezTo>
                    <a:pt x="364054" y="0"/>
                    <a:pt x="364054" y="0"/>
                    <a:pt x="391754" y="0"/>
                  </a:cubicBezTo>
                  <a:cubicBezTo>
                    <a:pt x="391754" y="0"/>
                    <a:pt x="391754" y="0"/>
                    <a:pt x="391754" y="15871"/>
                  </a:cubicBezTo>
                  <a:cubicBezTo>
                    <a:pt x="391754" y="15871"/>
                    <a:pt x="391754" y="15871"/>
                    <a:pt x="364054" y="31742"/>
                  </a:cubicBezTo>
                  <a:cubicBezTo>
                    <a:pt x="364054" y="31742"/>
                    <a:pt x="364054" y="31742"/>
                    <a:pt x="316568" y="95227"/>
                  </a:cubicBezTo>
                  <a:cubicBezTo>
                    <a:pt x="316568" y="95227"/>
                    <a:pt x="316568" y="95227"/>
                    <a:pt x="300740" y="111099"/>
                  </a:cubicBezTo>
                  <a:cubicBezTo>
                    <a:pt x="300740" y="111099"/>
                    <a:pt x="300740" y="111099"/>
                    <a:pt x="284912" y="123002"/>
                  </a:cubicBezTo>
                  <a:cubicBezTo>
                    <a:pt x="284912" y="123002"/>
                    <a:pt x="284912" y="123002"/>
                    <a:pt x="284912" y="170616"/>
                  </a:cubicBezTo>
                  <a:cubicBezTo>
                    <a:pt x="284912" y="170616"/>
                    <a:pt x="284912" y="170616"/>
                    <a:pt x="316568" y="138873"/>
                  </a:cubicBezTo>
                  <a:cubicBezTo>
                    <a:pt x="316568" y="138873"/>
                    <a:pt x="316568" y="138873"/>
                    <a:pt x="332397" y="154744"/>
                  </a:cubicBezTo>
                  <a:cubicBezTo>
                    <a:pt x="332397" y="154744"/>
                    <a:pt x="332397" y="154744"/>
                    <a:pt x="364054" y="138873"/>
                  </a:cubicBezTo>
                  <a:cubicBezTo>
                    <a:pt x="364054" y="138873"/>
                    <a:pt x="364054" y="138873"/>
                    <a:pt x="423410" y="170616"/>
                  </a:cubicBezTo>
                  <a:cubicBezTo>
                    <a:pt x="423410" y="170616"/>
                    <a:pt x="423410" y="170616"/>
                    <a:pt x="470896" y="234101"/>
                  </a:cubicBezTo>
                  <a:cubicBezTo>
                    <a:pt x="470896" y="234101"/>
                    <a:pt x="470896" y="234101"/>
                    <a:pt x="486724" y="234101"/>
                  </a:cubicBezTo>
                  <a:cubicBezTo>
                    <a:pt x="486724" y="234101"/>
                    <a:pt x="486724" y="234101"/>
                    <a:pt x="561910" y="234101"/>
                  </a:cubicBezTo>
                  <a:cubicBezTo>
                    <a:pt x="561910" y="234101"/>
                    <a:pt x="561910" y="234101"/>
                    <a:pt x="577738" y="234101"/>
                  </a:cubicBezTo>
                  <a:cubicBezTo>
                    <a:pt x="577738" y="234101"/>
                    <a:pt x="577738" y="234101"/>
                    <a:pt x="593567" y="218229"/>
                  </a:cubicBezTo>
                  <a:cubicBezTo>
                    <a:pt x="593567" y="218229"/>
                    <a:pt x="593567" y="218229"/>
                    <a:pt x="641052" y="186487"/>
                  </a:cubicBezTo>
                  <a:cubicBezTo>
                    <a:pt x="641052" y="186487"/>
                    <a:pt x="641052" y="186487"/>
                    <a:pt x="763722" y="186487"/>
                  </a:cubicBezTo>
                  <a:cubicBezTo>
                    <a:pt x="763722" y="186487"/>
                    <a:pt x="763722" y="186487"/>
                    <a:pt x="779551" y="170616"/>
                  </a:cubicBezTo>
                  <a:cubicBezTo>
                    <a:pt x="779551" y="170616"/>
                    <a:pt x="779551" y="170616"/>
                    <a:pt x="811208" y="170616"/>
                  </a:cubicBezTo>
                  <a:cubicBezTo>
                    <a:pt x="811208" y="170616"/>
                    <a:pt x="811208" y="170616"/>
                    <a:pt x="811208" y="186487"/>
                  </a:cubicBezTo>
                  <a:cubicBezTo>
                    <a:pt x="811208" y="186487"/>
                    <a:pt x="811208" y="186487"/>
                    <a:pt x="811208" y="218229"/>
                  </a:cubicBezTo>
                  <a:cubicBezTo>
                    <a:pt x="811208" y="218229"/>
                    <a:pt x="811208" y="218229"/>
                    <a:pt x="854736" y="234101"/>
                  </a:cubicBezTo>
                  <a:cubicBezTo>
                    <a:pt x="854736" y="234101"/>
                    <a:pt x="854736" y="234101"/>
                    <a:pt x="918049" y="234101"/>
                  </a:cubicBezTo>
                  <a:cubicBezTo>
                    <a:pt x="918049" y="234101"/>
                    <a:pt x="918049" y="234101"/>
                    <a:pt x="933878" y="234101"/>
                  </a:cubicBezTo>
                  <a:cubicBezTo>
                    <a:pt x="933878" y="234101"/>
                    <a:pt x="933878" y="234101"/>
                    <a:pt x="933878" y="249972"/>
                  </a:cubicBezTo>
                  <a:cubicBezTo>
                    <a:pt x="933878" y="249972"/>
                    <a:pt x="933878" y="249972"/>
                    <a:pt x="933878" y="265843"/>
                  </a:cubicBezTo>
                  <a:cubicBezTo>
                    <a:pt x="933878" y="265843"/>
                    <a:pt x="933878" y="265843"/>
                    <a:pt x="933878" y="293618"/>
                  </a:cubicBezTo>
                  <a:cubicBezTo>
                    <a:pt x="933878" y="293618"/>
                    <a:pt x="933878" y="293618"/>
                    <a:pt x="949706" y="309489"/>
                  </a:cubicBezTo>
                  <a:cubicBezTo>
                    <a:pt x="949706" y="309489"/>
                    <a:pt x="949706" y="309489"/>
                    <a:pt x="965535" y="325360"/>
                  </a:cubicBezTo>
                  <a:cubicBezTo>
                    <a:pt x="965535" y="325360"/>
                    <a:pt x="965535" y="325360"/>
                    <a:pt x="981363" y="325360"/>
                  </a:cubicBezTo>
                  <a:cubicBezTo>
                    <a:pt x="981363" y="325360"/>
                    <a:pt x="981363" y="325360"/>
                    <a:pt x="981363" y="341231"/>
                  </a:cubicBezTo>
                  <a:cubicBezTo>
                    <a:pt x="981363" y="341231"/>
                    <a:pt x="981363" y="341231"/>
                    <a:pt x="918049" y="357103"/>
                  </a:cubicBezTo>
                  <a:cubicBezTo>
                    <a:pt x="918049" y="357103"/>
                    <a:pt x="918049" y="357103"/>
                    <a:pt x="902221" y="341231"/>
                  </a:cubicBezTo>
                  <a:cubicBezTo>
                    <a:pt x="902221" y="341231"/>
                    <a:pt x="902221" y="341231"/>
                    <a:pt x="886393" y="325360"/>
                  </a:cubicBezTo>
                  <a:cubicBezTo>
                    <a:pt x="886393" y="325360"/>
                    <a:pt x="886393" y="325360"/>
                    <a:pt x="886393" y="341231"/>
                  </a:cubicBezTo>
                  <a:cubicBezTo>
                    <a:pt x="886393" y="341231"/>
                    <a:pt x="886393" y="341231"/>
                    <a:pt x="870564" y="357103"/>
                  </a:cubicBezTo>
                  <a:cubicBezTo>
                    <a:pt x="870564" y="357103"/>
                    <a:pt x="870564" y="357103"/>
                    <a:pt x="854736" y="357103"/>
                  </a:cubicBezTo>
                  <a:cubicBezTo>
                    <a:pt x="854736" y="357103"/>
                    <a:pt x="854736" y="357103"/>
                    <a:pt x="842864" y="341231"/>
                  </a:cubicBezTo>
                  <a:cubicBezTo>
                    <a:pt x="842864" y="341231"/>
                    <a:pt x="842864" y="341231"/>
                    <a:pt x="811208" y="325360"/>
                  </a:cubicBezTo>
                  <a:cubicBezTo>
                    <a:pt x="811208" y="325360"/>
                    <a:pt x="811208" y="325360"/>
                    <a:pt x="763722" y="325360"/>
                  </a:cubicBezTo>
                  <a:cubicBezTo>
                    <a:pt x="763722" y="325360"/>
                    <a:pt x="763722" y="325360"/>
                    <a:pt x="732065" y="325360"/>
                  </a:cubicBezTo>
                  <a:cubicBezTo>
                    <a:pt x="732065" y="325360"/>
                    <a:pt x="732065" y="325360"/>
                    <a:pt x="716237" y="341231"/>
                  </a:cubicBezTo>
                  <a:cubicBezTo>
                    <a:pt x="716237" y="341231"/>
                    <a:pt x="716237" y="341231"/>
                    <a:pt x="641052" y="372974"/>
                  </a:cubicBezTo>
                  <a:cubicBezTo>
                    <a:pt x="641052" y="372974"/>
                    <a:pt x="641052" y="372974"/>
                    <a:pt x="577738" y="420588"/>
                  </a:cubicBezTo>
                  <a:cubicBezTo>
                    <a:pt x="577738" y="420588"/>
                    <a:pt x="577738" y="420588"/>
                    <a:pt x="561910" y="420588"/>
                  </a:cubicBezTo>
                  <a:cubicBezTo>
                    <a:pt x="561910" y="420588"/>
                    <a:pt x="561910" y="420588"/>
                    <a:pt x="577738" y="372974"/>
                  </a:cubicBezTo>
                  <a:cubicBezTo>
                    <a:pt x="577738" y="372974"/>
                    <a:pt x="577738" y="372974"/>
                    <a:pt x="546081" y="388845"/>
                  </a:cubicBezTo>
                  <a:cubicBezTo>
                    <a:pt x="546081" y="388845"/>
                    <a:pt x="546081" y="388845"/>
                    <a:pt x="530253" y="388845"/>
                  </a:cubicBezTo>
                  <a:cubicBezTo>
                    <a:pt x="530253" y="388845"/>
                    <a:pt x="530253" y="388845"/>
                    <a:pt x="518381" y="388845"/>
                  </a:cubicBezTo>
                  <a:cubicBezTo>
                    <a:pt x="518381" y="388845"/>
                    <a:pt x="518381" y="388845"/>
                    <a:pt x="407582" y="559461"/>
                  </a:cubicBezTo>
                  <a:cubicBezTo>
                    <a:pt x="407582" y="559461"/>
                    <a:pt x="407582" y="559461"/>
                    <a:pt x="391754" y="591203"/>
                  </a:cubicBezTo>
                  <a:cubicBezTo>
                    <a:pt x="391754" y="591203"/>
                    <a:pt x="391754" y="591203"/>
                    <a:pt x="387796" y="595171"/>
                  </a:cubicBezTo>
                  <a:cubicBezTo>
                    <a:pt x="387796" y="595171"/>
                    <a:pt x="387796" y="595171"/>
                    <a:pt x="387796" y="591203"/>
                  </a:cubicBezTo>
                  <a:cubicBezTo>
                    <a:pt x="387796" y="583268"/>
                    <a:pt x="387796" y="575332"/>
                    <a:pt x="383839" y="567396"/>
                  </a:cubicBezTo>
                  <a:cubicBezTo>
                    <a:pt x="379882" y="555493"/>
                    <a:pt x="379882" y="543590"/>
                    <a:pt x="379882" y="535654"/>
                  </a:cubicBezTo>
                  <a:cubicBezTo>
                    <a:pt x="383839" y="519783"/>
                    <a:pt x="383839" y="499944"/>
                    <a:pt x="379882" y="484072"/>
                  </a:cubicBezTo>
                  <a:cubicBezTo>
                    <a:pt x="379882" y="480105"/>
                    <a:pt x="379882" y="480105"/>
                    <a:pt x="379882" y="480105"/>
                  </a:cubicBezTo>
                  <a:cubicBezTo>
                    <a:pt x="379882" y="480105"/>
                    <a:pt x="379882" y="480105"/>
                    <a:pt x="383839" y="476137"/>
                  </a:cubicBezTo>
                  <a:cubicBezTo>
                    <a:pt x="383839" y="476137"/>
                    <a:pt x="383839" y="476137"/>
                    <a:pt x="375925" y="468201"/>
                  </a:cubicBezTo>
                  <a:cubicBezTo>
                    <a:pt x="368011" y="452330"/>
                    <a:pt x="368011" y="452330"/>
                    <a:pt x="368011" y="448362"/>
                  </a:cubicBezTo>
                  <a:cubicBezTo>
                    <a:pt x="364054" y="448362"/>
                    <a:pt x="364054" y="444394"/>
                    <a:pt x="360097" y="440427"/>
                  </a:cubicBezTo>
                  <a:cubicBezTo>
                    <a:pt x="344268" y="424555"/>
                    <a:pt x="320526" y="396781"/>
                    <a:pt x="316568" y="392813"/>
                  </a:cubicBezTo>
                  <a:cubicBezTo>
                    <a:pt x="316568" y="388845"/>
                    <a:pt x="328440" y="376942"/>
                    <a:pt x="328440" y="372974"/>
                  </a:cubicBezTo>
                  <a:cubicBezTo>
                    <a:pt x="324483" y="369006"/>
                    <a:pt x="320526" y="365038"/>
                    <a:pt x="312611" y="365038"/>
                  </a:cubicBezTo>
                  <a:cubicBezTo>
                    <a:pt x="312611" y="365038"/>
                    <a:pt x="312611" y="365038"/>
                    <a:pt x="189941" y="365038"/>
                  </a:cubicBezTo>
                  <a:cubicBezTo>
                    <a:pt x="189941" y="365038"/>
                    <a:pt x="189941" y="365038"/>
                    <a:pt x="189941" y="321392"/>
                  </a:cubicBezTo>
                  <a:cubicBezTo>
                    <a:pt x="193898" y="317424"/>
                    <a:pt x="189941" y="309489"/>
                    <a:pt x="174113" y="305521"/>
                  </a:cubicBezTo>
                  <a:cubicBezTo>
                    <a:pt x="166198" y="301553"/>
                    <a:pt x="162241" y="301553"/>
                    <a:pt x="162241" y="301553"/>
                  </a:cubicBezTo>
                  <a:cubicBezTo>
                    <a:pt x="162241" y="301553"/>
                    <a:pt x="162241" y="301553"/>
                    <a:pt x="158284" y="301553"/>
                  </a:cubicBezTo>
                  <a:cubicBezTo>
                    <a:pt x="158284" y="301553"/>
                    <a:pt x="158284" y="301553"/>
                    <a:pt x="158284" y="297585"/>
                  </a:cubicBezTo>
                  <a:cubicBezTo>
                    <a:pt x="154327" y="297585"/>
                    <a:pt x="154327" y="297585"/>
                    <a:pt x="150370" y="297585"/>
                  </a:cubicBezTo>
                  <a:cubicBezTo>
                    <a:pt x="146413" y="293618"/>
                    <a:pt x="138499" y="293618"/>
                    <a:pt x="126627" y="293618"/>
                  </a:cubicBezTo>
                  <a:cubicBezTo>
                    <a:pt x="106842" y="293618"/>
                    <a:pt x="91013" y="297585"/>
                    <a:pt x="91013" y="297585"/>
                  </a:cubicBezTo>
                  <a:cubicBezTo>
                    <a:pt x="91013" y="297585"/>
                    <a:pt x="91013" y="297585"/>
                    <a:pt x="67271" y="293618"/>
                  </a:cubicBezTo>
                  <a:cubicBezTo>
                    <a:pt x="67271" y="293618"/>
                    <a:pt x="67271" y="293618"/>
                    <a:pt x="35614" y="277746"/>
                  </a:cubicBezTo>
                  <a:cubicBezTo>
                    <a:pt x="35614" y="277746"/>
                    <a:pt x="35614" y="277746"/>
                    <a:pt x="23742" y="277746"/>
                  </a:cubicBezTo>
                  <a:lnTo>
                    <a:pt x="0" y="238068"/>
                  </a:lnTo>
                  <a:cubicBezTo>
                    <a:pt x="0" y="238068"/>
                    <a:pt x="0" y="238068"/>
                    <a:pt x="0" y="202358"/>
                  </a:cubicBezTo>
                  <a:cubicBezTo>
                    <a:pt x="0" y="202358"/>
                    <a:pt x="0" y="202358"/>
                    <a:pt x="23742" y="202358"/>
                  </a:cubicBezTo>
                  <a:cubicBezTo>
                    <a:pt x="23742" y="202358"/>
                    <a:pt x="23742" y="202358"/>
                    <a:pt x="83099" y="170616"/>
                  </a:cubicBezTo>
                  <a:cubicBezTo>
                    <a:pt x="83099" y="170616"/>
                    <a:pt x="83099" y="170616"/>
                    <a:pt x="162241" y="138873"/>
                  </a:cubicBezTo>
                  <a:cubicBezTo>
                    <a:pt x="162241" y="138873"/>
                    <a:pt x="162241" y="138873"/>
                    <a:pt x="300740" y="31742"/>
                  </a:cubicBezTo>
                  <a:cubicBezTo>
                    <a:pt x="300740" y="31742"/>
                    <a:pt x="300740" y="31742"/>
                    <a:pt x="364054" y="0"/>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33" name="Massachusetts">
              <a:extLst>
                <a:ext uri="{FF2B5EF4-FFF2-40B4-BE49-F238E27FC236}">
                  <a16:creationId xmlns:a16="http://schemas.microsoft.com/office/drawing/2014/main" id="{E0B13590-FC0C-C7E2-A637-A13905667E5A}"/>
                </a:ext>
              </a:extLst>
            </p:cNvPr>
            <p:cNvSpPr>
              <a:spLocks/>
            </p:cNvSpPr>
            <p:nvPr/>
          </p:nvSpPr>
          <p:spPr bwMode="auto">
            <a:xfrm>
              <a:off x="10004675" y="2208347"/>
              <a:ext cx="506564" cy="300929"/>
            </a:xfrm>
            <a:custGeom>
              <a:avLst/>
              <a:gdLst>
                <a:gd name="T0" fmla="*/ 64 w 128"/>
                <a:gd name="T1" fmla="*/ 9 h 76"/>
                <a:gd name="T2" fmla="*/ 64 w 128"/>
                <a:gd name="T3" fmla="*/ 1 h 76"/>
                <a:gd name="T4" fmla="*/ 26 w 128"/>
                <a:gd name="T5" fmla="*/ 1 h 76"/>
                <a:gd name="T6" fmla="*/ 25 w 128"/>
                <a:gd name="T7" fmla="*/ 1 h 76"/>
                <a:gd name="T8" fmla="*/ 25 w 128"/>
                <a:gd name="T9" fmla="*/ 1 h 76"/>
                <a:gd name="T10" fmla="*/ 6 w 128"/>
                <a:gd name="T11" fmla="*/ 1 h 76"/>
                <a:gd name="T12" fmla="*/ 5 w 128"/>
                <a:gd name="T13" fmla="*/ 5 h 76"/>
                <a:gd name="T14" fmla="*/ 2 w 128"/>
                <a:gd name="T15" fmla="*/ 28 h 76"/>
                <a:gd name="T16" fmla="*/ 3 w 128"/>
                <a:gd name="T17" fmla="*/ 51 h 76"/>
                <a:gd name="T18" fmla="*/ 52 w 128"/>
                <a:gd name="T19" fmla="*/ 51 h 76"/>
                <a:gd name="T20" fmla="*/ 52 w 128"/>
                <a:gd name="T21" fmla="*/ 51 h 76"/>
                <a:gd name="T22" fmla="*/ 52 w 128"/>
                <a:gd name="T23" fmla="*/ 52 h 76"/>
                <a:gd name="T24" fmla="*/ 68 w 128"/>
                <a:gd name="T25" fmla="*/ 52 h 76"/>
                <a:gd name="T26" fmla="*/ 74 w 128"/>
                <a:gd name="T27" fmla="*/ 59 h 76"/>
                <a:gd name="T28" fmla="*/ 74 w 128"/>
                <a:gd name="T29" fmla="*/ 61 h 76"/>
                <a:gd name="T30" fmla="*/ 76 w 128"/>
                <a:gd name="T31" fmla="*/ 67 h 76"/>
                <a:gd name="T32" fmla="*/ 77 w 128"/>
                <a:gd name="T33" fmla="*/ 68 h 76"/>
                <a:gd name="T34" fmla="*/ 77 w 128"/>
                <a:gd name="T35" fmla="*/ 76 h 76"/>
                <a:gd name="T36" fmla="*/ 81 w 128"/>
                <a:gd name="T37" fmla="*/ 76 h 76"/>
                <a:gd name="T38" fmla="*/ 85 w 128"/>
                <a:gd name="T39" fmla="*/ 72 h 76"/>
                <a:gd name="T40" fmla="*/ 97 w 128"/>
                <a:gd name="T41" fmla="*/ 68 h 76"/>
                <a:gd name="T42" fmla="*/ 101 w 128"/>
                <a:gd name="T43" fmla="*/ 68 h 76"/>
                <a:gd name="T44" fmla="*/ 101 w 128"/>
                <a:gd name="T45" fmla="*/ 72 h 76"/>
                <a:gd name="T46" fmla="*/ 105 w 128"/>
                <a:gd name="T47" fmla="*/ 72 h 76"/>
                <a:gd name="T48" fmla="*/ 112 w 128"/>
                <a:gd name="T49" fmla="*/ 72 h 76"/>
                <a:gd name="T50" fmla="*/ 116 w 128"/>
                <a:gd name="T51" fmla="*/ 72 h 76"/>
                <a:gd name="T52" fmla="*/ 124 w 128"/>
                <a:gd name="T53" fmla="*/ 68 h 76"/>
                <a:gd name="T54" fmla="*/ 128 w 128"/>
                <a:gd name="T55" fmla="*/ 64 h 76"/>
                <a:gd name="T56" fmla="*/ 124 w 128"/>
                <a:gd name="T57" fmla="*/ 53 h 76"/>
                <a:gd name="T58" fmla="*/ 124 w 128"/>
                <a:gd name="T59" fmla="*/ 61 h 76"/>
                <a:gd name="T60" fmla="*/ 124 w 128"/>
                <a:gd name="T61" fmla="*/ 64 h 76"/>
                <a:gd name="T62" fmla="*/ 116 w 128"/>
                <a:gd name="T63" fmla="*/ 64 h 76"/>
                <a:gd name="T64" fmla="*/ 105 w 128"/>
                <a:gd name="T65" fmla="*/ 61 h 76"/>
                <a:gd name="T66" fmla="*/ 101 w 128"/>
                <a:gd name="T67" fmla="*/ 53 h 76"/>
                <a:gd name="T68" fmla="*/ 97 w 128"/>
                <a:gd name="T69" fmla="*/ 49 h 76"/>
                <a:gd name="T70" fmla="*/ 97 w 128"/>
                <a:gd name="T71" fmla="*/ 45 h 76"/>
                <a:gd name="T72" fmla="*/ 93 w 128"/>
                <a:gd name="T73" fmla="*/ 41 h 76"/>
                <a:gd name="T74" fmla="*/ 85 w 128"/>
                <a:gd name="T75" fmla="*/ 37 h 76"/>
                <a:gd name="T76" fmla="*/ 85 w 128"/>
                <a:gd name="T77" fmla="*/ 29 h 76"/>
                <a:gd name="T78" fmla="*/ 89 w 128"/>
                <a:gd name="T79" fmla="*/ 29 h 76"/>
                <a:gd name="T80" fmla="*/ 93 w 128"/>
                <a:gd name="T81" fmla="*/ 22 h 76"/>
                <a:gd name="T82" fmla="*/ 97 w 128"/>
                <a:gd name="T83" fmla="*/ 22 h 76"/>
                <a:gd name="T84" fmla="*/ 89 w 128"/>
                <a:gd name="T85" fmla="*/ 6 h 76"/>
                <a:gd name="T86" fmla="*/ 90 w 128"/>
                <a:gd name="T87" fmla="*/ 2 h 76"/>
                <a:gd name="T88" fmla="*/ 91 w 128"/>
                <a:gd name="T89" fmla="*/ 0 h 76"/>
                <a:gd name="T90" fmla="*/ 80 w 128"/>
                <a:gd name="T91" fmla="*/ 9 h 76"/>
                <a:gd name="T92" fmla="*/ 64 w 128"/>
                <a:gd name="T93"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76">
                  <a:moveTo>
                    <a:pt x="64" y="9"/>
                  </a:moveTo>
                  <a:cubicBezTo>
                    <a:pt x="64" y="1"/>
                    <a:pt x="64" y="1"/>
                    <a:pt x="64" y="1"/>
                  </a:cubicBezTo>
                  <a:cubicBezTo>
                    <a:pt x="26" y="1"/>
                    <a:pt x="26" y="1"/>
                    <a:pt x="26" y="1"/>
                  </a:cubicBezTo>
                  <a:cubicBezTo>
                    <a:pt x="25" y="1"/>
                    <a:pt x="25" y="1"/>
                    <a:pt x="25" y="1"/>
                  </a:cubicBezTo>
                  <a:cubicBezTo>
                    <a:pt x="25" y="1"/>
                    <a:pt x="25" y="1"/>
                    <a:pt x="25" y="1"/>
                  </a:cubicBezTo>
                  <a:cubicBezTo>
                    <a:pt x="6" y="1"/>
                    <a:pt x="6" y="1"/>
                    <a:pt x="6" y="1"/>
                  </a:cubicBezTo>
                  <a:cubicBezTo>
                    <a:pt x="5" y="5"/>
                    <a:pt x="5" y="5"/>
                    <a:pt x="5" y="5"/>
                  </a:cubicBezTo>
                  <a:cubicBezTo>
                    <a:pt x="0" y="25"/>
                    <a:pt x="1" y="28"/>
                    <a:pt x="2" y="28"/>
                  </a:cubicBezTo>
                  <a:cubicBezTo>
                    <a:pt x="3" y="30"/>
                    <a:pt x="3" y="40"/>
                    <a:pt x="3" y="51"/>
                  </a:cubicBezTo>
                  <a:cubicBezTo>
                    <a:pt x="52" y="51"/>
                    <a:pt x="52" y="51"/>
                    <a:pt x="52" y="51"/>
                  </a:cubicBezTo>
                  <a:cubicBezTo>
                    <a:pt x="52" y="51"/>
                    <a:pt x="52" y="51"/>
                    <a:pt x="52" y="51"/>
                  </a:cubicBezTo>
                  <a:cubicBezTo>
                    <a:pt x="52" y="52"/>
                    <a:pt x="52" y="52"/>
                    <a:pt x="52" y="52"/>
                  </a:cubicBezTo>
                  <a:cubicBezTo>
                    <a:pt x="68" y="52"/>
                    <a:pt x="68" y="52"/>
                    <a:pt x="68" y="52"/>
                  </a:cubicBezTo>
                  <a:cubicBezTo>
                    <a:pt x="74" y="59"/>
                    <a:pt x="74" y="59"/>
                    <a:pt x="74" y="59"/>
                  </a:cubicBezTo>
                  <a:cubicBezTo>
                    <a:pt x="74" y="61"/>
                    <a:pt x="74" y="61"/>
                    <a:pt x="74" y="61"/>
                  </a:cubicBezTo>
                  <a:cubicBezTo>
                    <a:pt x="75" y="63"/>
                    <a:pt x="76" y="66"/>
                    <a:pt x="76" y="67"/>
                  </a:cubicBezTo>
                  <a:cubicBezTo>
                    <a:pt x="77" y="68"/>
                    <a:pt x="77" y="68"/>
                    <a:pt x="77" y="68"/>
                  </a:cubicBezTo>
                  <a:cubicBezTo>
                    <a:pt x="77" y="76"/>
                    <a:pt x="77" y="76"/>
                    <a:pt x="77" y="76"/>
                  </a:cubicBezTo>
                  <a:cubicBezTo>
                    <a:pt x="81" y="76"/>
                    <a:pt x="81" y="76"/>
                    <a:pt x="81" y="76"/>
                  </a:cubicBezTo>
                  <a:cubicBezTo>
                    <a:pt x="85" y="72"/>
                    <a:pt x="85" y="72"/>
                    <a:pt x="85" y="72"/>
                  </a:cubicBezTo>
                  <a:cubicBezTo>
                    <a:pt x="97" y="68"/>
                    <a:pt x="97" y="68"/>
                    <a:pt x="97" y="68"/>
                  </a:cubicBezTo>
                  <a:cubicBezTo>
                    <a:pt x="101" y="68"/>
                    <a:pt x="101" y="68"/>
                    <a:pt x="101" y="68"/>
                  </a:cubicBezTo>
                  <a:cubicBezTo>
                    <a:pt x="101" y="72"/>
                    <a:pt x="101" y="72"/>
                    <a:pt x="101" y="72"/>
                  </a:cubicBezTo>
                  <a:cubicBezTo>
                    <a:pt x="105" y="72"/>
                    <a:pt x="105" y="72"/>
                    <a:pt x="105" y="72"/>
                  </a:cubicBezTo>
                  <a:cubicBezTo>
                    <a:pt x="112" y="72"/>
                    <a:pt x="112" y="72"/>
                    <a:pt x="112" y="72"/>
                  </a:cubicBezTo>
                  <a:cubicBezTo>
                    <a:pt x="116" y="72"/>
                    <a:pt x="116" y="72"/>
                    <a:pt x="116" y="72"/>
                  </a:cubicBezTo>
                  <a:cubicBezTo>
                    <a:pt x="124" y="68"/>
                    <a:pt x="124" y="68"/>
                    <a:pt x="124" y="68"/>
                  </a:cubicBezTo>
                  <a:cubicBezTo>
                    <a:pt x="128" y="64"/>
                    <a:pt x="128" y="64"/>
                    <a:pt x="128" y="64"/>
                  </a:cubicBezTo>
                  <a:cubicBezTo>
                    <a:pt x="124" y="53"/>
                    <a:pt x="124" y="53"/>
                    <a:pt x="124" y="53"/>
                  </a:cubicBezTo>
                  <a:cubicBezTo>
                    <a:pt x="124" y="61"/>
                    <a:pt x="124" y="61"/>
                    <a:pt x="124" y="61"/>
                  </a:cubicBezTo>
                  <a:cubicBezTo>
                    <a:pt x="124" y="64"/>
                    <a:pt x="124" y="64"/>
                    <a:pt x="124" y="64"/>
                  </a:cubicBezTo>
                  <a:cubicBezTo>
                    <a:pt x="116" y="64"/>
                    <a:pt x="116" y="64"/>
                    <a:pt x="116" y="64"/>
                  </a:cubicBezTo>
                  <a:cubicBezTo>
                    <a:pt x="105" y="61"/>
                    <a:pt x="105" y="61"/>
                    <a:pt x="105" y="61"/>
                  </a:cubicBezTo>
                  <a:cubicBezTo>
                    <a:pt x="101" y="53"/>
                    <a:pt x="101" y="53"/>
                    <a:pt x="101" y="53"/>
                  </a:cubicBezTo>
                  <a:cubicBezTo>
                    <a:pt x="97" y="49"/>
                    <a:pt x="97" y="49"/>
                    <a:pt x="97" y="49"/>
                  </a:cubicBezTo>
                  <a:cubicBezTo>
                    <a:pt x="97" y="45"/>
                    <a:pt x="97" y="45"/>
                    <a:pt x="97" y="45"/>
                  </a:cubicBezTo>
                  <a:cubicBezTo>
                    <a:pt x="93" y="41"/>
                    <a:pt x="93" y="41"/>
                    <a:pt x="93" y="41"/>
                  </a:cubicBezTo>
                  <a:cubicBezTo>
                    <a:pt x="85" y="37"/>
                    <a:pt x="85" y="37"/>
                    <a:pt x="85" y="37"/>
                  </a:cubicBezTo>
                  <a:cubicBezTo>
                    <a:pt x="85" y="29"/>
                    <a:pt x="85" y="29"/>
                    <a:pt x="85" y="29"/>
                  </a:cubicBezTo>
                  <a:cubicBezTo>
                    <a:pt x="89" y="29"/>
                    <a:pt x="89" y="29"/>
                    <a:pt x="89" y="29"/>
                  </a:cubicBezTo>
                  <a:cubicBezTo>
                    <a:pt x="93" y="22"/>
                    <a:pt x="93" y="22"/>
                    <a:pt x="93" y="22"/>
                  </a:cubicBezTo>
                  <a:cubicBezTo>
                    <a:pt x="97" y="22"/>
                    <a:pt x="97" y="22"/>
                    <a:pt x="97" y="22"/>
                  </a:cubicBezTo>
                  <a:cubicBezTo>
                    <a:pt x="89" y="6"/>
                    <a:pt x="89" y="6"/>
                    <a:pt x="89" y="6"/>
                  </a:cubicBezTo>
                  <a:cubicBezTo>
                    <a:pt x="90" y="2"/>
                    <a:pt x="90" y="2"/>
                    <a:pt x="90" y="2"/>
                  </a:cubicBezTo>
                  <a:cubicBezTo>
                    <a:pt x="91" y="0"/>
                    <a:pt x="91" y="0"/>
                    <a:pt x="91" y="0"/>
                  </a:cubicBezTo>
                  <a:cubicBezTo>
                    <a:pt x="80" y="9"/>
                    <a:pt x="80" y="9"/>
                    <a:pt x="80" y="9"/>
                  </a:cubicBezTo>
                  <a:lnTo>
                    <a:pt x="64" y="9"/>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34" name="Maryland">
              <a:extLst>
                <a:ext uri="{FF2B5EF4-FFF2-40B4-BE49-F238E27FC236}">
                  <a16:creationId xmlns:a16="http://schemas.microsoft.com/office/drawing/2014/main" id="{8FD52904-344E-8892-6D33-5760EB5F3CB2}"/>
                </a:ext>
              </a:extLst>
            </p:cNvPr>
            <p:cNvSpPr>
              <a:spLocks/>
            </p:cNvSpPr>
            <p:nvPr/>
          </p:nvSpPr>
          <p:spPr bwMode="auto">
            <a:xfrm>
              <a:off x="8991546" y="2885438"/>
              <a:ext cx="732261" cy="489846"/>
            </a:xfrm>
            <a:custGeom>
              <a:avLst/>
              <a:gdLst>
                <a:gd name="T0" fmla="*/ 156 w 185"/>
                <a:gd name="T1" fmla="*/ 55 h 124"/>
                <a:gd name="T2" fmla="*/ 155 w 185"/>
                <a:gd name="T3" fmla="*/ 3 h 124"/>
                <a:gd name="T4" fmla="*/ 145 w 185"/>
                <a:gd name="T5" fmla="*/ 0 h 124"/>
                <a:gd name="T6" fmla="*/ 0 w 185"/>
                <a:gd name="T7" fmla="*/ 11 h 124"/>
                <a:gd name="T8" fmla="*/ 12 w 185"/>
                <a:gd name="T9" fmla="*/ 7 h 124"/>
                <a:gd name="T10" fmla="*/ 23 w 185"/>
                <a:gd name="T11" fmla="*/ 5 h 124"/>
                <a:gd name="T12" fmla="*/ 40 w 185"/>
                <a:gd name="T13" fmla="*/ 6 h 124"/>
                <a:gd name="T14" fmla="*/ 75 w 185"/>
                <a:gd name="T15" fmla="*/ 5 h 124"/>
                <a:gd name="T16" fmla="*/ 82 w 185"/>
                <a:gd name="T17" fmla="*/ 7 h 124"/>
                <a:gd name="T18" fmla="*/ 79 w 185"/>
                <a:gd name="T19" fmla="*/ 10 h 124"/>
                <a:gd name="T20" fmla="*/ 79 w 185"/>
                <a:gd name="T21" fmla="*/ 12 h 124"/>
                <a:gd name="T22" fmla="*/ 85 w 185"/>
                <a:gd name="T23" fmla="*/ 33 h 124"/>
                <a:gd name="T24" fmla="*/ 81 w 185"/>
                <a:gd name="T25" fmla="*/ 44 h 124"/>
                <a:gd name="T26" fmla="*/ 91 w 185"/>
                <a:gd name="T27" fmla="*/ 52 h 124"/>
                <a:gd name="T28" fmla="*/ 95 w 185"/>
                <a:gd name="T29" fmla="*/ 59 h 124"/>
                <a:gd name="T30" fmla="*/ 95 w 185"/>
                <a:gd name="T31" fmla="*/ 57 h 124"/>
                <a:gd name="T32" fmla="*/ 111 w 185"/>
                <a:gd name="T33" fmla="*/ 65 h 124"/>
                <a:gd name="T34" fmla="*/ 119 w 185"/>
                <a:gd name="T35" fmla="*/ 69 h 124"/>
                <a:gd name="T36" fmla="*/ 126 w 185"/>
                <a:gd name="T37" fmla="*/ 73 h 124"/>
                <a:gd name="T38" fmla="*/ 130 w 185"/>
                <a:gd name="T39" fmla="*/ 65 h 124"/>
                <a:gd name="T40" fmla="*/ 126 w 185"/>
                <a:gd name="T41" fmla="*/ 61 h 124"/>
                <a:gd name="T42" fmla="*/ 126 w 185"/>
                <a:gd name="T43" fmla="*/ 46 h 124"/>
                <a:gd name="T44" fmla="*/ 122 w 185"/>
                <a:gd name="T45" fmla="*/ 22 h 124"/>
                <a:gd name="T46" fmla="*/ 138 w 185"/>
                <a:gd name="T47" fmla="*/ 11 h 124"/>
                <a:gd name="T48" fmla="*/ 150 w 185"/>
                <a:gd name="T49" fmla="*/ 7 h 124"/>
                <a:gd name="T50" fmla="*/ 142 w 185"/>
                <a:gd name="T51" fmla="*/ 18 h 124"/>
                <a:gd name="T52" fmla="*/ 138 w 185"/>
                <a:gd name="T53" fmla="*/ 22 h 124"/>
                <a:gd name="T54" fmla="*/ 138 w 185"/>
                <a:gd name="T55" fmla="*/ 30 h 124"/>
                <a:gd name="T56" fmla="*/ 134 w 185"/>
                <a:gd name="T57" fmla="*/ 38 h 124"/>
                <a:gd name="T58" fmla="*/ 142 w 185"/>
                <a:gd name="T59" fmla="*/ 38 h 124"/>
                <a:gd name="T60" fmla="*/ 138 w 185"/>
                <a:gd name="T61" fmla="*/ 53 h 124"/>
                <a:gd name="T62" fmla="*/ 138 w 185"/>
                <a:gd name="T63" fmla="*/ 61 h 124"/>
                <a:gd name="T64" fmla="*/ 146 w 185"/>
                <a:gd name="T65" fmla="*/ 69 h 124"/>
                <a:gd name="T66" fmla="*/ 154 w 185"/>
                <a:gd name="T67" fmla="*/ 77 h 124"/>
                <a:gd name="T68" fmla="*/ 154 w 185"/>
                <a:gd name="T69" fmla="*/ 85 h 124"/>
                <a:gd name="T70" fmla="*/ 158 w 185"/>
                <a:gd name="T71" fmla="*/ 89 h 124"/>
                <a:gd name="T72" fmla="*/ 146 w 185"/>
                <a:gd name="T73" fmla="*/ 108 h 124"/>
                <a:gd name="T74" fmla="*/ 150 w 185"/>
                <a:gd name="T75" fmla="*/ 124 h 124"/>
                <a:gd name="T76" fmla="*/ 154 w 185"/>
                <a:gd name="T77" fmla="*/ 120 h 124"/>
                <a:gd name="T78" fmla="*/ 173 w 185"/>
                <a:gd name="T79" fmla="*/ 73 h 124"/>
                <a:gd name="T80" fmla="*/ 185 w 185"/>
                <a:gd name="T81" fmla="*/ 57 h 124"/>
                <a:gd name="T82" fmla="*/ 183 w 185"/>
                <a:gd name="T83" fmla="*/ 5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 h="124">
                  <a:moveTo>
                    <a:pt x="183" y="55"/>
                  </a:moveTo>
                  <a:cubicBezTo>
                    <a:pt x="156" y="55"/>
                    <a:pt x="156" y="55"/>
                    <a:pt x="156" y="55"/>
                  </a:cubicBezTo>
                  <a:cubicBezTo>
                    <a:pt x="156" y="3"/>
                    <a:pt x="156" y="3"/>
                    <a:pt x="156" y="3"/>
                  </a:cubicBezTo>
                  <a:cubicBezTo>
                    <a:pt x="155" y="3"/>
                    <a:pt x="155" y="3"/>
                    <a:pt x="155" y="3"/>
                  </a:cubicBezTo>
                  <a:cubicBezTo>
                    <a:pt x="155" y="3"/>
                    <a:pt x="155" y="3"/>
                    <a:pt x="155" y="3"/>
                  </a:cubicBezTo>
                  <a:cubicBezTo>
                    <a:pt x="150" y="3"/>
                    <a:pt x="146" y="0"/>
                    <a:pt x="145" y="0"/>
                  </a:cubicBezTo>
                  <a:cubicBezTo>
                    <a:pt x="0" y="0"/>
                    <a:pt x="0" y="0"/>
                    <a:pt x="0" y="0"/>
                  </a:cubicBezTo>
                  <a:cubicBezTo>
                    <a:pt x="0" y="11"/>
                    <a:pt x="0" y="11"/>
                    <a:pt x="0" y="11"/>
                  </a:cubicBezTo>
                  <a:cubicBezTo>
                    <a:pt x="2" y="11"/>
                    <a:pt x="2" y="11"/>
                    <a:pt x="2" y="11"/>
                  </a:cubicBezTo>
                  <a:cubicBezTo>
                    <a:pt x="8" y="9"/>
                    <a:pt x="12" y="7"/>
                    <a:pt x="12" y="7"/>
                  </a:cubicBezTo>
                  <a:cubicBezTo>
                    <a:pt x="17" y="5"/>
                    <a:pt x="17" y="5"/>
                    <a:pt x="17" y="5"/>
                  </a:cubicBezTo>
                  <a:cubicBezTo>
                    <a:pt x="23" y="5"/>
                    <a:pt x="23" y="5"/>
                    <a:pt x="23" y="5"/>
                  </a:cubicBezTo>
                  <a:cubicBezTo>
                    <a:pt x="32" y="6"/>
                    <a:pt x="32" y="6"/>
                    <a:pt x="32" y="6"/>
                  </a:cubicBezTo>
                  <a:cubicBezTo>
                    <a:pt x="40" y="6"/>
                    <a:pt x="40" y="6"/>
                    <a:pt x="40" y="6"/>
                  </a:cubicBezTo>
                  <a:cubicBezTo>
                    <a:pt x="62" y="3"/>
                    <a:pt x="62" y="3"/>
                    <a:pt x="62" y="3"/>
                  </a:cubicBezTo>
                  <a:cubicBezTo>
                    <a:pt x="75" y="5"/>
                    <a:pt x="75" y="5"/>
                    <a:pt x="75" y="5"/>
                  </a:cubicBezTo>
                  <a:cubicBezTo>
                    <a:pt x="76" y="5"/>
                    <a:pt x="79" y="6"/>
                    <a:pt x="82" y="7"/>
                  </a:cubicBezTo>
                  <a:cubicBezTo>
                    <a:pt x="82" y="7"/>
                    <a:pt x="82" y="7"/>
                    <a:pt x="82" y="7"/>
                  </a:cubicBezTo>
                  <a:cubicBezTo>
                    <a:pt x="82" y="7"/>
                    <a:pt x="82" y="8"/>
                    <a:pt x="79" y="10"/>
                  </a:cubicBezTo>
                  <a:cubicBezTo>
                    <a:pt x="79" y="10"/>
                    <a:pt x="79" y="10"/>
                    <a:pt x="79" y="10"/>
                  </a:cubicBezTo>
                  <a:cubicBezTo>
                    <a:pt x="79" y="11"/>
                    <a:pt x="79" y="11"/>
                    <a:pt x="79" y="11"/>
                  </a:cubicBezTo>
                  <a:cubicBezTo>
                    <a:pt x="79" y="12"/>
                    <a:pt x="79" y="12"/>
                    <a:pt x="79" y="12"/>
                  </a:cubicBezTo>
                  <a:cubicBezTo>
                    <a:pt x="79" y="27"/>
                    <a:pt x="79" y="27"/>
                    <a:pt x="79" y="27"/>
                  </a:cubicBezTo>
                  <a:cubicBezTo>
                    <a:pt x="85" y="33"/>
                    <a:pt x="85" y="33"/>
                    <a:pt x="85" y="33"/>
                  </a:cubicBezTo>
                  <a:cubicBezTo>
                    <a:pt x="85" y="39"/>
                    <a:pt x="85" y="39"/>
                    <a:pt x="85" y="39"/>
                  </a:cubicBezTo>
                  <a:cubicBezTo>
                    <a:pt x="81" y="44"/>
                    <a:pt x="81" y="44"/>
                    <a:pt x="81" y="44"/>
                  </a:cubicBezTo>
                  <a:cubicBezTo>
                    <a:pt x="85" y="48"/>
                    <a:pt x="85" y="48"/>
                    <a:pt x="85" y="48"/>
                  </a:cubicBezTo>
                  <a:cubicBezTo>
                    <a:pt x="91" y="52"/>
                    <a:pt x="91" y="52"/>
                    <a:pt x="91" y="52"/>
                  </a:cubicBezTo>
                  <a:cubicBezTo>
                    <a:pt x="95" y="57"/>
                    <a:pt x="95" y="57"/>
                    <a:pt x="95" y="57"/>
                  </a:cubicBezTo>
                  <a:cubicBezTo>
                    <a:pt x="95" y="59"/>
                    <a:pt x="95" y="59"/>
                    <a:pt x="95" y="59"/>
                  </a:cubicBezTo>
                  <a:cubicBezTo>
                    <a:pt x="95" y="59"/>
                    <a:pt x="95" y="59"/>
                    <a:pt x="95" y="59"/>
                  </a:cubicBezTo>
                  <a:cubicBezTo>
                    <a:pt x="95" y="57"/>
                    <a:pt x="95" y="57"/>
                    <a:pt x="95" y="57"/>
                  </a:cubicBezTo>
                  <a:cubicBezTo>
                    <a:pt x="99" y="61"/>
                    <a:pt x="99" y="61"/>
                    <a:pt x="99" y="61"/>
                  </a:cubicBezTo>
                  <a:cubicBezTo>
                    <a:pt x="111" y="65"/>
                    <a:pt x="111" y="65"/>
                    <a:pt x="111" y="65"/>
                  </a:cubicBezTo>
                  <a:cubicBezTo>
                    <a:pt x="115" y="65"/>
                    <a:pt x="115" y="65"/>
                    <a:pt x="115" y="65"/>
                  </a:cubicBezTo>
                  <a:cubicBezTo>
                    <a:pt x="119" y="69"/>
                    <a:pt x="119" y="69"/>
                    <a:pt x="119" y="69"/>
                  </a:cubicBezTo>
                  <a:cubicBezTo>
                    <a:pt x="122" y="69"/>
                    <a:pt x="122" y="69"/>
                    <a:pt x="122" y="69"/>
                  </a:cubicBezTo>
                  <a:cubicBezTo>
                    <a:pt x="126" y="73"/>
                    <a:pt x="126" y="73"/>
                    <a:pt x="126" y="73"/>
                  </a:cubicBezTo>
                  <a:cubicBezTo>
                    <a:pt x="130" y="77"/>
                    <a:pt x="130" y="77"/>
                    <a:pt x="130" y="77"/>
                  </a:cubicBezTo>
                  <a:cubicBezTo>
                    <a:pt x="130" y="65"/>
                    <a:pt x="130" y="65"/>
                    <a:pt x="130" y="65"/>
                  </a:cubicBezTo>
                  <a:cubicBezTo>
                    <a:pt x="122" y="61"/>
                    <a:pt x="122" y="61"/>
                    <a:pt x="122" y="61"/>
                  </a:cubicBezTo>
                  <a:cubicBezTo>
                    <a:pt x="126" y="61"/>
                    <a:pt x="126" y="61"/>
                    <a:pt x="126" y="61"/>
                  </a:cubicBezTo>
                  <a:cubicBezTo>
                    <a:pt x="126" y="57"/>
                    <a:pt x="126" y="57"/>
                    <a:pt x="126" y="57"/>
                  </a:cubicBezTo>
                  <a:cubicBezTo>
                    <a:pt x="126" y="46"/>
                    <a:pt x="126" y="46"/>
                    <a:pt x="126" y="46"/>
                  </a:cubicBezTo>
                  <a:cubicBezTo>
                    <a:pt x="126" y="26"/>
                    <a:pt x="126" y="26"/>
                    <a:pt x="126" y="26"/>
                  </a:cubicBezTo>
                  <a:cubicBezTo>
                    <a:pt x="122" y="22"/>
                    <a:pt x="122" y="22"/>
                    <a:pt x="122" y="22"/>
                  </a:cubicBezTo>
                  <a:cubicBezTo>
                    <a:pt x="130" y="18"/>
                    <a:pt x="130" y="18"/>
                    <a:pt x="130" y="18"/>
                  </a:cubicBezTo>
                  <a:cubicBezTo>
                    <a:pt x="138" y="11"/>
                    <a:pt x="138" y="11"/>
                    <a:pt x="138" y="11"/>
                  </a:cubicBezTo>
                  <a:cubicBezTo>
                    <a:pt x="146" y="3"/>
                    <a:pt x="146" y="3"/>
                    <a:pt x="146" y="3"/>
                  </a:cubicBezTo>
                  <a:cubicBezTo>
                    <a:pt x="150" y="7"/>
                    <a:pt x="150" y="7"/>
                    <a:pt x="150" y="7"/>
                  </a:cubicBezTo>
                  <a:cubicBezTo>
                    <a:pt x="146" y="14"/>
                    <a:pt x="146" y="14"/>
                    <a:pt x="146" y="14"/>
                  </a:cubicBezTo>
                  <a:cubicBezTo>
                    <a:pt x="142" y="18"/>
                    <a:pt x="142" y="18"/>
                    <a:pt x="142" y="18"/>
                  </a:cubicBezTo>
                  <a:cubicBezTo>
                    <a:pt x="138" y="18"/>
                    <a:pt x="138" y="18"/>
                    <a:pt x="138" y="18"/>
                  </a:cubicBezTo>
                  <a:cubicBezTo>
                    <a:pt x="138" y="22"/>
                    <a:pt x="138" y="22"/>
                    <a:pt x="138" y="22"/>
                  </a:cubicBezTo>
                  <a:cubicBezTo>
                    <a:pt x="138" y="26"/>
                    <a:pt x="138" y="26"/>
                    <a:pt x="138" y="26"/>
                  </a:cubicBezTo>
                  <a:cubicBezTo>
                    <a:pt x="138" y="30"/>
                    <a:pt x="138" y="30"/>
                    <a:pt x="138" y="30"/>
                  </a:cubicBezTo>
                  <a:cubicBezTo>
                    <a:pt x="134" y="34"/>
                    <a:pt x="134" y="34"/>
                    <a:pt x="134" y="34"/>
                  </a:cubicBezTo>
                  <a:cubicBezTo>
                    <a:pt x="134" y="38"/>
                    <a:pt x="134" y="38"/>
                    <a:pt x="134" y="38"/>
                  </a:cubicBezTo>
                  <a:cubicBezTo>
                    <a:pt x="138" y="38"/>
                    <a:pt x="138" y="38"/>
                    <a:pt x="138" y="38"/>
                  </a:cubicBezTo>
                  <a:cubicBezTo>
                    <a:pt x="142" y="38"/>
                    <a:pt x="142" y="38"/>
                    <a:pt x="142" y="38"/>
                  </a:cubicBezTo>
                  <a:cubicBezTo>
                    <a:pt x="142" y="50"/>
                    <a:pt x="142" y="50"/>
                    <a:pt x="142" y="50"/>
                  </a:cubicBezTo>
                  <a:cubicBezTo>
                    <a:pt x="138" y="53"/>
                    <a:pt x="138" y="53"/>
                    <a:pt x="138" y="53"/>
                  </a:cubicBezTo>
                  <a:cubicBezTo>
                    <a:pt x="134" y="57"/>
                    <a:pt x="134" y="57"/>
                    <a:pt x="134" y="57"/>
                  </a:cubicBezTo>
                  <a:cubicBezTo>
                    <a:pt x="138" y="61"/>
                    <a:pt x="138" y="61"/>
                    <a:pt x="138" y="61"/>
                  </a:cubicBezTo>
                  <a:cubicBezTo>
                    <a:pt x="142" y="69"/>
                    <a:pt x="142" y="69"/>
                    <a:pt x="142" y="69"/>
                  </a:cubicBezTo>
                  <a:cubicBezTo>
                    <a:pt x="146" y="69"/>
                    <a:pt x="146" y="69"/>
                    <a:pt x="146" y="69"/>
                  </a:cubicBezTo>
                  <a:cubicBezTo>
                    <a:pt x="150" y="69"/>
                    <a:pt x="150" y="69"/>
                    <a:pt x="150" y="69"/>
                  </a:cubicBezTo>
                  <a:cubicBezTo>
                    <a:pt x="154" y="77"/>
                    <a:pt x="154" y="77"/>
                    <a:pt x="154" y="77"/>
                  </a:cubicBezTo>
                  <a:cubicBezTo>
                    <a:pt x="154" y="81"/>
                    <a:pt x="154" y="81"/>
                    <a:pt x="154" y="81"/>
                  </a:cubicBezTo>
                  <a:cubicBezTo>
                    <a:pt x="154" y="85"/>
                    <a:pt x="154" y="85"/>
                    <a:pt x="154" y="85"/>
                  </a:cubicBezTo>
                  <a:cubicBezTo>
                    <a:pt x="158" y="85"/>
                    <a:pt x="158" y="85"/>
                    <a:pt x="158" y="85"/>
                  </a:cubicBezTo>
                  <a:cubicBezTo>
                    <a:pt x="158" y="89"/>
                    <a:pt x="158" y="89"/>
                    <a:pt x="158" y="89"/>
                  </a:cubicBezTo>
                  <a:cubicBezTo>
                    <a:pt x="154" y="89"/>
                    <a:pt x="154" y="89"/>
                    <a:pt x="154" y="89"/>
                  </a:cubicBezTo>
                  <a:cubicBezTo>
                    <a:pt x="146" y="108"/>
                    <a:pt x="146" y="108"/>
                    <a:pt x="146" y="108"/>
                  </a:cubicBezTo>
                  <a:cubicBezTo>
                    <a:pt x="146" y="124"/>
                    <a:pt x="146" y="124"/>
                    <a:pt x="146" y="124"/>
                  </a:cubicBezTo>
                  <a:cubicBezTo>
                    <a:pt x="150" y="124"/>
                    <a:pt x="150" y="124"/>
                    <a:pt x="150" y="124"/>
                  </a:cubicBezTo>
                  <a:cubicBezTo>
                    <a:pt x="154" y="124"/>
                    <a:pt x="154" y="124"/>
                    <a:pt x="154" y="124"/>
                  </a:cubicBezTo>
                  <a:cubicBezTo>
                    <a:pt x="154" y="120"/>
                    <a:pt x="154" y="120"/>
                    <a:pt x="154" y="120"/>
                  </a:cubicBezTo>
                  <a:cubicBezTo>
                    <a:pt x="173" y="81"/>
                    <a:pt x="173" y="81"/>
                    <a:pt x="173" y="81"/>
                  </a:cubicBezTo>
                  <a:cubicBezTo>
                    <a:pt x="173" y="73"/>
                    <a:pt x="173" y="73"/>
                    <a:pt x="173" y="73"/>
                  </a:cubicBezTo>
                  <a:cubicBezTo>
                    <a:pt x="177" y="65"/>
                    <a:pt x="177" y="65"/>
                    <a:pt x="177" y="65"/>
                  </a:cubicBezTo>
                  <a:cubicBezTo>
                    <a:pt x="185" y="57"/>
                    <a:pt x="185" y="57"/>
                    <a:pt x="185" y="57"/>
                  </a:cubicBezTo>
                  <a:cubicBezTo>
                    <a:pt x="183" y="54"/>
                    <a:pt x="183" y="54"/>
                    <a:pt x="183" y="54"/>
                  </a:cubicBezTo>
                  <a:cubicBezTo>
                    <a:pt x="183" y="54"/>
                    <a:pt x="183" y="54"/>
                    <a:pt x="183" y="54"/>
                  </a:cubicBezTo>
                  <a:lnTo>
                    <a:pt x="183" y="55"/>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35" name="Maine">
              <a:extLst>
                <a:ext uri="{FF2B5EF4-FFF2-40B4-BE49-F238E27FC236}">
                  <a16:creationId xmlns:a16="http://schemas.microsoft.com/office/drawing/2014/main" id="{A8DBF040-810A-CE96-AA35-4D6B67B9BE3E}"/>
                </a:ext>
              </a:extLst>
            </p:cNvPr>
            <p:cNvSpPr>
              <a:spLocks/>
            </p:cNvSpPr>
            <p:nvPr/>
          </p:nvSpPr>
          <p:spPr bwMode="auto">
            <a:xfrm>
              <a:off x="10360774" y="1242030"/>
              <a:ext cx="596843" cy="894428"/>
            </a:xfrm>
            <a:custGeom>
              <a:avLst/>
              <a:gdLst>
                <a:gd name="T0" fmla="*/ 147 w 151"/>
                <a:gd name="T1" fmla="*/ 137 h 226"/>
                <a:gd name="T2" fmla="*/ 143 w 151"/>
                <a:gd name="T3" fmla="*/ 129 h 226"/>
                <a:gd name="T4" fmla="*/ 136 w 151"/>
                <a:gd name="T5" fmla="*/ 125 h 226"/>
                <a:gd name="T6" fmla="*/ 128 w 151"/>
                <a:gd name="T7" fmla="*/ 113 h 226"/>
                <a:gd name="T8" fmla="*/ 128 w 151"/>
                <a:gd name="T9" fmla="*/ 102 h 226"/>
                <a:gd name="T10" fmla="*/ 120 w 151"/>
                <a:gd name="T11" fmla="*/ 24 h 226"/>
                <a:gd name="T12" fmla="*/ 93 w 151"/>
                <a:gd name="T13" fmla="*/ 4 h 226"/>
                <a:gd name="T14" fmla="*/ 77 w 151"/>
                <a:gd name="T15" fmla="*/ 16 h 226"/>
                <a:gd name="T16" fmla="*/ 65 w 151"/>
                <a:gd name="T17" fmla="*/ 4 h 226"/>
                <a:gd name="T18" fmla="*/ 54 w 151"/>
                <a:gd name="T19" fmla="*/ 0 h 226"/>
                <a:gd name="T20" fmla="*/ 18 w 151"/>
                <a:gd name="T21" fmla="*/ 74 h 226"/>
                <a:gd name="T22" fmla="*/ 7 w 151"/>
                <a:gd name="T23" fmla="*/ 109 h 226"/>
                <a:gd name="T24" fmla="*/ 7 w 151"/>
                <a:gd name="T25" fmla="*/ 117 h 226"/>
                <a:gd name="T26" fmla="*/ 3 w 151"/>
                <a:gd name="T27" fmla="*/ 121 h 226"/>
                <a:gd name="T28" fmla="*/ 1 w 151"/>
                <a:gd name="T29" fmla="*/ 123 h 226"/>
                <a:gd name="T30" fmla="*/ 1 w 151"/>
                <a:gd name="T31" fmla="*/ 153 h 226"/>
                <a:gd name="T32" fmla="*/ 2 w 151"/>
                <a:gd name="T33" fmla="*/ 165 h 226"/>
                <a:gd name="T34" fmla="*/ 9 w 151"/>
                <a:gd name="T35" fmla="*/ 218 h 226"/>
                <a:gd name="T36" fmla="*/ 14 w 151"/>
                <a:gd name="T37" fmla="*/ 226 h 226"/>
                <a:gd name="T38" fmla="*/ 26 w 151"/>
                <a:gd name="T39" fmla="*/ 207 h 226"/>
                <a:gd name="T40" fmla="*/ 38 w 151"/>
                <a:gd name="T41" fmla="*/ 199 h 226"/>
                <a:gd name="T42" fmla="*/ 46 w 151"/>
                <a:gd name="T43" fmla="*/ 199 h 226"/>
                <a:gd name="T44" fmla="*/ 50 w 151"/>
                <a:gd name="T45" fmla="*/ 195 h 226"/>
                <a:gd name="T46" fmla="*/ 54 w 151"/>
                <a:gd name="T47" fmla="*/ 199 h 226"/>
                <a:gd name="T48" fmla="*/ 57 w 151"/>
                <a:gd name="T49" fmla="*/ 191 h 226"/>
                <a:gd name="T50" fmla="*/ 65 w 151"/>
                <a:gd name="T51" fmla="*/ 191 h 226"/>
                <a:gd name="T52" fmla="*/ 69 w 151"/>
                <a:gd name="T53" fmla="*/ 180 h 226"/>
                <a:gd name="T54" fmla="*/ 73 w 151"/>
                <a:gd name="T55" fmla="*/ 168 h 226"/>
                <a:gd name="T56" fmla="*/ 81 w 151"/>
                <a:gd name="T57" fmla="*/ 164 h 226"/>
                <a:gd name="T58" fmla="*/ 85 w 151"/>
                <a:gd name="T59" fmla="*/ 172 h 226"/>
                <a:gd name="T60" fmla="*/ 93 w 151"/>
                <a:gd name="T61" fmla="*/ 172 h 226"/>
                <a:gd name="T62" fmla="*/ 100 w 151"/>
                <a:gd name="T63" fmla="*/ 176 h 226"/>
                <a:gd name="T64" fmla="*/ 108 w 151"/>
                <a:gd name="T65" fmla="*/ 168 h 226"/>
                <a:gd name="T66" fmla="*/ 116 w 151"/>
                <a:gd name="T67" fmla="*/ 164 h 226"/>
                <a:gd name="T68" fmla="*/ 132 w 151"/>
                <a:gd name="T69" fmla="*/ 160 h 226"/>
                <a:gd name="T70" fmla="*/ 139 w 151"/>
                <a:gd name="T71" fmla="*/ 156 h 226"/>
                <a:gd name="T72" fmla="*/ 147 w 151"/>
                <a:gd name="T73" fmla="*/ 152 h 226"/>
                <a:gd name="T74" fmla="*/ 151 w 151"/>
                <a:gd name="T75" fmla="*/ 145 h 226"/>
                <a:gd name="T76" fmla="*/ 147 w 151"/>
                <a:gd name="T77" fmla="*/ 14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1" h="226">
                  <a:moveTo>
                    <a:pt x="147" y="141"/>
                  </a:moveTo>
                  <a:cubicBezTo>
                    <a:pt x="147" y="137"/>
                    <a:pt x="147" y="137"/>
                    <a:pt x="147" y="137"/>
                  </a:cubicBezTo>
                  <a:cubicBezTo>
                    <a:pt x="147" y="129"/>
                    <a:pt x="147" y="129"/>
                    <a:pt x="147" y="129"/>
                  </a:cubicBezTo>
                  <a:cubicBezTo>
                    <a:pt x="143" y="129"/>
                    <a:pt x="143" y="129"/>
                    <a:pt x="143" y="129"/>
                  </a:cubicBezTo>
                  <a:cubicBezTo>
                    <a:pt x="136" y="129"/>
                    <a:pt x="136" y="129"/>
                    <a:pt x="136" y="129"/>
                  </a:cubicBezTo>
                  <a:cubicBezTo>
                    <a:pt x="136" y="125"/>
                    <a:pt x="136" y="125"/>
                    <a:pt x="136" y="125"/>
                  </a:cubicBezTo>
                  <a:cubicBezTo>
                    <a:pt x="132" y="121"/>
                    <a:pt x="132" y="121"/>
                    <a:pt x="132" y="121"/>
                  </a:cubicBezTo>
                  <a:cubicBezTo>
                    <a:pt x="128" y="113"/>
                    <a:pt x="128" y="113"/>
                    <a:pt x="128" y="113"/>
                  </a:cubicBezTo>
                  <a:cubicBezTo>
                    <a:pt x="128" y="106"/>
                    <a:pt x="128" y="106"/>
                    <a:pt x="128" y="106"/>
                  </a:cubicBezTo>
                  <a:cubicBezTo>
                    <a:pt x="128" y="102"/>
                    <a:pt x="128" y="102"/>
                    <a:pt x="128" y="102"/>
                  </a:cubicBezTo>
                  <a:cubicBezTo>
                    <a:pt x="120" y="98"/>
                    <a:pt x="120" y="98"/>
                    <a:pt x="120" y="98"/>
                  </a:cubicBezTo>
                  <a:cubicBezTo>
                    <a:pt x="120" y="24"/>
                    <a:pt x="120" y="24"/>
                    <a:pt x="120" y="24"/>
                  </a:cubicBezTo>
                  <a:cubicBezTo>
                    <a:pt x="97" y="4"/>
                    <a:pt x="97" y="4"/>
                    <a:pt x="97" y="4"/>
                  </a:cubicBezTo>
                  <a:cubicBezTo>
                    <a:pt x="93" y="4"/>
                    <a:pt x="93" y="4"/>
                    <a:pt x="93" y="4"/>
                  </a:cubicBezTo>
                  <a:cubicBezTo>
                    <a:pt x="89" y="12"/>
                    <a:pt x="89" y="12"/>
                    <a:pt x="89" y="12"/>
                  </a:cubicBezTo>
                  <a:cubicBezTo>
                    <a:pt x="77" y="16"/>
                    <a:pt x="77" y="16"/>
                    <a:pt x="77" y="16"/>
                  </a:cubicBezTo>
                  <a:cubicBezTo>
                    <a:pt x="69" y="12"/>
                    <a:pt x="69" y="12"/>
                    <a:pt x="69" y="12"/>
                  </a:cubicBezTo>
                  <a:cubicBezTo>
                    <a:pt x="65" y="4"/>
                    <a:pt x="65" y="4"/>
                    <a:pt x="65" y="4"/>
                  </a:cubicBezTo>
                  <a:cubicBezTo>
                    <a:pt x="57" y="0"/>
                    <a:pt x="57" y="0"/>
                    <a:pt x="57" y="0"/>
                  </a:cubicBezTo>
                  <a:cubicBezTo>
                    <a:pt x="54" y="0"/>
                    <a:pt x="54" y="0"/>
                    <a:pt x="54" y="0"/>
                  </a:cubicBezTo>
                  <a:cubicBezTo>
                    <a:pt x="50" y="4"/>
                    <a:pt x="50" y="4"/>
                    <a:pt x="50" y="4"/>
                  </a:cubicBezTo>
                  <a:cubicBezTo>
                    <a:pt x="18" y="74"/>
                    <a:pt x="18" y="74"/>
                    <a:pt x="18" y="74"/>
                  </a:cubicBezTo>
                  <a:cubicBezTo>
                    <a:pt x="18" y="102"/>
                    <a:pt x="18" y="102"/>
                    <a:pt x="18" y="102"/>
                  </a:cubicBezTo>
                  <a:cubicBezTo>
                    <a:pt x="7" y="109"/>
                    <a:pt x="7" y="109"/>
                    <a:pt x="7" y="109"/>
                  </a:cubicBezTo>
                  <a:cubicBezTo>
                    <a:pt x="7" y="113"/>
                    <a:pt x="7" y="113"/>
                    <a:pt x="7" y="113"/>
                  </a:cubicBezTo>
                  <a:cubicBezTo>
                    <a:pt x="7" y="117"/>
                    <a:pt x="7" y="117"/>
                    <a:pt x="7" y="117"/>
                  </a:cubicBezTo>
                  <a:cubicBezTo>
                    <a:pt x="3" y="117"/>
                    <a:pt x="3" y="117"/>
                    <a:pt x="3" y="117"/>
                  </a:cubicBezTo>
                  <a:cubicBezTo>
                    <a:pt x="3" y="121"/>
                    <a:pt x="3" y="121"/>
                    <a:pt x="3" y="121"/>
                  </a:cubicBezTo>
                  <a:cubicBezTo>
                    <a:pt x="1" y="120"/>
                    <a:pt x="1" y="120"/>
                    <a:pt x="1" y="120"/>
                  </a:cubicBezTo>
                  <a:cubicBezTo>
                    <a:pt x="1" y="123"/>
                    <a:pt x="1" y="123"/>
                    <a:pt x="1" y="123"/>
                  </a:cubicBezTo>
                  <a:cubicBezTo>
                    <a:pt x="1" y="124"/>
                    <a:pt x="0" y="131"/>
                    <a:pt x="1" y="134"/>
                  </a:cubicBezTo>
                  <a:cubicBezTo>
                    <a:pt x="2" y="137"/>
                    <a:pt x="1" y="151"/>
                    <a:pt x="1" y="153"/>
                  </a:cubicBezTo>
                  <a:cubicBezTo>
                    <a:pt x="2" y="159"/>
                    <a:pt x="2" y="159"/>
                    <a:pt x="2" y="159"/>
                  </a:cubicBezTo>
                  <a:cubicBezTo>
                    <a:pt x="2" y="165"/>
                    <a:pt x="2" y="165"/>
                    <a:pt x="2" y="165"/>
                  </a:cubicBezTo>
                  <a:cubicBezTo>
                    <a:pt x="9" y="192"/>
                    <a:pt x="9" y="192"/>
                    <a:pt x="9" y="192"/>
                  </a:cubicBezTo>
                  <a:cubicBezTo>
                    <a:pt x="9" y="218"/>
                    <a:pt x="9" y="218"/>
                    <a:pt x="9" y="218"/>
                  </a:cubicBezTo>
                  <a:cubicBezTo>
                    <a:pt x="13" y="225"/>
                    <a:pt x="13" y="225"/>
                    <a:pt x="13" y="225"/>
                  </a:cubicBezTo>
                  <a:cubicBezTo>
                    <a:pt x="14" y="226"/>
                    <a:pt x="14" y="226"/>
                    <a:pt x="14" y="226"/>
                  </a:cubicBezTo>
                  <a:cubicBezTo>
                    <a:pt x="22" y="215"/>
                    <a:pt x="22" y="215"/>
                    <a:pt x="22" y="215"/>
                  </a:cubicBezTo>
                  <a:cubicBezTo>
                    <a:pt x="26" y="207"/>
                    <a:pt x="26" y="207"/>
                    <a:pt x="26" y="207"/>
                  </a:cubicBezTo>
                  <a:cubicBezTo>
                    <a:pt x="30" y="199"/>
                    <a:pt x="30" y="199"/>
                    <a:pt x="30" y="199"/>
                  </a:cubicBezTo>
                  <a:cubicBezTo>
                    <a:pt x="38" y="199"/>
                    <a:pt x="38" y="199"/>
                    <a:pt x="38" y="199"/>
                  </a:cubicBezTo>
                  <a:cubicBezTo>
                    <a:pt x="42" y="203"/>
                    <a:pt x="42" y="203"/>
                    <a:pt x="42" y="203"/>
                  </a:cubicBezTo>
                  <a:cubicBezTo>
                    <a:pt x="46" y="199"/>
                    <a:pt x="46" y="199"/>
                    <a:pt x="46" y="199"/>
                  </a:cubicBezTo>
                  <a:cubicBezTo>
                    <a:pt x="46" y="195"/>
                    <a:pt x="46" y="195"/>
                    <a:pt x="46" y="195"/>
                  </a:cubicBezTo>
                  <a:cubicBezTo>
                    <a:pt x="50" y="195"/>
                    <a:pt x="50" y="195"/>
                    <a:pt x="50" y="195"/>
                  </a:cubicBezTo>
                  <a:cubicBezTo>
                    <a:pt x="50" y="199"/>
                    <a:pt x="50" y="199"/>
                    <a:pt x="50" y="199"/>
                  </a:cubicBezTo>
                  <a:cubicBezTo>
                    <a:pt x="54" y="199"/>
                    <a:pt x="54" y="199"/>
                    <a:pt x="54" y="199"/>
                  </a:cubicBezTo>
                  <a:cubicBezTo>
                    <a:pt x="57" y="195"/>
                    <a:pt x="57" y="195"/>
                    <a:pt x="57" y="195"/>
                  </a:cubicBezTo>
                  <a:cubicBezTo>
                    <a:pt x="57" y="191"/>
                    <a:pt x="57" y="191"/>
                    <a:pt x="57" y="191"/>
                  </a:cubicBezTo>
                  <a:cubicBezTo>
                    <a:pt x="61" y="187"/>
                    <a:pt x="61" y="187"/>
                    <a:pt x="61" y="187"/>
                  </a:cubicBezTo>
                  <a:cubicBezTo>
                    <a:pt x="65" y="191"/>
                    <a:pt x="65" y="191"/>
                    <a:pt x="65" y="191"/>
                  </a:cubicBezTo>
                  <a:cubicBezTo>
                    <a:pt x="69" y="184"/>
                    <a:pt x="69" y="184"/>
                    <a:pt x="69" y="184"/>
                  </a:cubicBezTo>
                  <a:cubicBezTo>
                    <a:pt x="69" y="180"/>
                    <a:pt x="69" y="180"/>
                    <a:pt x="69" y="180"/>
                  </a:cubicBezTo>
                  <a:cubicBezTo>
                    <a:pt x="73" y="172"/>
                    <a:pt x="73" y="172"/>
                    <a:pt x="73" y="172"/>
                  </a:cubicBezTo>
                  <a:cubicBezTo>
                    <a:pt x="73" y="168"/>
                    <a:pt x="73" y="168"/>
                    <a:pt x="73" y="168"/>
                  </a:cubicBezTo>
                  <a:cubicBezTo>
                    <a:pt x="77" y="164"/>
                    <a:pt x="77" y="164"/>
                    <a:pt x="77" y="164"/>
                  </a:cubicBezTo>
                  <a:cubicBezTo>
                    <a:pt x="81" y="164"/>
                    <a:pt x="81" y="164"/>
                    <a:pt x="81" y="164"/>
                  </a:cubicBezTo>
                  <a:cubicBezTo>
                    <a:pt x="85" y="168"/>
                    <a:pt x="85" y="168"/>
                    <a:pt x="85" y="168"/>
                  </a:cubicBezTo>
                  <a:cubicBezTo>
                    <a:pt x="85" y="172"/>
                    <a:pt x="85" y="172"/>
                    <a:pt x="85" y="172"/>
                  </a:cubicBezTo>
                  <a:cubicBezTo>
                    <a:pt x="89" y="172"/>
                    <a:pt x="89" y="172"/>
                    <a:pt x="89" y="172"/>
                  </a:cubicBezTo>
                  <a:cubicBezTo>
                    <a:pt x="93" y="172"/>
                    <a:pt x="93" y="172"/>
                    <a:pt x="93" y="172"/>
                  </a:cubicBezTo>
                  <a:cubicBezTo>
                    <a:pt x="97" y="176"/>
                    <a:pt x="97" y="176"/>
                    <a:pt x="97" y="176"/>
                  </a:cubicBezTo>
                  <a:cubicBezTo>
                    <a:pt x="100" y="176"/>
                    <a:pt x="100" y="176"/>
                    <a:pt x="100" y="176"/>
                  </a:cubicBezTo>
                  <a:cubicBezTo>
                    <a:pt x="104" y="172"/>
                    <a:pt x="104" y="172"/>
                    <a:pt x="104" y="172"/>
                  </a:cubicBezTo>
                  <a:cubicBezTo>
                    <a:pt x="108" y="168"/>
                    <a:pt x="108" y="168"/>
                    <a:pt x="108" y="168"/>
                  </a:cubicBezTo>
                  <a:cubicBezTo>
                    <a:pt x="112" y="168"/>
                    <a:pt x="112" y="168"/>
                    <a:pt x="112" y="168"/>
                  </a:cubicBezTo>
                  <a:cubicBezTo>
                    <a:pt x="116" y="164"/>
                    <a:pt x="116" y="164"/>
                    <a:pt x="116" y="164"/>
                  </a:cubicBezTo>
                  <a:cubicBezTo>
                    <a:pt x="120" y="160"/>
                    <a:pt x="120" y="160"/>
                    <a:pt x="120" y="160"/>
                  </a:cubicBezTo>
                  <a:cubicBezTo>
                    <a:pt x="132" y="160"/>
                    <a:pt x="132" y="160"/>
                    <a:pt x="132" y="160"/>
                  </a:cubicBezTo>
                  <a:cubicBezTo>
                    <a:pt x="132" y="156"/>
                    <a:pt x="132" y="156"/>
                    <a:pt x="132" y="156"/>
                  </a:cubicBezTo>
                  <a:cubicBezTo>
                    <a:pt x="139" y="156"/>
                    <a:pt x="139" y="156"/>
                    <a:pt x="139" y="156"/>
                  </a:cubicBezTo>
                  <a:cubicBezTo>
                    <a:pt x="139" y="152"/>
                    <a:pt x="139" y="152"/>
                    <a:pt x="139" y="152"/>
                  </a:cubicBezTo>
                  <a:cubicBezTo>
                    <a:pt x="147" y="152"/>
                    <a:pt x="147" y="152"/>
                    <a:pt x="147" y="152"/>
                  </a:cubicBezTo>
                  <a:cubicBezTo>
                    <a:pt x="151" y="148"/>
                    <a:pt x="151" y="148"/>
                    <a:pt x="151" y="148"/>
                  </a:cubicBezTo>
                  <a:cubicBezTo>
                    <a:pt x="151" y="145"/>
                    <a:pt x="151" y="145"/>
                    <a:pt x="151" y="145"/>
                  </a:cubicBezTo>
                  <a:cubicBezTo>
                    <a:pt x="147" y="145"/>
                    <a:pt x="147" y="145"/>
                    <a:pt x="147" y="145"/>
                  </a:cubicBezTo>
                  <a:lnTo>
                    <a:pt x="147" y="141"/>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36" name="Louisiana">
              <a:extLst>
                <a:ext uri="{FF2B5EF4-FFF2-40B4-BE49-F238E27FC236}">
                  <a16:creationId xmlns:a16="http://schemas.microsoft.com/office/drawing/2014/main" id="{260510CD-BEA5-7297-62EF-F2A37C694DAC}"/>
                </a:ext>
              </a:extLst>
            </p:cNvPr>
            <p:cNvSpPr>
              <a:spLocks/>
            </p:cNvSpPr>
            <p:nvPr/>
          </p:nvSpPr>
          <p:spPr bwMode="auto">
            <a:xfrm>
              <a:off x="6773030" y="4033984"/>
              <a:ext cx="760682" cy="822540"/>
            </a:xfrm>
            <a:custGeom>
              <a:avLst/>
              <a:gdLst>
                <a:gd name="T0" fmla="*/ 145 w 192"/>
                <a:gd name="T1" fmla="*/ 144 h 208"/>
                <a:gd name="T2" fmla="*/ 150 w 192"/>
                <a:gd name="T3" fmla="*/ 133 h 208"/>
                <a:gd name="T4" fmla="*/ 148 w 192"/>
                <a:gd name="T5" fmla="*/ 120 h 208"/>
                <a:gd name="T6" fmla="*/ 144 w 192"/>
                <a:gd name="T7" fmla="*/ 117 h 208"/>
                <a:gd name="T8" fmla="*/ 149 w 192"/>
                <a:gd name="T9" fmla="*/ 103 h 208"/>
                <a:gd name="T10" fmla="*/ 148 w 192"/>
                <a:gd name="T11" fmla="*/ 95 h 208"/>
                <a:gd name="T12" fmla="*/ 89 w 192"/>
                <a:gd name="T13" fmla="*/ 71 h 208"/>
                <a:gd name="T14" fmla="*/ 103 w 192"/>
                <a:gd name="T15" fmla="*/ 0 h 208"/>
                <a:gd name="T16" fmla="*/ 103 w 192"/>
                <a:gd name="T17" fmla="*/ 0 h 208"/>
                <a:gd name="T18" fmla="*/ 0 w 192"/>
                <a:gd name="T19" fmla="*/ 36 h 208"/>
                <a:gd name="T20" fmla="*/ 4 w 192"/>
                <a:gd name="T21" fmla="*/ 87 h 208"/>
                <a:gd name="T22" fmla="*/ 5 w 192"/>
                <a:gd name="T23" fmla="*/ 93 h 208"/>
                <a:gd name="T24" fmla="*/ 16 w 192"/>
                <a:gd name="T25" fmla="*/ 103 h 208"/>
                <a:gd name="T26" fmla="*/ 16 w 192"/>
                <a:gd name="T27" fmla="*/ 104 h 208"/>
                <a:gd name="T28" fmla="*/ 22 w 192"/>
                <a:gd name="T29" fmla="*/ 118 h 208"/>
                <a:gd name="T30" fmla="*/ 20 w 192"/>
                <a:gd name="T31" fmla="*/ 136 h 208"/>
                <a:gd name="T32" fmla="*/ 20 w 192"/>
                <a:gd name="T33" fmla="*/ 141 h 208"/>
                <a:gd name="T34" fmla="*/ 20 w 192"/>
                <a:gd name="T35" fmla="*/ 145 h 208"/>
                <a:gd name="T36" fmla="*/ 19 w 192"/>
                <a:gd name="T37" fmla="*/ 150 h 208"/>
                <a:gd name="T38" fmla="*/ 18 w 192"/>
                <a:gd name="T39" fmla="*/ 150 h 208"/>
                <a:gd name="T40" fmla="*/ 17 w 192"/>
                <a:gd name="T41" fmla="*/ 154 h 208"/>
                <a:gd name="T42" fmla="*/ 16 w 192"/>
                <a:gd name="T43" fmla="*/ 155 h 208"/>
                <a:gd name="T44" fmla="*/ 13 w 192"/>
                <a:gd name="T45" fmla="*/ 159 h 208"/>
                <a:gd name="T46" fmla="*/ 12 w 192"/>
                <a:gd name="T47" fmla="*/ 159 h 208"/>
                <a:gd name="T48" fmla="*/ 9 w 192"/>
                <a:gd name="T49" fmla="*/ 162 h 208"/>
                <a:gd name="T50" fmla="*/ 10 w 192"/>
                <a:gd name="T51" fmla="*/ 163 h 208"/>
                <a:gd name="T52" fmla="*/ 10 w 192"/>
                <a:gd name="T53" fmla="*/ 163 h 208"/>
                <a:gd name="T54" fmla="*/ 0 w 192"/>
                <a:gd name="T55" fmla="*/ 168 h 208"/>
                <a:gd name="T56" fmla="*/ 32 w 192"/>
                <a:gd name="T57" fmla="*/ 173 h 208"/>
                <a:gd name="T58" fmla="*/ 75 w 192"/>
                <a:gd name="T59" fmla="*/ 181 h 208"/>
                <a:gd name="T60" fmla="*/ 79 w 192"/>
                <a:gd name="T61" fmla="*/ 173 h 208"/>
                <a:gd name="T62" fmla="*/ 98 w 192"/>
                <a:gd name="T63" fmla="*/ 181 h 208"/>
                <a:gd name="T64" fmla="*/ 106 w 192"/>
                <a:gd name="T65" fmla="*/ 185 h 208"/>
                <a:gd name="T66" fmla="*/ 121 w 192"/>
                <a:gd name="T67" fmla="*/ 197 h 208"/>
                <a:gd name="T68" fmla="*/ 129 w 192"/>
                <a:gd name="T69" fmla="*/ 201 h 208"/>
                <a:gd name="T70" fmla="*/ 141 w 192"/>
                <a:gd name="T71" fmla="*/ 201 h 208"/>
                <a:gd name="T72" fmla="*/ 153 w 192"/>
                <a:gd name="T73" fmla="*/ 201 h 208"/>
                <a:gd name="T74" fmla="*/ 160 w 192"/>
                <a:gd name="T75" fmla="*/ 189 h 208"/>
                <a:gd name="T76" fmla="*/ 168 w 192"/>
                <a:gd name="T77" fmla="*/ 193 h 208"/>
                <a:gd name="T78" fmla="*/ 184 w 192"/>
                <a:gd name="T79" fmla="*/ 208 h 208"/>
                <a:gd name="T80" fmla="*/ 192 w 192"/>
                <a:gd name="T81" fmla="*/ 201 h 208"/>
                <a:gd name="T82" fmla="*/ 180 w 192"/>
                <a:gd name="T83" fmla="*/ 189 h 208"/>
                <a:gd name="T84" fmla="*/ 172 w 192"/>
                <a:gd name="T85" fmla="*/ 181 h 208"/>
                <a:gd name="T86" fmla="*/ 184 w 192"/>
                <a:gd name="T87" fmla="*/ 169 h 208"/>
                <a:gd name="T88" fmla="*/ 184 w 192"/>
                <a:gd name="T89" fmla="*/ 158 h 208"/>
                <a:gd name="T90" fmla="*/ 172 w 192"/>
                <a:gd name="T91" fmla="*/ 165 h 208"/>
                <a:gd name="T92" fmla="*/ 168 w 192"/>
                <a:gd name="T93" fmla="*/ 158 h 208"/>
                <a:gd name="T94" fmla="*/ 160 w 192"/>
                <a:gd name="T95" fmla="*/ 158 h 208"/>
                <a:gd name="T96" fmla="*/ 149 w 192"/>
                <a:gd name="T97" fmla="*/ 162 h 208"/>
                <a:gd name="T98" fmla="*/ 145 w 192"/>
                <a:gd name="T99" fmla="*/ 150 h 208"/>
                <a:gd name="T100" fmla="*/ 146 w 192"/>
                <a:gd name="T101" fmla="*/ 149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2" h="208">
                  <a:moveTo>
                    <a:pt x="145" y="149"/>
                  </a:moveTo>
                  <a:cubicBezTo>
                    <a:pt x="145" y="144"/>
                    <a:pt x="145" y="144"/>
                    <a:pt x="145" y="144"/>
                  </a:cubicBezTo>
                  <a:cubicBezTo>
                    <a:pt x="147" y="144"/>
                    <a:pt x="150" y="143"/>
                    <a:pt x="150" y="141"/>
                  </a:cubicBezTo>
                  <a:cubicBezTo>
                    <a:pt x="150" y="133"/>
                    <a:pt x="150" y="133"/>
                    <a:pt x="150" y="133"/>
                  </a:cubicBezTo>
                  <a:cubicBezTo>
                    <a:pt x="152" y="120"/>
                    <a:pt x="152" y="120"/>
                    <a:pt x="152" y="120"/>
                  </a:cubicBezTo>
                  <a:cubicBezTo>
                    <a:pt x="148" y="120"/>
                    <a:pt x="148" y="120"/>
                    <a:pt x="148" y="120"/>
                  </a:cubicBezTo>
                  <a:cubicBezTo>
                    <a:pt x="148" y="117"/>
                    <a:pt x="148" y="117"/>
                    <a:pt x="148" y="117"/>
                  </a:cubicBezTo>
                  <a:cubicBezTo>
                    <a:pt x="144" y="117"/>
                    <a:pt x="144" y="117"/>
                    <a:pt x="144" y="117"/>
                  </a:cubicBezTo>
                  <a:cubicBezTo>
                    <a:pt x="144" y="105"/>
                    <a:pt x="144" y="105"/>
                    <a:pt x="144" y="105"/>
                  </a:cubicBezTo>
                  <a:cubicBezTo>
                    <a:pt x="145" y="105"/>
                    <a:pt x="148" y="105"/>
                    <a:pt x="149" y="103"/>
                  </a:cubicBezTo>
                  <a:cubicBezTo>
                    <a:pt x="150" y="102"/>
                    <a:pt x="150" y="101"/>
                    <a:pt x="149" y="100"/>
                  </a:cubicBezTo>
                  <a:cubicBezTo>
                    <a:pt x="148" y="95"/>
                    <a:pt x="148" y="95"/>
                    <a:pt x="148" y="95"/>
                  </a:cubicBezTo>
                  <a:cubicBezTo>
                    <a:pt x="89" y="95"/>
                    <a:pt x="89" y="95"/>
                    <a:pt x="89" y="95"/>
                  </a:cubicBezTo>
                  <a:cubicBezTo>
                    <a:pt x="89" y="71"/>
                    <a:pt x="89" y="71"/>
                    <a:pt x="89" y="71"/>
                  </a:cubicBezTo>
                  <a:cubicBezTo>
                    <a:pt x="103" y="48"/>
                    <a:pt x="103" y="48"/>
                    <a:pt x="103" y="48"/>
                  </a:cubicBezTo>
                  <a:cubicBezTo>
                    <a:pt x="103" y="0"/>
                    <a:pt x="103" y="0"/>
                    <a:pt x="103" y="0"/>
                  </a:cubicBezTo>
                  <a:cubicBezTo>
                    <a:pt x="103" y="0"/>
                    <a:pt x="103" y="0"/>
                    <a:pt x="103" y="0"/>
                  </a:cubicBezTo>
                  <a:cubicBezTo>
                    <a:pt x="103" y="0"/>
                    <a:pt x="103" y="0"/>
                    <a:pt x="103" y="0"/>
                  </a:cubicBezTo>
                  <a:cubicBezTo>
                    <a:pt x="0" y="0"/>
                    <a:pt x="0" y="0"/>
                    <a:pt x="0" y="0"/>
                  </a:cubicBezTo>
                  <a:cubicBezTo>
                    <a:pt x="0" y="36"/>
                    <a:pt x="0" y="36"/>
                    <a:pt x="0" y="36"/>
                  </a:cubicBezTo>
                  <a:cubicBezTo>
                    <a:pt x="4" y="53"/>
                    <a:pt x="4" y="53"/>
                    <a:pt x="4" y="53"/>
                  </a:cubicBezTo>
                  <a:cubicBezTo>
                    <a:pt x="4" y="87"/>
                    <a:pt x="4" y="87"/>
                    <a:pt x="4" y="87"/>
                  </a:cubicBezTo>
                  <a:cubicBezTo>
                    <a:pt x="4" y="90"/>
                    <a:pt x="4" y="92"/>
                    <a:pt x="5" y="93"/>
                  </a:cubicBezTo>
                  <a:cubicBezTo>
                    <a:pt x="5" y="93"/>
                    <a:pt x="5" y="93"/>
                    <a:pt x="5" y="93"/>
                  </a:cubicBezTo>
                  <a:cubicBezTo>
                    <a:pt x="11" y="98"/>
                    <a:pt x="11" y="98"/>
                    <a:pt x="11" y="98"/>
                  </a:cubicBezTo>
                  <a:cubicBezTo>
                    <a:pt x="15" y="101"/>
                    <a:pt x="16" y="102"/>
                    <a:pt x="16" y="103"/>
                  </a:cubicBezTo>
                  <a:cubicBezTo>
                    <a:pt x="16" y="103"/>
                    <a:pt x="16" y="103"/>
                    <a:pt x="16" y="103"/>
                  </a:cubicBezTo>
                  <a:cubicBezTo>
                    <a:pt x="16" y="104"/>
                    <a:pt x="16" y="104"/>
                    <a:pt x="16" y="104"/>
                  </a:cubicBezTo>
                  <a:cubicBezTo>
                    <a:pt x="20" y="111"/>
                    <a:pt x="20" y="111"/>
                    <a:pt x="20" y="111"/>
                  </a:cubicBezTo>
                  <a:cubicBezTo>
                    <a:pt x="23" y="115"/>
                    <a:pt x="23" y="116"/>
                    <a:pt x="22" y="118"/>
                  </a:cubicBezTo>
                  <a:cubicBezTo>
                    <a:pt x="21" y="120"/>
                    <a:pt x="20" y="122"/>
                    <a:pt x="20" y="125"/>
                  </a:cubicBezTo>
                  <a:cubicBezTo>
                    <a:pt x="20" y="136"/>
                    <a:pt x="20" y="136"/>
                    <a:pt x="20" y="136"/>
                  </a:cubicBezTo>
                  <a:cubicBezTo>
                    <a:pt x="20" y="139"/>
                    <a:pt x="20" y="141"/>
                    <a:pt x="20" y="141"/>
                  </a:cubicBezTo>
                  <a:cubicBezTo>
                    <a:pt x="20" y="141"/>
                    <a:pt x="20" y="141"/>
                    <a:pt x="20" y="141"/>
                  </a:cubicBezTo>
                  <a:cubicBezTo>
                    <a:pt x="20" y="142"/>
                    <a:pt x="20" y="142"/>
                    <a:pt x="20" y="142"/>
                  </a:cubicBezTo>
                  <a:cubicBezTo>
                    <a:pt x="20" y="143"/>
                    <a:pt x="20" y="144"/>
                    <a:pt x="20" y="145"/>
                  </a:cubicBezTo>
                  <a:cubicBezTo>
                    <a:pt x="19" y="147"/>
                    <a:pt x="19" y="149"/>
                    <a:pt x="19" y="149"/>
                  </a:cubicBezTo>
                  <a:cubicBezTo>
                    <a:pt x="19" y="150"/>
                    <a:pt x="19" y="150"/>
                    <a:pt x="19" y="150"/>
                  </a:cubicBezTo>
                  <a:cubicBezTo>
                    <a:pt x="19" y="150"/>
                    <a:pt x="19" y="150"/>
                    <a:pt x="19" y="150"/>
                  </a:cubicBezTo>
                  <a:cubicBezTo>
                    <a:pt x="18" y="150"/>
                    <a:pt x="18" y="150"/>
                    <a:pt x="18" y="150"/>
                  </a:cubicBezTo>
                  <a:cubicBezTo>
                    <a:pt x="18" y="150"/>
                    <a:pt x="18" y="150"/>
                    <a:pt x="18" y="150"/>
                  </a:cubicBezTo>
                  <a:cubicBezTo>
                    <a:pt x="17" y="154"/>
                    <a:pt x="17" y="154"/>
                    <a:pt x="17" y="154"/>
                  </a:cubicBezTo>
                  <a:cubicBezTo>
                    <a:pt x="17" y="154"/>
                    <a:pt x="17" y="154"/>
                    <a:pt x="17" y="154"/>
                  </a:cubicBezTo>
                  <a:cubicBezTo>
                    <a:pt x="16" y="155"/>
                    <a:pt x="16" y="155"/>
                    <a:pt x="16" y="155"/>
                  </a:cubicBezTo>
                  <a:cubicBezTo>
                    <a:pt x="16" y="155"/>
                    <a:pt x="15" y="155"/>
                    <a:pt x="15" y="156"/>
                  </a:cubicBezTo>
                  <a:cubicBezTo>
                    <a:pt x="14" y="158"/>
                    <a:pt x="13" y="159"/>
                    <a:pt x="13" y="159"/>
                  </a:cubicBezTo>
                  <a:cubicBezTo>
                    <a:pt x="13" y="159"/>
                    <a:pt x="13" y="159"/>
                    <a:pt x="13" y="159"/>
                  </a:cubicBezTo>
                  <a:cubicBezTo>
                    <a:pt x="12" y="159"/>
                    <a:pt x="12" y="159"/>
                    <a:pt x="12" y="159"/>
                  </a:cubicBezTo>
                  <a:cubicBezTo>
                    <a:pt x="12" y="159"/>
                    <a:pt x="12" y="160"/>
                    <a:pt x="11" y="161"/>
                  </a:cubicBezTo>
                  <a:cubicBezTo>
                    <a:pt x="9" y="162"/>
                    <a:pt x="9" y="162"/>
                    <a:pt x="9" y="162"/>
                  </a:cubicBezTo>
                  <a:cubicBezTo>
                    <a:pt x="10" y="163"/>
                    <a:pt x="10" y="163"/>
                    <a:pt x="10" y="163"/>
                  </a:cubicBezTo>
                  <a:cubicBezTo>
                    <a:pt x="10" y="163"/>
                    <a:pt x="10" y="163"/>
                    <a:pt x="10" y="163"/>
                  </a:cubicBezTo>
                  <a:cubicBezTo>
                    <a:pt x="10" y="163"/>
                    <a:pt x="10" y="163"/>
                    <a:pt x="10" y="163"/>
                  </a:cubicBezTo>
                  <a:cubicBezTo>
                    <a:pt x="10" y="163"/>
                    <a:pt x="10" y="163"/>
                    <a:pt x="10" y="163"/>
                  </a:cubicBezTo>
                  <a:cubicBezTo>
                    <a:pt x="9" y="165"/>
                    <a:pt x="6" y="167"/>
                    <a:pt x="1" y="168"/>
                  </a:cubicBezTo>
                  <a:cubicBezTo>
                    <a:pt x="0" y="168"/>
                    <a:pt x="0" y="168"/>
                    <a:pt x="0" y="168"/>
                  </a:cubicBezTo>
                  <a:cubicBezTo>
                    <a:pt x="0" y="177"/>
                    <a:pt x="0" y="177"/>
                    <a:pt x="0" y="177"/>
                  </a:cubicBezTo>
                  <a:cubicBezTo>
                    <a:pt x="32" y="173"/>
                    <a:pt x="32" y="173"/>
                    <a:pt x="32" y="173"/>
                  </a:cubicBezTo>
                  <a:cubicBezTo>
                    <a:pt x="71" y="185"/>
                    <a:pt x="71" y="185"/>
                    <a:pt x="71" y="185"/>
                  </a:cubicBezTo>
                  <a:cubicBezTo>
                    <a:pt x="75" y="181"/>
                    <a:pt x="75" y="181"/>
                    <a:pt x="75" y="181"/>
                  </a:cubicBezTo>
                  <a:cubicBezTo>
                    <a:pt x="75" y="177"/>
                    <a:pt x="75" y="177"/>
                    <a:pt x="75" y="177"/>
                  </a:cubicBezTo>
                  <a:cubicBezTo>
                    <a:pt x="79" y="173"/>
                    <a:pt x="79" y="173"/>
                    <a:pt x="79" y="173"/>
                  </a:cubicBezTo>
                  <a:cubicBezTo>
                    <a:pt x="86" y="173"/>
                    <a:pt x="86" y="173"/>
                    <a:pt x="86" y="173"/>
                  </a:cubicBezTo>
                  <a:cubicBezTo>
                    <a:pt x="98" y="181"/>
                    <a:pt x="98" y="181"/>
                    <a:pt x="98" y="181"/>
                  </a:cubicBezTo>
                  <a:cubicBezTo>
                    <a:pt x="102" y="185"/>
                    <a:pt x="102" y="185"/>
                    <a:pt x="102" y="185"/>
                  </a:cubicBezTo>
                  <a:cubicBezTo>
                    <a:pt x="106" y="185"/>
                    <a:pt x="106" y="185"/>
                    <a:pt x="106" y="185"/>
                  </a:cubicBezTo>
                  <a:cubicBezTo>
                    <a:pt x="114" y="197"/>
                    <a:pt x="114" y="197"/>
                    <a:pt x="114" y="197"/>
                  </a:cubicBezTo>
                  <a:cubicBezTo>
                    <a:pt x="121" y="197"/>
                    <a:pt x="121" y="197"/>
                    <a:pt x="121" y="197"/>
                  </a:cubicBezTo>
                  <a:cubicBezTo>
                    <a:pt x="125" y="201"/>
                    <a:pt x="125" y="201"/>
                    <a:pt x="125" y="201"/>
                  </a:cubicBezTo>
                  <a:cubicBezTo>
                    <a:pt x="129" y="201"/>
                    <a:pt x="129" y="201"/>
                    <a:pt x="129" y="201"/>
                  </a:cubicBezTo>
                  <a:cubicBezTo>
                    <a:pt x="137" y="197"/>
                    <a:pt x="137" y="197"/>
                    <a:pt x="137" y="197"/>
                  </a:cubicBezTo>
                  <a:cubicBezTo>
                    <a:pt x="141" y="201"/>
                    <a:pt x="141" y="201"/>
                    <a:pt x="141" y="201"/>
                  </a:cubicBezTo>
                  <a:cubicBezTo>
                    <a:pt x="145" y="201"/>
                    <a:pt x="145" y="201"/>
                    <a:pt x="145" y="201"/>
                  </a:cubicBezTo>
                  <a:cubicBezTo>
                    <a:pt x="153" y="201"/>
                    <a:pt x="153" y="201"/>
                    <a:pt x="153" y="201"/>
                  </a:cubicBezTo>
                  <a:cubicBezTo>
                    <a:pt x="160" y="193"/>
                    <a:pt x="160" y="193"/>
                    <a:pt x="160" y="193"/>
                  </a:cubicBezTo>
                  <a:cubicBezTo>
                    <a:pt x="160" y="189"/>
                    <a:pt x="160" y="189"/>
                    <a:pt x="160" y="189"/>
                  </a:cubicBezTo>
                  <a:cubicBezTo>
                    <a:pt x="164" y="189"/>
                    <a:pt x="164" y="189"/>
                    <a:pt x="164" y="189"/>
                  </a:cubicBezTo>
                  <a:cubicBezTo>
                    <a:pt x="168" y="193"/>
                    <a:pt x="168" y="193"/>
                    <a:pt x="168" y="193"/>
                  </a:cubicBezTo>
                  <a:cubicBezTo>
                    <a:pt x="176" y="197"/>
                    <a:pt x="176" y="197"/>
                    <a:pt x="176" y="197"/>
                  </a:cubicBezTo>
                  <a:cubicBezTo>
                    <a:pt x="184" y="208"/>
                    <a:pt x="184" y="208"/>
                    <a:pt x="184" y="208"/>
                  </a:cubicBezTo>
                  <a:cubicBezTo>
                    <a:pt x="192" y="205"/>
                    <a:pt x="192" y="205"/>
                    <a:pt x="192" y="205"/>
                  </a:cubicBezTo>
                  <a:cubicBezTo>
                    <a:pt x="192" y="201"/>
                    <a:pt x="192" y="201"/>
                    <a:pt x="192" y="201"/>
                  </a:cubicBezTo>
                  <a:cubicBezTo>
                    <a:pt x="192" y="197"/>
                    <a:pt x="192" y="197"/>
                    <a:pt x="192" y="197"/>
                  </a:cubicBezTo>
                  <a:cubicBezTo>
                    <a:pt x="180" y="189"/>
                    <a:pt x="180" y="189"/>
                    <a:pt x="180" y="189"/>
                  </a:cubicBezTo>
                  <a:cubicBezTo>
                    <a:pt x="172" y="185"/>
                    <a:pt x="172" y="185"/>
                    <a:pt x="172" y="185"/>
                  </a:cubicBezTo>
                  <a:cubicBezTo>
                    <a:pt x="172" y="181"/>
                    <a:pt x="172" y="181"/>
                    <a:pt x="172" y="181"/>
                  </a:cubicBezTo>
                  <a:cubicBezTo>
                    <a:pt x="176" y="177"/>
                    <a:pt x="176" y="177"/>
                    <a:pt x="176" y="177"/>
                  </a:cubicBezTo>
                  <a:cubicBezTo>
                    <a:pt x="184" y="169"/>
                    <a:pt x="184" y="169"/>
                    <a:pt x="184" y="169"/>
                  </a:cubicBezTo>
                  <a:cubicBezTo>
                    <a:pt x="188" y="162"/>
                    <a:pt x="188" y="162"/>
                    <a:pt x="188" y="162"/>
                  </a:cubicBezTo>
                  <a:cubicBezTo>
                    <a:pt x="184" y="158"/>
                    <a:pt x="184" y="158"/>
                    <a:pt x="184" y="158"/>
                  </a:cubicBezTo>
                  <a:cubicBezTo>
                    <a:pt x="176" y="162"/>
                    <a:pt x="176" y="162"/>
                    <a:pt x="176" y="162"/>
                  </a:cubicBezTo>
                  <a:cubicBezTo>
                    <a:pt x="172" y="165"/>
                    <a:pt x="172" y="165"/>
                    <a:pt x="172" y="165"/>
                  </a:cubicBezTo>
                  <a:cubicBezTo>
                    <a:pt x="168" y="165"/>
                    <a:pt x="168" y="165"/>
                    <a:pt x="168" y="165"/>
                  </a:cubicBezTo>
                  <a:cubicBezTo>
                    <a:pt x="168" y="158"/>
                    <a:pt x="168" y="158"/>
                    <a:pt x="168" y="158"/>
                  </a:cubicBezTo>
                  <a:cubicBezTo>
                    <a:pt x="164" y="158"/>
                    <a:pt x="164" y="158"/>
                    <a:pt x="164" y="158"/>
                  </a:cubicBezTo>
                  <a:cubicBezTo>
                    <a:pt x="160" y="158"/>
                    <a:pt x="160" y="158"/>
                    <a:pt x="160" y="158"/>
                  </a:cubicBezTo>
                  <a:cubicBezTo>
                    <a:pt x="157" y="162"/>
                    <a:pt x="157" y="162"/>
                    <a:pt x="157" y="162"/>
                  </a:cubicBezTo>
                  <a:cubicBezTo>
                    <a:pt x="149" y="162"/>
                    <a:pt x="149" y="162"/>
                    <a:pt x="149" y="162"/>
                  </a:cubicBezTo>
                  <a:cubicBezTo>
                    <a:pt x="145" y="158"/>
                    <a:pt x="145" y="158"/>
                    <a:pt x="145" y="158"/>
                  </a:cubicBezTo>
                  <a:cubicBezTo>
                    <a:pt x="145" y="150"/>
                    <a:pt x="145" y="150"/>
                    <a:pt x="145" y="150"/>
                  </a:cubicBezTo>
                  <a:cubicBezTo>
                    <a:pt x="146" y="149"/>
                    <a:pt x="146" y="149"/>
                    <a:pt x="146" y="149"/>
                  </a:cubicBezTo>
                  <a:cubicBezTo>
                    <a:pt x="146" y="149"/>
                    <a:pt x="146" y="149"/>
                    <a:pt x="146" y="149"/>
                  </a:cubicBezTo>
                  <a:lnTo>
                    <a:pt x="145" y="149"/>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37" name="Kentucky">
              <a:extLst>
                <a:ext uri="{FF2B5EF4-FFF2-40B4-BE49-F238E27FC236}">
                  <a16:creationId xmlns:a16="http://schemas.microsoft.com/office/drawing/2014/main" id="{E80F0F8A-65DC-C581-9C6B-0C93C81438B4}"/>
                </a:ext>
              </a:extLst>
            </p:cNvPr>
            <p:cNvSpPr>
              <a:spLocks/>
            </p:cNvSpPr>
            <p:nvPr/>
          </p:nvSpPr>
          <p:spPr bwMode="auto">
            <a:xfrm>
              <a:off x="7461823" y="2955654"/>
              <a:ext cx="1138515" cy="424644"/>
            </a:xfrm>
            <a:custGeom>
              <a:avLst/>
              <a:gdLst>
                <a:gd name="T0" fmla="*/ 284 w 288"/>
                <a:gd name="T1" fmla="*/ 65 h 107"/>
                <a:gd name="T2" fmla="*/ 282 w 288"/>
                <a:gd name="T3" fmla="*/ 65 h 107"/>
                <a:gd name="T4" fmla="*/ 279 w 288"/>
                <a:gd name="T5" fmla="*/ 64 h 107"/>
                <a:gd name="T6" fmla="*/ 272 w 288"/>
                <a:gd name="T7" fmla="*/ 58 h 107"/>
                <a:gd name="T8" fmla="*/ 270 w 288"/>
                <a:gd name="T9" fmla="*/ 51 h 107"/>
                <a:gd name="T10" fmla="*/ 271 w 288"/>
                <a:gd name="T11" fmla="*/ 42 h 107"/>
                <a:gd name="T12" fmla="*/ 274 w 288"/>
                <a:gd name="T13" fmla="*/ 32 h 107"/>
                <a:gd name="T14" fmla="*/ 272 w 288"/>
                <a:gd name="T15" fmla="*/ 28 h 107"/>
                <a:gd name="T16" fmla="*/ 252 w 288"/>
                <a:gd name="T17" fmla="*/ 21 h 107"/>
                <a:gd name="T18" fmla="*/ 240 w 288"/>
                <a:gd name="T19" fmla="*/ 17 h 107"/>
                <a:gd name="T20" fmla="*/ 232 w 288"/>
                <a:gd name="T21" fmla="*/ 18 h 107"/>
                <a:gd name="T22" fmla="*/ 203 w 288"/>
                <a:gd name="T23" fmla="*/ 12 h 107"/>
                <a:gd name="T24" fmla="*/ 193 w 288"/>
                <a:gd name="T25" fmla="*/ 0 h 107"/>
                <a:gd name="T26" fmla="*/ 183 w 288"/>
                <a:gd name="T27" fmla="*/ 0 h 107"/>
                <a:gd name="T28" fmla="*/ 171 w 288"/>
                <a:gd name="T29" fmla="*/ 5 h 107"/>
                <a:gd name="T30" fmla="*/ 171 w 288"/>
                <a:gd name="T31" fmla="*/ 5 h 107"/>
                <a:gd name="T32" fmla="*/ 158 w 288"/>
                <a:gd name="T33" fmla="*/ 18 h 107"/>
                <a:gd name="T34" fmla="*/ 151 w 288"/>
                <a:gd name="T35" fmla="*/ 25 h 107"/>
                <a:gd name="T36" fmla="*/ 133 w 288"/>
                <a:gd name="T37" fmla="*/ 35 h 107"/>
                <a:gd name="T38" fmla="*/ 136 w 288"/>
                <a:gd name="T39" fmla="*/ 40 h 107"/>
                <a:gd name="T40" fmla="*/ 136 w 288"/>
                <a:gd name="T41" fmla="*/ 47 h 107"/>
                <a:gd name="T42" fmla="*/ 129 w 288"/>
                <a:gd name="T43" fmla="*/ 46 h 107"/>
                <a:gd name="T44" fmla="*/ 122 w 288"/>
                <a:gd name="T45" fmla="*/ 40 h 107"/>
                <a:gd name="T46" fmla="*/ 121 w 288"/>
                <a:gd name="T47" fmla="*/ 41 h 107"/>
                <a:gd name="T48" fmla="*/ 108 w 288"/>
                <a:gd name="T49" fmla="*/ 47 h 107"/>
                <a:gd name="T50" fmla="*/ 103 w 288"/>
                <a:gd name="T51" fmla="*/ 47 h 107"/>
                <a:gd name="T52" fmla="*/ 94 w 288"/>
                <a:gd name="T53" fmla="*/ 47 h 107"/>
                <a:gd name="T54" fmla="*/ 88 w 288"/>
                <a:gd name="T55" fmla="*/ 48 h 107"/>
                <a:gd name="T56" fmla="*/ 78 w 288"/>
                <a:gd name="T57" fmla="*/ 47 h 107"/>
                <a:gd name="T58" fmla="*/ 68 w 288"/>
                <a:gd name="T59" fmla="*/ 41 h 107"/>
                <a:gd name="T60" fmla="*/ 62 w 288"/>
                <a:gd name="T61" fmla="*/ 48 h 107"/>
                <a:gd name="T62" fmla="*/ 63 w 288"/>
                <a:gd name="T63" fmla="*/ 49 h 107"/>
                <a:gd name="T64" fmla="*/ 60 w 288"/>
                <a:gd name="T65" fmla="*/ 54 h 107"/>
                <a:gd name="T66" fmla="*/ 56 w 288"/>
                <a:gd name="T67" fmla="*/ 51 h 107"/>
                <a:gd name="T68" fmla="*/ 41 w 288"/>
                <a:gd name="T69" fmla="*/ 51 h 107"/>
                <a:gd name="T70" fmla="*/ 33 w 288"/>
                <a:gd name="T71" fmla="*/ 53 h 107"/>
                <a:gd name="T72" fmla="*/ 22 w 288"/>
                <a:gd name="T73" fmla="*/ 63 h 107"/>
                <a:gd name="T74" fmla="*/ 12 w 288"/>
                <a:gd name="T75" fmla="*/ 63 h 107"/>
                <a:gd name="T76" fmla="*/ 8 w 288"/>
                <a:gd name="T77" fmla="*/ 92 h 107"/>
                <a:gd name="T78" fmla="*/ 0 w 288"/>
                <a:gd name="T79" fmla="*/ 106 h 107"/>
                <a:gd name="T80" fmla="*/ 56 w 288"/>
                <a:gd name="T81" fmla="*/ 107 h 107"/>
                <a:gd name="T82" fmla="*/ 264 w 288"/>
                <a:gd name="T83" fmla="*/ 94 h 107"/>
                <a:gd name="T84" fmla="*/ 265 w 288"/>
                <a:gd name="T85" fmla="*/ 94 h 107"/>
                <a:gd name="T86" fmla="*/ 271 w 288"/>
                <a:gd name="T87" fmla="*/ 90 h 107"/>
                <a:gd name="T88" fmla="*/ 288 w 288"/>
                <a:gd name="T89" fmla="*/ 81 h 107"/>
                <a:gd name="T90" fmla="*/ 288 w 288"/>
                <a:gd name="T91" fmla="*/ 76 h 107"/>
                <a:gd name="T92" fmla="*/ 288 w 288"/>
                <a:gd name="T93" fmla="*/ 71 h 107"/>
                <a:gd name="T94" fmla="*/ 286 w 288"/>
                <a:gd name="T95" fmla="*/ 6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107">
                  <a:moveTo>
                    <a:pt x="286" y="68"/>
                  </a:moveTo>
                  <a:cubicBezTo>
                    <a:pt x="285" y="67"/>
                    <a:pt x="284" y="66"/>
                    <a:pt x="284" y="65"/>
                  </a:cubicBezTo>
                  <a:cubicBezTo>
                    <a:pt x="283" y="64"/>
                    <a:pt x="283" y="64"/>
                    <a:pt x="283" y="64"/>
                  </a:cubicBezTo>
                  <a:cubicBezTo>
                    <a:pt x="282" y="65"/>
                    <a:pt x="282" y="65"/>
                    <a:pt x="282" y="65"/>
                  </a:cubicBezTo>
                  <a:cubicBezTo>
                    <a:pt x="281" y="65"/>
                    <a:pt x="281" y="65"/>
                    <a:pt x="281" y="65"/>
                  </a:cubicBezTo>
                  <a:cubicBezTo>
                    <a:pt x="280" y="65"/>
                    <a:pt x="279" y="65"/>
                    <a:pt x="279" y="64"/>
                  </a:cubicBezTo>
                  <a:cubicBezTo>
                    <a:pt x="277" y="62"/>
                    <a:pt x="276" y="61"/>
                    <a:pt x="275" y="60"/>
                  </a:cubicBezTo>
                  <a:cubicBezTo>
                    <a:pt x="274" y="59"/>
                    <a:pt x="273" y="59"/>
                    <a:pt x="272" y="58"/>
                  </a:cubicBezTo>
                  <a:cubicBezTo>
                    <a:pt x="271" y="56"/>
                    <a:pt x="271" y="56"/>
                    <a:pt x="271" y="56"/>
                  </a:cubicBezTo>
                  <a:cubicBezTo>
                    <a:pt x="270" y="51"/>
                    <a:pt x="270" y="51"/>
                    <a:pt x="270" y="51"/>
                  </a:cubicBezTo>
                  <a:cubicBezTo>
                    <a:pt x="270" y="50"/>
                    <a:pt x="270" y="50"/>
                    <a:pt x="270" y="49"/>
                  </a:cubicBezTo>
                  <a:cubicBezTo>
                    <a:pt x="270" y="47"/>
                    <a:pt x="271" y="44"/>
                    <a:pt x="271" y="42"/>
                  </a:cubicBezTo>
                  <a:cubicBezTo>
                    <a:pt x="271" y="41"/>
                    <a:pt x="271" y="39"/>
                    <a:pt x="272" y="36"/>
                  </a:cubicBezTo>
                  <a:cubicBezTo>
                    <a:pt x="274" y="32"/>
                    <a:pt x="274" y="32"/>
                    <a:pt x="274" y="32"/>
                  </a:cubicBezTo>
                  <a:cubicBezTo>
                    <a:pt x="274" y="30"/>
                    <a:pt x="274" y="30"/>
                    <a:pt x="274" y="30"/>
                  </a:cubicBezTo>
                  <a:cubicBezTo>
                    <a:pt x="272" y="28"/>
                    <a:pt x="272" y="28"/>
                    <a:pt x="272" y="28"/>
                  </a:cubicBezTo>
                  <a:cubicBezTo>
                    <a:pt x="265" y="21"/>
                    <a:pt x="265" y="21"/>
                    <a:pt x="265" y="21"/>
                  </a:cubicBezTo>
                  <a:cubicBezTo>
                    <a:pt x="252" y="21"/>
                    <a:pt x="252" y="21"/>
                    <a:pt x="252" y="21"/>
                  </a:cubicBezTo>
                  <a:cubicBezTo>
                    <a:pt x="252" y="21"/>
                    <a:pt x="246" y="21"/>
                    <a:pt x="243" y="18"/>
                  </a:cubicBezTo>
                  <a:cubicBezTo>
                    <a:pt x="242" y="18"/>
                    <a:pt x="241" y="17"/>
                    <a:pt x="240" y="17"/>
                  </a:cubicBezTo>
                  <a:cubicBezTo>
                    <a:pt x="237" y="17"/>
                    <a:pt x="235" y="18"/>
                    <a:pt x="235" y="18"/>
                  </a:cubicBezTo>
                  <a:cubicBezTo>
                    <a:pt x="232" y="18"/>
                    <a:pt x="232" y="18"/>
                    <a:pt x="232" y="18"/>
                  </a:cubicBezTo>
                  <a:cubicBezTo>
                    <a:pt x="229" y="18"/>
                    <a:pt x="228" y="13"/>
                    <a:pt x="227" y="12"/>
                  </a:cubicBezTo>
                  <a:cubicBezTo>
                    <a:pt x="203" y="12"/>
                    <a:pt x="203" y="12"/>
                    <a:pt x="203" y="12"/>
                  </a:cubicBezTo>
                  <a:cubicBezTo>
                    <a:pt x="198" y="6"/>
                    <a:pt x="198" y="6"/>
                    <a:pt x="198" y="6"/>
                  </a:cubicBezTo>
                  <a:cubicBezTo>
                    <a:pt x="193" y="0"/>
                    <a:pt x="193" y="0"/>
                    <a:pt x="193" y="0"/>
                  </a:cubicBezTo>
                  <a:cubicBezTo>
                    <a:pt x="183" y="0"/>
                    <a:pt x="183" y="0"/>
                    <a:pt x="183" y="0"/>
                  </a:cubicBezTo>
                  <a:cubicBezTo>
                    <a:pt x="183" y="0"/>
                    <a:pt x="183" y="0"/>
                    <a:pt x="183" y="0"/>
                  </a:cubicBezTo>
                  <a:cubicBezTo>
                    <a:pt x="178" y="5"/>
                    <a:pt x="178" y="5"/>
                    <a:pt x="178" y="5"/>
                  </a:cubicBezTo>
                  <a:cubicBezTo>
                    <a:pt x="171" y="5"/>
                    <a:pt x="171" y="5"/>
                    <a:pt x="171" y="5"/>
                  </a:cubicBezTo>
                  <a:cubicBezTo>
                    <a:pt x="171" y="5"/>
                    <a:pt x="171" y="5"/>
                    <a:pt x="171" y="5"/>
                  </a:cubicBezTo>
                  <a:cubicBezTo>
                    <a:pt x="171" y="5"/>
                    <a:pt x="171" y="5"/>
                    <a:pt x="171" y="5"/>
                  </a:cubicBezTo>
                  <a:cubicBezTo>
                    <a:pt x="171" y="5"/>
                    <a:pt x="165" y="9"/>
                    <a:pt x="161" y="9"/>
                  </a:cubicBezTo>
                  <a:cubicBezTo>
                    <a:pt x="157" y="10"/>
                    <a:pt x="158" y="17"/>
                    <a:pt x="158" y="18"/>
                  </a:cubicBezTo>
                  <a:cubicBezTo>
                    <a:pt x="158" y="19"/>
                    <a:pt x="158" y="19"/>
                    <a:pt x="158" y="19"/>
                  </a:cubicBezTo>
                  <a:cubicBezTo>
                    <a:pt x="151" y="25"/>
                    <a:pt x="151" y="25"/>
                    <a:pt x="151" y="25"/>
                  </a:cubicBezTo>
                  <a:cubicBezTo>
                    <a:pt x="151" y="25"/>
                    <a:pt x="144" y="30"/>
                    <a:pt x="136" y="33"/>
                  </a:cubicBezTo>
                  <a:cubicBezTo>
                    <a:pt x="134" y="34"/>
                    <a:pt x="133" y="35"/>
                    <a:pt x="133" y="35"/>
                  </a:cubicBezTo>
                  <a:cubicBezTo>
                    <a:pt x="134" y="36"/>
                    <a:pt x="134" y="36"/>
                    <a:pt x="134" y="36"/>
                  </a:cubicBezTo>
                  <a:cubicBezTo>
                    <a:pt x="136" y="37"/>
                    <a:pt x="137" y="38"/>
                    <a:pt x="136" y="40"/>
                  </a:cubicBezTo>
                  <a:cubicBezTo>
                    <a:pt x="135" y="42"/>
                    <a:pt x="135" y="44"/>
                    <a:pt x="136" y="45"/>
                  </a:cubicBezTo>
                  <a:cubicBezTo>
                    <a:pt x="136" y="47"/>
                    <a:pt x="136" y="47"/>
                    <a:pt x="136" y="47"/>
                  </a:cubicBezTo>
                  <a:cubicBezTo>
                    <a:pt x="129" y="47"/>
                    <a:pt x="129" y="47"/>
                    <a:pt x="129" y="47"/>
                  </a:cubicBezTo>
                  <a:cubicBezTo>
                    <a:pt x="129" y="46"/>
                    <a:pt x="129" y="46"/>
                    <a:pt x="129" y="46"/>
                  </a:cubicBezTo>
                  <a:cubicBezTo>
                    <a:pt x="128" y="45"/>
                    <a:pt x="126" y="42"/>
                    <a:pt x="124" y="41"/>
                  </a:cubicBezTo>
                  <a:cubicBezTo>
                    <a:pt x="123" y="40"/>
                    <a:pt x="123" y="40"/>
                    <a:pt x="122" y="40"/>
                  </a:cubicBezTo>
                  <a:cubicBezTo>
                    <a:pt x="122" y="40"/>
                    <a:pt x="121" y="40"/>
                    <a:pt x="121" y="41"/>
                  </a:cubicBezTo>
                  <a:cubicBezTo>
                    <a:pt x="121" y="41"/>
                    <a:pt x="121" y="41"/>
                    <a:pt x="121" y="41"/>
                  </a:cubicBezTo>
                  <a:cubicBezTo>
                    <a:pt x="114" y="41"/>
                    <a:pt x="114" y="41"/>
                    <a:pt x="114" y="41"/>
                  </a:cubicBezTo>
                  <a:cubicBezTo>
                    <a:pt x="108" y="47"/>
                    <a:pt x="108" y="47"/>
                    <a:pt x="108" y="47"/>
                  </a:cubicBezTo>
                  <a:cubicBezTo>
                    <a:pt x="103" y="47"/>
                    <a:pt x="103" y="47"/>
                    <a:pt x="103" y="47"/>
                  </a:cubicBezTo>
                  <a:cubicBezTo>
                    <a:pt x="103" y="47"/>
                    <a:pt x="103" y="47"/>
                    <a:pt x="103" y="47"/>
                  </a:cubicBezTo>
                  <a:cubicBezTo>
                    <a:pt x="103" y="47"/>
                    <a:pt x="101" y="47"/>
                    <a:pt x="98" y="47"/>
                  </a:cubicBezTo>
                  <a:cubicBezTo>
                    <a:pt x="97" y="47"/>
                    <a:pt x="95" y="47"/>
                    <a:pt x="94" y="47"/>
                  </a:cubicBezTo>
                  <a:cubicBezTo>
                    <a:pt x="92" y="48"/>
                    <a:pt x="91" y="48"/>
                    <a:pt x="91" y="48"/>
                  </a:cubicBezTo>
                  <a:cubicBezTo>
                    <a:pt x="88" y="48"/>
                    <a:pt x="88" y="48"/>
                    <a:pt x="88" y="48"/>
                  </a:cubicBezTo>
                  <a:cubicBezTo>
                    <a:pt x="89" y="47"/>
                    <a:pt x="89" y="47"/>
                    <a:pt x="89" y="47"/>
                  </a:cubicBezTo>
                  <a:cubicBezTo>
                    <a:pt x="78" y="47"/>
                    <a:pt x="78" y="47"/>
                    <a:pt x="78" y="47"/>
                  </a:cubicBezTo>
                  <a:cubicBezTo>
                    <a:pt x="70" y="45"/>
                    <a:pt x="70" y="45"/>
                    <a:pt x="70" y="45"/>
                  </a:cubicBezTo>
                  <a:cubicBezTo>
                    <a:pt x="68" y="41"/>
                    <a:pt x="68" y="41"/>
                    <a:pt x="68" y="41"/>
                  </a:cubicBezTo>
                  <a:cubicBezTo>
                    <a:pt x="64" y="46"/>
                    <a:pt x="64" y="46"/>
                    <a:pt x="64" y="46"/>
                  </a:cubicBezTo>
                  <a:cubicBezTo>
                    <a:pt x="63" y="47"/>
                    <a:pt x="63" y="47"/>
                    <a:pt x="62" y="48"/>
                  </a:cubicBezTo>
                  <a:cubicBezTo>
                    <a:pt x="63" y="48"/>
                    <a:pt x="63" y="48"/>
                    <a:pt x="63" y="48"/>
                  </a:cubicBezTo>
                  <a:cubicBezTo>
                    <a:pt x="63" y="49"/>
                    <a:pt x="63" y="49"/>
                    <a:pt x="63" y="49"/>
                  </a:cubicBezTo>
                  <a:cubicBezTo>
                    <a:pt x="63" y="49"/>
                    <a:pt x="63" y="50"/>
                    <a:pt x="62" y="51"/>
                  </a:cubicBezTo>
                  <a:cubicBezTo>
                    <a:pt x="62" y="53"/>
                    <a:pt x="61" y="54"/>
                    <a:pt x="60" y="54"/>
                  </a:cubicBezTo>
                  <a:cubicBezTo>
                    <a:pt x="60" y="54"/>
                    <a:pt x="60" y="54"/>
                    <a:pt x="60" y="54"/>
                  </a:cubicBezTo>
                  <a:cubicBezTo>
                    <a:pt x="58" y="54"/>
                    <a:pt x="56" y="52"/>
                    <a:pt x="56" y="51"/>
                  </a:cubicBezTo>
                  <a:cubicBezTo>
                    <a:pt x="41" y="51"/>
                    <a:pt x="41" y="51"/>
                    <a:pt x="41" y="51"/>
                  </a:cubicBezTo>
                  <a:cubicBezTo>
                    <a:pt x="41" y="51"/>
                    <a:pt x="41" y="51"/>
                    <a:pt x="41" y="51"/>
                  </a:cubicBezTo>
                  <a:cubicBezTo>
                    <a:pt x="40" y="51"/>
                    <a:pt x="40" y="51"/>
                    <a:pt x="40" y="51"/>
                  </a:cubicBezTo>
                  <a:cubicBezTo>
                    <a:pt x="37" y="52"/>
                    <a:pt x="34" y="53"/>
                    <a:pt x="33" y="53"/>
                  </a:cubicBezTo>
                  <a:cubicBezTo>
                    <a:pt x="26" y="58"/>
                    <a:pt x="26" y="58"/>
                    <a:pt x="26" y="58"/>
                  </a:cubicBezTo>
                  <a:cubicBezTo>
                    <a:pt x="22" y="63"/>
                    <a:pt x="22" y="63"/>
                    <a:pt x="22" y="63"/>
                  </a:cubicBezTo>
                  <a:cubicBezTo>
                    <a:pt x="12" y="63"/>
                    <a:pt x="12" y="63"/>
                    <a:pt x="12" y="63"/>
                  </a:cubicBezTo>
                  <a:cubicBezTo>
                    <a:pt x="12" y="63"/>
                    <a:pt x="12" y="63"/>
                    <a:pt x="12" y="63"/>
                  </a:cubicBezTo>
                  <a:cubicBezTo>
                    <a:pt x="14" y="75"/>
                    <a:pt x="14" y="75"/>
                    <a:pt x="14" y="75"/>
                  </a:cubicBezTo>
                  <a:cubicBezTo>
                    <a:pt x="17" y="85"/>
                    <a:pt x="9" y="91"/>
                    <a:pt x="8" y="92"/>
                  </a:cubicBezTo>
                  <a:cubicBezTo>
                    <a:pt x="7" y="92"/>
                    <a:pt x="7" y="92"/>
                    <a:pt x="7" y="92"/>
                  </a:cubicBezTo>
                  <a:cubicBezTo>
                    <a:pt x="0" y="106"/>
                    <a:pt x="0" y="106"/>
                    <a:pt x="0" y="106"/>
                  </a:cubicBezTo>
                  <a:cubicBezTo>
                    <a:pt x="0" y="107"/>
                    <a:pt x="0" y="107"/>
                    <a:pt x="0" y="107"/>
                  </a:cubicBezTo>
                  <a:cubicBezTo>
                    <a:pt x="56" y="107"/>
                    <a:pt x="56" y="107"/>
                    <a:pt x="56" y="107"/>
                  </a:cubicBezTo>
                  <a:cubicBezTo>
                    <a:pt x="56" y="94"/>
                    <a:pt x="56" y="94"/>
                    <a:pt x="56" y="94"/>
                  </a:cubicBezTo>
                  <a:cubicBezTo>
                    <a:pt x="264" y="94"/>
                    <a:pt x="264" y="94"/>
                    <a:pt x="264" y="94"/>
                  </a:cubicBezTo>
                  <a:cubicBezTo>
                    <a:pt x="265" y="94"/>
                    <a:pt x="265" y="94"/>
                    <a:pt x="265" y="94"/>
                  </a:cubicBezTo>
                  <a:cubicBezTo>
                    <a:pt x="265" y="94"/>
                    <a:pt x="265" y="94"/>
                    <a:pt x="265" y="94"/>
                  </a:cubicBezTo>
                  <a:cubicBezTo>
                    <a:pt x="267" y="93"/>
                    <a:pt x="267" y="93"/>
                    <a:pt x="267" y="93"/>
                  </a:cubicBezTo>
                  <a:cubicBezTo>
                    <a:pt x="268" y="92"/>
                    <a:pt x="270" y="90"/>
                    <a:pt x="271" y="90"/>
                  </a:cubicBezTo>
                  <a:cubicBezTo>
                    <a:pt x="274" y="88"/>
                    <a:pt x="277" y="86"/>
                    <a:pt x="278" y="85"/>
                  </a:cubicBezTo>
                  <a:cubicBezTo>
                    <a:pt x="288" y="81"/>
                    <a:pt x="288" y="81"/>
                    <a:pt x="288" y="81"/>
                  </a:cubicBezTo>
                  <a:cubicBezTo>
                    <a:pt x="287" y="80"/>
                    <a:pt x="287" y="80"/>
                    <a:pt x="287" y="80"/>
                  </a:cubicBezTo>
                  <a:cubicBezTo>
                    <a:pt x="287" y="79"/>
                    <a:pt x="287" y="77"/>
                    <a:pt x="288" y="76"/>
                  </a:cubicBezTo>
                  <a:cubicBezTo>
                    <a:pt x="288" y="74"/>
                    <a:pt x="288" y="74"/>
                    <a:pt x="288" y="73"/>
                  </a:cubicBezTo>
                  <a:cubicBezTo>
                    <a:pt x="288" y="72"/>
                    <a:pt x="288" y="72"/>
                    <a:pt x="288" y="71"/>
                  </a:cubicBezTo>
                  <a:cubicBezTo>
                    <a:pt x="288" y="71"/>
                    <a:pt x="288" y="71"/>
                    <a:pt x="288" y="71"/>
                  </a:cubicBezTo>
                  <a:cubicBezTo>
                    <a:pt x="288" y="70"/>
                    <a:pt x="287" y="69"/>
                    <a:pt x="286" y="68"/>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38" name="Kansas">
              <a:extLst>
                <a:ext uri="{FF2B5EF4-FFF2-40B4-BE49-F238E27FC236}">
                  <a16:creationId xmlns:a16="http://schemas.microsoft.com/office/drawing/2014/main" id="{CF3549A8-4322-81B4-99B1-F545178F5FEC}"/>
                </a:ext>
              </a:extLst>
            </p:cNvPr>
            <p:cNvSpPr>
              <a:spLocks/>
            </p:cNvSpPr>
            <p:nvPr/>
          </p:nvSpPr>
          <p:spPr bwMode="auto">
            <a:xfrm>
              <a:off x="5564297" y="2616273"/>
              <a:ext cx="1126813" cy="573437"/>
            </a:xfrm>
            <a:custGeom>
              <a:avLst/>
              <a:gdLst>
                <a:gd name="T0" fmla="*/ 285 w 285"/>
                <a:gd name="T1" fmla="*/ 144 h 145"/>
                <a:gd name="T2" fmla="*/ 285 w 285"/>
                <a:gd name="T3" fmla="*/ 54 h 145"/>
                <a:gd name="T4" fmla="*/ 285 w 285"/>
                <a:gd name="T5" fmla="*/ 53 h 145"/>
                <a:gd name="T6" fmla="*/ 282 w 285"/>
                <a:gd name="T7" fmla="*/ 50 h 145"/>
                <a:gd name="T8" fmla="*/ 273 w 285"/>
                <a:gd name="T9" fmla="*/ 42 h 145"/>
                <a:gd name="T10" fmla="*/ 273 w 285"/>
                <a:gd name="T11" fmla="*/ 35 h 145"/>
                <a:gd name="T12" fmla="*/ 270 w 285"/>
                <a:gd name="T13" fmla="*/ 35 h 145"/>
                <a:gd name="T14" fmla="*/ 269 w 285"/>
                <a:gd name="T15" fmla="*/ 16 h 145"/>
                <a:gd name="T16" fmla="*/ 269 w 285"/>
                <a:gd name="T17" fmla="*/ 15 h 145"/>
                <a:gd name="T18" fmla="*/ 269 w 285"/>
                <a:gd name="T19" fmla="*/ 15 h 145"/>
                <a:gd name="T20" fmla="*/ 269 w 285"/>
                <a:gd name="T21" fmla="*/ 15 h 145"/>
                <a:gd name="T22" fmla="*/ 269 w 285"/>
                <a:gd name="T23" fmla="*/ 15 h 145"/>
                <a:gd name="T24" fmla="*/ 265 w 285"/>
                <a:gd name="T25" fmla="*/ 13 h 145"/>
                <a:gd name="T26" fmla="*/ 261 w 285"/>
                <a:gd name="T27" fmla="*/ 13 h 145"/>
                <a:gd name="T28" fmla="*/ 256 w 285"/>
                <a:gd name="T29" fmla="*/ 13 h 145"/>
                <a:gd name="T30" fmla="*/ 256 w 285"/>
                <a:gd name="T31" fmla="*/ 7 h 145"/>
                <a:gd name="T32" fmla="*/ 251 w 285"/>
                <a:gd name="T33" fmla="*/ 0 h 145"/>
                <a:gd name="T34" fmla="*/ 251 w 285"/>
                <a:gd name="T35" fmla="*/ 0 h 145"/>
                <a:gd name="T36" fmla="*/ 1 w 285"/>
                <a:gd name="T37" fmla="*/ 0 h 145"/>
                <a:gd name="T38" fmla="*/ 0 w 285"/>
                <a:gd name="T39" fmla="*/ 0 h 145"/>
                <a:gd name="T40" fmla="*/ 0 w 285"/>
                <a:gd name="T41" fmla="*/ 1 h 145"/>
                <a:gd name="T42" fmla="*/ 0 w 285"/>
                <a:gd name="T43" fmla="*/ 145 h 145"/>
                <a:gd name="T44" fmla="*/ 1 w 285"/>
                <a:gd name="T45" fmla="*/ 145 h 145"/>
                <a:gd name="T46" fmla="*/ 285 w 285"/>
                <a:gd name="T47" fmla="*/ 145 h 145"/>
                <a:gd name="T48" fmla="*/ 285 w 285"/>
                <a:gd name="T49" fmla="*/ 145 h 145"/>
                <a:gd name="T50" fmla="*/ 285 w 285"/>
                <a:gd name="T51" fmla="*/ 14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5" h="145">
                  <a:moveTo>
                    <a:pt x="285" y="144"/>
                  </a:moveTo>
                  <a:cubicBezTo>
                    <a:pt x="285" y="54"/>
                    <a:pt x="285" y="54"/>
                    <a:pt x="285" y="54"/>
                  </a:cubicBezTo>
                  <a:cubicBezTo>
                    <a:pt x="285" y="53"/>
                    <a:pt x="285" y="53"/>
                    <a:pt x="285" y="53"/>
                  </a:cubicBezTo>
                  <a:cubicBezTo>
                    <a:pt x="284" y="53"/>
                    <a:pt x="283" y="52"/>
                    <a:pt x="282" y="50"/>
                  </a:cubicBezTo>
                  <a:cubicBezTo>
                    <a:pt x="273" y="42"/>
                    <a:pt x="273" y="42"/>
                    <a:pt x="273" y="42"/>
                  </a:cubicBezTo>
                  <a:cubicBezTo>
                    <a:pt x="273" y="35"/>
                    <a:pt x="273" y="35"/>
                    <a:pt x="273" y="35"/>
                  </a:cubicBezTo>
                  <a:cubicBezTo>
                    <a:pt x="270" y="35"/>
                    <a:pt x="270" y="35"/>
                    <a:pt x="270" y="35"/>
                  </a:cubicBezTo>
                  <a:cubicBezTo>
                    <a:pt x="269" y="16"/>
                    <a:pt x="269" y="16"/>
                    <a:pt x="269" y="16"/>
                  </a:cubicBezTo>
                  <a:cubicBezTo>
                    <a:pt x="269" y="15"/>
                    <a:pt x="269" y="15"/>
                    <a:pt x="269" y="15"/>
                  </a:cubicBezTo>
                  <a:cubicBezTo>
                    <a:pt x="269" y="15"/>
                    <a:pt x="269" y="15"/>
                    <a:pt x="269" y="15"/>
                  </a:cubicBezTo>
                  <a:cubicBezTo>
                    <a:pt x="269" y="15"/>
                    <a:pt x="269" y="15"/>
                    <a:pt x="269" y="15"/>
                  </a:cubicBezTo>
                  <a:cubicBezTo>
                    <a:pt x="269" y="15"/>
                    <a:pt x="269" y="15"/>
                    <a:pt x="269" y="15"/>
                  </a:cubicBezTo>
                  <a:cubicBezTo>
                    <a:pt x="268" y="14"/>
                    <a:pt x="267" y="13"/>
                    <a:pt x="265" y="13"/>
                  </a:cubicBezTo>
                  <a:cubicBezTo>
                    <a:pt x="261" y="13"/>
                    <a:pt x="261" y="13"/>
                    <a:pt x="261" y="13"/>
                  </a:cubicBezTo>
                  <a:cubicBezTo>
                    <a:pt x="256" y="13"/>
                    <a:pt x="256" y="13"/>
                    <a:pt x="256" y="13"/>
                  </a:cubicBezTo>
                  <a:cubicBezTo>
                    <a:pt x="256" y="7"/>
                    <a:pt x="256" y="7"/>
                    <a:pt x="256" y="7"/>
                  </a:cubicBezTo>
                  <a:cubicBezTo>
                    <a:pt x="251" y="0"/>
                    <a:pt x="251" y="0"/>
                    <a:pt x="251" y="0"/>
                  </a:cubicBezTo>
                  <a:cubicBezTo>
                    <a:pt x="251" y="0"/>
                    <a:pt x="251" y="0"/>
                    <a:pt x="251" y="0"/>
                  </a:cubicBezTo>
                  <a:cubicBezTo>
                    <a:pt x="1" y="0"/>
                    <a:pt x="1" y="0"/>
                    <a:pt x="1" y="0"/>
                  </a:cubicBezTo>
                  <a:cubicBezTo>
                    <a:pt x="0" y="0"/>
                    <a:pt x="0" y="0"/>
                    <a:pt x="0" y="0"/>
                  </a:cubicBezTo>
                  <a:cubicBezTo>
                    <a:pt x="0" y="1"/>
                    <a:pt x="0" y="1"/>
                    <a:pt x="0" y="1"/>
                  </a:cubicBezTo>
                  <a:cubicBezTo>
                    <a:pt x="0" y="145"/>
                    <a:pt x="0" y="145"/>
                    <a:pt x="0" y="145"/>
                  </a:cubicBezTo>
                  <a:cubicBezTo>
                    <a:pt x="1" y="145"/>
                    <a:pt x="1" y="145"/>
                    <a:pt x="1" y="145"/>
                  </a:cubicBezTo>
                  <a:cubicBezTo>
                    <a:pt x="285" y="145"/>
                    <a:pt x="285" y="145"/>
                    <a:pt x="285" y="145"/>
                  </a:cubicBezTo>
                  <a:cubicBezTo>
                    <a:pt x="285" y="145"/>
                    <a:pt x="285" y="145"/>
                    <a:pt x="285" y="145"/>
                  </a:cubicBezTo>
                  <a:lnTo>
                    <a:pt x="285" y="14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39" name="Iowa">
              <a:extLst>
                <a:ext uri="{FF2B5EF4-FFF2-40B4-BE49-F238E27FC236}">
                  <a16:creationId xmlns:a16="http://schemas.microsoft.com/office/drawing/2014/main" id="{5F767E12-19E5-BC63-7A65-A04388FA1FD1}"/>
                </a:ext>
              </a:extLst>
            </p:cNvPr>
            <p:cNvSpPr>
              <a:spLocks/>
            </p:cNvSpPr>
            <p:nvPr/>
          </p:nvSpPr>
          <p:spPr bwMode="auto">
            <a:xfrm>
              <a:off x="6375134" y="1974291"/>
              <a:ext cx="971333" cy="625264"/>
            </a:xfrm>
            <a:custGeom>
              <a:avLst/>
              <a:gdLst>
                <a:gd name="T0" fmla="*/ 0 w 246"/>
                <a:gd name="T1" fmla="*/ 40 h 158"/>
                <a:gd name="T2" fmla="*/ 0 w 246"/>
                <a:gd name="T3" fmla="*/ 40 h 158"/>
                <a:gd name="T4" fmla="*/ 12 w 246"/>
                <a:gd name="T5" fmla="*/ 59 h 158"/>
                <a:gd name="T6" fmla="*/ 12 w 246"/>
                <a:gd name="T7" fmla="*/ 89 h 158"/>
                <a:gd name="T8" fmla="*/ 24 w 246"/>
                <a:gd name="T9" fmla="*/ 94 h 158"/>
                <a:gd name="T10" fmla="*/ 24 w 246"/>
                <a:gd name="T11" fmla="*/ 120 h 158"/>
                <a:gd name="T12" fmla="*/ 26 w 246"/>
                <a:gd name="T13" fmla="*/ 138 h 158"/>
                <a:gd name="T14" fmla="*/ 26 w 246"/>
                <a:gd name="T15" fmla="*/ 139 h 158"/>
                <a:gd name="T16" fmla="*/ 26 w 246"/>
                <a:gd name="T17" fmla="*/ 139 h 158"/>
                <a:gd name="T18" fmla="*/ 26 w 246"/>
                <a:gd name="T19" fmla="*/ 139 h 158"/>
                <a:gd name="T20" fmla="*/ 188 w 246"/>
                <a:gd name="T21" fmla="*/ 139 h 158"/>
                <a:gd name="T22" fmla="*/ 195 w 246"/>
                <a:gd name="T23" fmla="*/ 158 h 158"/>
                <a:gd name="T24" fmla="*/ 195 w 246"/>
                <a:gd name="T25" fmla="*/ 158 h 158"/>
                <a:gd name="T26" fmla="*/ 210 w 246"/>
                <a:gd name="T27" fmla="*/ 139 h 158"/>
                <a:gd name="T28" fmla="*/ 215 w 246"/>
                <a:gd name="T29" fmla="*/ 118 h 158"/>
                <a:gd name="T30" fmla="*/ 224 w 246"/>
                <a:gd name="T31" fmla="*/ 101 h 158"/>
                <a:gd name="T32" fmla="*/ 234 w 246"/>
                <a:gd name="T33" fmla="*/ 89 h 158"/>
                <a:gd name="T34" fmla="*/ 246 w 246"/>
                <a:gd name="T35" fmla="*/ 68 h 158"/>
                <a:gd name="T36" fmla="*/ 234 w 246"/>
                <a:gd name="T37" fmla="*/ 56 h 158"/>
                <a:gd name="T38" fmla="*/ 228 w 246"/>
                <a:gd name="T39" fmla="*/ 49 h 158"/>
                <a:gd name="T40" fmla="*/ 228 w 246"/>
                <a:gd name="T41" fmla="*/ 49 h 158"/>
                <a:gd name="T42" fmla="*/ 224 w 246"/>
                <a:gd name="T43" fmla="*/ 44 h 158"/>
                <a:gd name="T44" fmla="*/ 212 w 246"/>
                <a:gd name="T45" fmla="*/ 25 h 158"/>
                <a:gd name="T46" fmla="*/ 205 w 246"/>
                <a:gd name="T47" fmla="*/ 14 h 158"/>
                <a:gd name="T48" fmla="*/ 205 w 246"/>
                <a:gd name="T49" fmla="*/ 14 h 158"/>
                <a:gd name="T50" fmla="*/ 203 w 246"/>
                <a:gd name="T51" fmla="*/ 0 h 158"/>
                <a:gd name="T52" fmla="*/ 13 w 246"/>
                <a:gd name="T53" fmla="*/ 0 h 158"/>
                <a:gd name="T54" fmla="*/ 13 w 246"/>
                <a:gd name="T55" fmla="*/ 27 h 158"/>
                <a:gd name="T56" fmla="*/ 0 w 246"/>
                <a:gd name="T57" fmla="*/ 4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6" h="158">
                  <a:moveTo>
                    <a:pt x="0" y="40"/>
                  </a:moveTo>
                  <a:cubicBezTo>
                    <a:pt x="0" y="40"/>
                    <a:pt x="0" y="40"/>
                    <a:pt x="0" y="40"/>
                  </a:cubicBezTo>
                  <a:cubicBezTo>
                    <a:pt x="12" y="59"/>
                    <a:pt x="12" y="59"/>
                    <a:pt x="12" y="59"/>
                  </a:cubicBezTo>
                  <a:cubicBezTo>
                    <a:pt x="12" y="89"/>
                    <a:pt x="12" y="89"/>
                    <a:pt x="12" y="89"/>
                  </a:cubicBezTo>
                  <a:cubicBezTo>
                    <a:pt x="24" y="94"/>
                    <a:pt x="24" y="94"/>
                    <a:pt x="24" y="94"/>
                  </a:cubicBezTo>
                  <a:cubicBezTo>
                    <a:pt x="24" y="120"/>
                    <a:pt x="24" y="120"/>
                    <a:pt x="24" y="120"/>
                  </a:cubicBezTo>
                  <a:cubicBezTo>
                    <a:pt x="26" y="138"/>
                    <a:pt x="26" y="138"/>
                    <a:pt x="26" y="138"/>
                  </a:cubicBezTo>
                  <a:cubicBezTo>
                    <a:pt x="26" y="139"/>
                    <a:pt x="26" y="139"/>
                    <a:pt x="26" y="139"/>
                  </a:cubicBezTo>
                  <a:cubicBezTo>
                    <a:pt x="26" y="139"/>
                    <a:pt x="26" y="139"/>
                    <a:pt x="26" y="139"/>
                  </a:cubicBezTo>
                  <a:cubicBezTo>
                    <a:pt x="26" y="139"/>
                    <a:pt x="26" y="139"/>
                    <a:pt x="26" y="139"/>
                  </a:cubicBezTo>
                  <a:cubicBezTo>
                    <a:pt x="188" y="139"/>
                    <a:pt x="188" y="139"/>
                    <a:pt x="188" y="139"/>
                  </a:cubicBezTo>
                  <a:cubicBezTo>
                    <a:pt x="195" y="158"/>
                    <a:pt x="195" y="158"/>
                    <a:pt x="195" y="158"/>
                  </a:cubicBezTo>
                  <a:cubicBezTo>
                    <a:pt x="195" y="158"/>
                    <a:pt x="195" y="158"/>
                    <a:pt x="195" y="158"/>
                  </a:cubicBezTo>
                  <a:cubicBezTo>
                    <a:pt x="210" y="139"/>
                    <a:pt x="210" y="139"/>
                    <a:pt x="210" y="139"/>
                  </a:cubicBezTo>
                  <a:cubicBezTo>
                    <a:pt x="215" y="118"/>
                    <a:pt x="215" y="118"/>
                    <a:pt x="215" y="118"/>
                  </a:cubicBezTo>
                  <a:cubicBezTo>
                    <a:pt x="224" y="101"/>
                    <a:pt x="224" y="101"/>
                    <a:pt x="224" y="101"/>
                  </a:cubicBezTo>
                  <a:cubicBezTo>
                    <a:pt x="234" y="89"/>
                    <a:pt x="234" y="89"/>
                    <a:pt x="234" y="89"/>
                  </a:cubicBezTo>
                  <a:cubicBezTo>
                    <a:pt x="246" y="68"/>
                    <a:pt x="246" y="68"/>
                    <a:pt x="246" y="68"/>
                  </a:cubicBezTo>
                  <a:cubicBezTo>
                    <a:pt x="234" y="56"/>
                    <a:pt x="234" y="56"/>
                    <a:pt x="234" y="56"/>
                  </a:cubicBezTo>
                  <a:cubicBezTo>
                    <a:pt x="228" y="49"/>
                    <a:pt x="228" y="49"/>
                    <a:pt x="228" y="49"/>
                  </a:cubicBezTo>
                  <a:cubicBezTo>
                    <a:pt x="228" y="49"/>
                    <a:pt x="228" y="49"/>
                    <a:pt x="228" y="49"/>
                  </a:cubicBezTo>
                  <a:cubicBezTo>
                    <a:pt x="224" y="44"/>
                    <a:pt x="224" y="44"/>
                    <a:pt x="224" y="44"/>
                  </a:cubicBezTo>
                  <a:cubicBezTo>
                    <a:pt x="212" y="25"/>
                    <a:pt x="212" y="25"/>
                    <a:pt x="212" y="25"/>
                  </a:cubicBezTo>
                  <a:cubicBezTo>
                    <a:pt x="205" y="14"/>
                    <a:pt x="205" y="14"/>
                    <a:pt x="205" y="14"/>
                  </a:cubicBezTo>
                  <a:cubicBezTo>
                    <a:pt x="205" y="14"/>
                    <a:pt x="205" y="14"/>
                    <a:pt x="205" y="14"/>
                  </a:cubicBezTo>
                  <a:cubicBezTo>
                    <a:pt x="205" y="12"/>
                    <a:pt x="204" y="6"/>
                    <a:pt x="203" y="0"/>
                  </a:cubicBezTo>
                  <a:cubicBezTo>
                    <a:pt x="13" y="0"/>
                    <a:pt x="13" y="0"/>
                    <a:pt x="13" y="0"/>
                  </a:cubicBezTo>
                  <a:cubicBezTo>
                    <a:pt x="13" y="27"/>
                    <a:pt x="13" y="27"/>
                    <a:pt x="13" y="27"/>
                  </a:cubicBezTo>
                  <a:lnTo>
                    <a:pt x="0" y="4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40" name="Indiana">
              <a:extLst>
                <a:ext uri="{FF2B5EF4-FFF2-40B4-BE49-F238E27FC236}">
                  <a16:creationId xmlns:a16="http://schemas.microsoft.com/office/drawing/2014/main" id="{BDDBF79A-B5A2-226F-1FFB-69C102441500}"/>
                </a:ext>
              </a:extLst>
            </p:cNvPr>
            <p:cNvSpPr>
              <a:spLocks/>
            </p:cNvSpPr>
            <p:nvPr/>
          </p:nvSpPr>
          <p:spPr bwMode="auto">
            <a:xfrm>
              <a:off x="7623990" y="2397264"/>
              <a:ext cx="561734" cy="772385"/>
            </a:xfrm>
            <a:custGeom>
              <a:avLst/>
              <a:gdLst>
                <a:gd name="T0" fmla="*/ 35 w 142"/>
                <a:gd name="T1" fmla="*/ 142 h 195"/>
                <a:gd name="T2" fmla="*/ 30 w 142"/>
                <a:gd name="T3" fmla="*/ 149 h 195"/>
                <a:gd name="T4" fmla="*/ 23 w 142"/>
                <a:gd name="T5" fmla="*/ 153 h 195"/>
                <a:gd name="T6" fmla="*/ 23 w 142"/>
                <a:gd name="T7" fmla="*/ 160 h 195"/>
                <a:gd name="T8" fmla="*/ 19 w 142"/>
                <a:gd name="T9" fmla="*/ 164 h 195"/>
                <a:gd name="T10" fmla="*/ 15 w 142"/>
                <a:gd name="T11" fmla="*/ 171 h 195"/>
                <a:gd name="T12" fmla="*/ 9 w 142"/>
                <a:gd name="T13" fmla="*/ 177 h 195"/>
                <a:gd name="T14" fmla="*/ 5 w 142"/>
                <a:gd name="T15" fmla="*/ 183 h 195"/>
                <a:gd name="T16" fmla="*/ 4 w 142"/>
                <a:gd name="T17" fmla="*/ 185 h 195"/>
                <a:gd name="T18" fmla="*/ 2 w 142"/>
                <a:gd name="T19" fmla="*/ 189 h 195"/>
                <a:gd name="T20" fmla="*/ 2 w 142"/>
                <a:gd name="T21" fmla="*/ 191 h 195"/>
                <a:gd name="T22" fmla="*/ 1 w 142"/>
                <a:gd name="T23" fmla="*/ 191 h 195"/>
                <a:gd name="T24" fmla="*/ 0 w 142"/>
                <a:gd name="T25" fmla="*/ 192 h 195"/>
                <a:gd name="T26" fmla="*/ 0 w 142"/>
                <a:gd name="T27" fmla="*/ 192 h 195"/>
                <a:gd name="T28" fmla="*/ 15 w 142"/>
                <a:gd name="T29" fmla="*/ 192 h 195"/>
                <a:gd name="T30" fmla="*/ 19 w 142"/>
                <a:gd name="T31" fmla="*/ 195 h 195"/>
                <a:gd name="T32" fmla="*/ 19 w 142"/>
                <a:gd name="T33" fmla="*/ 195 h 195"/>
                <a:gd name="T34" fmla="*/ 21 w 142"/>
                <a:gd name="T35" fmla="*/ 192 h 195"/>
                <a:gd name="T36" fmla="*/ 22 w 142"/>
                <a:gd name="T37" fmla="*/ 190 h 195"/>
                <a:gd name="T38" fmla="*/ 22 w 142"/>
                <a:gd name="T39" fmla="*/ 189 h 195"/>
                <a:gd name="T40" fmla="*/ 21 w 142"/>
                <a:gd name="T41" fmla="*/ 189 h 195"/>
                <a:gd name="T42" fmla="*/ 23 w 142"/>
                <a:gd name="T43" fmla="*/ 187 h 195"/>
                <a:gd name="T44" fmla="*/ 27 w 142"/>
                <a:gd name="T45" fmla="*/ 182 h 195"/>
                <a:gd name="T46" fmla="*/ 29 w 142"/>
                <a:gd name="T47" fmla="*/ 186 h 195"/>
                <a:gd name="T48" fmla="*/ 37 w 142"/>
                <a:gd name="T49" fmla="*/ 188 h 195"/>
                <a:gd name="T50" fmla="*/ 48 w 142"/>
                <a:gd name="T51" fmla="*/ 188 h 195"/>
                <a:gd name="T52" fmla="*/ 47 w 142"/>
                <a:gd name="T53" fmla="*/ 189 h 195"/>
                <a:gd name="T54" fmla="*/ 50 w 142"/>
                <a:gd name="T55" fmla="*/ 189 h 195"/>
                <a:gd name="T56" fmla="*/ 53 w 142"/>
                <a:gd name="T57" fmla="*/ 188 h 195"/>
                <a:gd name="T58" fmla="*/ 57 w 142"/>
                <a:gd name="T59" fmla="*/ 188 h 195"/>
                <a:gd name="T60" fmla="*/ 62 w 142"/>
                <a:gd name="T61" fmla="*/ 188 h 195"/>
                <a:gd name="T62" fmla="*/ 62 w 142"/>
                <a:gd name="T63" fmla="*/ 188 h 195"/>
                <a:gd name="T64" fmla="*/ 67 w 142"/>
                <a:gd name="T65" fmla="*/ 188 h 195"/>
                <a:gd name="T66" fmla="*/ 73 w 142"/>
                <a:gd name="T67" fmla="*/ 182 h 195"/>
                <a:gd name="T68" fmla="*/ 80 w 142"/>
                <a:gd name="T69" fmla="*/ 182 h 195"/>
                <a:gd name="T70" fmla="*/ 80 w 142"/>
                <a:gd name="T71" fmla="*/ 182 h 195"/>
                <a:gd name="T72" fmla="*/ 81 w 142"/>
                <a:gd name="T73" fmla="*/ 181 h 195"/>
                <a:gd name="T74" fmla="*/ 83 w 142"/>
                <a:gd name="T75" fmla="*/ 182 h 195"/>
                <a:gd name="T76" fmla="*/ 88 w 142"/>
                <a:gd name="T77" fmla="*/ 187 h 195"/>
                <a:gd name="T78" fmla="*/ 88 w 142"/>
                <a:gd name="T79" fmla="*/ 188 h 195"/>
                <a:gd name="T80" fmla="*/ 95 w 142"/>
                <a:gd name="T81" fmla="*/ 188 h 195"/>
                <a:gd name="T82" fmla="*/ 95 w 142"/>
                <a:gd name="T83" fmla="*/ 186 h 195"/>
                <a:gd name="T84" fmla="*/ 95 w 142"/>
                <a:gd name="T85" fmla="*/ 181 h 195"/>
                <a:gd name="T86" fmla="*/ 93 w 142"/>
                <a:gd name="T87" fmla="*/ 177 h 195"/>
                <a:gd name="T88" fmla="*/ 92 w 142"/>
                <a:gd name="T89" fmla="*/ 176 h 195"/>
                <a:gd name="T90" fmla="*/ 95 w 142"/>
                <a:gd name="T91" fmla="*/ 174 h 195"/>
                <a:gd name="T92" fmla="*/ 110 w 142"/>
                <a:gd name="T93" fmla="*/ 166 h 195"/>
                <a:gd name="T94" fmla="*/ 117 w 142"/>
                <a:gd name="T95" fmla="*/ 160 h 195"/>
                <a:gd name="T96" fmla="*/ 117 w 142"/>
                <a:gd name="T97" fmla="*/ 159 h 195"/>
                <a:gd name="T98" fmla="*/ 120 w 142"/>
                <a:gd name="T99" fmla="*/ 150 h 195"/>
                <a:gd name="T100" fmla="*/ 130 w 142"/>
                <a:gd name="T101" fmla="*/ 146 h 195"/>
                <a:gd name="T102" fmla="*/ 130 w 142"/>
                <a:gd name="T103" fmla="*/ 146 h 195"/>
                <a:gd name="T104" fmla="*/ 130 w 142"/>
                <a:gd name="T105" fmla="*/ 146 h 195"/>
                <a:gd name="T106" fmla="*/ 137 w 142"/>
                <a:gd name="T107" fmla="*/ 146 h 195"/>
                <a:gd name="T108" fmla="*/ 142 w 142"/>
                <a:gd name="T109" fmla="*/ 141 h 195"/>
                <a:gd name="T110" fmla="*/ 142 w 142"/>
                <a:gd name="T111" fmla="*/ 16 h 195"/>
                <a:gd name="T112" fmla="*/ 62 w 142"/>
                <a:gd name="T113" fmla="*/ 16 h 195"/>
                <a:gd name="T114" fmla="*/ 55 w 142"/>
                <a:gd name="T115" fmla="*/ 20 h 195"/>
                <a:gd name="T116" fmla="*/ 51 w 142"/>
                <a:gd name="T117" fmla="*/ 20 h 195"/>
                <a:gd name="T118" fmla="*/ 43 w 142"/>
                <a:gd name="T119" fmla="*/ 16 h 195"/>
                <a:gd name="T120" fmla="*/ 36 w 142"/>
                <a:gd name="T121" fmla="*/ 0 h 195"/>
                <a:gd name="T122" fmla="*/ 35 w 142"/>
                <a:gd name="T123" fmla="*/ 0 h 195"/>
                <a:gd name="T124" fmla="*/ 35 w 142"/>
                <a:gd name="T125"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2" h="195">
                  <a:moveTo>
                    <a:pt x="35" y="142"/>
                  </a:moveTo>
                  <a:cubicBezTo>
                    <a:pt x="30" y="149"/>
                    <a:pt x="30" y="149"/>
                    <a:pt x="30" y="149"/>
                  </a:cubicBezTo>
                  <a:cubicBezTo>
                    <a:pt x="23" y="153"/>
                    <a:pt x="23" y="153"/>
                    <a:pt x="23" y="153"/>
                  </a:cubicBezTo>
                  <a:cubicBezTo>
                    <a:pt x="23" y="160"/>
                    <a:pt x="23" y="160"/>
                    <a:pt x="23" y="160"/>
                  </a:cubicBezTo>
                  <a:cubicBezTo>
                    <a:pt x="19" y="164"/>
                    <a:pt x="19" y="164"/>
                    <a:pt x="19" y="164"/>
                  </a:cubicBezTo>
                  <a:cubicBezTo>
                    <a:pt x="15" y="171"/>
                    <a:pt x="15" y="171"/>
                    <a:pt x="15" y="171"/>
                  </a:cubicBezTo>
                  <a:cubicBezTo>
                    <a:pt x="14" y="171"/>
                    <a:pt x="12" y="174"/>
                    <a:pt x="9" y="177"/>
                  </a:cubicBezTo>
                  <a:cubicBezTo>
                    <a:pt x="7" y="180"/>
                    <a:pt x="6" y="182"/>
                    <a:pt x="5" y="183"/>
                  </a:cubicBezTo>
                  <a:cubicBezTo>
                    <a:pt x="4" y="184"/>
                    <a:pt x="4" y="185"/>
                    <a:pt x="4" y="185"/>
                  </a:cubicBezTo>
                  <a:cubicBezTo>
                    <a:pt x="4" y="185"/>
                    <a:pt x="4" y="186"/>
                    <a:pt x="2" y="189"/>
                  </a:cubicBezTo>
                  <a:cubicBezTo>
                    <a:pt x="2" y="191"/>
                    <a:pt x="2" y="191"/>
                    <a:pt x="2" y="191"/>
                  </a:cubicBezTo>
                  <a:cubicBezTo>
                    <a:pt x="1" y="191"/>
                    <a:pt x="1" y="191"/>
                    <a:pt x="1" y="191"/>
                  </a:cubicBezTo>
                  <a:cubicBezTo>
                    <a:pt x="0" y="192"/>
                    <a:pt x="0" y="192"/>
                    <a:pt x="0" y="192"/>
                  </a:cubicBezTo>
                  <a:cubicBezTo>
                    <a:pt x="0" y="192"/>
                    <a:pt x="0" y="192"/>
                    <a:pt x="0" y="192"/>
                  </a:cubicBezTo>
                  <a:cubicBezTo>
                    <a:pt x="15" y="192"/>
                    <a:pt x="15" y="192"/>
                    <a:pt x="15" y="192"/>
                  </a:cubicBezTo>
                  <a:cubicBezTo>
                    <a:pt x="15" y="193"/>
                    <a:pt x="17" y="195"/>
                    <a:pt x="19" y="195"/>
                  </a:cubicBezTo>
                  <a:cubicBezTo>
                    <a:pt x="19" y="195"/>
                    <a:pt x="19" y="195"/>
                    <a:pt x="19" y="195"/>
                  </a:cubicBezTo>
                  <a:cubicBezTo>
                    <a:pt x="20" y="195"/>
                    <a:pt x="21" y="194"/>
                    <a:pt x="21" y="192"/>
                  </a:cubicBezTo>
                  <a:cubicBezTo>
                    <a:pt x="22" y="191"/>
                    <a:pt x="22" y="190"/>
                    <a:pt x="22" y="190"/>
                  </a:cubicBezTo>
                  <a:cubicBezTo>
                    <a:pt x="22" y="189"/>
                    <a:pt x="22" y="189"/>
                    <a:pt x="22" y="189"/>
                  </a:cubicBezTo>
                  <a:cubicBezTo>
                    <a:pt x="21" y="189"/>
                    <a:pt x="21" y="189"/>
                    <a:pt x="21" y="189"/>
                  </a:cubicBezTo>
                  <a:cubicBezTo>
                    <a:pt x="22" y="188"/>
                    <a:pt x="22" y="188"/>
                    <a:pt x="23" y="187"/>
                  </a:cubicBezTo>
                  <a:cubicBezTo>
                    <a:pt x="27" y="182"/>
                    <a:pt x="27" y="182"/>
                    <a:pt x="27" y="182"/>
                  </a:cubicBezTo>
                  <a:cubicBezTo>
                    <a:pt x="29" y="186"/>
                    <a:pt x="29" y="186"/>
                    <a:pt x="29" y="186"/>
                  </a:cubicBezTo>
                  <a:cubicBezTo>
                    <a:pt x="37" y="188"/>
                    <a:pt x="37" y="188"/>
                    <a:pt x="37" y="188"/>
                  </a:cubicBezTo>
                  <a:cubicBezTo>
                    <a:pt x="48" y="188"/>
                    <a:pt x="48" y="188"/>
                    <a:pt x="48" y="188"/>
                  </a:cubicBezTo>
                  <a:cubicBezTo>
                    <a:pt x="47" y="189"/>
                    <a:pt x="47" y="189"/>
                    <a:pt x="47" y="189"/>
                  </a:cubicBezTo>
                  <a:cubicBezTo>
                    <a:pt x="50" y="189"/>
                    <a:pt x="50" y="189"/>
                    <a:pt x="50" y="189"/>
                  </a:cubicBezTo>
                  <a:cubicBezTo>
                    <a:pt x="50" y="189"/>
                    <a:pt x="51" y="189"/>
                    <a:pt x="53" y="188"/>
                  </a:cubicBezTo>
                  <a:cubicBezTo>
                    <a:pt x="54" y="188"/>
                    <a:pt x="56" y="188"/>
                    <a:pt x="57" y="188"/>
                  </a:cubicBezTo>
                  <a:cubicBezTo>
                    <a:pt x="60" y="188"/>
                    <a:pt x="62" y="188"/>
                    <a:pt x="62" y="188"/>
                  </a:cubicBezTo>
                  <a:cubicBezTo>
                    <a:pt x="62" y="188"/>
                    <a:pt x="62" y="188"/>
                    <a:pt x="62" y="188"/>
                  </a:cubicBezTo>
                  <a:cubicBezTo>
                    <a:pt x="67" y="188"/>
                    <a:pt x="67" y="188"/>
                    <a:pt x="67" y="188"/>
                  </a:cubicBezTo>
                  <a:cubicBezTo>
                    <a:pt x="73" y="182"/>
                    <a:pt x="73" y="182"/>
                    <a:pt x="73" y="182"/>
                  </a:cubicBezTo>
                  <a:cubicBezTo>
                    <a:pt x="80" y="182"/>
                    <a:pt x="80" y="182"/>
                    <a:pt x="80" y="182"/>
                  </a:cubicBezTo>
                  <a:cubicBezTo>
                    <a:pt x="80" y="182"/>
                    <a:pt x="80" y="182"/>
                    <a:pt x="80" y="182"/>
                  </a:cubicBezTo>
                  <a:cubicBezTo>
                    <a:pt x="80" y="181"/>
                    <a:pt x="81" y="181"/>
                    <a:pt x="81" y="181"/>
                  </a:cubicBezTo>
                  <a:cubicBezTo>
                    <a:pt x="82" y="181"/>
                    <a:pt x="82" y="181"/>
                    <a:pt x="83" y="182"/>
                  </a:cubicBezTo>
                  <a:cubicBezTo>
                    <a:pt x="85" y="183"/>
                    <a:pt x="87" y="186"/>
                    <a:pt x="88" y="187"/>
                  </a:cubicBezTo>
                  <a:cubicBezTo>
                    <a:pt x="88" y="188"/>
                    <a:pt x="88" y="188"/>
                    <a:pt x="88" y="188"/>
                  </a:cubicBezTo>
                  <a:cubicBezTo>
                    <a:pt x="95" y="188"/>
                    <a:pt x="95" y="188"/>
                    <a:pt x="95" y="188"/>
                  </a:cubicBezTo>
                  <a:cubicBezTo>
                    <a:pt x="95" y="186"/>
                    <a:pt x="95" y="186"/>
                    <a:pt x="95" y="186"/>
                  </a:cubicBezTo>
                  <a:cubicBezTo>
                    <a:pt x="94" y="185"/>
                    <a:pt x="94" y="183"/>
                    <a:pt x="95" y="181"/>
                  </a:cubicBezTo>
                  <a:cubicBezTo>
                    <a:pt x="96" y="179"/>
                    <a:pt x="95" y="178"/>
                    <a:pt x="93" y="177"/>
                  </a:cubicBezTo>
                  <a:cubicBezTo>
                    <a:pt x="92" y="176"/>
                    <a:pt x="92" y="176"/>
                    <a:pt x="92" y="176"/>
                  </a:cubicBezTo>
                  <a:cubicBezTo>
                    <a:pt x="92" y="176"/>
                    <a:pt x="93" y="175"/>
                    <a:pt x="95" y="174"/>
                  </a:cubicBezTo>
                  <a:cubicBezTo>
                    <a:pt x="103" y="171"/>
                    <a:pt x="110" y="166"/>
                    <a:pt x="110" y="166"/>
                  </a:cubicBezTo>
                  <a:cubicBezTo>
                    <a:pt x="117" y="160"/>
                    <a:pt x="117" y="160"/>
                    <a:pt x="117" y="160"/>
                  </a:cubicBezTo>
                  <a:cubicBezTo>
                    <a:pt x="117" y="159"/>
                    <a:pt x="117" y="159"/>
                    <a:pt x="117" y="159"/>
                  </a:cubicBezTo>
                  <a:cubicBezTo>
                    <a:pt x="117" y="158"/>
                    <a:pt x="116" y="151"/>
                    <a:pt x="120" y="150"/>
                  </a:cubicBezTo>
                  <a:cubicBezTo>
                    <a:pt x="124" y="150"/>
                    <a:pt x="130" y="146"/>
                    <a:pt x="130" y="146"/>
                  </a:cubicBezTo>
                  <a:cubicBezTo>
                    <a:pt x="130" y="146"/>
                    <a:pt x="130" y="146"/>
                    <a:pt x="130" y="146"/>
                  </a:cubicBezTo>
                  <a:cubicBezTo>
                    <a:pt x="130" y="146"/>
                    <a:pt x="130" y="146"/>
                    <a:pt x="130" y="146"/>
                  </a:cubicBezTo>
                  <a:cubicBezTo>
                    <a:pt x="137" y="146"/>
                    <a:pt x="137" y="146"/>
                    <a:pt x="137" y="146"/>
                  </a:cubicBezTo>
                  <a:cubicBezTo>
                    <a:pt x="142" y="141"/>
                    <a:pt x="142" y="141"/>
                    <a:pt x="142" y="141"/>
                  </a:cubicBezTo>
                  <a:cubicBezTo>
                    <a:pt x="142" y="16"/>
                    <a:pt x="142" y="16"/>
                    <a:pt x="142" y="16"/>
                  </a:cubicBezTo>
                  <a:cubicBezTo>
                    <a:pt x="62" y="16"/>
                    <a:pt x="62" y="16"/>
                    <a:pt x="62" y="16"/>
                  </a:cubicBezTo>
                  <a:cubicBezTo>
                    <a:pt x="55" y="20"/>
                    <a:pt x="55" y="20"/>
                    <a:pt x="55" y="20"/>
                  </a:cubicBezTo>
                  <a:cubicBezTo>
                    <a:pt x="51" y="20"/>
                    <a:pt x="51" y="20"/>
                    <a:pt x="51" y="20"/>
                  </a:cubicBezTo>
                  <a:cubicBezTo>
                    <a:pt x="43" y="16"/>
                    <a:pt x="43" y="16"/>
                    <a:pt x="43" y="16"/>
                  </a:cubicBezTo>
                  <a:cubicBezTo>
                    <a:pt x="36" y="0"/>
                    <a:pt x="36" y="0"/>
                    <a:pt x="36" y="0"/>
                  </a:cubicBezTo>
                  <a:cubicBezTo>
                    <a:pt x="35" y="0"/>
                    <a:pt x="35" y="0"/>
                    <a:pt x="35" y="0"/>
                  </a:cubicBezTo>
                  <a:lnTo>
                    <a:pt x="35" y="1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41" name="Illinois">
              <a:extLst>
                <a:ext uri="{FF2B5EF4-FFF2-40B4-BE49-F238E27FC236}">
                  <a16:creationId xmlns:a16="http://schemas.microsoft.com/office/drawing/2014/main" id="{08CCB56F-4ADF-0672-2529-7877C94CAB14}"/>
                </a:ext>
              </a:extLst>
            </p:cNvPr>
            <p:cNvSpPr>
              <a:spLocks/>
            </p:cNvSpPr>
            <p:nvPr/>
          </p:nvSpPr>
          <p:spPr bwMode="auto">
            <a:xfrm>
              <a:off x="7145847" y="2168223"/>
              <a:ext cx="616905" cy="1038205"/>
            </a:xfrm>
            <a:custGeom>
              <a:avLst/>
              <a:gdLst>
                <a:gd name="T0" fmla="*/ 39 w 156"/>
                <a:gd name="T1" fmla="*/ 7 h 262"/>
                <a:gd name="T2" fmla="*/ 51 w 156"/>
                <a:gd name="T3" fmla="*/ 19 h 262"/>
                <a:gd name="T4" fmla="*/ 39 w 156"/>
                <a:gd name="T5" fmla="*/ 40 h 262"/>
                <a:gd name="T6" fmla="*/ 29 w 156"/>
                <a:gd name="T7" fmla="*/ 52 h 262"/>
                <a:gd name="T8" fmla="*/ 20 w 156"/>
                <a:gd name="T9" fmla="*/ 69 h 262"/>
                <a:gd name="T10" fmla="*/ 15 w 156"/>
                <a:gd name="T11" fmla="*/ 90 h 262"/>
                <a:gd name="T12" fmla="*/ 0 w 156"/>
                <a:gd name="T13" fmla="*/ 109 h 262"/>
                <a:gd name="T14" fmla="*/ 0 w 156"/>
                <a:gd name="T15" fmla="*/ 109 h 262"/>
                <a:gd name="T16" fmla="*/ 0 w 156"/>
                <a:gd name="T17" fmla="*/ 144 h 262"/>
                <a:gd name="T18" fmla="*/ 15 w 156"/>
                <a:gd name="T19" fmla="*/ 154 h 262"/>
                <a:gd name="T20" fmla="*/ 32 w 156"/>
                <a:gd name="T21" fmla="*/ 165 h 262"/>
                <a:gd name="T22" fmla="*/ 49 w 156"/>
                <a:gd name="T23" fmla="*/ 182 h 262"/>
                <a:gd name="T24" fmla="*/ 46 w 156"/>
                <a:gd name="T25" fmla="*/ 198 h 262"/>
                <a:gd name="T26" fmla="*/ 51 w 156"/>
                <a:gd name="T27" fmla="*/ 215 h 262"/>
                <a:gd name="T28" fmla="*/ 71 w 156"/>
                <a:gd name="T29" fmla="*/ 225 h 262"/>
                <a:gd name="T30" fmla="*/ 78 w 156"/>
                <a:gd name="T31" fmla="*/ 238 h 262"/>
                <a:gd name="T32" fmla="*/ 80 w 156"/>
                <a:gd name="T33" fmla="*/ 246 h 262"/>
                <a:gd name="T34" fmla="*/ 92 w 156"/>
                <a:gd name="T35" fmla="*/ 262 h 262"/>
                <a:gd name="T36" fmla="*/ 92 w 156"/>
                <a:gd name="T37" fmla="*/ 262 h 262"/>
                <a:gd name="T38" fmla="*/ 92 w 156"/>
                <a:gd name="T39" fmla="*/ 262 h 262"/>
                <a:gd name="T40" fmla="*/ 102 w 156"/>
                <a:gd name="T41" fmla="*/ 262 h 262"/>
                <a:gd name="T42" fmla="*/ 106 w 156"/>
                <a:gd name="T43" fmla="*/ 257 h 262"/>
                <a:gd name="T44" fmla="*/ 113 w 156"/>
                <a:gd name="T45" fmla="*/ 252 h 262"/>
                <a:gd name="T46" fmla="*/ 120 w 156"/>
                <a:gd name="T47" fmla="*/ 250 h 262"/>
                <a:gd name="T48" fmla="*/ 121 w 156"/>
                <a:gd name="T49" fmla="*/ 249 h 262"/>
                <a:gd name="T50" fmla="*/ 122 w 156"/>
                <a:gd name="T51" fmla="*/ 249 h 262"/>
                <a:gd name="T52" fmla="*/ 122 w 156"/>
                <a:gd name="T53" fmla="*/ 249 h 262"/>
                <a:gd name="T54" fmla="*/ 123 w 156"/>
                <a:gd name="T55" fmla="*/ 249 h 262"/>
                <a:gd name="T56" fmla="*/ 123 w 156"/>
                <a:gd name="T57" fmla="*/ 247 h 262"/>
                <a:gd name="T58" fmla="*/ 125 w 156"/>
                <a:gd name="T59" fmla="*/ 243 h 262"/>
                <a:gd name="T60" fmla="*/ 126 w 156"/>
                <a:gd name="T61" fmla="*/ 241 h 262"/>
                <a:gd name="T62" fmla="*/ 130 w 156"/>
                <a:gd name="T63" fmla="*/ 235 h 262"/>
                <a:gd name="T64" fmla="*/ 136 w 156"/>
                <a:gd name="T65" fmla="*/ 229 h 262"/>
                <a:gd name="T66" fmla="*/ 140 w 156"/>
                <a:gd name="T67" fmla="*/ 222 h 262"/>
                <a:gd name="T68" fmla="*/ 144 w 156"/>
                <a:gd name="T69" fmla="*/ 218 h 262"/>
                <a:gd name="T70" fmla="*/ 144 w 156"/>
                <a:gd name="T71" fmla="*/ 211 h 262"/>
                <a:gd name="T72" fmla="*/ 151 w 156"/>
                <a:gd name="T73" fmla="*/ 207 h 262"/>
                <a:gd name="T74" fmla="*/ 156 w 156"/>
                <a:gd name="T75" fmla="*/ 200 h 262"/>
                <a:gd name="T76" fmla="*/ 156 w 156"/>
                <a:gd name="T77" fmla="*/ 58 h 262"/>
                <a:gd name="T78" fmla="*/ 156 w 156"/>
                <a:gd name="T79" fmla="*/ 57 h 262"/>
                <a:gd name="T80" fmla="*/ 152 w 156"/>
                <a:gd name="T81" fmla="*/ 47 h 262"/>
                <a:gd name="T82" fmla="*/ 149 w 156"/>
                <a:gd name="T83" fmla="*/ 0 h 262"/>
                <a:gd name="T84" fmla="*/ 33 w 156"/>
                <a:gd name="T85" fmla="*/ 0 h 262"/>
                <a:gd name="T86" fmla="*/ 39 w 156"/>
                <a:gd name="T87" fmla="*/ 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 h="262">
                  <a:moveTo>
                    <a:pt x="39" y="7"/>
                  </a:moveTo>
                  <a:cubicBezTo>
                    <a:pt x="51" y="19"/>
                    <a:pt x="51" y="19"/>
                    <a:pt x="51" y="19"/>
                  </a:cubicBezTo>
                  <a:cubicBezTo>
                    <a:pt x="39" y="40"/>
                    <a:pt x="39" y="40"/>
                    <a:pt x="39" y="40"/>
                  </a:cubicBezTo>
                  <a:cubicBezTo>
                    <a:pt x="29" y="52"/>
                    <a:pt x="29" y="52"/>
                    <a:pt x="29" y="52"/>
                  </a:cubicBezTo>
                  <a:cubicBezTo>
                    <a:pt x="20" y="69"/>
                    <a:pt x="20" y="69"/>
                    <a:pt x="20" y="69"/>
                  </a:cubicBezTo>
                  <a:cubicBezTo>
                    <a:pt x="15" y="90"/>
                    <a:pt x="15" y="90"/>
                    <a:pt x="15" y="90"/>
                  </a:cubicBezTo>
                  <a:cubicBezTo>
                    <a:pt x="0" y="109"/>
                    <a:pt x="0" y="109"/>
                    <a:pt x="0" y="109"/>
                  </a:cubicBezTo>
                  <a:cubicBezTo>
                    <a:pt x="0" y="109"/>
                    <a:pt x="0" y="109"/>
                    <a:pt x="0" y="109"/>
                  </a:cubicBezTo>
                  <a:cubicBezTo>
                    <a:pt x="0" y="144"/>
                    <a:pt x="0" y="144"/>
                    <a:pt x="0" y="144"/>
                  </a:cubicBezTo>
                  <a:cubicBezTo>
                    <a:pt x="15" y="154"/>
                    <a:pt x="15" y="154"/>
                    <a:pt x="15" y="154"/>
                  </a:cubicBezTo>
                  <a:cubicBezTo>
                    <a:pt x="32" y="165"/>
                    <a:pt x="32" y="165"/>
                    <a:pt x="32" y="165"/>
                  </a:cubicBezTo>
                  <a:cubicBezTo>
                    <a:pt x="49" y="182"/>
                    <a:pt x="49" y="182"/>
                    <a:pt x="49" y="182"/>
                  </a:cubicBezTo>
                  <a:cubicBezTo>
                    <a:pt x="46" y="198"/>
                    <a:pt x="46" y="198"/>
                    <a:pt x="46" y="198"/>
                  </a:cubicBezTo>
                  <a:cubicBezTo>
                    <a:pt x="51" y="215"/>
                    <a:pt x="51" y="215"/>
                    <a:pt x="51" y="215"/>
                  </a:cubicBezTo>
                  <a:cubicBezTo>
                    <a:pt x="71" y="225"/>
                    <a:pt x="71" y="225"/>
                    <a:pt x="71" y="225"/>
                  </a:cubicBezTo>
                  <a:cubicBezTo>
                    <a:pt x="78" y="238"/>
                    <a:pt x="78" y="238"/>
                    <a:pt x="78" y="238"/>
                  </a:cubicBezTo>
                  <a:cubicBezTo>
                    <a:pt x="80" y="246"/>
                    <a:pt x="80" y="246"/>
                    <a:pt x="80" y="246"/>
                  </a:cubicBezTo>
                  <a:cubicBezTo>
                    <a:pt x="82" y="252"/>
                    <a:pt x="90" y="260"/>
                    <a:pt x="92" y="262"/>
                  </a:cubicBezTo>
                  <a:cubicBezTo>
                    <a:pt x="92" y="262"/>
                    <a:pt x="92" y="262"/>
                    <a:pt x="92" y="262"/>
                  </a:cubicBezTo>
                  <a:cubicBezTo>
                    <a:pt x="92" y="262"/>
                    <a:pt x="92" y="262"/>
                    <a:pt x="92" y="262"/>
                  </a:cubicBezTo>
                  <a:cubicBezTo>
                    <a:pt x="102" y="262"/>
                    <a:pt x="102" y="262"/>
                    <a:pt x="102" y="262"/>
                  </a:cubicBezTo>
                  <a:cubicBezTo>
                    <a:pt x="106" y="257"/>
                    <a:pt x="106" y="257"/>
                    <a:pt x="106" y="257"/>
                  </a:cubicBezTo>
                  <a:cubicBezTo>
                    <a:pt x="113" y="252"/>
                    <a:pt x="113" y="252"/>
                    <a:pt x="113" y="252"/>
                  </a:cubicBezTo>
                  <a:cubicBezTo>
                    <a:pt x="114" y="252"/>
                    <a:pt x="117" y="251"/>
                    <a:pt x="120" y="250"/>
                  </a:cubicBezTo>
                  <a:cubicBezTo>
                    <a:pt x="120" y="250"/>
                    <a:pt x="120" y="249"/>
                    <a:pt x="121" y="249"/>
                  </a:cubicBezTo>
                  <a:cubicBezTo>
                    <a:pt x="121" y="249"/>
                    <a:pt x="121" y="249"/>
                    <a:pt x="122" y="249"/>
                  </a:cubicBezTo>
                  <a:cubicBezTo>
                    <a:pt x="122" y="249"/>
                    <a:pt x="122" y="249"/>
                    <a:pt x="122" y="249"/>
                  </a:cubicBezTo>
                  <a:cubicBezTo>
                    <a:pt x="123" y="249"/>
                    <a:pt x="123" y="249"/>
                    <a:pt x="123" y="249"/>
                  </a:cubicBezTo>
                  <a:cubicBezTo>
                    <a:pt x="123" y="247"/>
                    <a:pt x="123" y="247"/>
                    <a:pt x="123" y="247"/>
                  </a:cubicBezTo>
                  <a:cubicBezTo>
                    <a:pt x="125" y="244"/>
                    <a:pt x="125" y="243"/>
                    <a:pt x="125" y="243"/>
                  </a:cubicBezTo>
                  <a:cubicBezTo>
                    <a:pt x="125" y="243"/>
                    <a:pt x="125" y="242"/>
                    <a:pt x="126" y="241"/>
                  </a:cubicBezTo>
                  <a:cubicBezTo>
                    <a:pt x="127" y="240"/>
                    <a:pt x="128" y="238"/>
                    <a:pt x="130" y="235"/>
                  </a:cubicBezTo>
                  <a:cubicBezTo>
                    <a:pt x="133" y="232"/>
                    <a:pt x="135" y="229"/>
                    <a:pt x="136" y="229"/>
                  </a:cubicBezTo>
                  <a:cubicBezTo>
                    <a:pt x="140" y="222"/>
                    <a:pt x="140" y="222"/>
                    <a:pt x="140" y="222"/>
                  </a:cubicBezTo>
                  <a:cubicBezTo>
                    <a:pt x="144" y="218"/>
                    <a:pt x="144" y="218"/>
                    <a:pt x="144" y="218"/>
                  </a:cubicBezTo>
                  <a:cubicBezTo>
                    <a:pt x="144" y="211"/>
                    <a:pt x="144" y="211"/>
                    <a:pt x="144" y="211"/>
                  </a:cubicBezTo>
                  <a:cubicBezTo>
                    <a:pt x="151" y="207"/>
                    <a:pt x="151" y="207"/>
                    <a:pt x="151" y="207"/>
                  </a:cubicBezTo>
                  <a:cubicBezTo>
                    <a:pt x="156" y="200"/>
                    <a:pt x="156" y="200"/>
                    <a:pt x="156" y="200"/>
                  </a:cubicBezTo>
                  <a:cubicBezTo>
                    <a:pt x="156" y="58"/>
                    <a:pt x="156" y="58"/>
                    <a:pt x="156" y="58"/>
                  </a:cubicBezTo>
                  <a:cubicBezTo>
                    <a:pt x="156" y="57"/>
                    <a:pt x="156" y="57"/>
                    <a:pt x="156" y="57"/>
                  </a:cubicBezTo>
                  <a:cubicBezTo>
                    <a:pt x="152" y="47"/>
                    <a:pt x="152" y="47"/>
                    <a:pt x="152" y="47"/>
                  </a:cubicBezTo>
                  <a:cubicBezTo>
                    <a:pt x="149" y="0"/>
                    <a:pt x="149" y="0"/>
                    <a:pt x="149" y="0"/>
                  </a:cubicBezTo>
                  <a:cubicBezTo>
                    <a:pt x="33" y="0"/>
                    <a:pt x="33" y="0"/>
                    <a:pt x="33" y="0"/>
                  </a:cubicBezTo>
                  <a:lnTo>
                    <a:pt x="39" y="7"/>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42" name="Idaho">
              <a:extLst>
                <a:ext uri="{FF2B5EF4-FFF2-40B4-BE49-F238E27FC236}">
                  <a16:creationId xmlns:a16="http://schemas.microsoft.com/office/drawing/2014/main" id="{36ABFE05-CD3D-5D73-9359-1E14EA64EB41}"/>
                </a:ext>
              </a:extLst>
            </p:cNvPr>
            <p:cNvSpPr>
              <a:spLocks/>
            </p:cNvSpPr>
            <p:nvPr/>
          </p:nvSpPr>
          <p:spPr bwMode="auto">
            <a:xfrm>
              <a:off x="3258846" y="885931"/>
              <a:ext cx="904459" cy="1337463"/>
            </a:xfrm>
            <a:custGeom>
              <a:avLst/>
              <a:gdLst>
                <a:gd name="T0" fmla="*/ 9 w 229"/>
                <a:gd name="T1" fmla="*/ 148 h 338"/>
                <a:gd name="T2" fmla="*/ 19 w 229"/>
                <a:gd name="T3" fmla="*/ 163 h 338"/>
                <a:gd name="T4" fmla="*/ 4 w 229"/>
                <a:gd name="T5" fmla="*/ 201 h 338"/>
                <a:gd name="T6" fmla="*/ 4 w 229"/>
                <a:gd name="T7" fmla="*/ 215 h 338"/>
                <a:gd name="T8" fmla="*/ 7 w 229"/>
                <a:gd name="T9" fmla="*/ 248 h 338"/>
                <a:gd name="T10" fmla="*/ 0 w 229"/>
                <a:gd name="T11" fmla="*/ 293 h 338"/>
                <a:gd name="T12" fmla="*/ 2 w 229"/>
                <a:gd name="T13" fmla="*/ 338 h 338"/>
                <a:gd name="T14" fmla="*/ 118 w 229"/>
                <a:gd name="T15" fmla="*/ 338 h 338"/>
                <a:gd name="T16" fmla="*/ 229 w 229"/>
                <a:gd name="T17" fmla="*/ 338 h 338"/>
                <a:gd name="T18" fmla="*/ 222 w 229"/>
                <a:gd name="T19" fmla="*/ 216 h 338"/>
                <a:gd name="T20" fmla="*/ 205 w 229"/>
                <a:gd name="T21" fmla="*/ 221 h 338"/>
                <a:gd name="T22" fmla="*/ 196 w 229"/>
                <a:gd name="T23" fmla="*/ 225 h 338"/>
                <a:gd name="T24" fmla="*/ 194 w 229"/>
                <a:gd name="T25" fmla="*/ 224 h 338"/>
                <a:gd name="T26" fmla="*/ 183 w 229"/>
                <a:gd name="T27" fmla="*/ 224 h 338"/>
                <a:gd name="T28" fmla="*/ 178 w 229"/>
                <a:gd name="T29" fmla="*/ 224 h 338"/>
                <a:gd name="T30" fmla="*/ 162 w 229"/>
                <a:gd name="T31" fmla="*/ 224 h 338"/>
                <a:gd name="T32" fmla="*/ 147 w 229"/>
                <a:gd name="T33" fmla="*/ 212 h 338"/>
                <a:gd name="T34" fmla="*/ 145 w 229"/>
                <a:gd name="T35" fmla="*/ 214 h 338"/>
                <a:gd name="T36" fmla="*/ 145 w 229"/>
                <a:gd name="T37" fmla="*/ 214 h 338"/>
                <a:gd name="T38" fmla="*/ 144 w 229"/>
                <a:gd name="T39" fmla="*/ 206 h 338"/>
                <a:gd name="T40" fmla="*/ 133 w 229"/>
                <a:gd name="T41" fmla="*/ 194 h 338"/>
                <a:gd name="T42" fmla="*/ 128 w 229"/>
                <a:gd name="T43" fmla="*/ 173 h 338"/>
                <a:gd name="T44" fmla="*/ 113 w 229"/>
                <a:gd name="T45" fmla="*/ 166 h 338"/>
                <a:gd name="T46" fmla="*/ 110 w 229"/>
                <a:gd name="T47" fmla="*/ 166 h 338"/>
                <a:gd name="T48" fmla="*/ 100 w 229"/>
                <a:gd name="T49" fmla="*/ 167 h 338"/>
                <a:gd name="T50" fmla="*/ 100 w 229"/>
                <a:gd name="T51" fmla="*/ 153 h 338"/>
                <a:gd name="T52" fmla="*/ 100 w 229"/>
                <a:gd name="T53" fmla="*/ 151 h 338"/>
                <a:gd name="T54" fmla="*/ 99 w 229"/>
                <a:gd name="T55" fmla="*/ 141 h 338"/>
                <a:gd name="T56" fmla="*/ 93 w 229"/>
                <a:gd name="T57" fmla="*/ 107 h 338"/>
                <a:gd name="T58" fmla="*/ 78 w 229"/>
                <a:gd name="T59" fmla="*/ 101 h 338"/>
                <a:gd name="T60" fmla="*/ 78 w 229"/>
                <a:gd name="T61" fmla="*/ 97 h 338"/>
                <a:gd name="T62" fmla="*/ 71 w 229"/>
                <a:gd name="T63" fmla="*/ 87 h 338"/>
                <a:gd name="T64" fmla="*/ 63 w 229"/>
                <a:gd name="T65" fmla="*/ 82 h 338"/>
                <a:gd name="T66" fmla="*/ 53 w 229"/>
                <a:gd name="T67" fmla="*/ 77 h 338"/>
                <a:gd name="T68" fmla="*/ 50 w 229"/>
                <a:gd name="T69" fmla="*/ 63 h 338"/>
                <a:gd name="T70" fmla="*/ 40 w 229"/>
                <a:gd name="T71" fmla="*/ 59 h 338"/>
                <a:gd name="T72" fmla="*/ 2 w 229"/>
                <a:gd name="T73" fmla="*/ 0 h 338"/>
                <a:gd name="T74" fmla="*/ 3 w 229"/>
                <a:gd name="T75" fmla="*/ 14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338">
                  <a:moveTo>
                    <a:pt x="3" y="148"/>
                  </a:moveTo>
                  <a:cubicBezTo>
                    <a:pt x="6" y="148"/>
                    <a:pt x="9" y="148"/>
                    <a:pt x="9" y="148"/>
                  </a:cubicBezTo>
                  <a:cubicBezTo>
                    <a:pt x="15" y="154"/>
                    <a:pt x="15" y="154"/>
                    <a:pt x="15" y="154"/>
                  </a:cubicBezTo>
                  <a:cubicBezTo>
                    <a:pt x="19" y="163"/>
                    <a:pt x="19" y="163"/>
                    <a:pt x="19" y="163"/>
                  </a:cubicBezTo>
                  <a:cubicBezTo>
                    <a:pt x="19" y="189"/>
                    <a:pt x="19" y="189"/>
                    <a:pt x="19" y="189"/>
                  </a:cubicBezTo>
                  <a:cubicBezTo>
                    <a:pt x="4" y="201"/>
                    <a:pt x="4" y="201"/>
                    <a:pt x="4" y="201"/>
                  </a:cubicBezTo>
                  <a:cubicBezTo>
                    <a:pt x="2" y="211"/>
                    <a:pt x="2" y="211"/>
                    <a:pt x="2" y="211"/>
                  </a:cubicBezTo>
                  <a:cubicBezTo>
                    <a:pt x="4" y="215"/>
                    <a:pt x="4" y="215"/>
                    <a:pt x="4" y="215"/>
                  </a:cubicBezTo>
                  <a:cubicBezTo>
                    <a:pt x="7" y="236"/>
                    <a:pt x="7" y="236"/>
                    <a:pt x="7" y="236"/>
                  </a:cubicBezTo>
                  <a:cubicBezTo>
                    <a:pt x="7" y="248"/>
                    <a:pt x="7" y="248"/>
                    <a:pt x="7" y="248"/>
                  </a:cubicBezTo>
                  <a:cubicBezTo>
                    <a:pt x="2" y="263"/>
                    <a:pt x="2" y="263"/>
                    <a:pt x="2" y="263"/>
                  </a:cubicBezTo>
                  <a:cubicBezTo>
                    <a:pt x="0" y="293"/>
                    <a:pt x="0" y="293"/>
                    <a:pt x="0" y="293"/>
                  </a:cubicBezTo>
                  <a:cubicBezTo>
                    <a:pt x="2" y="312"/>
                    <a:pt x="2" y="312"/>
                    <a:pt x="2" y="312"/>
                  </a:cubicBezTo>
                  <a:cubicBezTo>
                    <a:pt x="2" y="338"/>
                    <a:pt x="2" y="338"/>
                    <a:pt x="2" y="338"/>
                  </a:cubicBezTo>
                  <a:cubicBezTo>
                    <a:pt x="2" y="338"/>
                    <a:pt x="2" y="338"/>
                    <a:pt x="2" y="338"/>
                  </a:cubicBezTo>
                  <a:cubicBezTo>
                    <a:pt x="118" y="338"/>
                    <a:pt x="118" y="338"/>
                    <a:pt x="118" y="338"/>
                  </a:cubicBezTo>
                  <a:cubicBezTo>
                    <a:pt x="229" y="338"/>
                    <a:pt x="229" y="338"/>
                    <a:pt x="229" y="338"/>
                  </a:cubicBezTo>
                  <a:cubicBezTo>
                    <a:pt x="229" y="338"/>
                    <a:pt x="229" y="338"/>
                    <a:pt x="229" y="338"/>
                  </a:cubicBezTo>
                  <a:cubicBezTo>
                    <a:pt x="229" y="216"/>
                    <a:pt x="229" y="216"/>
                    <a:pt x="229" y="216"/>
                  </a:cubicBezTo>
                  <a:cubicBezTo>
                    <a:pt x="222" y="216"/>
                    <a:pt x="222" y="216"/>
                    <a:pt x="222" y="216"/>
                  </a:cubicBezTo>
                  <a:cubicBezTo>
                    <a:pt x="216" y="217"/>
                    <a:pt x="216" y="217"/>
                    <a:pt x="216" y="217"/>
                  </a:cubicBezTo>
                  <a:cubicBezTo>
                    <a:pt x="205" y="221"/>
                    <a:pt x="205" y="221"/>
                    <a:pt x="205" y="221"/>
                  </a:cubicBezTo>
                  <a:cubicBezTo>
                    <a:pt x="200" y="224"/>
                    <a:pt x="200" y="224"/>
                    <a:pt x="200" y="224"/>
                  </a:cubicBezTo>
                  <a:cubicBezTo>
                    <a:pt x="198" y="225"/>
                    <a:pt x="197" y="225"/>
                    <a:pt x="196" y="225"/>
                  </a:cubicBezTo>
                  <a:cubicBezTo>
                    <a:pt x="195" y="225"/>
                    <a:pt x="195" y="225"/>
                    <a:pt x="195" y="225"/>
                  </a:cubicBezTo>
                  <a:cubicBezTo>
                    <a:pt x="194" y="224"/>
                    <a:pt x="194" y="224"/>
                    <a:pt x="194" y="224"/>
                  </a:cubicBezTo>
                  <a:cubicBezTo>
                    <a:pt x="193" y="224"/>
                    <a:pt x="189" y="224"/>
                    <a:pt x="187" y="224"/>
                  </a:cubicBezTo>
                  <a:cubicBezTo>
                    <a:pt x="185" y="224"/>
                    <a:pt x="183" y="224"/>
                    <a:pt x="183" y="224"/>
                  </a:cubicBezTo>
                  <a:cubicBezTo>
                    <a:pt x="182" y="224"/>
                    <a:pt x="181" y="223"/>
                    <a:pt x="180" y="223"/>
                  </a:cubicBezTo>
                  <a:cubicBezTo>
                    <a:pt x="179" y="223"/>
                    <a:pt x="179" y="223"/>
                    <a:pt x="178" y="224"/>
                  </a:cubicBezTo>
                  <a:cubicBezTo>
                    <a:pt x="177" y="224"/>
                    <a:pt x="176" y="224"/>
                    <a:pt x="174" y="224"/>
                  </a:cubicBezTo>
                  <a:cubicBezTo>
                    <a:pt x="162" y="224"/>
                    <a:pt x="162" y="224"/>
                    <a:pt x="162" y="224"/>
                  </a:cubicBezTo>
                  <a:cubicBezTo>
                    <a:pt x="161" y="224"/>
                    <a:pt x="157" y="222"/>
                    <a:pt x="151" y="216"/>
                  </a:cubicBezTo>
                  <a:cubicBezTo>
                    <a:pt x="150" y="213"/>
                    <a:pt x="149" y="212"/>
                    <a:pt x="147" y="212"/>
                  </a:cubicBezTo>
                  <a:cubicBezTo>
                    <a:pt x="146" y="213"/>
                    <a:pt x="146" y="213"/>
                    <a:pt x="146" y="213"/>
                  </a:cubicBezTo>
                  <a:cubicBezTo>
                    <a:pt x="145" y="214"/>
                    <a:pt x="145" y="214"/>
                    <a:pt x="145" y="214"/>
                  </a:cubicBezTo>
                  <a:cubicBezTo>
                    <a:pt x="145" y="214"/>
                    <a:pt x="145" y="214"/>
                    <a:pt x="145" y="214"/>
                  </a:cubicBezTo>
                  <a:cubicBezTo>
                    <a:pt x="145" y="214"/>
                    <a:pt x="145" y="214"/>
                    <a:pt x="145" y="214"/>
                  </a:cubicBezTo>
                  <a:cubicBezTo>
                    <a:pt x="144" y="214"/>
                    <a:pt x="144" y="214"/>
                    <a:pt x="144" y="214"/>
                  </a:cubicBezTo>
                  <a:cubicBezTo>
                    <a:pt x="144" y="206"/>
                    <a:pt x="144" y="206"/>
                    <a:pt x="144" y="206"/>
                  </a:cubicBezTo>
                  <a:cubicBezTo>
                    <a:pt x="140" y="206"/>
                    <a:pt x="140" y="206"/>
                    <a:pt x="140" y="206"/>
                  </a:cubicBezTo>
                  <a:cubicBezTo>
                    <a:pt x="133" y="194"/>
                    <a:pt x="133" y="194"/>
                    <a:pt x="133" y="194"/>
                  </a:cubicBezTo>
                  <a:cubicBezTo>
                    <a:pt x="128" y="188"/>
                    <a:pt x="128" y="188"/>
                    <a:pt x="128" y="188"/>
                  </a:cubicBezTo>
                  <a:cubicBezTo>
                    <a:pt x="128" y="173"/>
                    <a:pt x="128" y="173"/>
                    <a:pt x="128" y="173"/>
                  </a:cubicBezTo>
                  <a:cubicBezTo>
                    <a:pt x="127" y="172"/>
                    <a:pt x="122" y="168"/>
                    <a:pt x="115" y="167"/>
                  </a:cubicBezTo>
                  <a:cubicBezTo>
                    <a:pt x="114" y="166"/>
                    <a:pt x="113" y="166"/>
                    <a:pt x="113" y="166"/>
                  </a:cubicBezTo>
                  <a:cubicBezTo>
                    <a:pt x="111" y="166"/>
                    <a:pt x="111" y="166"/>
                    <a:pt x="111" y="166"/>
                  </a:cubicBezTo>
                  <a:cubicBezTo>
                    <a:pt x="110" y="166"/>
                    <a:pt x="110" y="166"/>
                    <a:pt x="110" y="166"/>
                  </a:cubicBezTo>
                  <a:cubicBezTo>
                    <a:pt x="110" y="167"/>
                    <a:pt x="110" y="167"/>
                    <a:pt x="110" y="167"/>
                  </a:cubicBezTo>
                  <a:cubicBezTo>
                    <a:pt x="100" y="167"/>
                    <a:pt x="100" y="167"/>
                    <a:pt x="100" y="167"/>
                  </a:cubicBezTo>
                  <a:cubicBezTo>
                    <a:pt x="100" y="166"/>
                    <a:pt x="100" y="166"/>
                    <a:pt x="100" y="166"/>
                  </a:cubicBezTo>
                  <a:cubicBezTo>
                    <a:pt x="100" y="163"/>
                    <a:pt x="98" y="156"/>
                    <a:pt x="100" y="153"/>
                  </a:cubicBezTo>
                  <a:cubicBezTo>
                    <a:pt x="100" y="152"/>
                    <a:pt x="100" y="151"/>
                    <a:pt x="100" y="151"/>
                  </a:cubicBezTo>
                  <a:cubicBezTo>
                    <a:pt x="100" y="151"/>
                    <a:pt x="100" y="151"/>
                    <a:pt x="100" y="151"/>
                  </a:cubicBezTo>
                  <a:cubicBezTo>
                    <a:pt x="100" y="151"/>
                    <a:pt x="99" y="150"/>
                    <a:pt x="99" y="148"/>
                  </a:cubicBezTo>
                  <a:cubicBezTo>
                    <a:pt x="98" y="144"/>
                    <a:pt x="98" y="141"/>
                    <a:pt x="99" y="141"/>
                  </a:cubicBezTo>
                  <a:cubicBezTo>
                    <a:pt x="99" y="113"/>
                    <a:pt x="99" y="113"/>
                    <a:pt x="99" y="113"/>
                  </a:cubicBezTo>
                  <a:cubicBezTo>
                    <a:pt x="93" y="107"/>
                    <a:pt x="93" y="107"/>
                    <a:pt x="93" y="107"/>
                  </a:cubicBezTo>
                  <a:cubicBezTo>
                    <a:pt x="89" y="106"/>
                    <a:pt x="89" y="106"/>
                    <a:pt x="89" y="106"/>
                  </a:cubicBezTo>
                  <a:cubicBezTo>
                    <a:pt x="86" y="105"/>
                    <a:pt x="80" y="102"/>
                    <a:pt x="78" y="101"/>
                  </a:cubicBezTo>
                  <a:cubicBezTo>
                    <a:pt x="78" y="101"/>
                    <a:pt x="78" y="101"/>
                    <a:pt x="78" y="101"/>
                  </a:cubicBezTo>
                  <a:cubicBezTo>
                    <a:pt x="78" y="97"/>
                    <a:pt x="78" y="97"/>
                    <a:pt x="78" y="97"/>
                  </a:cubicBezTo>
                  <a:cubicBezTo>
                    <a:pt x="71" y="93"/>
                    <a:pt x="71" y="93"/>
                    <a:pt x="71" y="93"/>
                  </a:cubicBezTo>
                  <a:cubicBezTo>
                    <a:pt x="71" y="87"/>
                    <a:pt x="71" y="87"/>
                    <a:pt x="71" y="87"/>
                  </a:cubicBezTo>
                  <a:cubicBezTo>
                    <a:pt x="63" y="87"/>
                    <a:pt x="63" y="87"/>
                    <a:pt x="63" y="87"/>
                  </a:cubicBezTo>
                  <a:cubicBezTo>
                    <a:pt x="63" y="82"/>
                    <a:pt x="63" y="82"/>
                    <a:pt x="63" y="82"/>
                  </a:cubicBezTo>
                  <a:cubicBezTo>
                    <a:pt x="59" y="77"/>
                    <a:pt x="59" y="77"/>
                    <a:pt x="59" y="77"/>
                  </a:cubicBezTo>
                  <a:cubicBezTo>
                    <a:pt x="53" y="77"/>
                    <a:pt x="53" y="77"/>
                    <a:pt x="53" y="77"/>
                  </a:cubicBezTo>
                  <a:cubicBezTo>
                    <a:pt x="53" y="69"/>
                    <a:pt x="53" y="69"/>
                    <a:pt x="53" y="69"/>
                  </a:cubicBezTo>
                  <a:cubicBezTo>
                    <a:pt x="50" y="63"/>
                    <a:pt x="50" y="63"/>
                    <a:pt x="50" y="63"/>
                  </a:cubicBezTo>
                  <a:cubicBezTo>
                    <a:pt x="50" y="59"/>
                    <a:pt x="50" y="59"/>
                    <a:pt x="50" y="59"/>
                  </a:cubicBezTo>
                  <a:cubicBezTo>
                    <a:pt x="40" y="59"/>
                    <a:pt x="40" y="59"/>
                    <a:pt x="40" y="59"/>
                  </a:cubicBezTo>
                  <a:cubicBezTo>
                    <a:pt x="40" y="0"/>
                    <a:pt x="40" y="0"/>
                    <a:pt x="40" y="0"/>
                  </a:cubicBezTo>
                  <a:cubicBezTo>
                    <a:pt x="2" y="0"/>
                    <a:pt x="2" y="0"/>
                    <a:pt x="2" y="0"/>
                  </a:cubicBezTo>
                  <a:cubicBezTo>
                    <a:pt x="2" y="149"/>
                    <a:pt x="2" y="149"/>
                    <a:pt x="2" y="149"/>
                  </a:cubicBezTo>
                  <a:lnTo>
                    <a:pt x="3" y="14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43" name="Hawaii">
              <a:extLst>
                <a:ext uri="{FF2B5EF4-FFF2-40B4-BE49-F238E27FC236}">
                  <a16:creationId xmlns:a16="http://schemas.microsoft.com/office/drawing/2014/main" id="{BF3E904E-7177-51D3-6C17-50AA907C23BF}"/>
                </a:ext>
              </a:extLst>
            </p:cNvPr>
            <p:cNvSpPr>
              <a:spLocks noEditPoints="1"/>
            </p:cNvSpPr>
            <p:nvPr/>
          </p:nvSpPr>
          <p:spPr bwMode="auto">
            <a:xfrm>
              <a:off x="3676802" y="5009494"/>
              <a:ext cx="1747409" cy="976031"/>
            </a:xfrm>
            <a:custGeom>
              <a:avLst/>
              <a:gdLst>
                <a:gd name="T0" fmla="*/ 1 w 1313"/>
                <a:gd name="T1" fmla="*/ 1 h 734"/>
                <a:gd name="T2" fmla="*/ 10 w 1313"/>
                <a:gd name="T3" fmla="*/ 17 h 734"/>
                <a:gd name="T4" fmla="*/ 17 w 1313"/>
                <a:gd name="T5" fmla="*/ 3 h 734"/>
                <a:gd name="T6" fmla="*/ 1 w 1313"/>
                <a:gd name="T7" fmla="*/ 1 h 734"/>
                <a:gd name="T8" fmla="*/ 391 w 1313"/>
                <a:gd name="T9" fmla="*/ 194 h 734"/>
                <a:gd name="T10" fmla="*/ 458 w 1313"/>
                <a:gd name="T11" fmla="*/ 217 h 734"/>
                <a:gd name="T12" fmla="*/ 474 w 1313"/>
                <a:gd name="T13" fmla="*/ 150 h 734"/>
                <a:gd name="T14" fmla="*/ 391 w 1313"/>
                <a:gd name="T15" fmla="*/ 194 h 734"/>
                <a:gd name="T16" fmla="*/ 311 w 1313"/>
                <a:gd name="T17" fmla="*/ 233 h 734"/>
                <a:gd name="T18" fmla="*/ 322 w 1313"/>
                <a:gd name="T19" fmla="*/ 242 h 734"/>
                <a:gd name="T20" fmla="*/ 343 w 1313"/>
                <a:gd name="T21" fmla="*/ 219 h 734"/>
                <a:gd name="T22" fmla="*/ 348 w 1313"/>
                <a:gd name="T23" fmla="*/ 196 h 734"/>
                <a:gd name="T24" fmla="*/ 311 w 1313"/>
                <a:gd name="T25" fmla="*/ 233 h 734"/>
                <a:gd name="T26" fmla="*/ 766 w 1313"/>
                <a:gd name="T27" fmla="*/ 276 h 734"/>
                <a:gd name="T28" fmla="*/ 752 w 1313"/>
                <a:gd name="T29" fmla="*/ 281 h 734"/>
                <a:gd name="T30" fmla="*/ 745 w 1313"/>
                <a:gd name="T31" fmla="*/ 260 h 734"/>
                <a:gd name="T32" fmla="*/ 715 w 1313"/>
                <a:gd name="T33" fmla="*/ 230 h 734"/>
                <a:gd name="T34" fmla="*/ 690 w 1313"/>
                <a:gd name="T35" fmla="*/ 256 h 734"/>
                <a:gd name="T36" fmla="*/ 662 w 1313"/>
                <a:gd name="T37" fmla="*/ 263 h 734"/>
                <a:gd name="T38" fmla="*/ 697 w 1313"/>
                <a:gd name="T39" fmla="*/ 313 h 734"/>
                <a:gd name="T40" fmla="*/ 754 w 1313"/>
                <a:gd name="T41" fmla="*/ 318 h 734"/>
                <a:gd name="T42" fmla="*/ 782 w 1313"/>
                <a:gd name="T43" fmla="*/ 304 h 734"/>
                <a:gd name="T44" fmla="*/ 766 w 1313"/>
                <a:gd name="T45" fmla="*/ 276 h 734"/>
                <a:gd name="T46" fmla="*/ 899 w 1313"/>
                <a:gd name="T47" fmla="*/ 313 h 734"/>
                <a:gd name="T48" fmla="*/ 848 w 1313"/>
                <a:gd name="T49" fmla="*/ 315 h 734"/>
                <a:gd name="T50" fmla="*/ 842 w 1313"/>
                <a:gd name="T51" fmla="*/ 341 h 734"/>
                <a:gd name="T52" fmla="*/ 950 w 1313"/>
                <a:gd name="T53" fmla="*/ 320 h 734"/>
                <a:gd name="T54" fmla="*/ 899 w 1313"/>
                <a:gd name="T55" fmla="*/ 313 h 734"/>
                <a:gd name="T56" fmla="*/ 996 w 1313"/>
                <a:gd name="T57" fmla="*/ 366 h 734"/>
                <a:gd name="T58" fmla="*/ 952 w 1313"/>
                <a:gd name="T59" fmla="*/ 366 h 734"/>
                <a:gd name="T60" fmla="*/ 993 w 1313"/>
                <a:gd name="T61" fmla="*/ 389 h 734"/>
                <a:gd name="T62" fmla="*/ 1002 w 1313"/>
                <a:gd name="T63" fmla="*/ 426 h 734"/>
                <a:gd name="T64" fmla="*/ 1012 w 1313"/>
                <a:gd name="T65" fmla="*/ 430 h 734"/>
                <a:gd name="T66" fmla="*/ 1085 w 1313"/>
                <a:gd name="T67" fmla="*/ 384 h 734"/>
                <a:gd name="T68" fmla="*/ 996 w 1313"/>
                <a:gd name="T69" fmla="*/ 366 h 734"/>
                <a:gd name="T70" fmla="*/ 888 w 1313"/>
                <a:gd name="T71" fmla="*/ 375 h 734"/>
                <a:gd name="T72" fmla="*/ 906 w 1313"/>
                <a:gd name="T73" fmla="*/ 407 h 734"/>
                <a:gd name="T74" fmla="*/ 888 w 1313"/>
                <a:gd name="T75" fmla="*/ 375 h 734"/>
                <a:gd name="T76" fmla="*/ 986 w 1313"/>
                <a:gd name="T77" fmla="*/ 426 h 734"/>
                <a:gd name="T78" fmla="*/ 956 w 1313"/>
                <a:gd name="T79" fmla="*/ 444 h 734"/>
                <a:gd name="T80" fmla="*/ 989 w 1313"/>
                <a:gd name="T81" fmla="*/ 442 h 734"/>
                <a:gd name="T82" fmla="*/ 986 w 1313"/>
                <a:gd name="T83" fmla="*/ 426 h 734"/>
                <a:gd name="T84" fmla="*/ 1276 w 1313"/>
                <a:gd name="T85" fmla="*/ 566 h 734"/>
                <a:gd name="T86" fmla="*/ 1260 w 1313"/>
                <a:gd name="T87" fmla="*/ 566 h 734"/>
                <a:gd name="T88" fmla="*/ 1260 w 1313"/>
                <a:gd name="T89" fmla="*/ 545 h 734"/>
                <a:gd name="T90" fmla="*/ 1161 w 1313"/>
                <a:gd name="T91" fmla="*/ 502 h 734"/>
                <a:gd name="T92" fmla="*/ 1108 w 1313"/>
                <a:gd name="T93" fmla="*/ 479 h 734"/>
                <a:gd name="T94" fmla="*/ 1104 w 1313"/>
                <a:gd name="T95" fmla="*/ 481 h 734"/>
                <a:gd name="T96" fmla="*/ 1120 w 1313"/>
                <a:gd name="T97" fmla="*/ 531 h 734"/>
                <a:gd name="T98" fmla="*/ 1081 w 1313"/>
                <a:gd name="T99" fmla="*/ 584 h 734"/>
                <a:gd name="T100" fmla="*/ 1104 w 1313"/>
                <a:gd name="T101" fmla="*/ 628 h 734"/>
                <a:gd name="T102" fmla="*/ 1120 w 1313"/>
                <a:gd name="T103" fmla="*/ 658 h 734"/>
                <a:gd name="T104" fmla="*/ 1115 w 1313"/>
                <a:gd name="T105" fmla="*/ 697 h 734"/>
                <a:gd name="T106" fmla="*/ 1166 w 1313"/>
                <a:gd name="T107" fmla="*/ 734 h 734"/>
                <a:gd name="T108" fmla="*/ 1186 w 1313"/>
                <a:gd name="T109" fmla="*/ 697 h 734"/>
                <a:gd name="T110" fmla="*/ 1234 w 1313"/>
                <a:gd name="T111" fmla="*/ 660 h 734"/>
                <a:gd name="T112" fmla="*/ 1313 w 1313"/>
                <a:gd name="T113" fmla="*/ 605 h 734"/>
                <a:gd name="T114" fmla="*/ 1276 w 1313"/>
                <a:gd name="T115" fmla="*/ 566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3" h="734">
                  <a:moveTo>
                    <a:pt x="1" y="1"/>
                  </a:moveTo>
                  <a:cubicBezTo>
                    <a:pt x="0" y="10"/>
                    <a:pt x="2" y="17"/>
                    <a:pt x="10" y="17"/>
                  </a:cubicBezTo>
                  <a:cubicBezTo>
                    <a:pt x="15" y="15"/>
                    <a:pt x="18" y="11"/>
                    <a:pt x="17" y="3"/>
                  </a:cubicBezTo>
                  <a:cubicBezTo>
                    <a:pt x="9" y="5"/>
                    <a:pt x="8" y="0"/>
                    <a:pt x="1" y="1"/>
                  </a:cubicBezTo>
                  <a:close/>
                  <a:moveTo>
                    <a:pt x="391" y="194"/>
                  </a:moveTo>
                  <a:cubicBezTo>
                    <a:pt x="411" y="205"/>
                    <a:pt x="431" y="219"/>
                    <a:pt x="458" y="217"/>
                  </a:cubicBezTo>
                  <a:cubicBezTo>
                    <a:pt x="477" y="204"/>
                    <a:pt x="485" y="172"/>
                    <a:pt x="474" y="150"/>
                  </a:cubicBezTo>
                  <a:cubicBezTo>
                    <a:pt x="432" y="142"/>
                    <a:pt x="396" y="153"/>
                    <a:pt x="391" y="194"/>
                  </a:cubicBezTo>
                  <a:close/>
                  <a:moveTo>
                    <a:pt x="311" y="233"/>
                  </a:moveTo>
                  <a:cubicBezTo>
                    <a:pt x="314" y="237"/>
                    <a:pt x="316" y="242"/>
                    <a:pt x="322" y="242"/>
                  </a:cubicBezTo>
                  <a:cubicBezTo>
                    <a:pt x="324" y="229"/>
                    <a:pt x="332" y="222"/>
                    <a:pt x="343" y="219"/>
                  </a:cubicBezTo>
                  <a:cubicBezTo>
                    <a:pt x="340" y="207"/>
                    <a:pt x="348" y="205"/>
                    <a:pt x="348" y="196"/>
                  </a:cubicBezTo>
                  <a:cubicBezTo>
                    <a:pt x="329" y="202"/>
                    <a:pt x="315" y="212"/>
                    <a:pt x="311" y="233"/>
                  </a:cubicBezTo>
                  <a:close/>
                  <a:moveTo>
                    <a:pt x="766" y="276"/>
                  </a:moveTo>
                  <a:cubicBezTo>
                    <a:pt x="758" y="275"/>
                    <a:pt x="754" y="277"/>
                    <a:pt x="752" y="281"/>
                  </a:cubicBezTo>
                  <a:cubicBezTo>
                    <a:pt x="742" y="276"/>
                    <a:pt x="744" y="273"/>
                    <a:pt x="745" y="260"/>
                  </a:cubicBezTo>
                  <a:cubicBezTo>
                    <a:pt x="730" y="256"/>
                    <a:pt x="731" y="235"/>
                    <a:pt x="715" y="230"/>
                  </a:cubicBezTo>
                  <a:cubicBezTo>
                    <a:pt x="702" y="234"/>
                    <a:pt x="699" y="248"/>
                    <a:pt x="690" y="256"/>
                  </a:cubicBezTo>
                  <a:cubicBezTo>
                    <a:pt x="679" y="256"/>
                    <a:pt x="667" y="255"/>
                    <a:pt x="662" y="263"/>
                  </a:cubicBezTo>
                  <a:cubicBezTo>
                    <a:pt x="680" y="282"/>
                    <a:pt x="683" y="289"/>
                    <a:pt x="697" y="313"/>
                  </a:cubicBezTo>
                  <a:cubicBezTo>
                    <a:pt x="720" y="309"/>
                    <a:pt x="737" y="306"/>
                    <a:pt x="754" y="318"/>
                  </a:cubicBezTo>
                  <a:cubicBezTo>
                    <a:pt x="764" y="310"/>
                    <a:pt x="778" y="319"/>
                    <a:pt x="782" y="304"/>
                  </a:cubicBezTo>
                  <a:cubicBezTo>
                    <a:pt x="772" y="299"/>
                    <a:pt x="762" y="287"/>
                    <a:pt x="766" y="276"/>
                  </a:cubicBezTo>
                  <a:close/>
                  <a:moveTo>
                    <a:pt x="899" y="313"/>
                  </a:moveTo>
                  <a:cubicBezTo>
                    <a:pt x="894" y="326"/>
                    <a:pt x="864" y="314"/>
                    <a:pt x="848" y="315"/>
                  </a:cubicBezTo>
                  <a:cubicBezTo>
                    <a:pt x="855" y="327"/>
                    <a:pt x="839" y="327"/>
                    <a:pt x="842" y="341"/>
                  </a:cubicBezTo>
                  <a:cubicBezTo>
                    <a:pt x="883" y="332"/>
                    <a:pt x="936" y="365"/>
                    <a:pt x="950" y="320"/>
                  </a:cubicBezTo>
                  <a:cubicBezTo>
                    <a:pt x="927" y="314"/>
                    <a:pt x="913" y="329"/>
                    <a:pt x="899" y="313"/>
                  </a:cubicBezTo>
                  <a:close/>
                  <a:moveTo>
                    <a:pt x="996" y="366"/>
                  </a:moveTo>
                  <a:cubicBezTo>
                    <a:pt x="985" y="342"/>
                    <a:pt x="950" y="336"/>
                    <a:pt x="952" y="366"/>
                  </a:cubicBezTo>
                  <a:cubicBezTo>
                    <a:pt x="953" y="382"/>
                    <a:pt x="976" y="399"/>
                    <a:pt x="993" y="389"/>
                  </a:cubicBezTo>
                  <a:cubicBezTo>
                    <a:pt x="1000" y="397"/>
                    <a:pt x="999" y="414"/>
                    <a:pt x="1002" y="426"/>
                  </a:cubicBezTo>
                  <a:cubicBezTo>
                    <a:pt x="1007" y="426"/>
                    <a:pt x="1010" y="427"/>
                    <a:pt x="1012" y="430"/>
                  </a:cubicBezTo>
                  <a:cubicBezTo>
                    <a:pt x="1040" y="416"/>
                    <a:pt x="1081" y="425"/>
                    <a:pt x="1085" y="384"/>
                  </a:cubicBezTo>
                  <a:cubicBezTo>
                    <a:pt x="1052" y="374"/>
                    <a:pt x="1028" y="340"/>
                    <a:pt x="996" y="366"/>
                  </a:cubicBezTo>
                  <a:close/>
                  <a:moveTo>
                    <a:pt x="888" y="375"/>
                  </a:moveTo>
                  <a:cubicBezTo>
                    <a:pt x="896" y="383"/>
                    <a:pt x="903" y="393"/>
                    <a:pt x="906" y="407"/>
                  </a:cubicBezTo>
                  <a:cubicBezTo>
                    <a:pt x="966" y="409"/>
                    <a:pt x="914" y="342"/>
                    <a:pt x="888" y="375"/>
                  </a:cubicBezTo>
                  <a:close/>
                  <a:moveTo>
                    <a:pt x="986" y="426"/>
                  </a:moveTo>
                  <a:cubicBezTo>
                    <a:pt x="974" y="421"/>
                    <a:pt x="959" y="431"/>
                    <a:pt x="956" y="444"/>
                  </a:cubicBezTo>
                  <a:cubicBezTo>
                    <a:pt x="965" y="449"/>
                    <a:pt x="979" y="443"/>
                    <a:pt x="989" y="442"/>
                  </a:cubicBezTo>
                  <a:cubicBezTo>
                    <a:pt x="985" y="435"/>
                    <a:pt x="989" y="430"/>
                    <a:pt x="986" y="426"/>
                  </a:cubicBezTo>
                  <a:close/>
                  <a:moveTo>
                    <a:pt x="1276" y="566"/>
                  </a:moveTo>
                  <a:cubicBezTo>
                    <a:pt x="1269" y="563"/>
                    <a:pt x="1262" y="572"/>
                    <a:pt x="1260" y="566"/>
                  </a:cubicBezTo>
                  <a:cubicBezTo>
                    <a:pt x="1259" y="558"/>
                    <a:pt x="1256" y="553"/>
                    <a:pt x="1260" y="545"/>
                  </a:cubicBezTo>
                  <a:cubicBezTo>
                    <a:pt x="1235" y="524"/>
                    <a:pt x="1200" y="501"/>
                    <a:pt x="1161" y="502"/>
                  </a:cubicBezTo>
                  <a:cubicBezTo>
                    <a:pt x="1145" y="493"/>
                    <a:pt x="1129" y="474"/>
                    <a:pt x="1108" y="479"/>
                  </a:cubicBezTo>
                  <a:cubicBezTo>
                    <a:pt x="1106" y="479"/>
                    <a:pt x="1105" y="480"/>
                    <a:pt x="1104" y="481"/>
                  </a:cubicBezTo>
                  <a:cubicBezTo>
                    <a:pt x="1099" y="508"/>
                    <a:pt x="1116" y="513"/>
                    <a:pt x="1120" y="531"/>
                  </a:cubicBezTo>
                  <a:cubicBezTo>
                    <a:pt x="1109" y="551"/>
                    <a:pt x="1088" y="561"/>
                    <a:pt x="1081" y="584"/>
                  </a:cubicBezTo>
                  <a:cubicBezTo>
                    <a:pt x="1094" y="595"/>
                    <a:pt x="1097" y="612"/>
                    <a:pt x="1104" y="628"/>
                  </a:cubicBezTo>
                  <a:cubicBezTo>
                    <a:pt x="1108" y="638"/>
                    <a:pt x="1118" y="645"/>
                    <a:pt x="1120" y="658"/>
                  </a:cubicBezTo>
                  <a:cubicBezTo>
                    <a:pt x="1121" y="670"/>
                    <a:pt x="1112" y="685"/>
                    <a:pt x="1115" y="697"/>
                  </a:cubicBezTo>
                  <a:cubicBezTo>
                    <a:pt x="1121" y="723"/>
                    <a:pt x="1151" y="715"/>
                    <a:pt x="1166" y="734"/>
                  </a:cubicBezTo>
                  <a:cubicBezTo>
                    <a:pt x="1177" y="725"/>
                    <a:pt x="1185" y="715"/>
                    <a:pt x="1186" y="697"/>
                  </a:cubicBezTo>
                  <a:cubicBezTo>
                    <a:pt x="1204" y="686"/>
                    <a:pt x="1217" y="671"/>
                    <a:pt x="1234" y="660"/>
                  </a:cubicBezTo>
                  <a:cubicBezTo>
                    <a:pt x="1270" y="659"/>
                    <a:pt x="1300" y="636"/>
                    <a:pt x="1313" y="605"/>
                  </a:cubicBezTo>
                  <a:cubicBezTo>
                    <a:pt x="1295" y="597"/>
                    <a:pt x="1279" y="588"/>
                    <a:pt x="1276" y="566"/>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44" name="Georgia">
              <a:extLst>
                <a:ext uri="{FF2B5EF4-FFF2-40B4-BE49-F238E27FC236}">
                  <a16:creationId xmlns:a16="http://schemas.microsoft.com/office/drawing/2014/main" id="{5A45AC32-69C1-A095-663E-4D3C2D41C80F}"/>
                </a:ext>
              </a:extLst>
            </p:cNvPr>
            <p:cNvSpPr>
              <a:spLocks/>
            </p:cNvSpPr>
            <p:nvPr/>
          </p:nvSpPr>
          <p:spPr bwMode="auto">
            <a:xfrm>
              <a:off x="8058666" y="3637760"/>
              <a:ext cx="799134" cy="937896"/>
            </a:xfrm>
            <a:custGeom>
              <a:avLst/>
              <a:gdLst>
                <a:gd name="T0" fmla="*/ 469 w 478"/>
                <a:gd name="T1" fmla="*/ 367 h 561"/>
                <a:gd name="T2" fmla="*/ 452 w 478"/>
                <a:gd name="T3" fmla="*/ 343 h 561"/>
                <a:gd name="T4" fmla="*/ 440 w 478"/>
                <a:gd name="T5" fmla="*/ 343 h 561"/>
                <a:gd name="T6" fmla="*/ 426 w 478"/>
                <a:gd name="T7" fmla="*/ 334 h 561"/>
                <a:gd name="T8" fmla="*/ 426 w 478"/>
                <a:gd name="T9" fmla="*/ 315 h 561"/>
                <a:gd name="T10" fmla="*/ 409 w 478"/>
                <a:gd name="T11" fmla="*/ 298 h 561"/>
                <a:gd name="T12" fmla="*/ 409 w 478"/>
                <a:gd name="T13" fmla="*/ 258 h 561"/>
                <a:gd name="T14" fmla="*/ 400 w 478"/>
                <a:gd name="T15" fmla="*/ 248 h 561"/>
                <a:gd name="T16" fmla="*/ 388 w 478"/>
                <a:gd name="T17" fmla="*/ 237 h 561"/>
                <a:gd name="T18" fmla="*/ 369 w 478"/>
                <a:gd name="T19" fmla="*/ 225 h 561"/>
                <a:gd name="T20" fmla="*/ 369 w 478"/>
                <a:gd name="T21" fmla="*/ 203 h 561"/>
                <a:gd name="T22" fmla="*/ 355 w 478"/>
                <a:gd name="T23" fmla="*/ 203 h 561"/>
                <a:gd name="T24" fmla="*/ 355 w 478"/>
                <a:gd name="T25" fmla="*/ 182 h 561"/>
                <a:gd name="T26" fmla="*/ 343 w 478"/>
                <a:gd name="T27" fmla="*/ 170 h 561"/>
                <a:gd name="T28" fmla="*/ 331 w 478"/>
                <a:gd name="T29" fmla="*/ 170 h 561"/>
                <a:gd name="T30" fmla="*/ 315 w 478"/>
                <a:gd name="T31" fmla="*/ 161 h 561"/>
                <a:gd name="T32" fmla="*/ 315 w 478"/>
                <a:gd name="T33" fmla="*/ 147 h 561"/>
                <a:gd name="T34" fmla="*/ 296 w 478"/>
                <a:gd name="T35" fmla="*/ 135 h 561"/>
                <a:gd name="T36" fmla="*/ 289 w 478"/>
                <a:gd name="T37" fmla="*/ 113 h 561"/>
                <a:gd name="T38" fmla="*/ 286 w 478"/>
                <a:gd name="T39" fmla="*/ 85 h 561"/>
                <a:gd name="T40" fmla="*/ 263 w 478"/>
                <a:gd name="T41" fmla="*/ 78 h 561"/>
                <a:gd name="T42" fmla="*/ 227 w 478"/>
                <a:gd name="T43" fmla="*/ 40 h 561"/>
                <a:gd name="T44" fmla="*/ 227 w 478"/>
                <a:gd name="T45" fmla="*/ 0 h 561"/>
                <a:gd name="T46" fmla="*/ 227 w 478"/>
                <a:gd name="T47" fmla="*/ 0 h 561"/>
                <a:gd name="T48" fmla="*/ 97 w 478"/>
                <a:gd name="T49" fmla="*/ 0 h 561"/>
                <a:gd name="T50" fmla="*/ 97 w 478"/>
                <a:gd name="T51" fmla="*/ 0 h 561"/>
                <a:gd name="T52" fmla="*/ 0 w 478"/>
                <a:gd name="T53" fmla="*/ 0 h 561"/>
                <a:gd name="T54" fmla="*/ 0 w 478"/>
                <a:gd name="T55" fmla="*/ 21 h 561"/>
                <a:gd name="T56" fmla="*/ 10 w 478"/>
                <a:gd name="T57" fmla="*/ 52 h 561"/>
                <a:gd name="T58" fmla="*/ 10 w 478"/>
                <a:gd name="T59" fmla="*/ 149 h 561"/>
                <a:gd name="T60" fmla="*/ 19 w 478"/>
                <a:gd name="T61" fmla="*/ 168 h 561"/>
                <a:gd name="T62" fmla="*/ 19 w 478"/>
                <a:gd name="T63" fmla="*/ 182 h 561"/>
                <a:gd name="T64" fmla="*/ 33 w 478"/>
                <a:gd name="T65" fmla="*/ 213 h 561"/>
                <a:gd name="T66" fmla="*/ 33 w 478"/>
                <a:gd name="T67" fmla="*/ 274 h 561"/>
                <a:gd name="T68" fmla="*/ 48 w 478"/>
                <a:gd name="T69" fmla="*/ 312 h 561"/>
                <a:gd name="T70" fmla="*/ 48 w 478"/>
                <a:gd name="T71" fmla="*/ 511 h 561"/>
                <a:gd name="T72" fmla="*/ 50 w 478"/>
                <a:gd name="T73" fmla="*/ 514 h 561"/>
                <a:gd name="T74" fmla="*/ 59 w 478"/>
                <a:gd name="T75" fmla="*/ 530 h 561"/>
                <a:gd name="T76" fmla="*/ 81 w 478"/>
                <a:gd name="T77" fmla="*/ 542 h 561"/>
                <a:gd name="T78" fmla="*/ 182 w 478"/>
                <a:gd name="T79" fmla="*/ 542 h 561"/>
                <a:gd name="T80" fmla="*/ 206 w 478"/>
                <a:gd name="T81" fmla="*/ 561 h 561"/>
                <a:gd name="T82" fmla="*/ 350 w 478"/>
                <a:gd name="T83" fmla="*/ 561 h 561"/>
                <a:gd name="T84" fmla="*/ 364 w 478"/>
                <a:gd name="T85" fmla="*/ 537 h 561"/>
                <a:gd name="T86" fmla="*/ 372 w 478"/>
                <a:gd name="T87" fmla="*/ 530 h 561"/>
                <a:gd name="T88" fmla="*/ 388 w 478"/>
                <a:gd name="T89" fmla="*/ 523 h 561"/>
                <a:gd name="T90" fmla="*/ 443 w 478"/>
                <a:gd name="T91" fmla="*/ 407 h 561"/>
                <a:gd name="T92" fmla="*/ 452 w 478"/>
                <a:gd name="T93" fmla="*/ 407 h 561"/>
                <a:gd name="T94" fmla="*/ 443 w 478"/>
                <a:gd name="T95" fmla="*/ 398 h 561"/>
                <a:gd name="T96" fmla="*/ 452 w 478"/>
                <a:gd name="T97" fmla="*/ 398 h 561"/>
                <a:gd name="T98" fmla="*/ 461 w 478"/>
                <a:gd name="T99" fmla="*/ 388 h 561"/>
                <a:gd name="T100" fmla="*/ 469 w 478"/>
                <a:gd name="T101" fmla="*/ 388 h 561"/>
                <a:gd name="T102" fmla="*/ 478 w 478"/>
                <a:gd name="T103" fmla="*/ 379 h 561"/>
                <a:gd name="T104" fmla="*/ 478 w 478"/>
                <a:gd name="T105" fmla="*/ 376 h 561"/>
                <a:gd name="T106" fmla="*/ 473 w 478"/>
                <a:gd name="T107" fmla="*/ 372 h 561"/>
                <a:gd name="T108" fmla="*/ 469 w 478"/>
                <a:gd name="T109" fmla="*/ 367 h 561"/>
                <a:gd name="T110" fmla="*/ 469 w 478"/>
                <a:gd name="T111" fmla="*/ 367 h 561"/>
                <a:gd name="T112" fmla="*/ 469 w 478"/>
                <a:gd name="T113" fmla="*/ 36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8" h="561">
                  <a:moveTo>
                    <a:pt x="469" y="367"/>
                  </a:moveTo>
                  <a:lnTo>
                    <a:pt x="452" y="343"/>
                  </a:lnTo>
                  <a:lnTo>
                    <a:pt x="440" y="343"/>
                  </a:lnTo>
                  <a:lnTo>
                    <a:pt x="426" y="334"/>
                  </a:lnTo>
                  <a:lnTo>
                    <a:pt x="426" y="315"/>
                  </a:lnTo>
                  <a:lnTo>
                    <a:pt x="409" y="298"/>
                  </a:lnTo>
                  <a:lnTo>
                    <a:pt x="409" y="258"/>
                  </a:lnTo>
                  <a:lnTo>
                    <a:pt x="400" y="248"/>
                  </a:lnTo>
                  <a:lnTo>
                    <a:pt x="388" y="237"/>
                  </a:lnTo>
                  <a:lnTo>
                    <a:pt x="369" y="225"/>
                  </a:lnTo>
                  <a:lnTo>
                    <a:pt x="369" y="203"/>
                  </a:lnTo>
                  <a:lnTo>
                    <a:pt x="355" y="203"/>
                  </a:lnTo>
                  <a:lnTo>
                    <a:pt x="355" y="182"/>
                  </a:lnTo>
                  <a:lnTo>
                    <a:pt x="343" y="170"/>
                  </a:lnTo>
                  <a:lnTo>
                    <a:pt x="331" y="170"/>
                  </a:lnTo>
                  <a:lnTo>
                    <a:pt x="315" y="161"/>
                  </a:lnTo>
                  <a:lnTo>
                    <a:pt x="315" y="147"/>
                  </a:lnTo>
                  <a:lnTo>
                    <a:pt x="296" y="135"/>
                  </a:lnTo>
                  <a:lnTo>
                    <a:pt x="289" y="113"/>
                  </a:lnTo>
                  <a:lnTo>
                    <a:pt x="286" y="85"/>
                  </a:lnTo>
                  <a:lnTo>
                    <a:pt x="263" y="78"/>
                  </a:lnTo>
                  <a:lnTo>
                    <a:pt x="227" y="40"/>
                  </a:lnTo>
                  <a:lnTo>
                    <a:pt x="227" y="0"/>
                  </a:lnTo>
                  <a:lnTo>
                    <a:pt x="227" y="0"/>
                  </a:lnTo>
                  <a:lnTo>
                    <a:pt x="97" y="0"/>
                  </a:lnTo>
                  <a:lnTo>
                    <a:pt x="97" y="0"/>
                  </a:lnTo>
                  <a:lnTo>
                    <a:pt x="0" y="0"/>
                  </a:lnTo>
                  <a:lnTo>
                    <a:pt x="0" y="21"/>
                  </a:lnTo>
                  <a:lnTo>
                    <a:pt x="10" y="52"/>
                  </a:lnTo>
                  <a:lnTo>
                    <a:pt x="10" y="149"/>
                  </a:lnTo>
                  <a:lnTo>
                    <a:pt x="19" y="168"/>
                  </a:lnTo>
                  <a:lnTo>
                    <a:pt x="19" y="182"/>
                  </a:lnTo>
                  <a:lnTo>
                    <a:pt x="33" y="213"/>
                  </a:lnTo>
                  <a:lnTo>
                    <a:pt x="33" y="274"/>
                  </a:lnTo>
                  <a:lnTo>
                    <a:pt x="48" y="312"/>
                  </a:lnTo>
                  <a:lnTo>
                    <a:pt x="48" y="511"/>
                  </a:lnTo>
                  <a:lnTo>
                    <a:pt x="50" y="514"/>
                  </a:lnTo>
                  <a:lnTo>
                    <a:pt x="59" y="530"/>
                  </a:lnTo>
                  <a:lnTo>
                    <a:pt x="81" y="542"/>
                  </a:lnTo>
                  <a:lnTo>
                    <a:pt x="182" y="542"/>
                  </a:lnTo>
                  <a:lnTo>
                    <a:pt x="206" y="561"/>
                  </a:lnTo>
                  <a:lnTo>
                    <a:pt x="350" y="561"/>
                  </a:lnTo>
                  <a:lnTo>
                    <a:pt x="364" y="537"/>
                  </a:lnTo>
                  <a:lnTo>
                    <a:pt x="372" y="530"/>
                  </a:lnTo>
                  <a:lnTo>
                    <a:pt x="388" y="523"/>
                  </a:lnTo>
                  <a:lnTo>
                    <a:pt x="443" y="407"/>
                  </a:lnTo>
                  <a:lnTo>
                    <a:pt x="452" y="407"/>
                  </a:lnTo>
                  <a:lnTo>
                    <a:pt x="443" y="398"/>
                  </a:lnTo>
                  <a:lnTo>
                    <a:pt x="452" y="398"/>
                  </a:lnTo>
                  <a:lnTo>
                    <a:pt x="461" y="388"/>
                  </a:lnTo>
                  <a:lnTo>
                    <a:pt x="469" y="388"/>
                  </a:lnTo>
                  <a:lnTo>
                    <a:pt x="478" y="379"/>
                  </a:lnTo>
                  <a:lnTo>
                    <a:pt x="478" y="376"/>
                  </a:lnTo>
                  <a:lnTo>
                    <a:pt x="473" y="372"/>
                  </a:lnTo>
                  <a:lnTo>
                    <a:pt x="469" y="367"/>
                  </a:lnTo>
                  <a:lnTo>
                    <a:pt x="469" y="367"/>
                  </a:lnTo>
                  <a:lnTo>
                    <a:pt x="469" y="367"/>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45" name="Florida">
              <a:extLst>
                <a:ext uri="{FF2B5EF4-FFF2-40B4-BE49-F238E27FC236}">
                  <a16:creationId xmlns:a16="http://schemas.microsoft.com/office/drawing/2014/main" id="{35057D72-A4B3-5FCC-993A-A0B818146762}"/>
                </a:ext>
              </a:extLst>
            </p:cNvPr>
            <p:cNvSpPr>
              <a:spLocks/>
            </p:cNvSpPr>
            <p:nvPr/>
          </p:nvSpPr>
          <p:spPr bwMode="auto">
            <a:xfrm>
              <a:off x="7774455" y="4497080"/>
              <a:ext cx="1146875" cy="1024831"/>
            </a:xfrm>
            <a:custGeom>
              <a:avLst/>
              <a:gdLst>
                <a:gd name="T0" fmla="*/ 520 w 686"/>
                <a:gd name="T1" fmla="*/ 47 h 613"/>
                <a:gd name="T2" fmla="*/ 352 w 686"/>
                <a:gd name="T3" fmla="*/ 28 h 613"/>
                <a:gd name="T4" fmla="*/ 229 w 686"/>
                <a:gd name="T5" fmla="*/ 16 h 613"/>
                <a:gd name="T6" fmla="*/ 220 w 686"/>
                <a:gd name="T7" fmla="*/ 7 h 613"/>
                <a:gd name="T8" fmla="*/ 0 w 686"/>
                <a:gd name="T9" fmla="*/ 80 h 613"/>
                <a:gd name="T10" fmla="*/ 31 w 686"/>
                <a:gd name="T11" fmla="*/ 59 h 613"/>
                <a:gd name="T12" fmla="*/ 50 w 686"/>
                <a:gd name="T13" fmla="*/ 49 h 613"/>
                <a:gd name="T14" fmla="*/ 113 w 686"/>
                <a:gd name="T15" fmla="*/ 59 h 613"/>
                <a:gd name="T16" fmla="*/ 123 w 686"/>
                <a:gd name="T17" fmla="*/ 68 h 613"/>
                <a:gd name="T18" fmla="*/ 113 w 686"/>
                <a:gd name="T19" fmla="*/ 78 h 613"/>
                <a:gd name="T20" fmla="*/ 206 w 686"/>
                <a:gd name="T21" fmla="*/ 132 h 613"/>
                <a:gd name="T22" fmla="*/ 260 w 686"/>
                <a:gd name="T23" fmla="*/ 132 h 613"/>
                <a:gd name="T24" fmla="*/ 298 w 686"/>
                <a:gd name="T25" fmla="*/ 113 h 613"/>
                <a:gd name="T26" fmla="*/ 307 w 686"/>
                <a:gd name="T27" fmla="*/ 106 h 613"/>
                <a:gd name="T28" fmla="*/ 345 w 686"/>
                <a:gd name="T29" fmla="*/ 106 h 613"/>
                <a:gd name="T30" fmla="*/ 381 w 686"/>
                <a:gd name="T31" fmla="*/ 142 h 613"/>
                <a:gd name="T32" fmla="*/ 390 w 686"/>
                <a:gd name="T33" fmla="*/ 161 h 613"/>
                <a:gd name="T34" fmla="*/ 437 w 686"/>
                <a:gd name="T35" fmla="*/ 199 h 613"/>
                <a:gd name="T36" fmla="*/ 445 w 686"/>
                <a:gd name="T37" fmla="*/ 336 h 613"/>
                <a:gd name="T38" fmla="*/ 454 w 686"/>
                <a:gd name="T39" fmla="*/ 327 h 613"/>
                <a:gd name="T40" fmla="*/ 454 w 686"/>
                <a:gd name="T41" fmla="*/ 364 h 613"/>
                <a:gd name="T42" fmla="*/ 492 w 686"/>
                <a:gd name="T43" fmla="*/ 438 h 613"/>
                <a:gd name="T44" fmla="*/ 511 w 686"/>
                <a:gd name="T45" fmla="*/ 457 h 613"/>
                <a:gd name="T46" fmla="*/ 511 w 686"/>
                <a:gd name="T47" fmla="*/ 476 h 613"/>
                <a:gd name="T48" fmla="*/ 546 w 686"/>
                <a:gd name="T49" fmla="*/ 540 h 613"/>
                <a:gd name="T50" fmla="*/ 575 w 686"/>
                <a:gd name="T51" fmla="*/ 549 h 613"/>
                <a:gd name="T52" fmla="*/ 584 w 686"/>
                <a:gd name="T53" fmla="*/ 604 h 613"/>
                <a:gd name="T54" fmla="*/ 594 w 686"/>
                <a:gd name="T55" fmla="*/ 613 h 613"/>
                <a:gd name="T56" fmla="*/ 657 w 686"/>
                <a:gd name="T57" fmla="*/ 594 h 613"/>
                <a:gd name="T58" fmla="*/ 676 w 686"/>
                <a:gd name="T59" fmla="*/ 594 h 613"/>
                <a:gd name="T60" fmla="*/ 686 w 686"/>
                <a:gd name="T61" fmla="*/ 521 h 613"/>
                <a:gd name="T62" fmla="*/ 639 w 686"/>
                <a:gd name="T63" fmla="*/ 308 h 613"/>
                <a:gd name="T64" fmla="*/ 556 w 686"/>
                <a:gd name="T65" fmla="*/ 49 h 613"/>
                <a:gd name="T66" fmla="*/ 556 w 686"/>
                <a:gd name="T67" fmla="*/ 14 h 613"/>
                <a:gd name="T68" fmla="*/ 542 w 686"/>
                <a:gd name="T69" fmla="*/ 16 h 613"/>
                <a:gd name="T70" fmla="*/ 534 w 686"/>
                <a:gd name="T71" fmla="*/ 2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6" h="613">
                  <a:moveTo>
                    <a:pt x="534" y="23"/>
                  </a:moveTo>
                  <a:lnTo>
                    <a:pt x="520" y="47"/>
                  </a:lnTo>
                  <a:lnTo>
                    <a:pt x="376" y="47"/>
                  </a:lnTo>
                  <a:lnTo>
                    <a:pt x="352" y="28"/>
                  </a:lnTo>
                  <a:lnTo>
                    <a:pt x="251" y="28"/>
                  </a:lnTo>
                  <a:lnTo>
                    <a:pt x="229" y="16"/>
                  </a:lnTo>
                  <a:lnTo>
                    <a:pt x="220" y="0"/>
                  </a:lnTo>
                  <a:lnTo>
                    <a:pt x="220" y="7"/>
                  </a:lnTo>
                  <a:lnTo>
                    <a:pt x="0" y="7"/>
                  </a:lnTo>
                  <a:lnTo>
                    <a:pt x="0" y="80"/>
                  </a:lnTo>
                  <a:lnTo>
                    <a:pt x="21" y="78"/>
                  </a:lnTo>
                  <a:lnTo>
                    <a:pt x="31" y="59"/>
                  </a:lnTo>
                  <a:lnTo>
                    <a:pt x="40" y="59"/>
                  </a:lnTo>
                  <a:lnTo>
                    <a:pt x="50" y="49"/>
                  </a:lnTo>
                  <a:lnTo>
                    <a:pt x="50" y="68"/>
                  </a:lnTo>
                  <a:lnTo>
                    <a:pt x="113" y="59"/>
                  </a:lnTo>
                  <a:lnTo>
                    <a:pt x="123" y="59"/>
                  </a:lnTo>
                  <a:lnTo>
                    <a:pt x="123" y="68"/>
                  </a:lnTo>
                  <a:lnTo>
                    <a:pt x="113" y="68"/>
                  </a:lnTo>
                  <a:lnTo>
                    <a:pt x="113" y="78"/>
                  </a:lnTo>
                  <a:lnTo>
                    <a:pt x="187" y="106"/>
                  </a:lnTo>
                  <a:lnTo>
                    <a:pt x="206" y="132"/>
                  </a:lnTo>
                  <a:lnTo>
                    <a:pt x="215" y="142"/>
                  </a:lnTo>
                  <a:lnTo>
                    <a:pt x="260" y="132"/>
                  </a:lnTo>
                  <a:lnTo>
                    <a:pt x="279" y="113"/>
                  </a:lnTo>
                  <a:lnTo>
                    <a:pt x="298" y="113"/>
                  </a:lnTo>
                  <a:lnTo>
                    <a:pt x="298" y="106"/>
                  </a:lnTo>
                  <a:lnTo>
                    <a:pt x="307" y="106"/>
                  </a:lnTo>
                  <a:lnTo>
                    <a:pt x="317" y="106"/>
                  </a:lnTo>
                  <a:lnTo>
                    <a:pt x="345" y="106"/>
                  </a:lnTo>
                  <a:lnTo>
                    <a:pt x="371" y="142"/>
                  </a:lnTo>
                  <a:lnTo>
                    <a:pt x="381" y="142"/>
                  </a:lnTo>
                  <a:lnTo>
                    <a:pt x="381" y="161"/>
                  </a:lnTo>
                  <a:lnTo>
                    <a:pt x="390" y="161"/>
                  </a:lnTo>
                  <a:lnTo>
                    <a:pt x="419" y="189"/>
                  </a:lnTo>
                  <a:lnTo>
                    <a:pt x="437" y="199"/>
                  </a:lnTo>
                  <a:lnTo>
                    <a:pt x="445" y="208"/>
                  </a:lnTo>
                  <a:lnTo>
                    <a:pt x="445" y="336"/>
                  </a:lnTo>
                  <a:lnTo>
                    <a:pt x="454" y="336"/>
                  </a:lnTo>
                  <a:lnTo>
                    <a:pt x="454" y="327"/>
                  </a:lnTo>
                  <a:lnTo>
                    <a:pt x="464" y="327"/>
                  </a:lnTo>
                  <a:lnTo>
                    <a:pt x="454" y="364"/>
                  </a:lnTo>
                  <a:lnTo>
                    <a:pt x="464" y="383"/>
                  </a:lnTo>
                  <a:lnTo>
                    <a:pt x="492" y="438"/>
                  </a:lnTo>
                  <a:lnTo>
                    <a:pt x="511" y="428"/>
                  </a:lnTo>
                  <a:lnTo>
                    <a:pt x="511" y="457"/>
                  </a:lnTo>
                  <a:lnTo>
                    <a:pt x="520" y="457"/>
                  </a:lnTo>
                  <a:lnTo>
                    <a:pt x="511" y="476"/>
                  </a:lnTo>
                  <a:lnTo>
                    <a:pt x="539" y="530"/>
                  </a:lnTo>
                  <a:lnTo>
                    <a:pt x="546" y="540"/>
                  </a:lnTo>
                  <a:lnTo>
                    <a:pt x="565" y="540"/>
                  </a:lnTo>
                  <a:lnTo>
                    <a:pt x="575" y="549"/>
                  </a:lnTo>
                  <a:lnTo>
                    <a:pt x="584" y="587"/>
                  </a:lnTo>
                  <a:lnTo>
                    <a:pt x="584" y="604"/>
                  </a:lnTo>
                  <a:lnTo>
                    <a:pt x="594" y="604"/>
                  </a:lnTo>
                  <a:lnTo>
                    <a:pt x="594" y="613"/>
                  </a:lnTo>
                  <a:lnTo>
                    <a:pt x="631" y="613"/>
                  </a:lnTo>
                  <a:lnTo>
                    <a:pt x="657" y="594"/>
                  </a:lnTo>
                  <a:lnTo>
                    <a:pt x="667" y="604"/>
                  </a:lnTo>
                  <a:lnTo>
                    <a:pt x="676" y="594"/>
                  </a:lnTo>
                  <a:lnTo>
                    <a:pt x="667" y="587"/>
                  </a:lnTo>
                  <a:lnTo>
                    <a:pt x="686" y="521"/>
                  </a:lnTo>
                  <a:lnTo>
                    <a:pt x="686" y="428"/>
                  </a:lnTo>
                  <a:lnTo>
                    <a:pt x="639" y="308"/>
                  </a:lnTo>
                  <a:lnTo>
                    <a:pt x="639" y="263"/>
                  </a:lnTo>
                  <a:lnTo>
                    <a:pt x="556" y="49"/>
                  </a:lnTo>
                  <a:lnTo>
                    <a:pt x="556" y="40"/>
                  </a:lnTo>
                  <a:lnTo>
                    <a:pt x="556" y="14"/>
                  </a:lnTo>
                  <a:lnTo>
                    <a:pt x="558" y="9"/>
                  </a:lnTo>
                  <a:lnTo>
                    <a:pt x="542" y="16"/>
                  </a:lnTo>
                  <a:lnTo>
                    <a:pt x="534" y="23"/>
                  </a:lnTo>
                  <a:lnTo>
                    <a:pt x="534" y="23"/>
                  </a:lnTo>
                  <a:lnTo>
                    <a:pt x="534" y="23"/>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46" name="Delaware">
              <a:extLst>
                <a:ext uri="{FF2B5EF4-FFF2-40B4-BE49-F238E27FC236}">
                  <a16:creationId xmlns:a16="http://schemas.microsoft.com/office/drawing/2014/main" id="{7F07D4B2-0539-9599-1ACC-A1551244B22B}"/>
                </a:ext>
              </a:extLst>
            </p:cNvPr>
            <p:cNvSpPr>
              <a:spLocks/>
            </p:cNvSpPr>
            <p:nvPr/>
          </p:nvSpPr>
          <p:spPr bwMode="auto">
            <a:xfrm>
              <a:off x="9608451" y="2888888"/>
              <a:ext cx="107288" cy="213887"/>
            </a:xfrm>
            <a:custGeom>
              <a:avLst/>
              <a:gdLst>
                <a:gd name="connsiteX0" fmla="*/ 15489 w 107288"/>
                <a:gd name="connsiteY0" fmla="*/ 0 h 213887"/>
                <a:gd name="connsiteX1" fmla="*/ 23032 w 107288"/>
                <a:gd name="connsiteY1" fmla="*/ 10620 h 213887"/>
                <a:gd name="connsiteX2" fmla="*/ 19868 w 107288"/>
                <a:gd name="connsiteY2" fmla="*/ 7727 h 213887"/>
                <a:gd name="connsiteX3" fmla="*/ 19868 w 107288"/>
                <a:gd name="connsiteY3" fmla="*/ 39444 h 213887"/>
                <a:gd name="connsiteX4" fmla="*/ 107288 w 107288"/>
                <a:gd name="connsiteY4" fmla="*/ 209923 h 213887"/>
                <a:gd name="connsiteX5" fmla="*/ 107288 w 107288"/>
                <a:gd name="connsiteY5" fmla="*/ 213887 h 213887"/>
                <a:gd name="connsiteX6" fmla="*/ 0 w 107288"/>
                <a:gd name="connsiteY6" fmla="*/ 213887 h 213887"/>
                <a:gd name="connsiteX7" fmla="*/ 0 w 107288"/>
                <a:gd name="connsiteY7" fmla="*/ 7727 h 2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88" h="213887">
                  <a:moveTo>
                    <a:pt x="15489" y="0"/>
                  </a:moveTo>
                  <a:lnTo>
                    <a:pt x="23032" y="10620"/>
                  </a:lnTo>
                  <a:lnTo>
                    <a:pt x="19868" y="7727"/>
                  </a:lnTo>
                  <a:cubicBezTo>
                    <a:pt x="19868" y="7727"/>
                    <a:pt x="19868" y="7727"/>
                    <a:pt x="19868" y="39444"/>
                  </a:cubicBezTo>
                  <a:cubicBezTo>
                    <a:pt x="19868" y="39444"/>
                    <a:pt x="19868" y="39444"/>
                    <a:pt x="107288" y="209923"/>
                  </a:cubicBezTo>
                  <a:cubicBezTo>
                    <a:pt x="107288" y="209923"/>
                    <a:pt x="107288" y="209923"/>
                    <a:pt x="107288" y="213887"/>
                  </a:cubicBezTo>
                  <a:cubicBezTo>
                    <a:pt x="107288" y="213887"/>
                    <a:pt x="107288" y="213887"/>
                    <a:pt x="0" y="213887"/>
                  </a:cubicBezTo>
                  <a:cubicBezTo>
                    <a:pt x="0" y="213887"/>
                    <a:pt x="0" y="213887"/>
                    <a:pt x="0" y="7727"/>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p>
          </p:txBody>
        </p:sp>
        <p:sp>
          <p:nvSpPr>
            <p:cNvPr id="47" name="Connecticut">
              <a:extLst>
                <a:ext uri="{FF2B5EF4-FFF2-40B4-BE49-F238E27FC236}">
                  <a16:creationId xmlns:a16="http://schemas.microsoft.com/office/drawing/2014/main" id="{F42746C2-103E-20D0-6A5E-B536D9860303}"/>
                </a:ext>
              </a:extLst>
            </p:cNvPr>
            <p:cNvSpPr>
              <a:spLocks/>
            </p:cNvSpPr>
            <p:nvPr/>
          </p:nvSpPr>
          <p:spPr bwMode="auto">
            <a:xfrm>
              <a:off x="9984613" y="2408967"/>
              <a:ext cx="225697" cy="187245"/>
            </a:xfrm>
            <a:custGeom>
              <a:avLst/>
              <a:gdLst>
                <a:gd name="T0" fmla="*/ 57 w 57"/>
                <a:gd name="T1" fmla="*/ 0 h 47"/>
                <a:gd name="T2" fmla="*/ 57 w 57"/>
                <a:gd name="T3" fmla="*/ 0 h 47"/>
                <a:gd name="T4" fmla="*/ 8 w 57"/>
                <a:gd name="T5" fmla="*/ 0 h 47"/>
                <a:gd name="T6" fmla="*/ 7 w 57"/>
                <a:gd name="T7" fmla="*/ 31 h 47"/>
                <a:gd name="T8" fmla="*/ 7 w 57"/>
                <a:gd name="T9" fmla="*/ 32 h 47"/>
                <a:gd name="T10" fmla="*/ 0 w 57"/>
                <a:gd name="T11" fmla="*/ 37 h 47"/>
                <a:gd name="T12" fmla="*/ 0 w 57"/>
                <a:gd name="T13" fmla="*/ 47 h 47"/>
                <a:gd name="T14" fmla="*/ 8 w 57"/>
                <a:gd name="T15" fmla="*/ 45 h 47"/>
                <a:gd name="T16" fmla="*/ 12 w 57"/>
                <a:gd name="T17" fmla="*/ 41 h 47"/>
                <a:gd name="T18" fmla="*/ 16 w 57"/>
                <a:gd name="T19" fmla="*/ 37 h 47"/>
                <a:gd name="T20" fmla="*/ 28 w 57"/>
                <a:gd name="T21" fmla="*/ 41 h 47"/>
                <a:gd name="T22" fmla="*/ 56 w 57"/>
                <a:gd name="T23" fmla="*/ 36 h 47"/>
                <a:gd name="T24" fmla="*/ 57 w 57"/>
                <a:gd name="T25" fmla="*/ 35 h 47"/>
                <a:gd name="T26" fmla="*/ 57 w 57"/>
                <a:gd name="T27" fmla="*/ 1 h 47"/>
                <a:gd name="T28" fmla="*/ 57 w 57"/>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47">
                  <a:moveTo>
                    <a:pt x="57" y="0"/>
                  </a:moveTo>
                  <a:cubicBezTo>
                    <a:pt x="57" y="0"/>
                    <a:pt x="57" y="0"/>
                    <a:pt x="57" y="0"/>
                  </a:cubicBezTo>
                  <a:cubicBezTo>
                    <a:pt x="8" y="0"/>
                    <a:pt x="8" y="0"/>
                    <a:pt x="8" y="0"/>
                  </a:cubicBezTo>
                  <a:cubicBezTo>
                    <a:pt x="8" y="14"/>
                    <a:pt x="7" y="28"/>
                    <a:pt x="7" y="31"/>
                  </a:cubicBezTo>
                  <a:cubicBezTo>
                    <a:pt x="7" y="32"/>
                    <a:pt x="7" y="32"/>
                    <a:pt x="7" y="32"/>
                  </a:cubicBezTo>
                  <a:cubicBezTo>
                    <a:pt x="0" y="37"/>
                    <a:pt x="0" y="37"/>
                    <a:pt x="0" y="37"/>
                  </a:cubicBezTo>
                  <a:cubicBezTo>
                    <a:pt x="0" y="47"/>
                    <a:pt x="0" y="47"/>
                    <a:pt x="0" y="47"/>
                  </a:cubicBezTo>
                  <a:cubicBezTo>
                    <a:pt x="8" y="45"/>
                    <a:pt x="8" y="45"/>
                    <a:pt x="8" y="45"/>
                  </a:cubicBezTo>
                  <a:cubicBezTo>
                    <a:pt x="12" y="41"/>
                    <a:pt x="12" y="41"/>
                    <a:pt x="12" y="41"/>
                  </a:cubicBezTo>
                  <a:cubicBezTo>
                    <a:pt x="16" y="37"/>
                    <a:pt x="16" y="37"/>
                    <a:pt x="16" y="37"/>
                  </a:cubicBezTo>
                  <a:cubicBezTo>
                    <a:pt x="28" y="41"/>
                    <a:pt x="28" y="41"/>
                    <a:pt x="28" y="41"/>
                  </a:cubicBezTo>
                  <a:cubicBezTo>
                    <a:pt x="56" y="36"/>
                    <a:pt x="56" y="36"/>
                    <a:pt x="56" y="36"/>
                  </a:cubicBezTo>
                  <a:cubicBezTo>
                    <a:pt x="57" y="35"/>
                    <a:pt x="57" y="35"/>
                    <a:pt x="57" y="35"/>
                  </a:cubicBezTo>
                  <a:cubicBezTo>
                    <a:pt x="57" y="1"/>
                    <a:pt x="57" y="1"/>
                    <a:pt x="57" y="1"/>
                  </a:cubicBezTo>
                  <a:lnTo>
                    <a:pt x="57"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48" name="Colorado">
              <a:extLst>
                <a:ext uri="{FF2B5EF4-FFF2-40B4-BE49-F238E27FC236}">
                  <a16:creationId xmlns:a16="http://schemas.microsoft.com/office/drawing/2014/main" id="{2B420220-1134-E6C5-AF33-7A8FE13B5D62}"/>
                </a:ext>
              </a:extLst>
            </p:cNvPr>
            <p:cNvSpPr>
              <a:spLocks/>
            </p:cNvSpPr>
            <p:nvPr/>
          </p:nvSpPr>
          <p:spPr bwMode="auto">
            <a:xfrm>
              <a:off x="4504358" y="2449091"/>
              <a:ext cx="1063283" cy="740620"/>
            </a:xfrm>
            <a:custGeom>
              <a:avLst/>
              <a:gdLst>
                <a:gd name="T0" fmla="*/ 634 w 636"/>
                <a:gd name="T1" fmla="*/ 102 h 443"/>
                <a:gd name="T2" fmla="*/ 634 w 636"/>
                <a:gd name="T3" fmla="*/ 100 h 443"/>
                <a:gd name="T4" fmla="*/ 636 w 636"/>
                <a:gd name="T5" fmla="*/ 100 h 443"/>
                <a:gd name="T6" fmla="*/ 636 w 636"/>
                <a:gd name="T7" fmla="*/ 0 h 443"/>
                <a:gd name="T8" fmla="*/ 440 w 636"/>
                <a:gd name="T9" fmla="*/ 0 h 443"/>
                <a:gd name="T10" fmla="*/ 2 w 636"/>
                <a:gd name="T11" fmla="*/ 0 h 443"/>
                <a:gd name="T12" fmla="*/ 0 w 636"/>
                <a:gd name="T13" fmla="*/ 0 h 443"/>
                <a:gd name="T14" fmla="*/ 0 w 636"/>
                <a:gd name="T15" fmla="*/ 441 h 443"/>
                <a:gd name="T16" fmla="*/ 0 w 636"/>
                <a:gd name="T17" fmla="*/ 443 h 443"/>
                <a:gd name="T18" fmla="*/ 2 w 636"/>
                <a:gd name="T19" fmla="*/ 443 h 443"/>
                <a:gd name="T20" fmla="*/ 539 w 636"/>
                <a:gd name="T21" fmla="*/ 443 h 443"/>
                <a:gd name="T22" fmla="*/ 634 w 636"/>
                <a:gd name="T23" fmla="*/ 443 h 443"/>
                <a:gd name="T24" fmla="*/ 634 w 636"/>
                <a:gd name="T25" fmla="*/ 102 h 443"/>
                <a:gd name="T26" fmla="*/ 634 w 636"/>
                <a:gd name="T27" fmla="*/ 102 h 443"/>
                <a:gd name="T28" fmla="*/ 634 w 636"/>
                <a:gd name="T29" fmla="*/ 10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6" h="443">
                  <a:moveTo>
                    <a:pt x="634" y="102"/>
                  </a:moveTo>
                  <a:lnTo>
                    <a:pt x="634" y="100"/>
                  </a:lnTo>
                  <a:lnTo>
                    <a:pt x="636" y="100"/>
                  </a:lnTo>
                  <a:lnTo>
                    <a:pt x="636" y="0"/>
                  </a:lnTo>
                  <a:lnTo>
                    <a:pt x="440" y="0"/>
                  </a:lnTo>
                  <a:lnTo>
                    <a:pt x="2" y="0"/>
                  </a:lnTo>
                  <a:lnTo>
                    <a:pt x="0" y="0"/>
                  </a:lnTo>
                  <a:lnTo>
                    <a:pt x="0" y="441"/>
                  </a:lnTo>
                  <a:lnTo>
                    <a:pt x="0" y="443"/>
                  </a:lnTo>
                  <a:lnTo>
                    <a:pt x="2" y="443"/>
                  </a:lnTo>
                  <a:lnTo>
                    <a:pt x="539" y="443"/>
                  </a:lnTo>
                  <a:lnTo>
                    <a:pt x="634" y="443"/>
                  </a:lnTo>
                  <a:lnTo>
                    <a:pt x="634" y="102"/>
                  </a:lnTo>
                  <a:lnTo>
                    <a:pt x="634" y="102"/>
                  </a:lnTo>
                  <a:lnTo>
                    <a:pt x="634" y="10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49" name="California">
              <a:extLst>
                <a:ext uri="{FF2B5EF4-FFF2-40B4-BE49-F238E27FC236}">
                  <a16:creationId xmlns:a16="http://schemas.microsoft.com/office/drawing/2014/main" id="{804ACFB3-5DBC-02B5-72FE-91B37EF400B7}"/>
                </a:ext>
              </a:extLst>
            </p:cNvPr>
            <p:cNvSpPr>
              <a:spLocks/>
            </p:cNvSpPr>
            <p:nvPr/>
          </p:nvSpPr>
          <p:spPr bwMode="auto">
            <a:xfrm>
              <a:off x="2130361" y="2223394"/>
              <a:ext cx="1546442" cy="2016225"/>
            </a:xfrm>
            <a:custGeom>
              <a:avLst/>
              <a:gdLst>
                <a:gd name="T0" fmla="*/ 387 w 391"/>
                <a:gd name="T1" fmla="*/ 493 h 509"/>
                <a:gd name="T2" fmla="*/ 387 w 391"/>
                <a:gd name="T3" fmla="*/ 471 h 509"/>
                <a:gd name="T4" fmla="*/ 391 w 391"/>
                <a:gd name="T5" fmla="*/ 459 h 509"/>
                <a:gd name="T6" fmla="*/ 391 w 391"/>
                <a:gd name="T7" fmla="*/ 455 h 509"/>
                <a:gd name="T8" fmla="*/ 384 w 391"/>
                <a:gd name="T9" fmla="*/ 439 h 509"/>
                <a:gd name="T10" fmla="*/ 384 w 391"/>
                <a:gd name="T11" fmla="*/ 421 h 509"/>
                <a:gd name="T12" fmla="*/ 384 w 391"/>
                <a:gd name="T13" fmla="*/ 411 h 509"/>
                <a:gd name="T14" fmla="*/ 386 w 391"/>
                <a:gd name="T15" fmla="*/ 400 h 509"/>
                <a:gd name="T16" fmla="*/ 387 w 391"/>
                <a:gd name="T17" fmla="*/ 390 h 509"/>
                <a:gd name="T18" fmla="*/ 386 w 391"/>
                <a:gd name="T19" fmla="*/ 357 h 509"/>
                <a:gd name="T20" fmla="*/ 169 w 391"/>
                <a:gd name="T21" fmla="*/ 142 h 509"/>
                <a:gd name="T22" fmla="*/ 0 w 391"/>
                <a:gd name="T23" fmla="*/ 0 h 509"/>
                <a:gd name="T24" fmla="*/ 15 w 391"/>
                <a:gd name="T25" fmla="*/ 80 h 509"/>
                <a:gd name="T26" fmla="*/ 4 w 391"/>
                <a:gd name="T27" fmla="*/ 123 h 509"/>
                <a:gd name="T28" fmla="*/ 11 w 391"/>
                <a:gd name="T29" fmla="*/ 139 h 509"/>
                <a:gd name="T30" fmla="*/ 27 w 391"/>
                <a:gd name="T31" fmla="*/ 170 h 509"/>
                <a:gd name="T32" fmla="*/ 35 w 391"/>
                <a:gd name="T33" fmla="*/ 209 h 509"/>
                <a:gd name="T34" fmla="*/ 58 w 391"/>
                <a:gd name="T35" fmla="*/ 236 h 509"/>
                <a:gd name="T36" fmla="*/ 58 w 391"/>
                <a:gd name="T37" fmla="*/ 248 h 509"/>
                <a:gd name="T38" fmla="*/ 70 w 391"/>
                <a:gd name="T39" fmla="*/ 252 h 509"/>
                <a:gd name="T40" fmla="*/ 74 w 391"/>
                <a:gd name="T41" fmla="*/ 252 h 509"/>
                <a:gd name="T42" fmla="*/ 78 w 391"/>
                <a:gd name="T43" fmla="*/ 240 h 509"/>
                <a:gd name="T44" fmla="*/ 97 w 391"/>
                <a:gd name="T45" fmla="*/ 244 h 509"/>
                <a:gd name="T46" fmla="*/ 86 w 391"/>
                <a:gd name="T47" fmla="*/ 248 h 509"/>
                <a:gd name="T48" fmla="*/ 86 w 391"/>
                <a:gd name="T49" fmla="*/ 256 h 509"/>
                <a:gd name="T50" fmla="*/ 93 w 391"/>
                <a:gd name="T51" fmla="*/ 271 h 509"/>
                <a:gd name="T52" fmla="*/ 82 w 391"/>
                <a:gd name="T53" fmla="*/ 260 h 509"/>
                <a:gd name="T54" fmla="*/ 78 w 391"/>
                <a:gd name="T55" fmla="*/ 263 h 509"/>
                <a:gd name="T56" fmla="*/ 89 w 391"/>
                <a:gd name="T57" fmla="*/ 299 h 509"/>
                <a:gd name="T58" fmla="*/ 105 w 391"/>
                <a:gd name="T59" fmla="*/ 306 h 509"/>
                <a:gd name="T60" fmla="*/ 97 w 391"/>
                <a:gd name="T61" fmla="*/ 318 h 509"/>
                <a:gd name="T62" fmla="*/ 136 w 391"/>
                <a:gd name="T63" fmla="*/ 369 h 509"/>
                <a:gd name="T64" fmla="*/ 140 w 391"/>
                <a:gd name="T65" fmla="*/ 381 h 509"/>
                <a:gd name="T66" fmla="*/ 148 w 391"/>
                <a:gd name="T67" fmla="*/ 388 h 509"/>
                <a:gd name="T68" fmla="*/ 148 w 391"/>
                <a:gd name="T69" fmla="*/ 396 h 509"/>
                <a:gd name="T70" fmla="*/ 152 w 391"/>
                <a:gd name="T71" fmla="*/ 416 h 509"/>
                <a:gd name="T72" fmla="*/ 179 w 391"/>
                <a:gd name="T73" fmla="*/ 423 h 509"/>
                <a:gd name="T74" fmla="*/ 187 w 391"/>
                <a:gd name="T75" fmla="*/ 420 h 509"/>
                <a:gd name="T76" fmla="*/ 203 w 391"/>
                <a:gd name="T77" fmla="*/ 431 h 509"/>
                <a:gd name="T78" fmla="*/ 222 w 391"/>
                <a:gd name="T79" fmla="*/ 439 h 509"/>
                <a:gd name="T80" fmla="*/ 226 w 391"/>
                <a:gd name="T81" fmla="*/ 435 h 509"/>
                <a:gd name="T82" fmla="*/ 234 w 391"/>
                <a:gd name="T83" fmla="*/ 443 h 509"/>
                <a:gd name="T84" fmla="*/ 246 w 391"/>
                <a:gd name="T85" fmla="*/ 455 h 509"/>
                <a:gd name="T86" fmla="*/ 281 w 391"/>
                <a:gd name="T87" fmla="*/ 486 h 509"/>
                <a:gd name="T88" fmla="*/ 285 w 391"/>
                <a:gd name="T89" fmla="*/ 509 h 509"/>
                <a:gd name="T90" fmla="*/ 374 w 391"/>
                <a:gd name="T91" fmla="*/ 505 h 509"/>
                <a:gd name="T92" fmla="*/ 387 w 391"/>
                <a:gd name="T93" fmla="*/ 50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1" h="509">
                  <a:moveTo>
                    <a:pt x="388" y="495"/>
                  </a:moveTo>
                  <a:cubicBezTo>
                    <a:pt x="388" y="495"/>
                    <a:pt x="387" y="494"/>
                    <a:pt x="387" y="493"/>
                  </a:cubicBezTo>
                  <a:cubicBezTo>
                    <a:pt x="386" y="489"/>
                    <a:pt x="387" y="481"/>
                    <a:pt x="387" y="481"/>
                  </a:cubicBezTo>
                  <a:cubicBezTo>
                    <a:pt x="387" y="481"/>
                    <a:pt x="389" y="474"/>
                    <a:pt x="387" y="471"/>
                  </a:cubicBezTo>
                  <a:cubicBezTo>
                    <a:pt x="386" y="470"/>
                    <a:pt x="387" y="468"/>
                    <a:pt x="389" y="465"/>
                  </a:cubicBezTo>
                  <a:cubicBezTo>
                    <a:pt x="390" y="463"/>
                    <a:pt x="391" y="461"/>
                    <a:pt x="391" y="459"/>
                  </a:cubicBezTo>
                  <a:cubicBezTo>
                    <a:pt x="391" y="458"/>
                    <a:pt x="391" y="457"/>
                    <a:pt x="391" y="456"/>
                  </a:cubicBezTo>
                  <a:cubicBezTo>
                    <a:pt x="391" y="455"/>
                    <a:pt x="391" y="455"/>
                    <a:pt x="391" y="455"/>
                  </a:cubicBezTo>
                  <a:cubicBezTo>
                    <a:pt x="391" y="449"/>
                    <a:pt x="391" y="449"/>
                    <a:pt x="391" y="449"/>
                  </a:cubicBezTo>
                  <a:cubicBezTo>
                    <a:pt x="384" y="439"/>
                    <a:pt x="384" y="439"/>
                    <a:pt x="384" y="439"/>
                  </a:cubicBezTo>
                  <a:cubicBezTo>
                    <a:pt x="384" y="422"/>
                    <a:pt x="384" y="422"/>
                    <a:pt x="384" y="422"/>
                  </a:cubicBezTo>
                  <a:cubicBezTo>
                    <a:pt x="384" y="421"/>
                    <a:pt x="384" y="421"/>
                    <a:pt x="384" y="421"/>
                  </a:cubicBezTo>
                  <a:cubicBezTo>
                    <a:pt x="383" y="421"/>
                    <a:pt x="383" y="421"/>
                    <a:pt x="383" y="421"/>
                  </a:cubicBezTo>
                  <a:cubicBezTo>
                    <a:pt x="383" y="420"/>
                    <a:pt x="382" y="420"/>
                    <a:pt x="384" y="411"/>
                  </a:cubicBezTo>
                  <a:cubicBezTo>
                    <a:pt x="386" y="401"/>
                    <a:pt x="386" y="401"/>
                    <a:pt x="386" y="401"/>
                  </a:cubicBezTo>
                  <a:cubicBezTo>
                    <a:pt x="386" y="400"/>
                    <a:pt x="386" y="400"/>
                    <a:pt x="386" y="400"/>
                  </a:cubicBezTo>
                  <a:cubicBezTo>
                    <a:pt x="385" y="399"/>
                    <a:pt x="385" y="399"/>
                    <a:pt x="385" y="399"/>
                  </a:cubicBezTo>
                  <a:cubicBezTo>
                    <a:pt x="385" y="399"/>
                    <a:pt x="384" y="398"/>
                    <a:pt x="387" y="390"/>
                  </a:cubicBezTo>
                  <a:cubicBezTo>
                    <a:pt x="391" y="378"/>
                    <a:pt x="391" y="378"/>
                    <a:pt x="391" y="378"/>
                  </a:cubicBezTo>
                  <a:cubicBezTo>
                    <a:pt x="386" y="357"/>
                    <a:pt x="386" y="357"/>
                    <a:pt x="386" y="357"/>
                  </a:cubicBezTo>
                  <a:cubicBezTo>
                    <a:pt x="386" y="357"/>
                    <a:pt x="386" y="357"/>
                    <a:pt x="386" y="357"/>
                  </a:cubicBezTo>
                  <a:cubicBezTo>
                    <a:pt x="169" y="142"/>
                    <a:pt x="169" y="142"/>
                    <a:pt x="169" y="142"/>
                  </a:cubicBezTo>
                  <a:cubicBezTo>
                    <a:pt x="169" y="0"/>
                    <a:pt x="169" y="0"/>
                    <a:pt x="169" y="0"/>
                  </a:cubicBezTo>
                  <a:cubicBezTo>
                    <a:pt x="0" y="0"/>
                    <a:pt x="0" y="0"/>
                    <a:pt x="0" y="0"/>
                  </a:cubicBezTo>
                  <a:cubicBezTo>
                    <a:pt x="0" y="2"/>
                    <a:pt x="0" y="2"/>
                    <a:pt x="0" y="2"/>
                  </a:cubicBezTo>
                  <a:cubicBezTo>
                    <a:pt x="15" y="80"/>
                    <a:pt x="15" y="80"/>
                    <a:pt x="15" y="80"/>
                  </a:cubicBezTo>
                  <a:cubicBezTo>
                    <a:pt x="15" y="107"/>
                    <a:pt x="15" y="107"/>
                    <a:pt x="15" y="107"/>
                  </a:cubicBezTo>
                  <a:cubicBezTo>
                    <a:pt x="4" y="123"/>
                    <a:pt x="4" y="123"/>
                    <a:pt x="4" y="123"/>
                  </a:cubicBezTo>
                  <a:cubicBezTo>
                    <a:pt x="7" y="135"/>
                    <a:pt x="7" y="135"/>
                    <a:pt x="7" y="135"/>
                  </a:cubicBezTo>
                  <a:cubicBezTo>
                    <a:pt x="11" y="139"/>
                    <a:pt x="11" y="139"/>
                    <a:pt x="11" y="139"/>
                  </a:cubicBezTo>
                  <a:cubicBezTo>
                    <a:pt x="27" y="166"/>
                    <a:pt x="27" y="166"/>
                    <a:pt x="27" y="166"/>
                  </a:cubicBezTo>
                  <a:cubicBezTo>
                    <a:pt x="27" y="170"/>
                    <a:pt x="27" y="170"/>
                    <a:pt x="27" y="170"/>
                  </a:cubicBezTo>
                  <a:cubicBezTo>
                    <a:pt x="27" y="181"/>
                    <a:pt x="27" y="181"/>
                    <a:pt x="27" y="181"/>
                  </a:cubicBezTo>
                  <a:cubicBezTo>
                    <a:pt x="35" y="209"/>
                    <a:pt x="35" y="209"/>
                    <a:pt x="35" y="209"/>
                  </a:cubicBezTo>
                  <a:cubicBezTo>
                    <a:pt x="54" y="232"/>
                    <a:pt x="54" y="232"/>
                    <a:pt x="54" y="232"/>
                  </a:cubicBezTo>
                  <a:cubicBezTo>
                    <a:pt x="58" y="236"/>
                    <a:pt x="58" y="236"/>
                    <a:pt x="58" y="236"/>
                  </a:cubicBezTo>
                  <a:cubicBezTo>
                    <a:pt x="58" y="244"/>
                    <a:pt x="58" y="244"/>
                    <a:pt x="58" y="244"/>
                  </a:cubicBezTo>
                  <a:cubicBezTo>
                    <a:pt x="58" y="248"/>
                    <a:pt x="58" y="248"/>
                    <a:pt x="58" y="248"/>
                  </a:cubicBezTo>
                  <a:cubicBezTo>
                    <a:pt x="66" y="252"/>
                    <a:pt x="66" y="252"/>
                    <a:pt x="66" y="252"/>
                  </a:cubicBezTo>
                  <a:cubicBezTo>
                    <a:pt x="70" y="252"/>
                    <a:pt x="70" y="252"/>
                    <a:pt x="70" y="252"/>
                  </a:cubicBezTo>
                  <a:cubicBezTo>
                    <a:pt x="74" y="256"/>
                    <a:pt x="74" y="256"/>
                    <a:pt x="74" y="256"/>
                  </a:cubicBezTo>
                  <a:cubicBezTo>
                    <a:pt x="74" y="252"/>
                    <a:pt x="74" y="252"/>
                    <a:pt x="74" y="252"/>
                  </a:cubicBezTo>
                  <a:cubicBezTo>
                    <a:pt x="78" y="252"/>
                    <a:pt x="78" y="252"/>
                    <a:pt x="78" y="252"/>
                  </a:cubicBezTo>
                  <a:cubicBezTo>
                    <a:pt x="78" y="240"/>
                    <a:pt x="78" y="240"/>
                    <a:pt x="78" y="240"/>
                  </a:cubicBezTo>
                  <a:cubicBezTo>
                    <a:pt x="86" y="240"/>
                    <a:pt x="86" y="240"/>
                    <a:pt x="86" y="240"/>
                  </a:cubicBezTo>
                  <a:cubicBezTo>
                    <a:pt x="97" y="244"/>
                    <a:pt x="97" y="244"/>
                    <a:pt x="97" y="244"/>
                  </a:cubicBezTo>
                  <a:cubicBezTo>
                    <a:pt x="89" y="248"/>
                    <a:pt x="89" y="248"/>
                    <a:pt x="89" y="248"/>
                  </a:cubicBezTo>
                  <a:cubicBezTo>
                    <a:pt x="86" y="248"/>
                    <a:pt x="86" y="248"/>
                    <a:pt x="86" y="248"/>
                  </a:cubicBezTo>
                  <a:cubicBezTo>
                    <a:pt x="82" y="252"/>
                    <a:pt x="82" y="252"/>
                    <a:pt x="82" y="252"/>
                  </a:cubicBezTo>
                  <a:cubicBezTo>
                    <a:pt x="86" y="256"/>
                    <a:pt x="86" y="256"/>
                    <a:pt x="86" y="256"/>
                  </a:cubicBezTo>
                  <a:cubicBezTo>
                    <a:pt x="93" y="267"/>
                    <a:pt x="93" y="267"/>
                    <a:pt x="93" y="267"/>
                  </a:cubicBezTo>
                  <a:cubicBezTo>
                    <a:pt x="93" y="271"/>
                    <a:pt x="93" y="271"/>
                    <a:pt x="93" y="271"/>
                  </a:cubicBezTo>
                  <a:cubicBezTo>
                    <a:pt x="82" y="263"/>
                    <a:pt x="82" y="263"/>
                    <a:pt x="82" y="263"/>
                  </a:cubicBezTo>
                  <a:cubicBezTo>
                    <a:pt x="82" y="260"/>
                    <a:pt x="82" y="260"/>
                    <a:pt x="82" y="260"/>
                  </a:cubicBezTo>
                  <a:cubicBezTo>
                    <a:pt x="78" y="260"/>
                    <a:pt x="78" y="260"/>
                    <a:pt x="78" y="260"/>
                  </a:cubicBezTo>
                  <a:cubicBezTo>
                    <a:pt x="78" y="263"/>
                    <a:pt x="78" y="263"/>
                    <a:pt x="78" y="263"/>
                  </a:cubicBezTo>
                  <a:cubicBezTo>
                    <a:pt x="82" y="291"/>
                    <a:pt x="82" y="291"/>
                    <a:pt x="82" y="291"/>
                  </a:cubicBezTo>
                  <a:cubicBezTo>
                    <a:pt x="89" y="299"/>
                    <a:pt x="89" y="299"/>
                    <a:pt x="89" y="299"/>
                  </a:cubicBezTo>
                  <a:cubicBezTo>
                    <a:pt x="101" y="299"/>
                    <a:pt x="101" y="299"/>
                    <a:pt x="101" y="299"/>
                  </a:cubicBezTo>
                  <a:cubicBezTo>
                    <a:pt x="105" y="306"/>
                    <a:pt x="105" y="306"/>
                    <a:pt x="105" y="306"/>
                  </a:cubicBezTo>
                  <a:cubicBezTo>
                    <a:pt x="105" y="314"/>
                    <a:pt x="105" y="314"/>
                    <a:pt x="105" y="314"/>
                  </a:cubicBezTo>
                  <a:cubicBezTo>
                    <a:pt x="97" y="318"/>
                    <a:pt x="97" y="318"/>
                    <a:pt x="97" y="318"/>
                  </a:cubicBezTo>
                  <a:cubicBezTo>
                    <a:pt x="101" y="326"/>
                    <a:pt x="101" y="326"/>
                    <a:pt x="101" y="326"/>
                  </a:cubicBezTo>
                  <a:cubicBezTo>
                    <a:pt x="136" y="369"/>
                    <a:pt x="136" y="369"/>
                    <a:pt x="136" y="369"/>
                  </a:cubicBezTo>
                  <a:cubicBezTo>
                    <a:pt x="140" y="373"/>
                    <a:pt x="140" y="373"/>
                    <a:pt x="140" y="373"/>
                  </a:cubicBezTo>
                  <a:cubicBezTo>
                    <a:pt x="140" y="381"/>
                    <a:pt x="140" y="381"/>
                    <a:pt x="140" y="381"/>
                  </a:cubicBezTo>
                  <a:cubicBezTo>
                    <a:pt x="148" y="384"/>
                    <a:pt x="148" y="384"/>
                    <a:pt x="148" y="384"/>
                  </a:cubicBezTo>
                  <a:cubicBezTo>
                    <a:pt x="148" y="388"/>
                    <a:pt x="148" y="388"/>
                    <a:pt x="148" y="388"/>
                  </a:cubicBezTo>
                  <a:cubicBezTo>
                    <a:pt x="152" y="392"/>
                    <a:pt x="152" y="392"/>
                    <a:pt x="152" y="392"/>
                  </a:cubicBezTo>
                  <a:cubicBezTo>
                    <a:pt x="148" y="396"/>
                    <a:pt x="148" y="396"/>
                    <a:pt x="148" y="396"/>
                  </a:cubicBezTo>
                  <a:cubicBezTo>
                    <a:pt x="152" y="412"/>
                    <a:pt x="152" y="412"/>
                    <a:pt x="152" y="412"/>
                  </a:cubicBezTo>
                  <a:cubicBezTo>
                    <a:pt x="152" y="416"/>
                    <a:pt x="152" y="416"/>
                    <a:pt x="152" y="416"/>
                  </a:cubicBezTo>
                  <a:cubicBezTo>
                    <a:pt x="171" y="420"/>
                    <a:pt x="171" y="420"/>
                    <a:pt x="171" y="420"/>
                  </a:cubicBezTo>
                  <a:cubicBezTo>
                    <a:pt x="179" y="423"/>
                    <a:pt x="179" y="423"/>
                    <a:pt x="179" y="423"/>
                  </a:cubicBezTo>
                  <a:cubicBezTo>
                    <a:pt x="183" y="420"/>
                    <a:pt x="183" y="420"/>
                    <a:pt x="183" y="420"/>
                  </a:cubicBezTo>
                  <a:cubicBezTo>
                    <a:pt x="187" y="420"/>
                    <a:pt x="187" y="420"/>
                    <a:pt x="187" y="420"/>
                  </a:cubicBezTo>
                  <a:cubicBezTo>
                    <a:pt x="199" y="427"/>
                    <a:pt x="199" y="427"/>
                    <a:pt x="199" y="427"/>
                  </a:cubicBezTo>
                  <a:cubicBezTo>
                    <a:pt x="203" y="431"/>
                    <a:pt x="203" y="431"/>
                    <a:pt x="203" y="431"/>
                  </a:cubicBezTo>
                  <a:cubicBezTo>
                    <a:pt x="218" y="439"/>
                    <a:pt x="218" y="439"/>
                    <a:pt x="218" y="439"/>
                  </a:cubicBezTo>
                  <a:cubicBezTo>
                    <a:pt x="222" y="439"/>
                    <a:pt x="222" y="439"/>
                    <a:pt x="222" y="439"/>
                  </a:cubicBezTo>
                  <a:cubicBezTo>
                    <a:pt x="222" y="435"/>
                    <a:pt x="222" y="435"/>
                    <a:pt x="222" y="435"/>
                  </a:cubicBezTo>
                  <a:cubicBezTo>
                    <a:pt x="226" y="435"/>
                    <a:pt x="226" y="435"/>
                    <a:pt x="226" y="435"/>
                  </a:cubicBezTo>
                  <a:cubicBezTo>
                    <a:pt x="230" y="439"/>
                    <a:pt x="230" y="439"/>
                    <a:pt x="230" y="439"/>
                  </a:cubicBezTo>
                  <a:cubicBezTo>
                    <a:pt x="234" y="443"/>
                    <a:pt x="234" y="443"/>
                    <a:pt x="234" y="443"/>
                  </a:cubicBezTo>
                  <a:cubicBezTo>
                    <a:pt x="238" y="451"/>
                    <a:pt x="238" y="451"/>
                    <a:pt x="238" y="451"/>
                  </a:cubicBezTo>
                  <a:cubicBezTo>
                    <a:pt x="246" y="455"/>
                    <a:pt x="246" y="455"/>
                    <a:pt x="246" y="455"/>
                  </a:cubicBezTo>
                  <a:cubicBezTo>
                    <a:pt x="277" y="478"/>
                    <a:pt x="277" y="478"/>
                    <a:pt x="277" y="478"/>
                  </a:cubicBezTo>
                  <a:cubicBezTo>
                    <a:pt x="281" y="486"/>
                    <a:pt x="281" y="486"/>
                    <a:pt x="281" y="486"/>
                  </a:cubicBezTo>
                  <a:cubicBezTo>
                    <a:pt x="281" y="490"/>
                    <a:pt x="281" y="490"/>
                    <a:pt x="281" y="490"/>
                  </a:cubicBezTo>
                  <a:cubicBezTo>
                    <a:pt x="285" y="509"/>
                    <a:pt x="285" y="509"/>
                    <a:pt x="285" y="509"/>
                  </a:cubicBezTo>
                  <a:cubicBezTo>
                    <a:pt x="370" y="502"/>
                    <a:pt x="370" y="502"/>
                    <a:pt x="370" y="502"/>
                  </a:cubicBezTo>
                  <a:cubicBezTo>
                    <a:pt x="374" y="505"/>
                    <a:pt x="374" y="505"/>
                    <a:pt x="374" y="505"/>
                  </a:cubicBezTo>
                  <a:cubicBezTo>
                    <a:pt x="383" y="509"/>
                    <a:pt x="383" y="509"/>
                    <a:pt x="383" y="509"/>
                  </a:cubicBezTo>
                  <a:cubicBezTo>
                    <a:pt x="387" y="503"/>
                    <a:pt x="387" y="503"/>
                    <a:pt x="387" y="503"/>
                  </a:cubicBezTo>
                  <a:cubicBezTo>
                    <a:pt x="390" y="499"/>
                    <a:pt x="389" y="498"/>
                    <a:pt x="388" y="495"/>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0" name="Arkansas">
              <a:extLst>
                <a:ext uri="{FF2B5EF4-FFF2-40B4-BE49-F238E27FC236}">
                  <a16:creationId xmlns:a16="http://schemas.microsoft.com/office/drawing/2014/main" id="{48F87D0B-76CB-2CE0-5186-F18DF073AD78}"/>
                </a:ext>
              </a:extLst>
            </p:cNvPr>
            <p:cNvSpPr>
              <a:spLocks/>
            </p:cNvSpPr>
            <p:nvPr/>
          </p:nvSpPr>
          <p:spPr bwMode="auto">
            <a:xfrm>
              <a:off x="6691110" y="3348534"/>
              <a:ext cx="750651" cy="685450"/>
            </a:xfrm>
            <a:custGeom>
              <a:avLst/>
              <a:gdLst>
                <a:gd name="T0" fmla="*/ 159 w 190"/>
                <a:gd name="T1" fmla="*/ 69 h 173"/>
                <a:gd name="T2" fmla="*/ 163 w 190"/>
                <a:gd name="T3" fmla="*/ 65 h 173"/>
                <a:gd name="T4" fmla="*/ 163 w 190"/>
                <a:gd name="T5" fmla="*/ 59 h 173"/>
                <a:gd name="T6" fmla="*/ 171 w 190"/>
                <a:gd name="T7" fmla="*/ 53 h 173"/>
                <a:gd name="T8" fmla="*/ 174 w 190"/>
                <a:gd name="T9" fmla="*/ 45 h 173"/>
                <a:gd name="T10" fmla="*/ 179 w 190"/>
                <a:gd name="T11" fmla="*/ 41 h 173"/>
                <a:gd name="T12" fmla="*/ 177 w 190"/>
                <a:gd name="T13" fmla="*/ 39 h 173"/>
                <a:gd name="T14" fmla="*/ 180 w 190"/>
                <a:gd name="T15" fmla="*/ 39 h 173"/>
                <a:gd name="T16" fmla="*/ 180 w 190"/>
                <a:gd name="T17" fmla="*/ 37 h 173"/>
                <a:gd name="T18" fmla="*/ 180 w 190"/>
                <a:gd name="T19" fmla="*/ 35 h 173"/>
                <a:gd name="T20" fmla="*/ 180 w 190"/>
                <a:gd name="T21" fmla="*/ 34 h 173"/>
                <a:gd name="T22" fmla="*/ 181 w 190"/>
                <a:gd name="T23" fmla="*/ 32 h 173"/>
                <a:gd name="T24" fmla="*/ 183 w 190"/>
                <a:gd name="T25" fmla="*/ 28 h 173"/>
                <a:gd name="T26" fmla="*/ 183 w 190"/>
                <a:gd name="T27" fmla="*/ 24 h 173"/>
                <a:gd name="T28" fmla="*/ 183 w 190"/>
                <a:gd name="T29" fmla="*/ 23 h 173"/>
                <a:gd name="T30" fmla="*/ 186 w 190"/>
                <a:gd name="T31" fmla="*/ 21 h 173"/>
                <a:gd name="T32" fmla="*/ 187 w 190"/>
                <a:gd name="T33" fmla="*/ 19 h 173"/>
                <a:gd name="T34" fmla="*/ 190 w 190"/>
                <a:gd name="T35" fmla="*/ 16 h 173"/>
                <a:gd name="T36" fmla="*/ 166 w 190"/>
                <a:gd name="T37" fmla="*/ 16 h 173"/>
                <a:gd name="T38" fmla="*/ 166 w 190"/>
                <a:gd name="T39" fmla="*/ 0 h 173"/>
                <a:gd name="T40" fmla="*/ 0 w 190"/>
                <a:gd name="T41" fmla="*/ 0 h 173"/>
                <a:gd name="T42" fmla="*/ 0 w 190"/>
                <a:gd name="T43" fmla="*/ 34 h 173"/>
                <a:gd name="T44" fmla="*/ 6 w 190"/>
                <a:gd name="T45" fmla="*/ 38 h 173"/>
                <a:gd name="T46" fmla="*/ 12 w 190"/>
                <a:gd name="T47" fmla="*/ 44 h 173"/>
                <a:gd name="T48" fmla="*/ 12 w 190"/>
                <a:gd name="T49" fmla="*/ 139 h 173"/>
                <a:gd name="T50" fmla="*/ 12 w 190"/>
                <a:gd name="T51" fmla="*/ 139 h 173"/>
                <a:gd name="T52" fmla="*/ 21 w 190"/>
                <a:gd name="T53" fmla="*/ 142 h 173"/>
                <a:gd name="T54" fmla="*/ 21 w 190"/>
                <a:gd name="T55" fmla="*/ 173 h 173"/>
                <a:gd name="T56" fmla="*/ 124 w 190"/>
                <a:gd name="T57" fmla="*/ 173 h 173"/>
                <a:gd name="T58" fmla="*/ 124 w 190"/>
                <a:gd name="T59" fmla="*/ 173 h 173"/>
                <a:gd name="T60" fmla="*/ 124 w 190"/>
                <a:gd name="T61" fmla="*/ 172 h 173"/>
                <a:gd name="T62" fmla="*/ 127 w 190"/>
                <a:gd name="T63" fmla="*/ 163 h 173"/>
                <a:gd name="T64" fmla="*/ 127 w 190"/>
                <a:gd name="T65" fmla="*/ 163 h 173"/>
                <a:gd name="T66" fmla="*/ 127 w 190"/>
                <a:gd name="T67" fmla="*/ 162 h 173"/>
                <a:gd name="T68" fmla="*/ 127 w 190"/>
                <a:gd name="T69" fmla="*/ 161 h 173"/>
                <a:gd name="T70" fmla="*/ 128 w 190"/>
                <a:gd name="T71" fmla="*/ 159 h 173"/>
                <a:gd name="T72" fmla="*/ 128 w 190"/>
                <a:gd name="T73" fmla="*/ 159 h 173"/>
                <a:gd name="T74" fmla="*/ 129 w 190"/>
                <a:gd name="T75" fmla="*/ 159 h 173"/>
                <a:gd name="T76" fmla="*/ 130 w 190"/>
                <a:gd name="T77" fmla="*/ 159 h 173"/>
                <a:gd name="T78" fmla="*/ 130 w 190"/>
                <a:gd name="T79" fmla="*/ 157 h 173"/>
                <a:gd name="T80" fmla="*/ 129 w 190"/>
                <a:gd name="T81" fmla="*/ 148 h 173"/>
                <a:gd name="T82" fmla="*/ 127 w 190"/>
                <a:gd name="T83" fmla="*/ 136 h 173"/>
                <a:gd name="T84" fmla="*/ 127 w 190"/>
                <a:gd name="T85" fmla="*/ 132 h 173"/>
                <a:gd name="T86" fmla="*/ 134 w 190"/>
                <a:gd name="T87" fmla="*/ 123 h 173"/>
                <a:gd name="T88" fmla="*/ 134 w 190"/>
                <a:gd name="T89" fmla="*/ 123 h 173"/>
                <a:gd name="T90" fmla="*/ 135 w 190"/>
                <a:gd name="T91" fmla="*/ 123 h 173"/>
                <a:gd name="T92" fmla="*/ 135 w 190"/>
                <a:gd name="T93" fmla="*/ 123 h 173"/>
                <a:gd name="T94" fmla="*/ 136 w 190"/>
                <a:gd name="T95" fmla="*/ 123 h 173"/>
                <a:gd name="T96" fmla="*/ 137 w 190"/>
                <a:gd name="T97" fmla="*/ 122 h 173"/>
                <a:gd name="T98" fmla="*/ 140 w 190"/>
                <a:gd name="T99" fmla="*/ 119 h 173"/>
                <a:gd name="T100" fmla="*/ 140 w 190"/>
                <a:gd name="T101" fmla="*/ 119 h 173"/>
                <a:gd name="T102" fmla="*/ 140 w 190"/>
                <a:gd name="T103" fmla="*/ 119 h 173"/>
                <a:gd name="T104" fmla="*/ 142 w 190"/>
                <a:gd name="T105" fmla="*/ 117 h 173"/>
                <a:gd name="T106" fmla="*/ 147 w 190"/>
                <a:gd name="T107" fmla="*/ 108 h 173"/>
                <a:gd name="T108" fmla="*/ 147 w 190"/>
                <a:gd name="T109" fmla="*/ 108 h 173"/>
                <a:gd name="T110" fmla="*/ 147 w 190"/>
                <a:gd name="T111" fmla="*/ 89 h 173"/>
                <a:gd name="T112" fmla="*/ 154 w 190"/>
                <a:gd name="T113" fmla="*/ 83 h 173"/>
                <a:gd name="T114" fmla="*/ 155 w 190"/>
                <a:gd name="T115" fmla="*/ 78 h 173"/>
                <a:gd name="T116" fmla="*/ 157 w 190"/>
                <a:gd name="T117" fmla="*/ 73 h 173"/>
                <a:gd name="T118" fmla="*/ 157 w 190"/>
                <a:gd name="T119" fmla="*/ 73 h 173"/>
                <a:gd name="T120" fmla="*/ 159 w 190"/>
                <a:gd name="T121" fmla="*/ 6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 h="173">
                  <a:moveTo>
                    <a:pt x="159" y="69"/>
                  </a:moveTo>
                  <a:cubicBezTo>
                    <a:pt x="163" y="65"/>
                    <a:pt x="163" y="65"/>
                    <a:pt x="163" y="65"/>
                  </a:cubicBezTo>
                  <a:cubicBezTo>
                    <a:pt x="163" y="59"/>
                    <a:pt x="163" y="59"/>
                    <a:pt x="163" y="59"/>
                  </a:cubicBezTo>
                  <a:cubicBezTo>
                    <a:pt x="171" y="53"/>
                    <a:pt x="171" y="53"/>
                    <a:pt x="171" y="53"/>
                  </a:cubicBezTo>
                  <a:cubicBezTo>
                    <a:pt x="174" y="45"/>
                    <a:pt x="174" y="45"/>
                    <a:pt x="174" y="45"/>
                  </a:cubicBezTo>
                  <a:cubicBezTo>
                    <a:pt x="179" y="41"/>
                    <a:pt x="179" y="41"/>
                    <a:pt x="179" y="41"/>
                  </a:cubicBezTo>
                  <a:cubicBezTo>
                    <a:pt x="177" y="39"/>
                    <a:pt x="177" y="39"/>
                    <a:pt x="177" y="39"/>
                  </a:cubicBezTo>
                  <a:cubicBezTo>
                    <a:pt x="180" y="39"/>
                    <a:pt x="180" y="39"/>
                    <a:pt x="180" y="39"/>
                  </a:cubicBezTo>
                  <a:cubicBezTo>
                    <a:pt x="180" y="38"/>
                    <a:pt x="180" y="38"/>
                    <a:pt x="180" y="37"/>
                  </a:cubicBezTo>
                  <a:cubicBezTo>
                    <a:pt x="180" y="36"/>
                    <a:pt x="180" y="35"/>
                    <a:pt x="180" y="35"/>
                  </a:cubicBezTo>
                  <a:cubicBezTo>
                    <a:pt x="180" y="34"/>
                    <a:pt x="180" y="34"/>
                    <a:pt x="180" y="34"/>
                  </a:cubicBezTo>
                  <a:cubicBezTo>
                    <a:pt x="181" y="32"/>
                    <a:pt x="181" y="32"/>
                    <a:pt x="181" y="32"/>
                  </a:cubicBezTo>
                  <a:cubicBezTo>
                    <a:pt x="183" y="28"/>
                    <a:pt x="183" y="28"/>
                    <a:pt x="183" y="28"/>
                  </a:cubicBezTo>
                  <a:cubicBezTo>
                    <a:pt x="183" y="24"/>
                    <a:pt x="183" y="24"/>
                    <a:pt x="183" y="24"/>
                  </a:cubicBezTo>
                  <a:cubicBezTo>
                    <a:pt x="183" y="23"/>
                    <a:pt x="183" y="23"/>
                    <a:pt x="183" y="23"/>
                  </a:cubicBezTo>
                  <a:cubicBezTo>
                    <a:pt x="183" y="23"/>
                    <a:pt x="185" y="22"/>
                    <a:pt x="186" y="21"/>
                  </a:cubicBezTo>
                  <a:cubicBezTo>
                    <a:pt x="187" y="19"/>
                    <a:pt x="187" y="19"/>
                    <a:pt x="187" y="19"/>
                  </a:cubicBezTo>
                  <a:cubicBezTo>
                    <a:pt x="188" y="18"/>
                    <a:pt x="189" y="17"/>
                    <a:pt x="190" y="16"/>
                  </a:cubicBezTo>
                  <a:cubicBezTo>
                    <a:pt x="166" y="16"/>
                    <a:pt x="166" y="16"/>
                    <a:pt x="166" y="16"/>
                  </a:cubicBezTo>
                  <a:cubicBezTo>
                    <a:pt x="166" y="0"/>
                    <a:pt x="166" y="0"/>
                    <a:pt x="166" y="0"/>
                  </a:cubicBezTo>
                  <a:cubicBezTo>
                    <a:pt x="0" y="0"/>
                    <a:pt x="0" y="0"/>
                    <a:pt x="0" y="0"/>
                  </a:cubicBezTo>
                  <a:cubicBezTo>
                    <a:pt x="0" y="34"/>
                    <a:pt x="0" y="34"/>
                    <a:pt x="0" y="34"/>
                  </a:cubicBezTo>
                  <a:cubicBezTo>
                    <a:pt x="6" y="38"/>
                    <a:pt x="6" y="38"/>
                    <a:pt x="6" y="38"/>
                  </a:cubicBezTo>
                  <a:cubicBezTo>
                    <a:pt x="12" y="44"/>
                    <a:pt x="12" y="44"/>
                    <a:pt x="12" y="44"/>
                  </a:cubicBezTo>
                  <a:cubicBezTo>
                    <a:pt x="12" y="139"/>
                    <a:pt x="12" y="139"/>
                    <a:pt x="12" y="139"/>
                  </a:cubicBezTo>
                  <a:cubicBezTo>
                    <a:pt x="12" y="139"/>
                    <a:pt x="12" y="139"/>
                    <a:pt x="12" y="139"/>
                  </a:cubicBezTo>
                  <a:cubicBezTo>
                    <a:pt x="21" y="142"/>
                    <a:pt x="21" y="142"/>
                    <a:pt x="21" y="142"/>
                  </a:cubicBezTo>
                  <a:cubicBezTo>
                    <a:pt x="21" y="173"/>
                    <a:pt x="21" y="173"/>
                    <a:pt x="21" y="173"/>
                  </a:cubicBezTo>
                  <a:cubicBezTo>
                    <a:pt x="124" y="173"/>
                    <a:pt x="124" y="173"/>
                    <a:pt x="124" y="173"/>
                  </a:cubicBezTo>
                  <a:cubicBezTo>
                    <a:pt x="124" y="173"/>
                    <a:pt x="124" y="173"/>
                    <a:pt x="124" y="173"/>
                  </a:cubicBezTo>
                  <a:cubicBezTo>
                    <a:pt x="124" y="172"/>
                    <a:pt x="124" y="172"/>
                    <a:pt x="124" y="172"/>
                  </a:cubicBezTo>
                  <a:cubicBezTo>
                    <a:pt x="126" y="166"/>
                    <a:pt x="127" y="164"/>
                    <a:pt x="127" y="163"/>
                  </a:cubicBezTo>
                  <a:cubicBezTo>
                    <a:pt x="127" y="163"/>
                    <a:pt x="127" y="163"/>
                    <a:pt x="127" y="163"/>
                  </a:cubicBezTo>
                  <a:cubicBezTo>
                    <a:pt x="127" y="162"/>
                    <a:pt x="127" y="162"/>
                    <a:pt x="127" y="162"/>
                  </a:cubicBezTo>
                  <a:cubicBezTo>
                    <a:pt x="127" y="162"/>
                    <a:pt x="127" y="162"/>
                    <a:pt x="127" y="161"/>
                  </a:cubicBezTo>
                  <a:cubicBezTo>
                    <a:pt x="128" y="160"/>
                    <a:pt x="128" y="160"/>
                    <a:pt x="128" y="159"/>
                  </a:cubicBezTo>
                  <a:cubicBezTo>
                    <a:pt x="128" y="159"/>
                    <a:pt x="128" y="159"/>
                    <a:pt x="128" y="159"/>
                  </a:cubicBezTo>
                  <a:cubicBezTo>
                    <a:pt x="129" y="159"/>
                    <a:pt x="129" y="159"/>
                    <a:pt x="129" y="159"/>
                  </a:cubicBezTo>
                  <a:cubicBezTo>
                    <a:pt x="130" y="159"/>
                    <a:pt x="130" y="159"/>
                    <a:pt x="130" y="159"/>
                  </a:cubicBezTo>
                  <a:cubicBezTo>
                    <a:pt x="130" y="157"/>
                    <a:pt x="130" y="157"/>
                    <a:pt x="130" y="157"/>
                  </a:cubicBezTo>
                  <a:cubicBezTo>
                    <a:pt x="130" y="154"/>
                    <a:pt x="129" y="151"/>
                    <a:pt x="129" y="148"/>
                  </a:cubicBezTo>
                  <a:cubicBezTo>
                    <a:pt x="129" y="148"/>
                    <a:pt x="128" y="141"/>
                    <a:pt x="127" y="136"/>
                  </a:cubicBezTo>
                  <a:cubicBezTo>
                    <a:pt x="127" y="132"/>
                    <a:pt x="127" y="132"/>
                    <a:pt x="127" y="132"/>
                  </a:cubicBezTo>
                  <a:cubicBezTo>
                    <a:pt x="129" y="129"/>
                    <a:pt x="133" y="125"/>
                    <a:pt x="134" y="123"/>
                  </a:cubicBezTo>
                  <a:cubicBezTo>
                    <a:pt x="134" y="123"/>
                    <a:pt x="134" y="123"/>
                    <a:pt x="134" y="123"/>
                  </a:cubicBezTo>
                  <a:cubicBezTo>
                    <a:pt x="135" y="123"/>
                    <a:pt x="135" y="123"/>
                    <a:pt x="135" y="123"/>
                  </a:cubicBezTo>
                  <a:cubicBezTo>
                    <a:pt x="135" y="123"/>
                    <a:pt x="135" y="123"/>
                    <a:pt x="135" y="123"/>
                  </a:cubicBezTo>
                  <a:cubicBezTo>
                    <a:pt x="136" y="123"/>
                    <a:pt x="136" y="123"/>
                    <a:pt x="136" y="123"/>
                  </a:cubicBezTo>
                  <a:cubicBezTo>
                    <a:pt x="137" y="122"/>
                    <a:pt x="137" y="122"/>
                    <a:pt x="137" y="122"/>
                  </a:cubicBezTo>
                  <a:cubicBezTo>
                    <a:pt x="139" y="120"/>
                    <a:pt x="139" y="119"/>
                    <a:pt x="140" y="119"/>
                  </a:cubicBezTo>
                  <a:cubicBezTo>
                    <a:pt x="140" y="119"/>
                    <a:pt x="140" y="119"/>
                    <a:pt x="140" y="119"/>
                  </a:cubicBezTo>
                  <a:cubicBezTo>
                    <a:pt x="140" y="119"/>
                    <a:pt x="140" y="119"/>
                    <a:pt x="140" y="119"/>
                  </a:cubicBezTo>
                  <a:cubicBezTo>
                    <a:pt x="142" y="117"/>
                    <a:pt x="142" y="117"/>
                    <a:pt x="142" y="117"/>
                  </a:cubicBezTo>
                  <a:cubicBezTo>
                    <a:pt x="145" y="112"/>
                    <a:pt x="147" y="108"/>
                    <a:pt x="147" y="108"/>
                  </a:cubicBezTo>
                  <a:cubicBezTo>
                    <a:pt x="147" y="108"/>
                    <a:pt x="147" y="108"/>
                    <a:pt x="147" y="108"/>
                  </a:cubicBezTo>
                  <a:cubicBezTo>
                    <a:pt x="147" y="89"/>
                    <a:pt x="147" y="89"/>
                    <a:pt x="147" y="89"/>
                  </a:cubicBezTo>
                  <a:cubicBezTo>
                    <a:pt x="154" y="83"/>
                    <a:pt x="154" y="83"/>
                    <a:pt x="154" y="83"/>
                  </a:cubicBezTo>
                  <a:cubicBezTo>
                    <a:pt x="155" y="78"/>
                    <a:pt x="155" y="78"/>
                    <a:pt x="155" y="78"/>
                  </a:cubicBezTo>
                  <a:cubicBezTo>
                    <a:pt x="157" y="73"/>
                    <a:pt x="157" y="73"/>
                    <a:pt x="157" y="73"/>
                  </a:cubicBezTo>
                  <a:cubicBezTo>
                    <a:pt x="157" y="73"/>
                    <a:pt x="157" y="73"/>
                    <a:pt x="157" y="73"/>
                  </a:cubicBezTo>
                  <a:lnTo>
                    <a:pt x="159" y="69"/>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1" name="Arizona">
              <a:extLst>
                <a:ext uri="{FF2B5EF4-FFF2-40B4-BE49-F238E27FC236}">
                  <a16:creationId xmlns:a16="http://schemas.microsoft.com/office/drawing/2014/main" id="{EFFCCBD9-43CA-0E66-DF52-AA19F2D1D0B3}"/>
                </a:ext>
              </a:extLst>
            </p:cNvPr>
            <p:cNvSpPr>
              <a:spLocks/>
            </p:cNvSpPr>
            <p:nvPr/>
          </p:nvSpPr>
          <p:spPr bwMode="auto">
            <a:xfrm>
              <a:off x="3629992" y="3189710"/>
              <a:ext cx="874366" cy="1252199"/>
            </a:xfrm>
            <a:custGeom>
              <a:avLst/>
              <a:gdLst>
                <a:gd name="T0" fmla="*/ 24 w 221"/>
                <a:gd name="T1" fmla="*/ 0 h 316"/>
                <a:gd name="T2" fmla="*/ 24 w 221"/>
                <a:gd name="T3" fmla="*/ 57 h 316"/>
                <a:gd name="T4" fmla="*/ 4 w 221"/>
                <a:gd name="T5" fmla="*/ 44 h 316"/>
                <a:gd name="T6" fmla="*/ 0 w 221"/>
                <a:gd name="T7" fmla="*/ 66 h 316"/>
                <a:gd name="T8" fmla="*/ 7 w 221"/>
                <a:gd name="T9" fmla="*/ 73 h 316"/>
                <a:gd name="T10" fmla="*/ 10 w 221"/>
                <a:gd name="T11" fmla="*/ 79 h 316"/>
                <a:gd name="T12" fmla="*/ 7 w 221"/>
                <a:gd name="T13" fmla="*/ 82 h 316"/>
                <a:gd name="T14" fmla="*/ 7 w 221"/>
                <a:gd name="T15" fmla="*/ 113 h 316"/>
                <a:gd name="T16" fmla="*/ 12 w 221"/>
                <a:gd name="T17" fmla="*/ 134 h 316"/>
                <a:gd name="T18" fmla="*/ 8 w 221"/>
                <a:gd name="T19" fmla="*/ 146 h 316"/>
                <a:gd name="T20" fmla="*/ 6 w 221"/>
                <a:gd name="T21" fmla="*/ 155 h 316"/>
                <a:gd name="T22" fmla="*/ 7 w 221"/>
                <a:gd name="T23" fmla="*/ 156 h 316"/>
                <a:gd name="T24" fmla="*/ 7 w 221"/>
                <a:gd name="T25" fmla="*/ 157 h 316"/>
                <a:gd name="T26" fmla="*/ 5 w 221"/>
                <a:gd name="T27" fmla="*/ 167 h 316"/>
                <a:gd name="T28" fmla="*/ 4 w 221"/>
                <a:gd name="T29" fmla="*/ 177 h 316"/>
                <a:gd name="T30" fmla="*/ 5 w 221"/>
                <a:gd name="T31" fmla="*/ 177 h 316"/>
                <a:gd name="T32" fmla="*/ 5 w 221"/>
                <a:gd name="T33" fmla="*/ 178 h 316"/>
                <a:gd name="T34" fmla="*/ 5 w 221"/>
                <a:gd name="T35" fmla="*/ 195 h 316"/>
                <a:gd name="T36" fmla="*/ 12 w 221"/>
                <a:gd name="T37" fmla="*/ 205 h 316"/>
                <a:gd name="T38" fmla="*/ 12 w 221"/>
                <a:gd name="T39" fmla="*/ 211 h 316"/>
                <a:gd name="T40" fmla="*/ 12 w 221"/>
                <a:gd name="T41" fmla="*/ 212 h 316"/>
                <a:gd name="T42" fmla="*/ 12 w 221"/>
                <a:gd name="T43" fmla="*/ 215 h 316"/>
                <a:gd name="T44" fmla="*/ 10 w 221"/>
                <a:gd name="T45" fmla="*/ 221 h 316"/>
                <a:gd name="T46" fmla="*/ 8 w 221"/>
                <a:gd name="T47" fmla="*/ 227 h 316"/>
                <a:gd name="T48" fmla="*/ 8 w 221"/>
                <a:gd name="T49" fmla="*/ 237 h 316"/>
                <a:gd name="T50" fmla="*/ 8 w 221"/>
                <a:gd name="T51" fmla="*/ 249 h 316"/>
                <a:gd name="T52" fmla="*/ 9 w 221"/>
                <a:gd name="T53" fmla="*/ 251 h 316"/>
                <a:gd name="T54" fmla="*/ 8 w 221"/>
                <a:gd name="T55" fmla="*/ 259 h 316"/>
                <a:gd name="T56" fmla="*/ 4 w 221"/>
                <a:gd name="T57" fmla="*/ 265 h 316"/>
                <a:gd name="T58" fmla="*/ 144 w 221"/>
                <a:gd name="T59" fmla="*/ 316 h 316"/>
                <a:gd name="T60" fmla="*/ 221 w 221"/>
                <a:gd name="T61" fmla="*/ 316 h 316"/>
                <a:gd name="T62" fmla="*/ 221 w 221"/>
                <a:gd name="T63" fmla="*/ 0 h 316"/>
                <a:gd name="T64" fmla="*/ 24 w 221"/>
                <a:gd name="T65"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316">
                  <a:moveTo>
                    <a:pt x="24" y="0"/>
                  </a:moveTo>
                  <a:cubicBezTo>
                    <a:pt x="24" y="57"/>
                    <a:pt x="24" y="57"/>
                    <a:pt x="24" y="57"/>
                  </a:cubicBezTo>
                  <a:cubicBezTo>
                    <a:pt x="4" y="44"/>
                    <a:pt x="4" y="44"/>
                    <a:pt x="4" y="44"/>
                  </a:cubicBezTo>
                  <a:cubicBezTo>
                    <a:pt x="0" y="66"/>
                    <a:pt x="0" y="66"/>
                    <a:pt x="0" y="66"/>
                  </a:cubicBezTo>
                  <a:cubicBezTo>
                    <a:pt x="7" y="73"/>
                    <a:pt x="7" y="73"/>
                    <a:pt x="7" y="73"/>
                  </a:cubicBezTo>
                  <a:cubicBezTo>
                    <a:pt x="10" y="75"/>
                    <a:pt x="11" y="77"/>
                    <a:pt x="10" y="79"/>
                  </a:cubicBezTo>
                  <a:cubicBezTo>
                    <a:pt x="10" y="81"/>
                    <a:pt x="8" y="82"/>
                    <a:pt x="7" y="82"/>
                  </a:cubicBezTo>
                  <a:cubicBezTo>
                    <a:pt x="7" y="113"/>
                    <a:pt x="7" y="113"/>
                    <a:pt x="7" y="113"/>
                  </a:cubicBezTo>
                  <a:cubicBezTo>
                    <a:pt x="12" y="134"/>
                    <a:pt x="12" y="134"/>
                    <a:pt x="12" y="134"/>
                  </a:cubicBezTo>
                  <a:cubicBezTo>
                    <a:pt x="8" y="146"/>
                    <a:pt x="8" y="146"/>
                    <a:pt x="8" y="146"/>
                  </a:cubicBezTo>
                  <a:cubicBezTo>
                    <a:pt x="5" y="154"/>
                    <a:pt x="6" y="155"/>
                    <a:pt x="6" y="155"/>
                  </a:cubicBezTo>
                  <a:cubicBezTo>
                    <a:pt x="7" y="156"/>
                    <a:pt x="7" y="156"/>
                    <a:pt x="7" y="156"/>
                  </a:cubicBezTo>
                  <a:cubicBezTo>
                    <a:pt x="7" y="157"/>
                    <a:pt x="7" y="157"/>
                    <a:pt x="7" y="157"/>
                  </a:cubicBezTo>
                  <a:cubicBezTo>
                    <a:pt x="5" y="167"/>
                    <a:pt x="5" y="167"/>
                    <a:pt x="5" y="167"/>
                  </a:cubicBezTo>
                  <a:cubicBezTo>
                    <a:pt x="3" y="176"/>
                    <a:pt x="4" y="176"/>
                    <a:pt x="4" y="177"/>
                  </a:cubicBezTo>
                  <a:cubicBezTo>
                    <a:pt x="5" y="177"/>
                    <a:pt x="5" y="177"/>
                    <a:pt x="5" y="177"/>
                  </a:cubicBezTo>
                  <a:cubicBezTo>
                    <a:pt x="5" y="178"/>
                    <a:pt x="5" y="178"/>
                    <a:pt x="5" y="178"/>
                  </a:cubicBezTo>
                  <a:cubicBezTo>
                    <a:pt x="5" y="195"/>
                    <a:pt x="5" y="195"/>
                    <a:pt x="5" y="195"/>
                  </a:cubicBezTo>
                  <a:cubicBezTo>
                    <a:pt x="12" y="205"/>
                    <a:pt x="12" y="205"/>
                    <a:pt x="12" y="205"/>
                  </a:cubicBezTo>
                  <a:cubicBezTo>
                    <a:pt x="12" y="211"/>
                    <a:pt x="12" y="211"/>
                    <a:pt x="12" y="211"/>
                  </a:cubicBezTo>
                  <a:cubicBezTo>
                    <a:pt x="12" y="212"/>
                    <a:pt x="12" y="212"/>
                    <a:pt x="12" y="212"/>
                  </a:cubicBezTo>
                  <a:cubicBezTo>
                    <a:pt x="12" y="213"/>
                    <a:pt x="12" y="214"/>
                    <a:pt x="12" y="215"/>
                  </a:cubicBezTo>
                  <a:cubicBezTo>
                    <a:pt x="12" y="217"/>
                    <a:pt x="11" y="219"/>
                    <a:pt x="10" y="221"/>
                  </a:cubicBezTo>
                  <a:cubicBezTo>
                    <a:pt x="8" y="224"/>
                    <a:pt x="7" y="226"/>
                    <a:pt x="8" y="227"/>
                  </a:cubicBezTo>
                  <a:cubicBezTo>
                    <a:pt x="10" y="230"/>
                    <a:pt x="8" y="237"/>
                    <a:pt x="8" y="237"/>
                  </a:cubicBezTo>
                  <a:cubicBezTo>
                    <a:pt x="8" y="237"/>
                    <a:pt x="7" y="245"/>
                    <a:pt x="8" y="249"/>
                  </a:cubicBezTo>
                  <a:cubicBezTo>
                    <a:pt x="8" y="250"/>
                    <a:pt x="9" y="251"/>
                    <a:pt x="9" y="251"/>
                  </a:cubicBezTo>
                  <a:cubicBezTo>
                    <a:pt x="10" y="254"/>
                    <a:pt x="11" y="255"/>
                    <a:pt x="8" y="259"/>
                  </a:cubicBezTo>
                  <a:cubicBezTo>
                    <a:pt x="4" y="265"/>
                    <a:pt x="4" y="265"/>
                    <a:pt x="4" y="265"/>
                  </a:cubicBezTo>
                  <a:cubicBezTo>
                    <a:pt x="144" y="316"/>
                    <a:pt x="144" y="316"/>
                    <a:pt x="144" y="316"/>
                  </a:cubicBezTo>
                  <a:cubicBezTo>
                    <a:pt x="221" y="316"/>
                    <a:pt x="221" y="316"/>
                    <a:pt x="221" y="316"/>
                  </a:cubicBezTo>
                  <a:cubicBezTo>
                    <a:pt x="221" y="0"/>
                    <a:pt x="221" y="0"/>
                    <a:pt x="221" y="0"/>
                  </a:cubicBezTo>
                  <a:lnTo>
                    <a:pt x="24"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2" name="Alaska">
              <a:extLst>
                <a:ext uri="{FF2B5EF4-FFF2-40B4-BE49-F238E27FC236}">
                  <a16:creationId xmlns:a16="http://schemas.microsoft.com/office/drawing/2014/main" id="{2FEF3CDB-CD24-E217-A1B5-5C4D1F39C34F}"/>
                </a:ext>
              </a:extLst>
            </p:cNvPr>
            <p:cNvSpPr>
              <a:spLocks noEditPoints="1"/>
            </p:cNvSpPr>
            <p:nvPr/>
          </p:nvSpPr>
          <p:spPr bwMode="auto">
            <a:xfrm>
              <a:off x="1121697" y="4480864"/>
              <a:ext cx="2664367" cy="1598204"/>
            </a:xfrm>
            <a:custGeom>
              <a:avLst/>
              <a:gdLst>
                <a:gd name="T0" fmla="*/ 317 w 1083"/>
                <a:gd name="T1" fmla="*/ 272 h 650"/>
                <a:gd name="T2" fmla="*/ 649 w 1083"/>
                <a:gd name="T3" fmla="*/ 394 h 650"/>
                <a:gd name="T4" fmla="*/ 712 w 1083"/>
                <a:gd name="T5" fmla="*/ 422 h 650"/>
                <a:gd name="T6" fmla="*/ 422 w 1083"/>
                <a:gd name="T7" fmla="*/ 600 h 650"/>
                <a:gd name="T8" fmla="*/ 0 w 1083"/>
                <a:gd name="T9" fmla="*/ 621 h 650"/>
                <a:gd name="T10" fmla="*/ 372 w 1083"/>
                <a:gd name="T11" fmla="*/ 618 h 650"/>
                <a:gd name="T12" fmla="*/ 29 w 1083"/>
                <a:gd name="T13" fmla="*/ 623 h 650"/>
                <a:gd name="T14" fmla="*/ 29 w 1083"/>
                <a:gd name="T15" fmla="*/ 635 h 650"/>
                <a:gd name="T16" fmla="*/ 101 w 1083"/>
                <a:gd name="T17" fmla="*/ 627 h 650"/>
                <a:gd name="T18" fmla="*/ 240 w 1083"/>
                <a:gd name="T19" fmla="*/ 636 h 650"/>
                <a:gd name="T20" fmla="*/ 199 w 1083"/>
                <a:gd name="T21" fmla="*/ 641 h 650"/>
                <a:gd name="T22" fmla="*/ 612 w 1083"/>
                <a:gd name="T23" fmla="*/ 498 h 650"/>
                <a:gd name="T24" fmla="*/ 585 w 1083"/>
                <a:gd name="T25" fmla="*/ 508 h 650"/>
                <a:gd name="T26" fmla="*/ 560 w 1083"/>
                <a:gd name="T27" fmla="*/ 546 h 650"/>
                <a:gd name="T28" fmla="*/ 593 w 1083"/>
                <a:gd name="T29" fmla="*/ 535 h 650"/>
                <a:gd name="T30" fmla="*/ 609 w 1083"/>
                <a:gd name="T31" fmla="*/ 504 h 650"/>
                <a:gd name="T32" fmla="*/ 998 w 1083"/>
                <a:gd name="T33" fmla="*/ 540 h 650"/>
                <a:gd name="T34" fmla="*/ 1027 w 1083"/>
                <a:gd name="T35" fmla="*/ 591 h 650"/>
                <a:gd name="T36" fmla="*/ 1046 w 1083"/>
                <a:gd name="T37" fmla="*/ 586 h 650"/>
                <a:gd name="T38" fmla="*/ 981 w 1083"/>
                <a:gd name="T39" fmla="*/ 456 h 650"/>
                <a:gd name="T40" fmla="*/ 858 w 1083"/>
                <a:gd name="T41" fmla="*/ 405 h 650"/>
                <a:gd name="T42" fmla="*/ 734 w 1083"/>
                <a:gd name="T43" fmla="*/ 53 h 650"/>
                <a:gd name="T44" fmla="*/ 618 w 1083"/>
                <a:gd name="T45" fmla="*/ 24 h 650"/>
                <a:gd name="T46" fmla="*/ 572 w 1083"/>
                <a:gd name="T47" fmla="*/ 2 h 650"/>
                <a:gd name="T48" fmla="*/ 445 w 1083"/>
                <a:gd name="T49" fmla="*/ 120 h 650"/>
                <a:gd name="T50" fmla="*/ 461 w 1083"/>
                <a:gd name="T51" fmla="*/ 188 h 650"/>
                <a:gd name="T52" fmla="*/ 389 w 1083"/>
                <a:gd name="T53" fmla="*/ 220 h 650"/>
                <a:gd name="T54" fmla="*/ 465 w 1083"/>
                <a:gd name="T55" fmla="*/ 254 h 650"/>
                <a:gd name="T56" fmla="*/ 395 w 1083"/>
                <a:gd name="T57" fmla="*/ 310 h 650"/>
                <a:gd name="T58" fmla="*/ 374 w 1083"/>
                <a:gd name="T59" fmla="*/ 363 h 650"/>
                <a:gd name="T60" fmla="*/ 421 w 1083"/>
                <a:gd name="T61" fmla="*/ 408 h 650"/>
                <a:gd name="T62" fmla="*/ 456 w 1083"/>
                <a:gd name="T63" fmla="*/ 465 h 650"/>
                <a:gd name="T64" fmla="*/ 499 w 1083"/>
                <a:gd name="T65" fmla="*/ 518 h 650"/>
                <a:gd name="T66" fmla="*/ 429 w 1083"/>
                <a:gd name="T67" fmla="*/ 573 h 650"/>
                <a:gd name="T68" fmla="*/ 383 w 1083"/>
                <a:gd name="T69" fmla="*/ 585 h 650"/>
                <a:gd name="T70" fmla="*/ 363 w 1083"/>
                <a:gd name="T71" fmla="*/ 607 h 650"/>
                <a:gd name="T72" fmla="*/ 391 w 1083"/>
                <a:gd name="T73" fmla="*/ 597 h 650"/>
                <a:gd name="T74" fmla="*/ 446 w 1083"/>
                <a:gd name="T75" fmla="*/ 579 h 650"/>
                <a:gd name="T76" fmla="*/ 480 w 1083"/>
                <a:gd name="T77" fmla="*/ 569 h 650"/>
                <a:gd name="T78" fmla="*/ 506 w 1083"/>
                <a:gd name="T79" fmla="*/ 550 h 650"/>
                <a:gd name="T80" fmla="*/ 541 w 1083"/>
                <a:gd name="T81" fmla="*/ 514 h 650"/>
                <a:gd name="T82" fmla="*/ 589 w 1083"/>
                <a:gd name="T83" fmla="*/ 479 h 650"/>
                <a:gd name="T84" fmla="*/ 611 w 1083"/>
                <a:gd name="T85" fmla="*/ 417 h 650"/>
                <a:gd name="T86" fmla="*/ 625 w 1083"/>
                <a:gd name="T87" fmla="*/ 455 h 650"/>
                <a:gd name="T88" fmla="*/ 666 w 1083"/>
                <a:gd name="T89" fmla="*/ 436 h 650"/>
                <a:gd name="T90" fmla="*/ 691 w 1083"/>
                <a:gd name="T91" fmla="*/ 397 h 650"/>
                <a:gd name="T92" fmla="*/ 725 w 1083"/>
                <a:gd name="T93" fmla="*/ 407 h 650"/>
                <a:gd name="T94" fmla="*/ 748 w 1083"/>
                <a:gd name="T95" fmla="*/ 421 h 650"/>
                <a:gd name="T96" fmla="*/ 850 w 1083"/>
                <a:gd name="T97" fmla="*/ 423 h 650"/>
                <a:gd name="T98" fmla="*/ 932 w 1083"/>
                <a:gd name="T99" fmla="*/ 468 h 650"/>
                <a:gd name="T100" fmla="*/ 981 w 1083"/>
                <a:gd name="T101" fmla="*/ 493 h 650"/>
                <a:gd name="T102" fmla="*/ 989 w 1083"/>
                <a:gd name="T103" fmla="*/ 502 h 650"/>
                <a:gd name="T104" fmla="*/ 983 w 1083"/>
                <a:gd name="T105" fmla="*/ 532 h 650"/>
                <a:gd name="T106" fmla="*/ 1007 w 1083"/>
                <a:gd name="T107" fmla="*/ 532 h 650"/>
                <a:gd name="T108" fmla="*/ 1048 w 1083"/>
                <a:gd name="T109" fmla="*/ 568 h 650"/>
                <a:gd name="T110" fmla="*/ 1083 w 1083"/>
                <a:gd name="T111" fmla="*/ 552 h 650"/>
                <a:gd name="T112" fmla="*/ 932 w 1083"/>
                <a:gd name="T113" fmla="*/ 494 h 650"/>
                <a:gd name="T114" fmla="*/ 974 w 1083"/>
                <a:gd name="T115" fmla="*/ 527 h 650"/>
                <a:gd name="T116" fmla="*/ 255 w 1083"/>
                <a:gd name="T117" fmla="*/ 64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3" h="650">
                  <a:moveTo>
                    <a:pt x="329" y="267"/>
                  </a:moveTo>
                  <a:cubicBezTo>
                    <a:pt x="332" y="268"/>
                    <a:pt x="332" y="270"/>
                    <a:pt x="336" y="270"/>
                  </a:cubicBezTo>
                  <a:cubicBezTo>
                    <a:pt x="337" y="268"/>
                    <a:pt x="339" y="267"/>
                    <a:pt x="340" y="264"/>
                  </a:cubicBezTo>
                  <a:cubicBezTo>
                    <a:pt x="336" y="260"/>
                    <a:pt x="327" y="261"/>
                    <a:pt x="325" y="254"/>
                  </a:cubicBezTo>
                  <a:cubicBezTo>
                    <a:pt x="322" y="254"/>
                    <a:pt x="321" y="252"/>
                    <a:pt x="320" y="251"/>
                  </a:cubicBezTo>
                  <a:cubicBezTo>
                    <a:pt x="320" y="246"/>
                    <a:pt x="319" y="244"/>
                    <a:pt x="318" y="241"/>
                  </a:cubicBezTo>
                  <a:cubicBezTo>
                    <a:pt x="315" y="240"/>
                    <a:pt x="310" y="241"/>
                    <a:pt x="306" y="243"/>
                  </a:cubicBezTo>
                  <a:cubicBezTo>
                    <a:pt x="303" y="240"/>
                    <a:pt x="299" y="238"/>
                    <a:pt x="296" y="235"/>
                  </a:cubicBezTo>
                  <a:cubicBezTo>
                    <a:pt x="296" y="234"/>
                    <a:pt x="298" y="230"/>
                    <a:pt x="296" y="230"/>
                  </a:cubicBezTo>
                  <a:cubicBezTo>
                    <a:pt x="292" y="234"/>
                    <a:pt x="283" y="248"/>
                    <a:pt x="294" y="250"/>
                  </a:cubicBezTo>
                  <a:cubicBezTo>
                    <a:pt x="295" y="250"/>
                    <a:pt x="296" y="250"/>
                    <a:pt x="296" y="250"/>
                  </a:cubicBezTo>
                  <a:cubicBezTo>
                    <a:pt x="298" y="249"/>
                    <a:pt x="299" y="248"/>
                    <a:pt x="302" y="248"/>
                  </a:cubicBezTo>
                  <a:cubicBezTo>
                    <a:pt x="306" y="251"/>
                    <a:pt x="312" y="254"/>
                    <a:pt x="311" y="261"/>
                  </a:cubicBezTo>
                  <a:cubicBezTo>
                    <a:pt x="315" y="262"/>
                    <a:pt x="318" y="267"/>
                    <a:pt x="317" y="272"/>
                  </a:cubicBezTo>
                  <a:cubicBezTo>
                    <a:pt x="322" y="276"/>
                    <a:pt x="322" y="266"/>
                    <a:pt x="329" y="267"/>
                  </a:cubicBezTo>
                  <a:close/>
                  <a:moveTo>
                    <a:pt x="327" y="385"/>
                  </a:moveTo>
                  <a:cubicBezTo>
                    <a:pt x="328" y="386"/>
                    <a:pt x="328" y="388"/>
                    <a:pt x="328" y="391"/>
                  </a:cubicBezTo>
                  <a:cubicBezTo>
                    <a:pt x="334" y="395"/>
                    <a:pt x="337" y="401"/>
                    <a:pt x="344" y="403"/>
                  </a:cubicBezTo>
                  <a:cubicBezTo>
                    <a:pt x="346" y="405"/>
                    <a:pt x="347" y="406"/>
                    <a:pt x="348" y="409"/>
                  </a:cubicBezTo>
                  <a:cubicBezTo>
                    <a:pt x="354" y="409"/>
                    <a:pt x="354" y="403"/>
                    <a:pt x="362" y="405"/>
                  </a:cubicBezTo>
                  <a:cubicBezTo>
                    <a:pt x="361" y="404"/>
                    <a:pt x="362" y="404"/>
                    <a:pt x="362" y="403"/>
                  </a:cubicBezTo>
                  <a:cubicBezTo>
                    <a:pt x="358" y="400"/>
                    <a:pt x="361" y="394"/>
                    <a:pt x="362" y="389"/>
                  </a:cubicBezTo>
                  <a:cubicBezTo>
                    <a:pt x="360" y="388"/>
                    <a:pt x="359" y="386"/>
                    <a:pt x="355" y="387"/>
                  </a:cubicBezTo>
                  <a:cubicBezTo>
                    <a:pt x="355" y="385"/>
                    <a:pt x="354" y="384"/>
                    <a:pt x="355" y="382"/>
                  </a:cubicBezTo>
                  <a:cubicBezTo>
                    <a:pt x="349" y="385"/>
                    <a:pt x="342" y="380"/>
                    <a:pt x="339" y="387"/>
                  </a:cubicBezTo>
                  <a:cubicBezTo>
                    <a:pt x="336" y="385"/>
                    <a:pt x="330" y="382"/>
                    <a:pt x="327" y="385"/>
                  </a:cubicBezTo>
                  <a:close/>
                  <a:moveTo>
                    <a:pt x="652" y="391"/>
                  </a:moveTo>
                  <a:cubicBezTo>
                    <a:pt x="649" y="391"/>
                    <a:pt x="648" y="393"/>
                    <a:pt x="649" y="394"/>
                  </a:cubicBezTo>
                  <a:cubicBezTo>
                    <a:pt x="651" y="394"/>
                    <a:pt x="652" y="393"/>
                    <a:pt x="652" y="391"/>
                  </a:cubicBezTo>
                  <a:close/>
                  <a:moveTo>
                    <a:pt x="696" y="430"/>
                  </a:moveTo>
                  <a:cubicBezTo>
                    <a:pt x="698" y="425"/>
                    <a:pt x="701" y="417"/>
                    <a:pt x="696" y="415"/>
                  </a:cubicBezTo>
                  <a:cubicBezTo>
                    <a:pt x="693" y="420"/>
                    <a:pt x="691" y="427"/>
                    <a:pt x="696" y="430"/>
                  </a:cubicBezTo>
                  <a:close/>
                  <a:moveTo>
                    <a:pt x="710" y="423"/>
                  </a:moveTo>
                  <a:cubicBezTo>
                    <a:pt x="709" y="418"/>
                    <a:pt x="704" y="421"/>
                    <a:pt x="706" y="425"/>
                  </a:cubicBezTo>
                  <a:cubicBezTo>
                    <a:pt x="703" y="426"/>
                    <a:pt x="704" y="428"/>
                    <a:pt x="702" y="431"/>
                  </a:cubicBezTo>
                  <a:cubicBezTo>
                    <a:pt x="700" y="435"/>
                    <a:pt x="693" y="436"/>
                    <a:pt x="695" y="439"/>
                  </a:cubicBezTo>
                  <a:cubicBezTo>
                    <a:pt x="694" y="439"/>
                    <a:pt x="694" y="440"/>
                    <a:pt x="693" y="440"/>
                  </a:cubicBezTo>
                  <a:cubicBezTo>
                    <a:pt x="693" y="441"/>
                    <a:pt x="693" y="443"/>
                    <a:pt x="693" y="444"/>
                  </a:cubicBezTo>
                  <a:cubicBezTo>
                    <a:pt x="697" y="444"/>
                    <a:pt x="699" y="443"/>
                    <a:pt x="700" y="441"/>
                  </a:cubicBezTo>
                  <a:cubicBezTo>
                    <a:pt x="702" y="443"/>
                    <a:pt x="704" y="439"/>
                    <a:pt x="702" y="437"/>
                  </a:cubicBezTo>
                  <a:cubicBezTo>
                    <a:pt x="703" y="436"/>
                    <a:pt x="703" y="437"/>
                    <a:pt x="704" y="437"/>
                  </a:cubicBezTo>
                  <a:cubicBezTo>
                    <a:pt x="703" y="430"/>
                    <a:pt x="712" y="429"/>
                    <a:pt x="712" y="422"/>
                  </a:cubicBezTo>
                  <a:cubicBezTo>
                    <a:pt x="711" y="422"/>
                    <a:pt x="711" y="423"/>
                    <a:pt x="710" y="423"/>
                  </a:cubicBezTo>
                  <a:close/>
                  <a:moveTo>
                    <a:pt x="240" y="483"/>
                  </a:moveTo>
                  <a:cubicBezTo>
                    <a:pt x="242" y="482"/>
                    <a:pt x="245" y="482"/>
                    <a:pt x="246" y="478"/>
                  </a:cubicBezTo>
                  <a:cubicBezTo>
                    <a:pt x="243" y="480"/>
                    <a:pt x="239" y="477"/>
                    <a:pt x="238" y="479"/>
                  </a:cubicBezTo>
                  <a:cubicBezTo>
                    <a:pt x="237" y="482"/>
                    <a:pt x="241" y="481"/>
                    <a:pt x="240" y="483"/>
                  </a:cubicBezTo>
                  <a:close/>
                  <a:moveTo>
                    <a:pt x="248" y="509"/>
                  </a:moveTo>
                  <a:cubicBezTo>
                    <a:pt x="249" y="508"/>
                    <a:pt x="251" y="508"/>
                    <a:pt x="251" y="506"/>
                  </a:cubicBezTo>
                  <a:cubicBezTo>
                    <a:pt x="250" y="505"/>
                    <a:pt x="247" y="505"/>
                    <a:pt x="245" y="503"/>
                  </a:cubicBezTo>
                  <a:cubicBezTo>
                    <a:pt x="244" y="505"/>
                    <a:pt x="246" y="507"/>
                    <a:pt x="248" y="509"/>
                  </a:cubicBezTo>
                  <a:close/>
                  <a:moveTo>
                    <a:pt x="428" y="592"/>
                  </a:moveTo>
                  <a:cubicBezTo>
                    <a:pt x="426" y="592"/>
                    <a:pt x="427" y="593"/>
                    <a:pt x="426" y="593"/>
                  </a:cubicBezTo>
                  <a:cubicBezTo>
                    <a:pt x="426" y="593"/>
                    <a:pt x="425" y="592"/>
                    <a:pt x="425" y="591"/>
                  </a:cubicBezTo>
                  <a:cubicBezTo>
                    <a:pt x="418" y="591"/>
                    <a:pt x="419" y="600"/>
                    <a:pt x="420" y="603"/>
                  </a:cubicBezTo>
                  <a:cubicBezTo>
                    <a:pt x="421" y="603"/>
                    <a:pt x="421" y="601"/>
                    <a:pt x="422" y="600"/>
                  </a:cubicBezTo>
                  <a:cubicBezTo>
                    <a:pt x="424" y="602"/>
                    <a:pt x="425" y="603"/>
                    <a:pt x="427" y="604"/>
                  </a:cubicBezTo>
                  <a:cubicBezTo>
                    <a:pt x="427" y="603"/>
                    <a:pt x="427" y="601"/>
                    <a:pt x="429" y="601"/>
                  </a:cubicBezTo>
                  <a:cubicBezTo>
                    <a:pt x="429" y="599"/>
                    <a:pt x="427" y="598"/>
                    <a:pt x="427" y="596"/>
                  </a:cubicBezTo>
                  <a:cubicBezTo>
                    <a:pt x="428" y="597"/>
                    <a:pt x="430" y="599"/>
                    <a:pt x="431" y="600"/>
                  </a:cubicBezTo>
                  <a:cubicBezTo>
                    <a:pt x="432" y="599"/>
                    <a:pt x="433" y="596"/>
                    <a:pt x="432" y="594"/>
                  </a:cubicBezTo>
                  <a:cubicBezTo>
                    <a:pt x="430" y="595"/>
                    <a:pt x="428" y="594"/>
                    <a:pt x="428" y="592"/>
                  </a:cubicBezTo>
                  <a:close/>
                  <a:moveTo>
                    <a:pt x="11" y="620"/>
                  </a:moveTo>
                  <a:cubicBezTo>
                    <a:pt x="13" y="620"/>
                    <a:pt x="15" y="621"/>
                    <a:pt x="15" y="618"/>
                  </a:cubicBezTo>
                  <a:cubicBezTo>
                    <a:pt x="12" y="618"/>
                    <a:pt x="11" y="617"/>
                    <a:pt x="10" y="616"/>
                  </a:cubicBezTo>
                  <a:cubicBezTo>
                    <a:pt x="9" y="615"/>
                    <a:pt x="9" y="614"/>
                    <a:pt x="8" y="612"/>
                  </a:cubicBezTo>
                  <a:cubicBezTo>
                    <a:pt x="5" y="612"/>
                    <a:pt x="3" y="609"/>
                    <a:pt x="0" y="612"/>
                  </a:cubicBezTo>
                  <a:cubicBezTo>
                    <a:pt x="2" y="614"/>
                    <a:pt x="3" y="617"/>
                    <a:pt x="5" y="619"/>
                  </a:cubicBezTo>
                  <a:cubicBezTo>
                    <a:pt x="4" y="620"/>
                    <a:pt x="3" y="619"/>
                    <a:pt x="1" y="619"/>
                  </a:cubicBezTo>
                  <a:cubicBezTo>
                    <a:pt x="1" y="620"/>
                    <a:pt x="0" y="620"/>
                    <a:pt x="0" y="621"/>
                  </a:cubicBezTo>
                  <a:cubicBezTo>
                    <a:pt x="3" y="621"/>
                    <a:pt x="2" y="625"/>
                    <a:pt x="5" y="626"/>
                  </a:cubicBezTo>
                  <a:cubicBezTo>
                    <a:pt x="5" y="624"/>
                    <a:pt x="5" y="623"/>
                    <a:pt x="6" y="623"/>
                  </a:cubicBezTo>
                  <a:cubicBezTo>
                    <a:pt x="9" y="623"/>
                    <a:pt x="9" y="620"/>
                    <a:pt x="11" y="620"/>
                  </a:cubicBezTo>
                  <a:close/>
                  <a:moveTo>
                    <a:pt x="312" y="616"/>
                  </a:moveTo>
                  <a:cubicBezTo>
                    <a:pt x="312" y="615"/>
                    <a:pt x="314" y="615"/>
                    <a:pt x="313" y="613"/>
                  </a:cubicBezTo>
                  <a:cubicBezTo>
                    <a:pt x="310" y="613"/>
                    <a:pt x="309" y="613"/>
                    <a:pt x="308" y="614"/>
                  </a:cubicBezTo>
                  <a:cubicBezTo>
                    <a:pt x="308" y="616"/>
                    <a:pt x="310" y="617"/>
                    <a:pt x="308" y="619"/>
                  </a:cubicBezTo>
                  <a:cubicBezTo>
                    <a:pt x="307" y="616"/>
                    <a:pt x="304" y="617"/>
                    <a:pt x="304" y="614"/>
                  </a:cubicBezTo>
                  <a:cubicBezTo>
                    <a:pt x="299" y="612"/>
                    <a:pt x="296" y="617"/>
                    <a:pt x="298" y="621"/>
                  </a:cubicBezTo>
                  <a:cubicBezTo>
                    <a:pt x="300" y="621"/>
                    <a:pt x="301" y="620"/>
                    <a:pt x="302" y="622"/>
                  </a:cubicBezTo>
                  <a:cubicBezTo>
                    <a:pt x="304" y="621"/>
                    <a:pt x="307" y="620"/>
                    <a:pt x="310" y="621"/>
                  </a:cubicBezTo>
                  <a:cubicBezTo>
                    <a:pt x="311" y="620"/>
                    <a:pt x="312" y="619"/>
                    <a:pt x="315" y="619"/>
                  </a:cubicBezTo>
                  <a:cubicBezTo>
                    <a:pt x="315" y="616"/>
                    <a:pt x="313" y="617"/>
                    <a:pt x="312" y="616"/>
                  </a:cubicBezTo>
                  <a:close/>
                  <a:moveTo>
                    <a:pt x="372" y="618"/>
                  </a:moveTo>
                  <a:cubicBezTo>
                    <a:pt x="370" y="621"/>
                    <a:pt x="376" y="625"/>
                    <a:pt x="379" y="624"/>
                  </a:cubicBezTo>
                  <a:cubicBezTo>
                    <a:pt x="379" y="623"/>
                    <a:pt x="378" y="621"/>
                    <a:pt x="378" y="620"/>
                  </a:cubicBezTo>
                  <a:cubicBezTo>
                    <a:pt x="375" y="621"/>
                    <a:pt x="376" y="617"/>
                    <a:pt x="372" y="618"/>
                  </a:cubicBezTo>
                  <a:close/>
                  <a:moveTo>
                    <a:pt x="29" y="623"/>
                  </a:moveTo>
                  <a:cubicBezTo>
                    <a:pt x="29" y="620"/>
                    <a:pt x="28" y="619"/>
                    <a:pt x="26" y="619"/>
                  </a:cubicBezTo>
                  <a:cubicBezTo>
                    <a:pt x="24" y="620"/>
                    <a:pt x="24" y="622"/>
                    <a:pt x="22" y="623"/>
                  </a:cubicBezTo>
                  <a:cubicBezTo>
                    <a:pt x="18" y="622"/>
                    <a:pt x="16" y="625"/>
                    <a:pt x="13" y="622"/>
                  </a:cubicBezTo>
                  <a:cubicBezTo>
                    <a:pt x="12" y="622"/>
                    <a:pt x="10" y="622"/>
                    <a:pt x="10" y="623"/>
                  </a:cubicBezTo>
                  <a:cubicBezTo>
                    <a:pt x="10" y="624"/>
                    <a:pt x="10" y="625"/>
                    <a:pt x="11" y="626"/>
                  </a:cubicBezTo>
                  <a:cubicBezTo>
                    <a:pt x="12" y="627"/>
                    <a:pt x="12" y="625"/>
                    <a:pt x="13" y="624"/>
                  </a:cubicBezTo>
                  <a:cubicBezTo>
                    <a:pt x="13" y="626"/>
                    <a:pt x="16" y="625"/>
                    <a:pt x="18" y="626"/>
                  </a:cubicBezTo>
                  <a:cubicBezTo>
                    <a:pt x="19" y="627"/>
                    <a:pt x="19" y="628"/>
                    <a:pt x="20" y="629"/>
                  </a:cubicBezTo>
                  <a:cubicBezTo>
                    <a:pt x="22" y="628"/>
                    <a:pt x="22" y="629"/>
                    <a:pt x="24" y="629"/>
                  </a:cubicBezTo>
                  <a:cubicBezTo>
                    <a:pt x="25" y="627"/>
                    <a:pt x="26" y="623"/>
                    <a:pt x="29" y="623"/>
                  </a:cubicBezTo>
                  <a:close/>
                  <a:moveTo>
                    <a:pt x="53" y="629"/>
                  </a:moveTo>
                  <a:cubicBezTo>
                    <a:pt x="53" y="627"/>
                    <a:pt x="53" y="627"/>
                    <a:pt x="55" y="627"/>
                  </a:cubicBezTo>
                  <a:cubicBezTo>
                    <a:pt x="54" y="615"/>
                    <a:pt x="43" y="628"/>
                    <a:pt x="53" y="629"/>
                  </a:cubicBezTo>
                  <a:close/>
                  <a:moveTo>
                    <a:pt x="45" y="631"/>
                  </a:moveTo>
                  <a:cubicBezTo>
                    <a:pt x="46" y="627"/>
                    <a:pt x="39" y="630"/>
                    <a:pt x="38" y="627"/>
                  </a:cubicBezTo>
                  <a:cubicBezTo>
                    <a:pt x="41" y="627"/>
                    <a:pt x="41" y="624"/>
                    <a:pt x="41" y="622"/>
                  </a:cubicBezTo>
                  <a:cubicBezTo>
                    <a:pt x="38" y="623"/>
                    <a:pt x="38" y="622"/>
                    <a:pt x="35" y="622"/>
                  </a:cubicBezTo>
                  <a:cubicBezTo>
                    <a:pt x="33" y="623"/>
                    <a:pt x="34" y="627"/>
                    <a:pt x="32" y="627"/>
                  </a:cubicBezTo>
                  <a:cubicBezTo>
                    <a:pt x="32" y="626"/>
                    <a:pt x="31" y="626"/>
                    <a:pt x="30" y="626"/>
                  </a:cubicBezTo>
                  <a:cubicBezTo>
                    <a:pt x="29" y="627"/>
                    <a:pt x="29" y="628"/>
                    <a:pt x="29" y="629"/>
                  </a:cubicBezTo>
                  <a:cubicBezTo>
                    <a:pt x="27" y="630"/>
                    <a:pt x="25" y="632"/>
                    <a:pt x="24" y="634"/>
                  </a:cubicBezTo>
                  <a:cubicBezTo>
                    <a:pt x="25" y="634"/>
                    <a:pt x="25" y="634"/>
                    <a:pt x="26" y="635"/>
                  </a:cubicBezTo>
                  <a:cubicBezTo>
                    <a:pt x="28" y="635"/>
                    <a:pt x="27" y="633"/>
                    <a:pt x="29" y="633"/>
                  </a:cubicBezTo>
                  <a:cubicBezTo>
                    <a:pt x="29" y="634"/>
                    <a:pt x="29" y="634"/>
                    <a:pt x="29" y="635"/>
                  </a:cubicBezTo>
                  <a:cubicBezTo>
                    <a:pt x="31" y="635"/>
                    <a:pt x="31" y="636"/>
                    <a:pt x="32" y="636"/>
                  </a:cubicBezTo>
                  <a:cubicBezTo>
                    <a:pt x="33" y="632"/>
                    <a:pt x="38" y="636"/>
                    <a:pt x="38" y="633"/>
                  </a:cubicBezTo>
                  <a:cubicBezTo>
                    <a:pt x="39" y="635"/>
                    <a:pt x="42" y="635"/>
                    <a:pt x="44" y="635"/>
                  </a:cubicBezTo>
                  <a:cubicBezTo>
                    <a:pt x="44" y="634"/>
                    <a:pt x="45" y="633"/>
                    <a:pt x="45" y="632"/>
                  </a:cubicBezTo>
                  <a:cubicBezTo>
                    <a:pt x="46" y="633"/>
                    <a:pt x="46" y="634"/>
                    <a:pt x="46" y="635"/>
                  </a:cubicBezTo>
                  <a:cubicBezTo>
                    <a:pt x="49" y="635"/>
                    <a:pt x="49" y="634"/>
                    <a:pt x="51" y="635"/>
                  </a:cubicBezTo>
                  <a:cubicBezTo>
                    <a:pt x="51" y="634"/>
                    <a:pt x="51" y="633"/>
                    <a:pt x="53" y="634"/>
                  </a:cubicBezTo>
                  <a:cubicBezTo>
                    <a:pt x="53" y="633"/>
                    <a:pt x="53" y="632"/>
                    <a:pt x="53" y="630"/>
                  </a:cubicBezTo>
                  <a:cubicBezTo>
                    <a:pt x="49" y="631"/>
                    <a:pt x="47" y="628"/>
                    <a:pt x="45" y="631"/>
                  </a:cubicBezTo>
                  <a:close/>
                  <a:moveTo>
                    <a:pt x="113" y="644"/>
                  </a:moveTo>
                  <a:cubicBezTo>
                    <a:pt x="111" y="640"/>
                    <a:pt x="101" y="641"/>
                    <a:pt x="99" y="638"/>
                  </a:cubicBezTo>
                  <a:cubicBezTo>
                    <a:pt x="99" y="637"/>
                    <a:pt x="97" y="636"/>
                    <a:pt x="98" y="636"/>
                  </a:cubicBezTo>
                  <a:cubicBezTo>
                    <a:pt x="101" y="637"/>
                    <a:pt x="102" y="635"/>
                    <a:pt x="104" y="634"/>
                  </a:cubicBezTo>
                  <a:cubicBezTo>
                    <a:pt x="104" y="630"/>
                    <a:pt x="102" y="630"/>
                    <a:pt x="101" y="627"/>
                  </a:cubicBezTo>
                  <a:cubicBezTo>
                    <a:pt x="98" y="627"/>
                    <a:pt x="96" y="626"/>
                    <a:pt x="95" y="629"/>
                  </a:cubicBezTo>
                  <a:cubicBezTo>
                    <a:pt x="95" y="628"/>
                    <a:pt x="93" y="628"/>
                    <a:pt x="92" y="629"/>
                  </a:cubicBezTo>
                  <a:cubicBezTo>
                    <a:pt x="92" y="631"/>
                    <a:pt x="95" y="631"/>
                    <a:pt x="96" y="633"/>
                  </a:cubicBezTo>
                  <a:cubicBezTo>
                    <a:pt x="92" y="633"/>
                    <a:pt x="89" y="632"/>
                    <a:pt x="85" y="635"/>
                  </a:cubicBezTo>
                  <a:cubicBezTo>
                    <a:pt x="84" y="633"/>
                    <a:pt x="81" y="635"/>
                    <a:pt x="79" y="632"/>
                  </a:cubicBezTo>
                  <a:cubicBezTo>
                    <a:pt x="79" y="634"/>
                    <a:pt x="76" y="632"/>
                    <a:pt x="75" y="634"/>
                  </a:cubicBezTo>
                  <a:cubicBezTo>
                    <a:pt x="74" y="632"/>
                    <a:pt x="69" y="631"/>
                    <a:pt x="68" y="633"/>
                  </a:cubicBezTo>
                  <a:cubicBezTo>
                    <a:pt x="75" y="637"/>
                    <a:pt x="85" y="638"/>
                    <a:pt x="90" y="640"/>
                  </a:cubicBezTo>
                  <a:cubicBezTo>
                    <a:pt x="93" y="636"/>
                    <a:pt x="100" y="641"/>
                    <a:pt x="102" y="645"/>
                  </a:cubicBezTo>
                  <a:cubicBezTo>
                    <a:pt x="110" y="646"/>
                    <a:pt x="113" y="649"/>
                    <a:pt x="124" y="650"/>
                  </a:cubicBezTo>
                  <a:cubicBezTo>
                    <a:pt x="122" y="646"/>
                    <a:pt x="115" y="646"/>
                    <a:pt x="113" y="644"/>
                  </a:cubicBezTo>
                  <a:close/>
                  <a:moveTo>
                    <a:pt x="256" y="630"/>
                  </a:moveTo>
                  <a:cubicBezTo>
                    <a:pt x="254" y="630"/>
                    <a:pt x="252" y="630"/>
                    <a:pt x="252" y="627"/>
                  </a:cubicBezTo>
                  <a:cubicBezTo>
                    <a:pt x="244" y="625"/>
                    <a:pt x="237" y="632"/>
                    <a:pt x="240" y="636"/>
                  </a:cubicBezTo>
                  <a:cubicBezTo>
                    <a:pt x="238" y="635"/>
                    <a:pt x="236" y="636"/>
                    <a:pt x="234" y="634"/>
                  </a:cubicBezTo>
                  <a:cubicBezTo>
                    <a:pt x="233" y="637"/>
                    <a:pt x="226" y="637"/>
                    <a:pt x="229" y="642"/>
                  </a:cubicBezTo>
                  <a:cubicBezTo>
                    <a:pt x="226" y="642"/>
                    <a:pt x="226" y="644"/>
                    <a:pt x="225" y="645"/>
                  </a:cubicBezTo>
                  <a:cubicBezTo>
                    <a:pt x="223" y="643"/>
                    <a:pt x="223" y="649"/>
                    <a:pt x="220" y="646"/>
                  </a:cubicBezTo>
                  <a:cubicBezTo>
                    <a:pt x="220" y="649"/>
                    <a:pt x="219" y="646"/>
                    <a:pt x="218" y="649"/>
                  </a:cubicBezTo>
                  <a:cubicBezTo>
                    <a:pt x="223" y="649"/>
                    <a:pt x="225" y="647"/>
                    <a:pt x="229" y="648"/>
                  </a:cubicBezTo>
                  <a:cubicBezTo>
                    <a:pt x="228" y="646"/>
                    <a:pt x="232" y="645"/>
                    <a:pt x="236" y="645"/>
                  </a:cubicBezTo>
                  <a:cubicBezTo>
                    <a:pt x="239" y="639"/>
                    <a:pt x="247" y="638"/>
                    <a:pt x="254" y="636"/>
                  </a:cubicBezTo>
                  <a:cubicBezTo>
                    <a:pt x="253" y="632"/>
                    <a:pt x="257" y="633"/>
                    <a:pt x="256" y="630"/>
                  </a:cubicBezTo>
                  <a:close/>
                  <a:moveTo>
                    <a:pt x="199" y="641"/>
                  </a:moveTo>
                  <a:cubicBezTo>
                    <a:pt x="196" y="643"/>
                    <a:pt x="200" y="647"/>
                    <a:pt x="202" y="644"/>
                  </a:cubicBezTo>
                  <a:cubicBezTo>
                    <a:pt x="203" y="645"/>
                    <a:pt x="203" y="647"/>
                    <a:pt x="205" y="647"/>
                  </a:cubicBezTo>
                  <a:cubicBezTo>
                    <a:pt x="206" y="646"/>
                    <a:pt x="208" y="645"/>
                    <a:pt x="207" y="643"/>
                  </a:cubicBezTo>
                  <a:cubicBezTo>
                    <a:pt x="205" y="640"/>
                    <a:pt x="203" y="642"/>
                    <a:pt x="199" y="641"/>
                  </a:cubicBezTo>
                  <a:close/>
                  <a:moveTo>
                    <a:pt x="140" y="642"/>
                  </a:moveTo>
                  <a:cubicBezTo>
                    <a:pt x="136" y="641"/>
                    <a:pt x="133" y="642"/>
                    <a:pt x="132" y="646"/>
                  </a:cubicBezTo>
                  <a:cubicBezTo>
                    <a:pt x="135" y="648"/>
                    <a:pt x="139" y="647"/>
                    <a:pt x="142" y="646"/>
                  </a:cubicBezTo>
                  <a:cubicBezTo>
                    <a:pt x="143" y="643"/>
                    <a:pt x="140" y="644"/>
                    <a:pt x="140" y="642"/>
                  </a:cubicBezTo>
                  <a:close/>
                  <a:moveTo>
                    <a:pt x="176" y="647"/>
                  </a:moveTo>
                  <a:cubicBezTo>
                    <a:pt x="178" y="649"/>
                    <a:pt x="182" y="647"/>
                    <a:pt x="185" y="646"/>
                  </a:cubicBezTo>
                  <a:cubicBezTo>
                    <a:pt x="185" y="639"/>
                    <a:pt x="177" y="643"/>
                    <a:pt x="176" y="647"/>
                  </a:cubicBezTo>
                  <a:close/>
                  <a:moveTo>
                    <a:pt x="168" y="645"/>
                  </a:moveTo>
                  <a:cubicBezTo>
                    <a:pt x="166" y="645"/>
                    <a:pt x="164" y="646"/>
                    <a:pt x="165" y="648"/>
                  </a:cubicBezTo>
                  <a:cubicBezTo>
                    <a:pt x="166" y="648"/>
                    <a:pt x="166" y="649"/>
                    <a:pt x="168" y="649"/>
                  </a:cubicBezTo>
                  <a:cubicBezTo>
                    <a:pt x="168" y="648"/>
                    <a:pt x="168" y="648"/>
                    <a:pt x="169" y="648"/>
                  </a:cubicBezTo>
                  <a:cubicBezTo>
                    <a:pt x="169" y="646"/>
                    <a:pt x="168" y="646"/>
                    <a:pt x="168" y="645"/>
                  </a:cubicBezTo>
                  <a:close/>
                  <a:moveTo>
                    <a:pt x="614" y="497"/>
                  </a:moveTo>
                  <a:cubicBezTo>
                    <a:pt x="614" y="499"/>
                    <a:pt x="613" y="499"/>
                    <a:pt x="612" y="498"/>
                  </a:cubicBezTo>
                  <a:cubicBezTo>
                    <a:pt x="613" y="498"/>
                    <a:pt x="612" y="497"/>
                    <a:pt x="613" y="496"/>
                  </a:cubicBezTo>
                  <a:cubicBezTo>
                    <a:pt x="611" y="494"/>
                    <a:pt x="611" y="497"/>
                    <a:pt x="610" y="497"/>
                  </a:cubicBezTo>
                  <a:cubicBezTo>
                    <a:pt x="610" y="496"/>
                    <a:pt x="609" y="495"/>
                    <a:pt x="608" y="494"/>
                  </a:cubicBezTo>
                  <a:cubicBezTo>
                    <a:pt x="608" y="495"/>
                    <a:pt x="608" y="494"/>
                    <a:pt x="607" y="494"/>
                  </a:cubicBezTo>
                  <a:cubicBezTo>
                    <a:pt x="606" y="494"/>
                    <a:pt x="607" y="496"/>
                    <a:pt x="606" y="496"/>
                  </a:cubicBezTo>
                  <a:cubicBezTo>
                    <a:pt x="605" y="496"/>
                    <a:pt x="605" y="495"/>
                    <a:pt x="605" y="494"/>
                  </a:cubicBezTo>
                  <a:cubicBezTo>
                    <a:pt x="607" y="492"/>
                    <a:pt x="609" y="491"/>
                    <a:pt x="608" y="486"/>
                  </a:cubicBezTo>
                  <a:cubicBezTo>
                    <a:pt x="605" y="487"/>
                    <a:pt x="600" y="485"/>
                    <a:pt x="601" y="492"/>
                  </a:cubicBezTo>
                  <a:cubicBezTo>
                    <a:pt x="599" y="493"/>
                    <a:pt x="598" y="495"/>
                    <a:pt x="596" y="495"/>
                  </a:cubicBezTo>
                  <a:cubicBezTo>
                    <a:pt x="596" y="496"/>
                    <a:pt x="597" y="496"/>
                    <a:pt x="597" y="497"/>
                  </a:cubicBezTo>
                  <a:cubicBezTo>
                    <a:pt x="594" y="496"/>
                    <a:pt x="596" y="499"/>
                    <a:pt x="595" y="499"/>
                  </a:cubicBezTo>
                  <a:cubicBezTo>
                    <a:pt x="595" y="498"/>
                    <a:pt x="594" y="498"/>
                    <a:pt x="593" y="498"/>
                  </a:cubicBezTo>
                  <a:cubicBezTo>
                    <a:pt x="591" y="499"/>
                    <a:pt x="592" y="501"/>
                    <a:pt x="592" y="502"/>
                  </a:cubicBezTo>
                  <a:cubicBezTo>
                    <a:pt x="589" y="501"/>
                    <a:pt x="587" y="506"/>
                    <a:pt x="585" y="508"/>
                  </a:cubicBezTo>
                  <a:cubicBezTo>
                    <a:pt x="587" y="509"/>
                    <a:pt x="592" y="509"/>
                    <a:pt x="591" y="511"/>
                  </a:cubicBezTo>
                  <a:cubicBezTo>
                    <a:pt x="591" y="510"/>
                    <a:pt x="588" y="508"/>
                    <a:pt x="587" y="511"/>
                  </a:cubicBezTo>
                  <a:cubicBezTo>
                    <a:pt x="588" y="511"/>
                    <a:pt x="589" y="512"/>
                    <a:pt x="590" y="513"/>
                  </a:cubicBezTo>
                  <a:cubicBezTo>
                    <a:pt x="587" y="513"/>
                    <a:pt x="587" y="510"/>
                    <a:pt x="583" y="510"/>
                  </a:cubicBezTo>
                  <a:cubicBezTo>
                    <a:pt x="581" y="512"/>
                    <a:pt x="583" y="513"/>
                    <a:pt x="584" y="515"/>
                  </a:cubicBezTo>
                  <a:cubicBezTo>
                    <a:pt x="583" y="515"/>
                    <a:pt x="584" y="517"/>
                    <a:pt x="583" y="518"/>
                  </a:cubicBezTo>
                  <a:cubicBezTo>
                    <a:pt x="583" y="515"/>
                    <a:pt x="581" y="515"/>
                    <a:pt x="582" y="513"/>
                  </a:cubicBezTo>
                  <a:cubicBezTo>
                    <a:pt x="577" y="512"/>
                    <a:pt x="573" y="514"/>
                    <a:pt x="574" y="519"/>
                  </a:cubicBezTo>
                  <a:cubicBezTo>
                    <a:pt x="574" y="520"/>
                    <a:pt x="576" y="521"/>
                    <a:pt x="577" y="521"/>
                  </a:cubicBezTo>
                  <a:cubicBezTo>
                    <a:pt x="576" y="521"/>
                    <a:pt x="575" y="521"/>
                    <a:pt x="575" y="522"/>
                  </a:cubicBezTo>
                  <a:cubicBezTo>
                    <a:pt x="576" y="524"/>
                    <a:pt x="576" y="528"/>
                    <a:pt x="575" y="530"/>
                  </a:cubicBezTo>
                  <a:cubicBezTo>
                    <a:pt x="576" y="521"/>
                    <a:pt x="567" y="518"/>
                    <a:pt x="563" y="524"/>
                  </a:cubicBezTo>
                  <a:cubicBezTo>
                    <a:pt x="559" y="525"/>
                    <a:pt x="556" y="531"/>
                    <a:pt x="555" y="534"/>
                  </a:cubicBezTo>
                  <a:cubicBezTo>
                    <a:pt x="560" y="534"/>
                    <a:pt x="561" y="539"/>
                    <a:pt x="560" y="546"/>
                  </a:cubicBezTo>
                  <a:cubicBezTo>
                    <a:pt x="563" y="546"/>
                    <a:pt x="565" y="549"/>
                    <a:pt x="564" y="552"/>
                  </a:cubicBezTo>
                  <a:cubicBezTo>
                    <a:pt x="568" y="550"/>
                    <a:pt x="570" y="545"/>
                    <a:pt x="574" y="549"/>
                  </a:cubicBezTo>
                  <a:cubicBezTo>
                    <a:pt x="570" y="549"/>
                    <a:pt x="568" y="552"/>
                    <a:pt x="567" y="555"/>
                  </a:cubicBezTo>
                  <a:cubicBezTo>
                    <a:pt x="568" y="556"/>
                    <a:pt x="570" y="556"/>
                    <a:pt x="572" y="556"/>
                  </a:cubicBezTo>
                  <a:cubicBezTo>
                    <a:pt x="574" y="554"/>
                    <a:pt x="575" y="553"/>
                    <a:pt x="578" y="552"/>
                  </a:cubicBezTo>
                  <a:cubicBezTo>
                    <a:pt x="578" y="551"/>
                    <a:pt x="578" y="551"/>
                    <a:pt x="578" y="550"/>
                  </a:cubicBezTo>
                  <a:cubicBezTo>
                    <a:pt x="582" y="550"/>
                    <a:pt x="581" y="547"/>
                    <a:pt x="580" y="544"/>
                  </a:cubicBezTo>
                  <a:cubicBezTo>
                    <a:pt x="583" y="546"/>
                    <a:pt x="582" y="543"/>
                    <a:pt x="584" y="543"/>
                  </a:cubicBezTo>
                  <a:cubicBezTo>
                    <a:pt x="583" y="545"/>
                    <a:pt x="585" y="546"/>
                    <a:pt x="585" y="548"/>
                  </a:cubicBezTo>
                  <a:cubicBezTo>
                    <a:pt x="588" y="548"/>
                    <a:pt x="588" y="546"/>
                    <a:pt x="589" y="544"/>
                  </a:cubicBezTo>
                  <a:cubicBezTo>
                    <a:pt x="591" y="545"/>
                    <a:pt x="592" y="542"/>
                    <a:pt x="595" y="543"/>
                  </a:cubicBezTo>
                  <a:cubicBezTo>
                    <a:pt x="595" y="542"/>
                    <a:pt x="596" y="542"/>
                    <a:pt x="595" y="541"/>
                  </a:cubicBezTo>
                  <a:cubicBezTo>
                    <a:pt x="594" y="540"/>
                    <a:pt x="592" y="540"/>
                    <a:pt x="592" y="540"/>
                  </a:cubicBezTo>
                  <a:cubicBezTo>
                    <a:pt x="595" y="540"/>
                    <a:pt x="593" y="536"/>
                    <a:pt x="593" y="535"/>
                  </a:cubicBezTo>
                  <a:cubicBezTo>
                    <a:pt x="594" y="538"/>
                    <a:pt x="597" y="538"/>
                    <a:pt x="599" y="538"/>
                  </a:cubicBezTo>
                  <a:cubicBezTo>
                    <a:pt x="600" y="536"/>
                    <a:pt x="602" y="535"/>
                    <a:pt x="601" y="533"/>
                  </a:cubicBezTo>
                  <a:cubicBezTo>
                    <a:pt x="600" y="532"/>
                    <a:pt x="598" y="531"/>
                    <a:pt x="598" y="529"/>
                  </a:cubicBezTo>
                  <a:cubicBezTo>
                    <a:pt x="600" y="532"/>
                    <a:pt x="603" y="532"/>
                    <a:pt x="607" y="533"/>
                  </a:cubicBezTo>
                  <a:cubicBezTo>
                    <a:pt x="606" y="528"/>
                    <a:pt x="611" y="529"/>
                    <a:pt x="610" y="524"/>
                  </a:cubicBezTo>
                  <a:cubicBezTo>
                    <a:pt x="608" y="525"/>
                    <a:pt x="607" y="523"/>
                    <a:pt x="605" y="525"/>
                  </a:cubicBezTo>
                  <a:cubicBezTo>
                    <a:pt x="606" y="522"/>
                    <a:pt x="605" y="522"/>
                    <a:pt x="605" y="520"/>
                  </a:cubicBezTo>
                  <a:cubicBezTo>
                    <a:pt x="606" y="520"/>
                    <a:pt x="606" y="519"/>
                    <a:pt x="607" y="519"/>
                  </a:cubicBezTo>
                  <a:cubicBezTo>
                    <a:pt x="607" y="515"/>
                    <a:pt x="606" y="516"/>
                    <a:pt x="608" y="513"/>
                  </a:cubicBezTo>
                  <a:cubicBezTo>
                    <a:pt x="607" y="513"/>
                    <a:pt x="606" y="513"/>
                    <a:pt x="606" y="511"/>
                  </a:cubicBezTo>
                  <a:cubicBezTo>
                    <a:pt x="603" y="513"/>
                    <a:pt x="601" y="513"/>
                    <a:pt x="598" y="515"/>
                  </a:cubicBezTo>
                  <a:cubicBezTo>
                    <a:pt x="599" y="513"/>
                    <a:pt x="597" y="513"/>
                    <a:pt x="595" y="511"/>
                  </a:cubicBezTo>
                  <a:cubicBezTo>
                    <a:pt x="602" y="511"/>
                    <a:pt x="602" y="505"/>
                    <a:pt x="608" y="507"/>
                  </a:cubicBezTo>
                  <a:cubicBezTo>
                    <a:pt x="609" y="507"/>
                    <a:pt x="608" y="505"/>
                    <a:pt x="609" y="504"/>
                  </a:cubicBezTo>
                  <a:cubicBezTo>
                    <a:pt x="610" y="505"/>
                    <a:pt x="611" y="506"/>
                    <a:pt x="613" y="506"/>
                  </a:cubicBezTo>
                  <a:cubicBezTo>
                    <a:pt x="613" y="504"/>
                    <a:pt x="614" y="504"/>
                    <a:pt x="615" y="503"/>
                  </a:cubicBezTo>
                  <a:cubicBezTo>
                    <a:pt x="615" y="501"/>
                    <a:pt x="616" y="498"/>
                    <a:pt x="614" y="497"/>
                  </a:cubicBezTo>
                  <a:close/>
                  <a:moveTo>
                    <a:pt x="1041" y="573"/>
                  </a:moveTo>
                  <a:cubicBezTo>
                    <a:pt x="1043" y="571"/>
                    <a:pt x="1042" y="567"/>
                    <a:pt x="1040" y="564"/>
                  </a:cubicBezTo>
                  <a:cubicBezTo>
                    <a:pt x="1038" y="564"/>
                    <a:pt x="1039" y="564"/>
                    <a:pt x="1037" y="564"/>
                  </a:cubicBezTo>
                  <a:cubicBezTo>
                    <a:pt x="1036" y="560"/>
                    <a:pt x="1032" y="559"/>
                    <a:pt x="1030" y="557"/>
                  </a:cubicBezTo>
                  <a:cubicBezTo>
                    <a:pt x="1032" y="558"/>
                    <a:pt x="1034" y="559"/>
                    <a:pt x="1036" y="559"/>
                  </a:cubicBezTo>
                  <a:cubicBezTo>
                    <a:pt x="1036" y="556"/>
                    <a:pt x="1033" y="556"/>
                    <a:pt x="1031" y="555"/>
                  </a:cubicBezTo>
                  <a:cubicBezTo>
                    <a:pt x="1027" y="549"/>
                    <a:pt x="1021" y="540"/>
                    <a:pt x="1013" y="541"/>
                  </a:cubicBezTo>
                  <a:cubicBezTo>
                    <a:pt x="1011" y="538"/>
                    <a:pt x="1009" y="534"/>
                    <a:pt x="1006" y="531"/>
                  </a:cubicBezTo>
                  <a:cubicBezTo>
                    <a:pt x="1002" y="531"/>
                    <a:pt x="1000" y="533"/>
                    <a:pt x="996" y="532"/>
                  </a:cubicBezTo>
                  <a:cubicBezTo>
                    <a:pt x="994" y="537"/>
                    <a:pt x="998" y="540"/>
                    <a:pt x="1001" y="540"/>
                  </a:cubicBezTo>
                  <a:cubicBezTo>
                    <a:pt x="1000" y="541"/>
                    <a:pt x="999" y="540"/>
                    <a:pt x="998" y="540"/>
                  </a:cubicBezTo>
                  <a:cubicBezTo>
                    <a:pt x="998" y="544"/>
                    <a:pt x="995" y="546"/>
                    <a:pt x="995" y="550"/>
                  </a:cubicBezTo>
                  <a:cubicBezTo>
                    <a:pt x="997" y="550"/>
                    <a:pt x="998" y="551"/>
                    <a:pt x="999" y="551"/>
                  </a:cubicBezTo>
                  <a:cubicBezTo>
                    <a:pt x="1001" y="548"/>
                    <a:pt x="1003" y="544"/>
                    <a:pt x="1006" y="545"/>
                  </a:cubicBezTo>
                  <a:cubicBezTo>
                    <a:pt x="1007" y="547"/>
                    <a:pt x="1005" y="549"/>
                    <a:pt x="1006" y="552"/>
                  </a:cubicBezTo>
                  <a:cubicBezTo>
                    <a:pt x="1004" y="553"/>
                    <a:pt x="1003" y="550"/>
                    <a:pt x="1000" y="552"/>
                  </a:cubicBezTo>
                  <a:cubicBezTo>
                    <a:pt x="1000" y="553"/>
                    <a:pt x="999" y="554"/>
                    <a:pt x="999" y="555"/>
                  </a:cubicBezTo>
                  <a:cubicBezTo>
                    <a:pt x="1001" y="556"/>
                    <a:pt x="1004" y="559"/>
                    <a:pt x="1006" y="556"/>
                  </a:cubicBezTo>
                  <a:cubicBezTo>
                    <a:pt x="1005" y="556"/>
                    <a:pt x="1005" y="555"/>
                    <a:pt x="1006" y="555"/>
                  </a:cubicBezTo>
                  <a:cubicBezTo>
                    <a:pt x="1005" y="559"/>
                    <a:pt x="1011" y="563"/>
                    <a:pt x="1014" y="558"/>
                  </a:cubicBezTo>
                  <a:cubicBezTo>
                    <a:pt x="1013" y="559"/>
                    <a:pt x="1014" y="562"/>
                    <a:pt x="1014" y="564"/>
                  </a:cubicBezTo>
                  <a:cubicBezTo>
                    <a:pt x="1016" y="564"/>
                    <a:pt x="1016" y="565"/>
                    <a:pt x="1017" y="566"/>
                  </a:cubicBezTo>
                  <a:cubicBezTo>
                    <a:pt x="1016" y="565"/>
                    <a:pt x="1015" y="567"/>
                    <a:pt x="1013" y="566"/>
                  </a:cubicBezTo>
                  <a:cubicBezTo>
                    <a:pt x="1011" y="569"/>
                    <a:pt x="1013" y="570"/>
                    <a:pt x="1014" y="572"/>
                  </a:cubicBezTo>
                  <a:cubicBezTo>
                    <a:pt x="1014" y="582"/>
                    <a:pt x="1023" y="585"/>
                    <a:pt x="1027" y="591"/>
                  </a:cubicBezTo>
                  <a:cubicBezTo>
                    <a:pt x="1029" y="591"/>
                    <a:pt x="1030" y="592"/>
                    <a:pt x="1032" y="591"/>
                  </a:cubicBezTo>
                  <a:cubicBezTo>
                    <a:pt x="1032" y="589"/>
                    <a:pt x="1031" y="589"/>
                    <a:pt x="1031" y="588"/>
                  </a:cubicBezTo>
                  <a:cubicBezTo>
                    <a:pt x="1032" y="588"/>
                    <a:pt x="1032" y="587"/>
                    <a:pt x="1033" y="587"/>
                  </a:cubicBezTo>
                  <a:cubicBezTo>
                    <a:pt x="1032" y="585"/>
                    <a:pt x="1031" y="583"/>
                    <a:pt x="1031" y="581"/>
                  </a:cubicBezTo>
                  <a:cubicBezTo>
                    <a:pt x="1030" y="581"/>
                    <a:pt x="1029" y="580"/>
                    <a:pt x="1027" y="580"/>
                  </a:cubicBezTo>
                  <a:cubicBezTo>
                    <a:pt x="1026" y="580"/>
                    <a:pt x="1026" y="582"/>
                    <a:pt x="1025" y="582"/>
                  </a:cubicBezTo>
                  <a:cubicBezTo>
                    <a:pt x="1023" y="580"/>
                    <a:pt x="1021" y="575"/>
                    <a:pt x="1018" y="573"/>
                  </a:cubicBezTo>
                  <a:cubicBezTo>
                    <a:pt x="1020" y="573"/>
                    <a:pt x="1022" y="570"/>
                    <a:pt x="1023" y="572"/>
                  </a:cubicBezTo>
                  <a:cubicBezTo>
                    <a:pt x="1021" y="575"/>
                    <a:pt x="1025" y="575"/>
                    <a:pt x="1023" y="579"/>
                  </a:cubicBezTo>
                  <a:cubicBezTo>
                    <a:pt x="1025" y="578"/>
                    <a:pt x="1026" y="579"/>
                    <a:pt x="1028" y="579"/>
                  </a:cubicBezTo>
                  <a:cubicBezTo>
                    <a:pt x="1029" y="578"/>
                    <a:pt x="1028" y="576"/>
                    <a:pt x="1029" y="576"/>
                  </a:cubicBezTo>
                  <a:cubicBezTo>
                    <a:pt x="1030" y="576"/>
                    <a:pt x="1030" y="578"/>
                    <a:pt x="1030" y="580"/>
                  </a:cubicBezTo>
                  <a:cubicBezTo>
                    <a:pt x="1035" y="581"/>
                    <a:pt x="1038" y="581"/>
                    <a:pt x="1039" y="587"/>
                  </a:cubicBezTo>
                  <a:cubicBezTo>
                    <a:pt x="1042" y="587"/>
                    <a:pt x="1043" y="587"/>
                    <a:pt x="1046" y="586"/>
                  </a:cubicBezTo>
                  <a:cubicBezTo>
                    <a:pt x="1047" y="580"/>
                    <a:pt x="1045" y="578"/>
                    <a:pt x="1043" y="572"/>
                  </a:cubicBezTo>
                  <a:cubicBezTo>
                    <a:pt x="1042" y="572"/>
                    <a:pt x="1042" y="573"/>
                    <a:pt x="1041" y="573"/>
                  </a:cubicBezTo>
                  <a:close/>
                  <a:moveTo>
                    <a:pt x="1074" y="535"/>
                  </a:moveTo>
                  <a:cubicBezTo>
                    <a:pt x="1077" y="530"/>
                    <a:pt x="1075" y="524"/>
                    <a:pt x="1071" y="521"/>
                  </a:cubicBezTo>
                  <a:cubicBezTo>
                    <a:pt x="1069" y="525"/>
                    <a:pt x="1063" y="523"/>
                    <a:pt x="1062" y="519"/>
                  </a:cubicBezTo>
                  <a:cubicBezTo>
                    <a:pt x="1058" y="520"/>
                    <a:pt x="1057" y="518"/>
                    <a:pt x="1055" y="517"/>
                  </a:cubicBezTo>
                  <a:cubicBezTo>
                    <a:pt x="1046" y="517"/>
                    <a:pt x="1040" y="515"/>
                    <a:pt x="1035" y="512"/>
                  </a:cubicBezTo>
                  <a:cubicBezTo>
                    <a:pt x="1035" y="513"/>
                    <a:pt x="1032" y="513"/>
                    <a:pt x="1031" y="514"/>
                  </a:cubicBezTo>
                  <a:cubicBezTo>
                    <a:pt x="1030" y="511"/>
                    <a:pt x="1028" y="510"/>
                    <a:pt x="1028" y="506"/>
                  </a:cubicBezTo>
                  <a:cubicBezTo>
                    <a:pt x="1025" y="506"/>
                    <a:pt x="1024" y="506"/>
                    <a:pt x="1022" y="505"/>
                  </a:cubicBezTo>
                  <a:cubicBezTo>
                    <a:pt x="1022" y="503"/>
                    <a:pt x="1023" y="500"/>
                    <a:pt x="1022" y="498"/>
                  </a:cubicBezTo>
                  <a:cubicBezTo>
                    <a:pt x="1020" y="498"/>
                    <a:pt x="1016" y="499"/>
                    <a:pt x="1015" y="498"/>
                  </a:cubicBezTo>
                  <a:cubicBezTo>
                    <a:pt x="1016" y="497"/>
                    <a:pt x="1016" y="495"/>
                    <a:pt x="1016" y="494"/>
                  </a:cubicBezTo>
                  <a:cubicBezTo>
                    <a:pt x="1004" y="482"/>
                    <a:pt x="993" y="469"/>
                    <a:pt x="981" y="456"/>
                  </a:cubicBezTo>
                  <a:cubicBezTo>
                    <a:pt x="982" y="456"/>
                    <a:pt x="982" y="455"/>
                    <a:pt x="982" y="455"/>
                  </a:cubicBezTo>
                  <a:cubicBezTo>
                    <a:pt x="975" y="451"/>
                    <a:pt x="971" y="443"/>
                    <a:pt x="961" y="443"/>
                  </a:cubicBezTo>
                  <a:cubicBezTo>
                    <a:pt x="959" y="436"/>
                    <a:pt x="952" y="434"/>
                    <a:pt x="949" y="430"/>
                  </a:cubicBezTo>
                  <a:cubicBezTo>
                    <a:pt x="947" y="430"/>
                    <a:pt x="945" y="430"/>
                    <a:pt x="943" y="430"/>
                  </a:cubicBezTo>
                  <a:cubicBezTo>
                    <a:pt x="943" y="427"/>
                    <a:pt x="942" y="426"/>
                    <a:pt x="940" y="425"/>
                  </a:cubicBezTo>
                  <a:cubicBezTo>
                    <a:pt x="943" y="419"/>
                    <a:pt x="934" y="415"/>
                    <a:pt x="929" y="412"/>
                  </a:cubicBezTo>
                  <a:cubicBezTo>
                    <a:pt x="926" y="418"/>
                    <a:pt x="918" y="419"/>
                    <a:pt x="914" y="425"/>
                  </a:cubicBezTo>
                  <a:cubicBezTo>
                    <a:pt x="916" y="425"/>
                    <a:pt x="917" y="426"/>
                    <a:pt x="917" y="426"/>
                  </a:cubicBezTo>
                  <a:cubicBezTo>
                    <a:pt x="916" y="427"/>
                    <a:pt x="917" y="429"/>
                    <a:pt x="916" y="429"/>
                  </a:cubicBezTo>
                  <a:cubicBezTo>
                    <a:pt x="915" y="429"/>
                    <a:pt x="914" y="429"/>
                    <a:pt x="913" y="429"/>
                  </a:cubicBezTo>
                  <a:cubicBezTo>
                    <a:pt x="913" y="434"/>
                    <a:pt x="915" y="438"/>
                    <a:pt x="913" y="441"/>
                  </a:cubicBezTo>
                  <a:cubicBezTo>
                    <a:pt x="905" y="443"/>
                    <a:pt x="903" y="450"/>
                    <a:pt x="898" y="454"/>
                  </a:cubicBezTo>
                  <a:cubicBezTo>
                    <a:pt x="896" y="434"/>
                    <a:pt x="874" y="435"/>
                    <a:pt x="868" y="420"/>
                  </a:cubicBezTo>
                  <a:cubicBezTo>
                    <a:pt x="859" y="421"/>
                    <a:pt x="858" y="414"/>
                    <a:pt x="858" y="405"/>
                  </a:cubicBezTo>
                  <a:cubicBezTo>
                    <a:pt x="851" y="407"/>
                    <a:pt x="844" y="408"/>
                    <a:pt x="842" y="414"/>
                  </a:cubicBezTo>
                  <a:cubicBezTo>
                    <a:pt x="838" y="413"/>
                    <a:pt x="835" y="412"/>
                    <a:pt x="832" y="411"/>
                  </a:cubicBezTo>
                  <a:cubicBezTo>
                    <a:pt x="831" y="412"/>
                    <a:pt x="832" y="414"/>
                    <a:pt x="830" y="414"/>
                  </a:cubicBezTo>
                  <a:cubicBezTo>
                    <a:pt x="828" y="414"/>
                    <a:pt x="825" y="413"/>
                    <a:pt x="823" y="412"/>
                  </a:cubicBezTo>
                  <a:cubicBezTo>
                    <a:pt x="807" y="297"/>
                    <a:pt x="790" y="181"/>
                    <a:pt x="773" y="65"/>
                  </a:cubicBezTo>
                  <a:cubicBezTo>
                    <a:pt x="771" y="65"/>
                    <a:pt x="770" y="64"/>
                    <a:pt x="768" y="65"/>
                  </a:cubicBezTo>
                  <a:cubicBezTo>
                    <a:pt x="767" y="66"/>
                    <a:pt x="770" y="66"/>
                    <a:pt x="768" y="66"/>
                  </a:cubicBezTo>
                  <a:cubicBezTo>
                    <a:pt x="765" y="62"/>
                    <a:pt x="760" y="60"/>
                    <a:pt x="756" y="60"/>
                  </a:cubicBezTo>
                  <a:cubicBezTo>
                    <a:pt x="754" y="58"/>
                    <a:pt x="750" y="52"/>
                    <a:pt x="745" y="53"/>
                  </a:cubicBezTo>
                  <a:cubicBezTo>
                    <a:pt x="745" y="51"/>
                    <a:pt x="743" y="52"/>
                    <a:pt x="741" y="51"/>
                  </a:cubicBezTo>
                  <a:cubicBezTo>
                    <a:pt x="740" y="52"/>
                    <a:pt x="739" y="52"/>
                    <a:pt x="738" y="52"/>
                  </a:cubicBezTo>
                  <a:cubicBezTo>
                    <a:pt x="738" y="51"/>
                    <a:pt x="738" y="51"/>
                    <a:pt x="738" y="50"/>
                  </a:cubicBezTo>
                  <a:cubicBezTo>
                    <a:pt x="736" y="51"/>
                    <a:pt x="735" y="51"/>
                    <a:pt x="733" y="51"/>
                  </a:cubicBezTo>
                  <a:cubicBezTo>
                    <a:pt x="733" y="52"/>
                    <a:pt x="734" y="52"/>
                    <a:pt x="734" y="53"/>
                  </a:cubicBezTo>
                  <a:cubicBezTo>
                    <a:pt x="728" y="53"/>
                    <a:pt x="721" y="62"/>
                    <a:pt x="716" y="56"/>
                  </a:cubicBezTo>
                  <a:cubicBezTo>
                    <a:pt x="713" y="57"/>
                    <a:pt x="710" y="53"/>
                    <a:pt x="708" y="51"/>
                  </a:cubicBezTo>
                  <a:cubicBezTo>
                    <a:pt x="700" y="50"/>
                    <a:pt x="692" y="52"/>
                    <a:pt x="684" y="50"/>
                  </a:cubicBezTo>
                  <a:cubicBezTo>
                    <a:pt x="683" y="50"/>
                    <a:pt x="683" y="48"/>
                    <a:pt x="683" y="47"/>
                  </a:cubicBezTo>
                  <a:cubicBezTo>
                    <a:pt x="679" y="48"/>
                    <a:pt x="678" y="43"/>
                    <a:pt x="674" y="47"/>
                  </a:cubicBezTo>
                  <a:cubicBezTo>
                    <a:pt x="675" y="44"/>
                    <a:pt x="673" y="44"/>
                    <a:pt x="672" y="43"/>
                  </a:cubicBezTo>
                  <a:cubicBezTo>
                    <a:pt x="670" y="42"/>
                    <a:pt x="670" y="43"/>
                    <a:pt x="668" y="43"/>
                  </a:cubicBezTo>
                  <a:cubicBezTo>
                    <a:pt x="664" y="35"/>
                    <a:pt x="653" y="41"/>
                    <a:pt x="647" y="43"/>
                  </a:cubicBezTo>
                  <a:cubicBezTo>
                    <a:pt x="648" y="42"/>
                    <a:pt x="649" y="41"/>
                    <a:pt x="649" y="39"/>
                  </a:cubicBezTo>
                  <a:cubicBezTo>
                    <a:pt x="642" y="39"/>
                    <a:pt x="636" y="44"/>
                    <a:pt x="630" y="40"/>
                  </a:cubicBezTo>
                  <a:cubicBezTo>
                    <a:pt x="633" y="41"/>
                    <a:pt x="632" y="38"/>
                    <a:pt x="633" y="36"/>
                  </a:cubicBezTo>
                  <a:cubicBezTo>
                    <a:pt x="628" y="36"/>
                    <a:pt x="626" y="34"/>
                    <a:pt x="623" y="33"/>
                  </a:cubicBezTo>
                  <a:cubicBezTo>
                    <a:pt x="624" y="31"/>
                    <a:pt x="626" y="29"/>
                    <a:pt x="627" y="27"/>
                  </a:cubicBezTo>
                  <a:cubicBezTo>
                    <a:pt x="626" y="23"/>
                    <a:pt x="621" y="24"/>
                    <a:pt x="618" y="24"/>
                  </a:cubicBezTo>
                  <a:cubicBezTo>
                    <a:pt x="617" y="23"/>
                    <a:pt x="616" y="22"/>
                    <a:pt x="615" y="21"/>
                  </a:cubicBezTo>
                  <a:cubicBezTo>
                    <a:pt x="614" y="21"/>
                    <a:pt x="612" y="22"/>
                    <a:pt x="611" y="23"/>
                  </a:cubicBezTo>
                  <a:cubicBezTo>
                    <a:pt x="607" y="23"/>
                    <a:pt x="604" y="22"/>
                    <a:pt x="602" y="26"/>
                  </a:cubicBezTo>
                  <a:cubicBezTo>
                    <a:pt x="602" y="23"/>
                    <a:pt x="597" y="25"/>
                    <a:pt x="597" y="22"/>
                  </a:cubicBezTo>
                  <a:cubicBezTo>
                    <a:pt x="597" y="21"/>
                    <a:pt x="598" y="19"/>
                    <a:pt x="598" y="18"/>
                  </a:cubicBezTo>
                  <a:cubicBezTo>
                    <a:pt x="596" y="14"/>
                    <a:pt x="594" y="13"/>
                    <a:pt x="591" y="12"/>
                  </a:cubicBezTo>
                  <a:cubicBezTo>
                    <a:pt x="590" y="14"/>
                    <a:pt x="587" y="14"/>
                    <a:pt x="589" y="16"/>
                  </a:cubicBezTo>
                  <a:cubicBezTo>
                    <a:pt x="587" y="17"/>
                    <a:pt x="584" y="18"/>
                    <a:pt x="585" y="23"/>
                  </a:cubicBezTo>
                  <a:cubicBezTo>
                    <a:pt x="583" y="22"/>
                    <a:pt x="583" y="23"/>
                    <a:pt x="580" y="23"/>
                  </a:cubicBezTo>
                  <a:cubicBezTo>
                    <a:pt x="580" y="21"/>
                    <a:pt x="580" y="20"/>
                    <a:pt x="580" y="18"/>
                  </a:cubicBezTo>
                  <a:cubicBezTo>
                    <a:pt x="584" y="19"/>
                    <a:pt x="587" y="15"/>
                    <a:pt x="586" y="10"/>
                  </a:cubicBezTo>
                  <a:cubicBezTo>
                    <a:pt x="581" y="8"/>
                    <a:pt x="578" y="6"/>
                    <a:pt x="575" y="3"/>
                  </a:cubicBezTo>
                  <a:cubicBezTo>
                    <a:pt x="574" y="2"/>
                    <a:pt x="578" y="4"/>
                    <a:pt x="577" y="2"/>
                  </a:cubicBezTo>
                  <a:cubicBezTo>
                    <a:pt x="575" y="0"/>
                    <a:pt x="573" y="2"/>
                    <a:pt x="572" y="2"/>
                  </a:cubicBezTo>
                  <a:cubicBezTo>
                    <a:pt x="566" y="6"/>
                    <a:pt x="563" y="20"/>
                    <a:pt x="552" y="20"/>
                  </a:cubicBezTo>
                  <a:cubicBezTo>
                    <a:pt x="551" y="19"/>
                    <a:pt x="549" y="19"/>
                    <a:pt x="548" y="18"/>
                  </a:cubicBezTo>
                  <a:cubicBezTo>
                    <a:pt x="547" y="22"/>
                    <a:pt x="539" y="19"/>
                    <a:pt x="541" y="16"/>
                  </a:cubicBezTo>
                  <a:cubicBezTo>
                    <a:pt x="534" y="15"/>
                    <a:pt x="530" y="22"/>
                    <a:pt x="525" y="27"/>
                  </a:cubicBezTo>
                  <a:cubicBezTo>
                    <a:pt x="520" y="31"/>
                    <a:pt x="508" y="39"/>
                    <a:pt x="504" y="32"/>
                  </a:cubicBezTo>
                  <a:cubicBezTo>
                    <a:pt x="496" y="36"/>
                    <a:pt x="492" y="45"/>
                    <a:pt x="483" y="50"/>
                  </a:cubicBezTo>
                  <a:cubicBezTo>
                    <a:pt x="483" y="52"/>
                    <a:pt x="483" y="54"/>
                    <a:pt x="481" y="55"/>
                  </a:cubicBezTo>
                  <a:cubicBezTo>
                    <a:pt x="481" y="58"/>
                    <a:pt x="482" y="57"/>
                    <a:pt x="481" y="59"/>
                  </a:cubicBezTo>
                  <a:cubicBezTo>
                    <a:pt x="476" y="69"/>
                    <a:pt x="468" y="77"/>
                    <a:pt x="453" y="76"/>
                  </a:cubicBezTo>
                  <a:cubicBezTo>
                    <a:pt x="446" y="76"/>
                    <a:pt x="439" y="74"/>
                    <a:pt x="434" y="72"/>
                  </a:cubicBezTo>
                  <a:cubicBezTo>
                    <a:pt x="433" y="78"/>
                    <a:pt x="430" y="83"/>
                    <a:pt x="428" y="88"/>
                  </a:cubicBezTo>
                  <a:cubicBezTo>
                    <a:pt x="425" y="89"/>
                    <a:pt x="421" y="88"/>
                    <a:pt x="420" y="90"/>
                  </a:cubicBezTo>
                  <a:cubicBezTo>
                    <a:pt x="426" y="91"/>
                    <a:pt x="429" y="96"/>
                    <a:pt x="430" y="102"/>
                  </a:cubicBezTo>
                  <a:cubicBezTo>
                    <a:pt x="438" y="105"/>
                    <a:pt x="442" y="112"/>
                    <a:pt x="445" y="120"/>
                  </a:cubicBezTo>
                  <a:cubicBezTo>
                    <a:pt x="452" y="123"/>
                    <a:pt x="454" y="134"/>
                    <a:pt x="452" y="144"/>
                  </a:cubicBezTo>
                  <a:cubicBezTo>
                    <a:pt x="457" y="147"/>
                    <a:pt x="461" y="150"/>
                    <a:pt x="466" y="152"/>
                  </a:cubicBezTo>
                  <a:cubicBezTo>
                    <a:pt x="466" y="151"/>
                    <a:pt x="464" y="150"/>
                    <a:pt x="466" y="150"/>
                  </a:cubicBezTo>
                  <a:cubicBezTo>
                    <a:pt x="467" y="152"/>
                    <a:pt x="470" y="152"/>
                    <a:pt x="470" y="154"/>
                  </a:cubicBezTo>
                  <a:cubicBezTo>
                    <a:pt x="468" y="155"/>
                    <a:pt x="468" y="156"/>
                    <a:pt x="466" y="157"/>
                  </a:cubicBezTo>
                  <a:cubicBezTo>
                    <a:pt x="466" y="159"/>
                    <a:pt x="468" y="160"/>
                    <a:pt x="467" y="163"/>
                  </a:cubicBezTo>
                  <a:cubicBezTo>
                    <a:pt x="471" y="162"/>
                    <a:pt x="471" y="166"/>
                    <a:pt x="472" y="169"/>
                  </a:cubicBezTo>
                  <a:cubicBezTo>
                    <a:pt x="473" y="171"/>
                    <a:pt x="475" y="171"/>
                    <a:pt x="475" y="173"/>
                  </a:cubicBezTo>
                  <a:cubicBezTo>
                    <a:pt x="475" y="177"/>
                    <a:pt x="471" y="180"/>
                    <a:pt x="474" y="182"/>
                  </a:cubicBezTo>
                  <a:cubicBezTo>
                    <a:pt x="476" y="182"/>
                    <a:pt x="474" y="178"/>
                    <a:pt x="475" y="178"/>
                  </a:cubicBezTo>
                  <a:cubicBezTo>
                    <a:pt x="480" y="176"/>
                    <a:pt x="484" y="180"/>
                    <a:pt x="486" y="184"/>
                  </a:cubicBezTo>
                  <a:cubicBezTo>
                    <a:pt x="484" y="185"/>
                    <a:pt x="482" y="185"/>
                    <a:pt x="482" y="182"/>
                  </a:cubicBezTo>
                  <a:cubicBezTo>
                    <a:pt x="476" y="181"/>
                    <a:pt x="476" y="187"/>
                    <a:pt x="473" y="190"/>
                  </a:cubicBezTo>
                  <a:cubicBezTo>
                    <a:pt x="469" y="187"/>
                    <a:pt x="465" y="188"/>
                    <a:pt x="461" y="188"/>
                  </a:cubicBezTo>
                  <a:cubicBezTo>
                    <a:pt x="461" y="187"/>
                    <a:pt x="460" y="186"/>
                    <a:pt x="460" y="185"/>
                  </a:cubicBezTo>
                  <a:cubicBezTo>
                    <a:pt x="454" y="186"/>
                    <a:pt x="451" y="183"/>
                    <a:pt x="446" y="183"/>
                  </a:cubicBezTo>
                  <a:cubicBezTo>
                    <a:pt x="439" y="179"/>
                    <a:pt x="448" y="170"/>
                    <a:pt x="448" y="166"/>
                  </a:cubicBezTo>
                  <a:cubicBezTo>
                    <a:pt x="449" y="166"/>
                    <a:pt x="449" y="166"/>
                    <a:pt x="450" y="166"/>
                  </a:cubicBezTo>
                  <a:cubicBezTo>
                    <a:pt x="449" y="162"/>
                    <a:pt x="443" y="162"/>
                    <a:pt x="439" y="161"/>
                  </a:cubicBezTo>
                  <a:cubicBezTo>
                    <a:pt x="429" y="161"/>
                    <a:pt x="417" y="166"/>
                    <a:pt x="409" y="168"/>
                  </a:cubicBezTo>
                  <a:cubicBezTo>
                    <a:pt x="396" y="173"/>
                    <a:pt x="385" y="177"/>
                    <a:pt x="373" y="181"/>
                  </a:cubicBezTo>
                  <a:cubicBezTo>
                    <a:pt x="372" y="182"/>
                    <a:pt x="373" y="183"/>
                    <a:pt x="373" y="185"/>
                  </a:cubicBezTo>
                  <a:cubicBezTo>
                    <a:pt x="377" y="187"/>
                    <a:pt x="379" y="191"/>
                    <a:pt x="381" y="194"/>
                  </a:cubicBezTo>
                  <a:cubicBezTo>
                    <a:pt x="388" y="196"/>
                    <a:pt x="392" y="200"/>
                    <a:pt x="398" y="203"/>
                  </a:cubicBezTo>
                  <a:cubicBezTo>
                    <a:pt x="395" y="201"/>
                    <a:pt x="390" y="211"/>
                    <a:pt x="388" y="204"/>
                  </a:cubicBezTo>
                  <a:cubicBezTo>
                    <a:pt x="388" y="203"/>
                    <a:pt x="391" y="202"/>
                    <a:pt x="389" y="200"/>
                  </a:cubicBezTo>
                  <a:cubicBezTo>
                    <a:pt x="382" y="206"/>
                    <a:pt x="390" y="212"/>
                    <a:pt x="391" y="219"/>
                  </a:cubicBezTo>
                  <a:cubicBezTo>
                    <a:pt x="391" y="220"/>
                    <a:pt x="390" y="220"/>
                    <a:pt x="389" y="220"/>
                  </a:cubicBezTo>
                  <a:cubicBezTo>
                    <a:pt x="387" y="234"/>
                    <a:pt x="404" y="232"/>
                    <a:pt x="410" y="240"/>
                  </a:cubicBezTo>
                  <a:cubicBezTo>
                    <a:pt x="417" y="241"/>
                    <a:pt x="422" y="235"/>
                    <a:pt x="428" y="239"/>
                  </a:cubicBezTo>
                  <a:cubicBezTo>
                    <a:pt x="435" y="237"/>
                    <a:pt x="436" y="245"/>
                    <a:pt x="441" y="248"/>
                  </a:cubicBezTo>
                  <a:cubicBezTo>
                    <a:pt x="442" y="246"/>
                    <a:pt x="442" y="244"/>
                    <a:pt x="444" y="243"/>
                  </a:cubicBezTo>
                  <a:cubicBezTo>
                    <a:pt x="445" y="245"/>
                    <a:pt x="444" y="248"/>
                    <a:pt x="444" y="252"/>
                  </a:cubicBezTo>
                  <a:cubicBezTo>
                    <a:pt x="447" y="252"/>
                    <a:pt x="446" y="250"/>
                    <a:pt x="449" y="250"/>
                  </a:cubicBezTo>
                  <a:cubicBezTo>
                    <a:pt x="449" y="244"/>
                    <a:pt x="456" y="244"/>
                    <a:pt x="458" y="240"/>
                  </a:cubicBezTo>
                  <a:cubicBezTo>
                    <a:pt x="462" y="241"/>
                    <a:pt x="464" y="240"/>
                    <a:pt x="466" y="238"/>
                  </a:cubicBezTo>
                  <a:cubicBezTo>
                    <a:pt x="467" y="238"/>
                    <a:pt x="467" y="241"/>
                    <a:pt x="468" y="240"/>
                  </a:cubicBezTo>
                  <a:cubicBezTo>
                    <a:pt x="472" y="240"/>
                    <a:pt x="472" y="237"/>
                    <a:pt x="475" y="236"/>
                  </a:cubicBezTo>
                  <a:cubicBezTo>
                    <a:pt x="478" y="239"/>
                    <a:pt x="481" y="242"/>
                    <a:pt x="478" y="247"/>
                  </a:cubicBezTo>
                  <a:cubicBezTo>
                    <a:pt x="476" y="247"/>
                    <a:pt x="474" y="248"/>
                    <a:pt x="473" y="250"/>
                  </a:cubicBezTo>
                  <a:cubicBezTo>
                    <a:pt x="471" y="248"/>
                    <a:pt x="469" y="247"/>
                    <a:pt x="467" y="248"/>
                  </a:cubicBezTo>
                  <a:cubicBezTo>
                    <a:pt x="467" y="251"/>
                    <a:pt x="465" y="251"/>
                    <a:pt x="465" y="254"/>
                  </a:cubicBezTo>
                  <a:cubicBezTo>
                    <a:pt x="467" y="254"/>
                    <a:pt x="467" y="252"/>
                    <a:pt x="468" y="252"/>
                  </a:cubicBezTo>
                  <a:cubicBezTo>
                    <a:pt x="474" y="258"/>
                    <a:pt x="473" y="268"/>
                    <a:pt x="474" y="279"/>
                  </a:cubicBezTo>
                  <a:cubicBezTo>
                    <a:pt x="471" y="282"/>
                    <a:pt x="468" y="284"/>
                    <a:pt x="465" y="287"/>
                  </a:cubicBezTo>
                  <a:cubicBezTo>
                    <a:pt x="459" y="288"/>
                    <a:pt x="458" y="286"/>
                    <a:pt x="452" y="286"/>
                  </a:cubicBezTo>
                  <a:cubicBezTo>
                    <a:pt x="453" y="283"/>
                    <a:pt x="448" y="282"/>
                    <a:pt x="447" y="282"/>
                  </a:cubicBezTo>
                  <a:cubicBezTo>
                    <a:pt x="448" y="280"/>
                    <a:pt x="447" y="280"/>
                    <a:pt x="447" y="278"/>
                  </a:cubicBezTo>
                  <a:cubicBezTo>
                    <a:pt x="445" y="277"/>
                    <a:pt x="440" y="277"/>
                    <a:pt x="441" y="281"/>
                  </a:cubicBezTo>
                  <a:cubicBezTo>
                    <a:pt x="442" y="283"/>
                    <a:pt x="447" y="281"/>
                    <a:pt x="447" y="284"/>
                  </a:cubicBezTo>
                  <a:cubicBezTo>
                    <a:pt x="442" y="286"/>
                    <a:pt x="442" y="292"/>
                    <a:pt x="436" y="292"/>
                  </a:cubicBezTo>
                  <a:cubicBezTo>
                    <a:pt x="434" y="295"/>
                    <a:pt x="432" y="298"/>
                    <a:pt x="426" y="297"/>
                  </a:cubicBezTo>
                  <a:cubicBezTo>
                    <a:pt x="424" y="288"/>
                    <a:pt x="412" y="281"/>
                    <a:pt x="405" y="290"/>
                  </a:cubicBezTo>
                  <a:cubicBezTo>
                    <a:pt x="404" y="291"/>
                    <a:pt x="407" y="291"/>
                    <a:pt x="406" y="293"/>
                  </a:cubicBezTo>
                  <a:cubicBezTo>
                    <a:pt x="399" y="291"/>
                    <a:pt x="395" y="303"/>
                    <a:pt x="398" y="308"/>
                  </a:cubicBezTo>
                  <a:cubicBezTo>
                    <a:pt x="396" y="308"/>
                    <a:pt x="396" y="309"/>
                    <a:pt x="395" y="310"/>
                  </a:cubicBezTo>
                  <a:cubicBezTo>
                    <a:pt x="395" y="309"/>
                    <a:pt x="394" y="309"/>
                    <a:pt x="392" y="309"/>
                  </a:cubicBezTo>
                  <a:cubicBezTo>
                    <a:pt x="387" y="315"/>
                    <a:pt x="372" y="320"/>
                    <a:pt x="376" y="332"/>
                  </a:cubicBezTo>
                  <a:cubicBezTo>
                    <a:pt x="373" y="333"/>
                    <a:pt x="371" y="329"/>
                    <a:pt x="367" y="332"/>
                  </a:cubicBezTo>
                  <a:cubicBezTo>
                    <a:pt x="367" y="335"/>
                    <a:pt x="369" y="337"/>
                    <a:pt x="371" y="338"/>
                  </a:cubicBezTo>
                  <a:cubicBezTo>
                    <a:pt x="369" y="337"/>
                    <a:pt x="367" y="338"/>
                    <a:pt x="366" y="337"/>
                  </a:cubicBezTo>
                  <a:cubicBezTo>
                    <a:pt x="366" y="336"/>
                    <a:pt x="367" y="336"/>
                    <a:pt x="367" y="334"/>
                  </a:cubicBezTo>
                  <a:cubicBezTo>
                    <a:pt x="364" y="335"/>
                    <a:pt x="362" y="343"/>
                    <a:pt x="366" y="344"/>
                  </a:cubicBezTo>
                  <a:cubicBezTo>
                    <a:pt x="366" y="344"/>
                    <a:pt x="367" y="343"/>
                    <a:pt x="368" y="342"/>
                  </a:cubicBezTo>
                  <a:cubicBezTo>
                    <a:pt x="369" y="343"/>
                    <a:pt x="371" y="344"/>
                    <a:pt x="371" y="346"/>
                  </a:cubicBezTo>
                  <a:cubicBezTo>
                    <a:pt x="369" y="346"/>
                    <a:pt x="367" y="346"/>
                    <a:pt x="366" y="347"/>
                  </a:cubicBezTo>
                  <a:cubicBezTo>
                    <a:pt x="366" y="349"/>
                    <a:pt x="367" y="350"/>
                    <a:pt x="367" y="352"/>
                  </a:cubicBezTo>
                  <a:cubicBezTo>
                    <a:pt x="368" y="352"/>
                    <a:pt x="370" y="353"/>
                    <a:pt x="371" y="354"/>
                  </a:cubicBezTo>
                  <a:cubicBezTo>
                    <a:pt x="370" y="356"/>
                    <a:pt x="370" y="359"/>
                    <a:pt x="370" y="361"/>
                  </a:cubicBezTo>
                  <a:cubicBezTo>
                    <a:pt x="372" y="362"/>
                    <a:pt x="372" y="363"/>
                    <a:pt x="374" y="363"/>
                  </a:cubicBezTo>
                  <a:cubicBezTo>
                    <a:pt x="376" y="362"/>
                    <a:pt x="375" y="360"/>
                    <a:pt x="376" y="360"/>
                  </a:cubicBezTo>
                  <a:cubicBezTo>
                    <a:pt x="378" y="361"/>
                    <a:pt x="378" y="363"/>
                    <a:pt x="379" y="365"/>
                  </a:cubicBezTo>
                  <a:cubicBezTo>
                    <a:pt x="377" y="365"/>
                    <a:pt x="377" y="366"/>
                    <a:pt x="376" y="366"/>
                  </a:cubicBezTo>
                  <a:cubicBezTo>
                    <a:pt x="375" y="371"/>
                    <a:pt x="380" y="370"/>
                    <a:pt x="381" y="373"/>
                  </a:cubicBezTo>
                  <a:cubicBezTo>
                    <a:pt x="379" y="374"/>
                    <a:pt x="378" y="373"/>
                    <a:pt x="376" y="374"/>
                  </a:cubicBezTo>
                  <a:cubicBezTo>
                    <a:pt x="376" y="376"/>
                    <a:pt x="378" y="376"/>
                    <a:pt x="378" y="377"/>
                  </a:cubicBezTo>
                  <a:cubicBezTo>
                    <a:pt x="374" y="379"/>
                    <a:pt x="371" y="380"/>
                    <a:pt x="368" y="381"/>
                  </a:cubicBezTo>
                  <a:cubicBezTo>
                    <a:pt x="367" y="386"/>
                    <a:pt x="373" y="384"/>
                    <a:pt x="376" y="385"/>
                  </a:cubicBezTo>
                  <a:cubicBezTo>
                    <a:pt x="376" y="386"/>
                    <a:pt x="373" y="385"/>
                    <a:pt x="372" y="386"/>
                  </a:cubicBezTo>
                  <a:cubicBezTo>
                    <a:pt x="373" y="391"/>
                    <a:pt x="376" y="393"/>
                    <a:pt x="380" y="395"/>
                  </a:cubicBezTo>
                  <a:cubicBezTo>
                    <a:pt x="382" y="401"/>
                    <a:pt x="384" y="405"/>
                    <a:pt x="388" y="409"/>
                  </a:cubicBezTo>
                  <a:cubicBezTo>
                    <a:pt x="386" y="409"/>
                    <a:pt x="386" y="409"/>
                    <a:pt x="386" y="411"/>
                  </a:cubicBezTo>
                  <a:cubicBezTo>
                    <a:pt x="388" y="423"/>
                    <a:pt x="409" y="417"/>
                    <a:pt x="417" y="416"/>
                  </a:cubicBezTo>
                  <a:cubicBezTo>
                    <a:pt x="420" y="414"/>
                    <a:pt x="419" y="410"/>
                    <a:pt x="421" y="408"/>
                  </a:cubicBezTo>
                  <a:cubicBezTo>
                    <a:pt x="421" y="411"/>
                    <a:pt x="423" y="410"/>
                    <a:pt x="424" y="410"/>
                  </a:cubicBezTo>
                  <a:cubicBezTo>
                    <a:pt x="422" y="418"/>
                    <a:pt x="428" y="427"/>
                    <a:pt x="429" y="436"/>
                  </a:cubicBezTo>
                  <a:cubicBezTo>
                    <a:pt x="426" y="436"/>
                    <a:pt x="424" y="441"/>
                    <a:pt x="421" y="443"/>
                  </a:cubicBezTo>
                  <a:cubicBezTo>
                    <a:pt x="422" y="450"/>
                    <a:pt x="425" y="453"/>
                    <a:pt x="424" y="461"/>
                  </a:cubicBezTo>
                  <a:cubicBezTo>
                    <a:pt x="423" y="463"/>
                    <a:pt x="421" y="464"/>
                    <a:pt x="421" y="466"/>
                  </a:cubicBezTo>
                  <a:cubicBezTo>
                    <a:pt x="419" y="463"/>
                    <a:pt x="418" y="465"/>
                    <a:pt x="415" y="465"/>
                  </a:cubicBezTo>
                  <a:cubicBezTo>
                    <a:pt x="415" y="469"/>
                    <a:pt x="419" y="467"/>
                    <a:pt x="422" y="468"/>
                  </a:cubicBezTo>
                  <a:cubicBezTo>
                    <a:pt x="423" y="470"/>
                    <a:pt x="422" y="470"/>
                    <a:pt x="422" y="471"/>
                  </a:cubicBezTo>
                  <a:cubicBezTo>
                    <a:pt x="427" y="470"/>
                    <a:pt x="428" y="469"/>
                    <a:pt x="433" y="468"/>
                  </a:cubicBezTo>
                  <a:cubicBezTo>
                    <a:pt x="433" y="467"/>
                    <a:pt x="432" y="467"/>
                    <a:pt x="431" y="466"/>
                  </a:cubicBezTo>
                  <a:cubicBezTo>
                    <a:pt x="435" y="464"/>
                    <a:pt x="437" y="463"/>
                    <a:pt x="442" y="462"/>
                  </a:cubicBezTo>
                  <a:cubicBezTo>
                    <a:pt x="442" y="464"/>
                    <a:pt x="441" y="464"/>
                    <a:pt x="443" y="465"/>
                  </a:cubicBezTo>
                  <a:cubicBezTo>
                    <a:pt x="444" y="461"/>
                    <a:pt x="450" y="456"/>
                    <a:pt x="454" y="458"/>
                  </a:cubicBezTo>
                  <a:cubicBezTo>
                    <a:pt x="450" y="461"/>
                    <a:pt x="456" y="463"/>
                    <a:pt x="456" y="465"/>
                  </a:cubicBezTo>
                  <a:cubicBezTo>
                    <a:pt x="457" y="465"/>
                    <a:pt x="458" y="464"/>
                    <a:pt x="458" y="465"/>
                  </a:cubicBezTo>
                  <a:cubicBezTo>
                    <a:pt x="459" y="466"/>
                    <a:pt x="459" y="468"/>
                    <a:pt x="460" y="469"/>
                  </a:cubicBezTo>
                  <a:cubicBezTo>
                    <a:pt x="464" y="469"/>
                    <a:pt x="463" y="464"/>
                    <a:pt x="466" y="463"/>
                  </a:cubicBezTo>
                  <a:cubicBezTo>
                    <a:pt x="467" y="465"/>
                    <a:pt x="465" y="465"/>
                    <a:pt x="465" y="467"/>
                  </a:cubicBezTo>
                  <a:cubicBezTo>
                    <a:pt x="475" y="469"/>
                    <a:pt x="469" y="486"/>
                    <a:pt x="480" y="486"/>
                  </a:cubicBezTo>
                  <a:cubicBezTo>
                    <a:pt x="481" y="484"/>
                    <a:pt x="482" y="483"/>
                    <a:pt x="483" y="481"/>
                  </a:cubicBezTo>
                  <a:cubicBezTo>
                    <a:pt x="481" y="479"/>
                    <a:pt x="481" y="477"/>
                    <a:pt x="481" y="474"/>
                  </a:cubicBezTo>
                  <a:cubicBezTo>
                    <a:pt x="482" y="470"/>
                    <a:pt x="486" y="465"/>
                    <a:pt x="489" y="463"/>
                  </a:cubicBezTo>
                  <a:cubicBezTo>
                    <a:pt x="488" y="466"/>
                    <a:pt x="487" y="468"/>
                    <a:pt x="485" y="471"/>
                  </a:cubicBezTo>
                  <a:cubicBezTo>
                    <a:pt x="490" y="472"/>
                    <a:pt x="488" y="475"/>
                    <a:pt x="490" y="478"/>
                  </a:cubicBezTo>
                  <a:cubicBezTo>
                    <a:pt x="494" y="484"/>
                    <a:pt x="511" y="470"/>
                    <a:pt x="516" y="472"/>
                  </a:cubicBezTo>
                  <a:cubicBezTo>
                    <a:pt x="514" y="481"/>
                    <a:pt x="499" y="485"/>
                    <a:pt x="505" y="496"/>
                  </a:cubicBezTo>
                  <a:cubicBezTo>
                    <a:pt x="504" y="496"/>
                    <a:pt x="505" y="495"/>
                    <a:pt x="504" y="495"/>
                  </a:cubicBezTo>
                  <a:cubicBezTo>
                    <a:pt x="501" y="500"/>
                    <a:pt x="498" y="511"/>
                    <a:pt x="499" y="518"/>
                  </a:cubicBezTo>
                  <a:cubicBezTo>
                    <a:pt x="499" y="518"/>
                    <a:pt x="499" y="518"/>
                    <a:pt x="499" y="518"/>
                  </a:cubicBezTo>
                  <a:cubicBezTo>
                    <a:pt x="499" y="518"/>
                    <a:pt x="499" y="518"/>
                    <a:pt x="499" y="518"/>
                  </a:cubicBezTo>
                  <a:cubicBezTo>
                    <a:pt x="499" y="519"/>
                    <a:pt x="499" y="520"/>
                    <a:pt x="499" y="520"/>
                  </a:cubicBezTo>
                  <a:cubicBezTo>
                    <a:pt x="499" y="520"/>
                    <a:pt x="499" y="519"/>
                    <a:pt x="499" y="518"/>
                  </a:cubicBezTo>
                  <a:cubicBezTo>
                    <a:pt x="499" y="518"/>
                    <a:pt x="499" y="518"/>
                    <a:pt x="499" y="518"/>
                  </a:cubicBezTo>
                  <a:cubicBezTo>
                    <a:pt x="492" y="519"/>
                    <a:pt x="491" y="526"/>
                    <a:pt x="484" y="527"/>
                  </a:cubicBezTo>
                  <a:cubicBezTo>
                    <a:pt x="479" y="532"/>
                    <a:pt x="473" y="536"/>
                    <a:pt x="474" y="545"/>
                  </a:cubicBezTo>
                  <a:cubicBezTo>
                    <a:pt x="471" y="546"/>
                    <a:pt x="470" y="545"/>
                    <a:pt x="469" y="543"/>
                  </a:cubicBezTo>
                  <a:cubicBezTo>
                    <a:pt x="470" y="543"/>
                    <a:pt x="472" y="543"/>
                    <a:pt x="472" y="541"/>
                  </a:cubicBezTo>
                  <a:cubicBezTo>
                    <a:pt x="467" y="543"/>
                    <a:pt x="463" y="546"/>
                    <a:pt x="459" y="549"/>
                  </a:cubicBezTo>
                  <a:cubicBezTo>
                    <a:pt x="458" y="549"/>
                    <a:pt x="458" y="548"/>
                    <a:pt x="457" y="548"/>
                  </a:cubicBezTo>
                  <a:cubicBezTo>
                    <a:pt x="450" y="551"/>
                    <a:pt x="444" y="556"/>
                    <a:pt x="437" y="559"/>
                  </a:cubicBezTo>
                  <a:cubicBezTo>
                    <a:pt x="434" y="562"/>
                    <a:pt x="433" y="567"/>
                    <a:pt x="430" y="569"/>
                  </a:cubicBezTo>
                  <a:cubicBezTo>
                    <a:pt x="430" y="571"/>
                    <a:pt x="431" y="572"/>
                    <a:pt x="429" y="573"/>
                  </a:cubicBezTo>
                  <a:cubicBezTo>
                    <a:pt x="431" y="573"/>
                    <a:pt x="434" y="575"/>
                    <a:pt x="435" y="577"/>
                  </a:cubicBezTo>
                  <a:cubicBezTo>
                    <a:pt x="434" y="577"/>
                    <a:pt x="435" y="578"/>
                    <a:pt x="434" y="579"/>
                  </a:cubicBezTo>
                  <a:cubicBezTo>
                    <a:pt x="432" y="577"/>
                    <a:pt x="432" y="575"/>
                    <a:pt x="430" y="574"/>
                  </a:cubicBezTo>
                  <a:cubicBezTo>
                    <a:pt x="429" y="576"/>
                    <a:pt x="427" y="573"/>
                    <a:pt x="425" y="573"/>
                  </a:cubicBezTo>
                  <a:cubicBezTo>
                    <a:pt x="424" y="575"/>
                    <a:pt x="426" y="577"/>
                    <a:pt x="424" y="579"/>
                  </a:cubicBezTo>
                  <a:cubicBezTo>
                    <a:pt x="422" y="576"/>
                    <a:pt x="423" y="573"/>
                    <a:pt x="421" y="573"/>
                  </a:cubicBezTo>
                  <a:cubicBezTo>
                    <a:pt x="422" y="571"/>
                    <a:pt x="423" y="572"/>
                    <a:pt x="425" y="572"/>
                  </a:cubicBezTo>
                  <a:cubicBezTo>
                    <a:pt x="425" y="571"/>
                    <a:pt x="425" y="570"/>
                    <a:pt x="425" y="568"/>
                  </a:cubicBezTo>
                  <a:cubicBezTo>
                    <a:pt x="422" y="568"/>
                    <a:pt x="422" y="569"/>
                    <a:pt x="420" y="570"/>
                  </a:cubicBezTo>
                  <a:cubicBezTo>
                    <a:pt x="420" y="567"/>
                    <a:pt x="417" y="571"/>
                    <a:pt x="417" y="568"/>
                  </a:cubicBezTo>
                  <a:cubicBezTo>
                    <a:pt x="418" y="568"/>
                    <a:pt x="420" y="569"/>
                    <a:pt x="419" y="567"/>
                  </a:cubicBezTo>
                  <a:cubicBezTo>
                    <a:pt x="402" y="567"/>
                    <a:pt x="393" y="575"/>
                    <a:pt x="384" y="583"/>
                  </a:cubicBezTo>
                  <a:cubicBezTo>
                    <a:pt x="385" y="585"/>
                    <a:pt x="386" y="585"/>
                    <a:pt x="384" y="587"/>
                  </a:cubicBezTo>
                  <a:cubicBezTo>
                    <a:pt x="383" y="587"/>
                    <a:pt x="384" y="585"/>
                    <a:pt x="383" y="585"/>
                  </a:cubicBezTo>
                  <a:cubicBezTo>
                    <a:pt x="381" y="588"/>
                    <a:pt x="379" y="587"/>
                    <a:pt x="376" y="589"/>
                  </a:cubicBezTo>
                  <a:cubicBezTo>
                    <a:pt x="375" y="590"/>
                    <a:pt x="378" y="591"/>
                    <a:pt x="375" y="592"/>
                  </a:cubicBezTo>
                  <a:cubicBezTo>
                    <a:pt x="374" y="592"/>
                    <a:pt x="374" y="592"/>
                    <a:pt x="373" y="591"/>
                  </a:cubicBezTo>
                  <a:cubicBezTo>
                    <a:pt x="375" y="591"/>
                    <a:pt x="375" y="590"/>
                    <a:pt x="375" y="589"/>
                  </a:cubicBezTo>
                  <a:cubicBezTo>
                    <a:pt x="372" y="591"/>
                    <a:pt x="367" y="591"/>
                    <a:pt x="365" y="593"/>
                  </a:cubicBezTo>
                  <a:cubicBezTo>
                    <a:pt x="367" y="596"/>
                    <a:pt x="365" y="600"/>
                    <a:pt x="363" y="599"/>
                  </a:cubicBezTo>
                  <a:cubicBezTo>
                    <a:pt x="363" y="596"/>
                    <a:pt x="362" y="597"/>
                    <a:pt x="363" y="595"/>
                  </a:cubicBezTo>
                  <a:cubicBezTo>
                    <a:pt x="354" y="590"/>
                    <a:pt x="347" y="598"/>
                    <a:pt x="340" y="595"/>
                  </a:cubicBezTo>
                  <a:cubicBezTo>
                    <a:pt x="336" y="596"/>
                    <a:pt x="335" y="601"/>
                    <a:pt x="333" y="604"/>
                  </a:cubicBezTo>
                  <a:cubicBezTo>
                    <a:pt x="331" y="604"/>
                    <a:pt x="328" y="604"/>
                    <a:pt x="326" y="606"/>
                  </a:cubicBezTo>
                  <a:cubicBezTo>
                    <a:pt x="324" y="613"/>
                    <a:pt x="333" y="617"/>
                    <a:pt x="340" y="614"/>
                  </a:cubicBezTo>
                  <a:cubicBezTo>
                    <a:pt x="341" y="607"/>
                    <a:pt x="353" y="608"/>
                    <a:pt x="357" y="612"/>
                  </a:cubicBezTo>
                  <a:cubicBezTo>
                    <a:pt x="358" y="610"/>
                    <a:pt x="360" y="610"/>
                    <a:pt x="362" y="611"/>
                  </a:cubicBezTo>
                  <a:cubicBezTo>
                    <a:pt x="362" y="609"/>
                    <a:pt x="361" y="607"/>
                    <a:pt x="363" y="607"/>
                  </a:cubicBezTo>
                  <a:cubicBezTo>
                    <a:pt x="364" y="610"/>
                    <a:pt x="366" y="611"/>
                    <a:pt x="370" y="612"/>
                  </a:cubicBezTo>
                  <a:cubicBezTo>
                    <a:pt x="369" y="609"/>
                    <a:pt x="368" y="608"/>
                    <a:pt x="367" y="606"/>
                  </a:cubicBezTo>
                  <a:cubicBezTo>
                    <a:pt x="366" y="606"/>
                    <a:pt x="363" y="607"/>
                    <a:pt x="363" y="605"/>
                  </a:cubicBezTo>
                  <a:cubicBezTo>
                    <a:pt x="366" y="605"/>
                    <a:pt x="370" y="603"/>
                    <a:pt x="372" y="600"/>
                  </a:cubicBezTo>
                  <a:cubicBezTo>
                    <a:pt x="372" y="598"/>
                    <a:pt x="369" y="598"/>
                    <a:pt x="368" y="596"/>
                  </a:cubicBezTo>
                  <a:cubicBezTo>
                    <a:pt x="369" y="595"/>
                    <a:pt x="370" y="595"/>
                    <a:pt x="372" y="595"/>
                  </a:cubicBezTo>
                  <a:cubicBezTo>
                    <a:pt x="373" y="598"/>
                    <a:pt x="372" y="600"/>
                    <a:pt x="374" y="603"/>
                  </a:cubicBezTo>
                  <a:cubicBezTo>
                    <a:pt x="377" y="603"/>
                    <a:pt x="378" y="602"/>
                    <a:pt x="380" y="601"/>
                  </a:cubicBezTo>
                  <a:cubicBezTo>
                    <a:pt x="381" y="601"/>
                    <a:pt x="380" y="603"/>
                    <a:pt x="382" y="603"/>
                  </a:cubicBezTo>
                  <a:cubicBezTo>
                    <a:pt x="381" y="598"/>
                    <a:pt x="384" y="594"/>
                    <a:pt x="381" y="591"/>
                  </a:cubicBezTo>
                  <a:cubicBezTo>
                    <a:pt x="381" y="591"/>
                    <a:pt x="381" y="590"/>
                    <a:pt x="382" y="590"/>
                  </a:cubicBezTo>
                  <a:cubicBezTo>
                    <a:pt x="385" y="591"/>
                    <a:pt x="384" y="596"/>
                    <a:pt x="383" y="597"/>
                  </a:cubicBezTo>
                  <a:cubicBezTo>
                    <a:pt x="383" y="600"/>
                    <a:pt x="387" y="601"/>
                    <a:pt x="390" y="601"/>
                  </a:cubicBezTo>
                  <a:cubicBezTo>
                    <a:pt x="391" y="601"/>
                    <a:pt x="389" y="597"/>
                    <a:pt x="391" y="597"/>
                  </a:cubicBezTo>
                  <a:cubicBezTo>
                    <a:pt x="390" y="599"/>
                    <a:pt x="393" y="600"/>
                    <a:pt x="394" y="600"/>
                  </a:cubicBezTo>
                  <a:cubicBezTo>
                    <a:pt x="394" y="599"/>
                    <a:pt x="396" y="600"/>
                    <a:pt x="396" y="599"/>
                  </a:cubicBezTo>
                  <a:cubicBezTo>
                    <a:pt x="397" y="596"/>
                    <a:pt x="395" y="596"/>
                    <a:pt x="395" y="594"/>
                  </a:cubicBezTo>
                  <a:cubicBezTo>
                    <a:pt x="396" y="594"/>
                    <a:pt x="396" y="596"/>
                    <a:pt x="398" y="596"/>
                  </a:cubicBezTo>
                  <a:cubicBezTo>
                    <a:pt x="398" y="593"/>
                    <a:pt x="402" y="593"/>
                    <a:pt x="404" y="589"/>
                  </a:cubicBezTo>
                  <a:cubicBezTo>
                    <a:pt x="406" y="585"/>
                    <a:pt x="405" y="578"/>
                    <a:pt x="411" y="582"/>
                  </a:cubicBezTo>
                  <a:cubicBezTo>
                    <a:pt x="409" y="585"/>
                    <a:pt x="407" y="587"/>
                    <a:pt x="406" y="591"/>
                  </a:cubicBezTo>
                  <a:cubicBezTo>
                    <a:pt x="410" y="594"/>
                    <a:pt x="418" y="592"/>
                    <a:pt x="421" y="588"/>
                  </a:cubicBezTo>
                  <a:cubicBezTo>
                    <a:pt x="420" y="589"/>
                    <a:pt x="422" y="589"/>
                    <a:pt x="422" y="590"/>
                  </a:cubicBezTo>
                  <a:cubicBezTo>
                    <a:pt x="424" y="590"/>
                    <a:pt x="424" y="591"/>
                    <a:pt x="426" y="591"/>
                  </a:cubicBezTo>
                  <a:cubicBezTo>
                    <a:pt x="427" y="590"/>
                    <a:pt x="425" y="587"/>
                    <a:pt x="427" y="587"/>
                  </a:cubicBezTo>
                  <a:cubicBezTo>
                    <a:pt x="428" y="587"/>
                    <a:pt x="427" y="591"/>
                    <a:pt x="429" y="590"/>
                  </a:cubicBezTo>
                  <a:cubicBezTo>
                    <a:pt x="430" y="584"/>
                    <a:pt x="440" y="586"/>
                    <a:pt x="441" y="581"/>
                  </a:cubicBezTo>
                  <a:cubicBezTo>
                    <a:pt x="443" y="581"/>
                    <a:pt x="445" y="580"/>
                    <a:pt x="446" y="579"/>
                  </a:cubicBezTo>
                  <a:cubicBezTo>
                    <a:pt x="447" y="579"/>
                    <a:pt x="448" y="579"/>
                    <a:pt x="449" y="580"/>
                  </a:cubicBezTo>
                  <a:cubicBezTo>
                    <a:pt x="447" y="584"/>
                    <a:pt x="447" y="586"/>
                    <a:pt x="445" y="589"/>
                  </a:cubicBezTo>
                  <a:cubicBezTo>
                    <a:pt x="446" y="589"/>
                    <a:pt x="448" y="589"/>
                    <a:pt x="449" y="590"/>
                  </a:cubicBezTo>
                  <a:cubicBezTo>
                    <a:pt x="450" y="586"/>
                    <a:pt x="452" y="585"/>
                    <a:pt x="452" y="581"/>
                  </a:cubicBezTo>
                  <a:cubicBezTo>
                    <a:pt x="453" y="581"/>
                    <a:pt x="453" y="583"/>
                    <a:pt x="454" y="582"/>
                  </a:cubicBezTo>
                  <a:cubicBezTo>
                    <a:pt x="454" y="581"/>
                    <a:pt x="455" y="580"/>
                    <a:pt x="456" y="579"/>
                  </a:cubicBezTo>
                  <a:cubicBezTo>
                    <a:pt x="459" y="580"/>
                    <a:pt x="461" y="577"/>
                    <a:pt x="464" y="580"/>
                  </a:cubicBezTo>
                  <a:cubicBezTo>
                    <a:pt x="464" y="578"/>
                    <a:pt x="466" y="579"/>
                    <a:pt x="467" y="576"/>
                  </a:cubicBezTo>
                  <a:cubicBezTo>
                    <a:pt x="468" y="576"/>
                    <a:pt x="468" y="578"/>
                    <a:pt x="470" y="578"/>
                  </a:cubicBezTo>
                  <a:cubicBezTo>
                    <a:pt x="472" y="578"/>
                    <a:pt x="471" y="575"/>
                    <a:pt x="472" y="574"/>
                  </a:cubicBezTo>
                  <a:cubicBezTo>
                    <a:pt x="473" y="575"/>
                    <a:pt x="473" y="578"/>
                    <a:pt x="475" y="577"/>
                  </a:cubicBezTo>
                  <a:cubicBezTo>
                    <a:pt x="475" y="575"/>
                    <a:pt x="475" y="577"/>
                    <a:pt x="476" y="577"/>
                  </a:cubicBezTo>
                  <a:cubicBezTo>
                    <a:pt x="476" y="571"/>
                    <a:pt x="483" y="572"/>
                    <a:pt x="484" y="567"/>
                  </a:cubicBezTo>
                  <a:cubicBezTo>
                    <a:pt x="481" y="567"/>
                    <a:pt x="482" y="569"/>
                    <a:pt x="480" y="569"/>
                  </a:cubicBezTo>
                  <a:cubicBezTo>
                    <a:pt x="480" y="567"/>
                    <a:pt x="483" y="568"/>
                    <a:pt x="482" y="565"/>
                  </a:cubicBezTo>
                  <a:cubicBezTo>
                    <a:pt x="480" y="564"/>
                    <a:pt x="478" y="565"/>
                    <a:pt x="476" y="563"/>
                  </a:cubicBezTo>
                  <a:cubicBezTo>
                    <a:pt x="478" y="562"/>
                    <a:pt x="478" y="560"/>
                    <a:pt x="480" y="559"/>
                  </a:cubicBezTo>
                  <a:cubicBezTo>
                    <a:pt x="482" y="559"/>
                    <a:pt x="482" y="561"/>
                    <a:pt x="484" y="560"/>
                  </a:cubicBezTo>
                  <a:cubicBezTo>
                    <a:pt x="486" y="558"/>
                    <a:pt x="489" y="559"/>
                    <a:pt x="491" y="559"/>
                  </a:cubicBezTo>
                  <a:cubicBezTo>
                    <a:pt x="492" y="558"/>
                    <a:pt x="491" y="556"/>
                    <a:pt x="491" y="554"/>
                  </a:cubicBezTo>
                  <a:cubicBezTo>
                    <a:pt x="490" y="554"/>
                    <a:pt x="489" y="555"/>
                    <a:pt x="489" y="554"/>
                  </a:cubicBezTo>
                  <a:cubicBezTo>
                    <a:pt x="489" y="553"/>
                    <a:pt x="492" y="553"/>
                    <a:pt x="493" y="552"/>
                  </a:cubicBezTo>
                  <a:cubicBezTo>
                    <a:pt x="492" y="553"/>
                    <a:pt x="494" y="553"/>
                    <a:pt x="494" y="554"/>
                  </a:cubicBezTo>
                  <a:cubicBezTo>
                    <a:pt x="497" y="554"/>
                    <a:pt x="496" y="554"/>
                    <a:pt x="499" y="554"/>
                  </a:cubicBezTo>
                  <a:cubicBezTo>
                    <a:pt x="500" y="552"/>
                    <a:pt x="498" y="552"/>
                    <a:pt x="498" y="550"/>
                  </a:cubicBezTo>
                  <a:cubicBezTo>
                    <a:pt x="499" y="549"/>
                    <a:pt x="499" y="550"/>
                    <a:pt x="501" y="549"/>
                  </a:cubicBezTo>
                  <a:cubicBezTo>
                    <a:pt x="501" y="547"/>
                    <a:pt x="499" y="546"/>
                    <a:pt x="501" y="545"/>
                  </a:cubicBezTo>
                  <a:cubicBezTo>
                    <a:pt x="502" y="547"/>
                    <a:pt x="503" y="549"/>
                    <a:pt x="506" y="550"/>
                  </a:cubicBezTo>
                  <a:cubicBezTo>
                    <a:pt x="507" y="547"/>
                    <a:pt x="510" y="545"/>
                    <a:pt x="512" y="543"/>
                  </a:cubicBezTo>
                  <a:cubicBezTo>
                    <a:pt x="512" y="545"/>
                    <a:pt x="512" y="546"/>
                    <a:pt x="514" y="545"/>
                  </a:cubicBezTo>
                  <a:cubicBezTo>
                    <a:pt x="514" y="544"/>
                    <a:pt x="515" y="542"/>
                    <a:pt x="516" y="541"/>
                  </a:cubicBezTo>
                  <a:cubicBezTo>
                    <a:pt x="516" y="542"/>
                    <a:pt x="518" y="542"/>
                    <a:pt x="520" y="543"/>
                  </a:cubicBezTo>
                  <a:cubicBezTo>
                    <a:pt x="520" y="539"/>
                    <a:pt x="522" y="538"/>
                    <a:pt x="524" y="537"/>
                  </a:cubicBezTo>
                  <a:cubicBezTo>
                    <a:pt x="525" y="535"/>
                    <a:pt x="524" y="534"/>
                    <a:pt x="523" y="533"/>
                  </a:cubicBezTo>
                  <a:cubicBezTo>
                    <a:pt x="526" y="533"/>
                    <a:pt x="525" y="531"/>
                    <a:pt x="525" y="529"/>
                  </a:cubicBezTo>
                  <a:cubicBezTo>
                    <a:pt x="524" y="529"/>
                    <a:pt x="522" y="531"/>
                    <a:pt x="522" y="529"/>
                  </a:cubicBezTo>
                  <a:cubicBezTo>
                    <a:pt x="525" y="528"/>
                    <a:pt x="526" y="526"/>
                    <a:pt x="529" y="525"/>
                  </a:cubicBezTo>
                  <a:cubicBezTo>
                    <a:pt x="529" y="527"/>
                    <a:pt x="530" y="527"/>
                    <a:pt x="532" y="527"/>
                  </a:cubicBezTo>
                  <a:cubicBezTo>
                    <a:pt x="532" y="524"/>
                    <a:pt x="531" y="525"/>
                    <a:pt x="532" y="522"/>
                  </a:cubicBezTo>
                  <a:cubicBezTo>
                    <a:pt x="534" y="524"/>
                    <a:pt x="536" y="522"/>
                    <a:pt x="538" y="523"/>
                  </a:cubicBezTo>
                  <a:cubicBezTo>
                    <a:pt x="538" y="521"/>
                    <a:pt x="538" y="518"/>
                    <a:pt x="541" y="519"/>
                  </a:cubicBezTo>
                  <a:cubicBezTo>
                    <a:pt x="542" y="517"/>
                    <a:pt x="540" y="517"/>
                    <a:pt x="541" y="514"/>
                  </a:cubicBezTo>
                  <a:cubicBezTo>
                    <a:pt x="543" y="516"/>
                    <a:pt x="544" y="517"/>
                    <a:pt x="546" y="518"/>
                  </a:cubicBezTo>
                  <a:cubicBezTo>
                    <a:pt x="547" y="515"/>
                    <a:pt x="549" y="512"/>
                    <a:pt x="553" y="512"/>
                  </a:cubicBezTo>
                  <a:cubicBezTo>
                    <a:pt x="552" y="510"/>
                    <a:pt x="553" y="509"/>
                    <a:pt x="554" y="507"/>
                  </a:cubicBezTo>
                  <a:cubicBezTo>
                    <a:pt x="556" y="508"/>
                    <a:pt x="559" y="510"/>
                    <a:pt x="560" y="507"/>
                  </a:cubicBezTo>
                  <a:cubicBezTo>
                    <a:pt x="561" y="507"/>
                    <a:pt x="561" y="508"/>
                    <a:pt x="562" y="509"/>
                  </a:cubicBezTo>
                  <a:cubicBezTo>
                    <a:pt x="563" y="508"/>
                    <a:pt x="563" y="506"/>
                    <a:pt x="564" y="505"/>
                  </a:cubicBezTo>
                  <a:cubicBezTo>
                    <a:pt x="565" y="508"/>
                    <a:pt x="565" y="504"/>
                    <a:pt x="566" y="504"/>
                  </a:cubicBezTo>
                  <a:cubicBezTo>
                    <a:pt x="565" y="505"/>
                    <a:pt x="566" y="506"/>
                    <a:pt x="568" y="506"/>
                  </a:cubicBezTo>
                  <a:cubicBezTo>
                    <a:pt x="570" y="504"/>
                    <a:pt x="570" y="502"/>
                    <a:pt x="572" y="499"/>
                  </a:cubicBezTo>
                  <a:cubicBezTo>
                    <a:pt x="573" y="498"/>
                    <a:pt x="572" y="497"/>
                    <a:pt x="571" y="496"/>
                  </a:cubicBezTo>
                  <a:cubicBezTo>
                    <a:pt x="573" y="497"/>
                    <a:pt x="575" y="496"/>
                    <a:pt x="575" y="495"/>
                  </a:cubicBezTo>
                  <a:cubicBezTo>
                    <a:pt x="575" y="493"/>
                    <a:pt x="573" y="493"/>
                    <a:pt x="574" y="491"/>
                  </a:cubicBezTo>
                  <a:cubicBezTo>
                    <a:pt x="578" y="492"/>
                    <a:pt x="577" y="488"/>
                    <a:pt x="578" y="487"/>
                  </a:cubicBezTo>
                  <a:cubicBezTo>
                    <a:pt x="583" y="488"/>
                    <a:pt x="588" y="483"/>
                    <a:pt x="589" y="479"/>
                  </a:cubicBezTo>
                  <a:cubicBezTo>
                    <a:pt x="589" y="479"/>
                    <a:pt x="590" y="479"/>
                    <a:pt x="591" y="479"/>
                  </a:cubicBezTo>
                  <a:cubicBezTo>
                    <a:pt x="590" y="472"/>
                    <a:pt x="584" y="474"/>
                    <a:pt x="583" y="468"/>
                  </a:cubicBezTo>
                  <a:cubicBezTo>
                    <a:pt x="578" y="470"/>
                    <a:pt x="575" y="466"/>
                    <a:pt x="573" y="470"/>
                  </a:cubicBezTo>
                  <a:cubicBezTo>
                    <a:pt x="572" y="465"/>
                    <a:pt x="575" y="464"/>
                    <a:pt x="575" y="460"/>
                  </a:cubicBezTo>
                  <a:cubicBezTo>
                    <a:pt x="579" y="460"/>
                    <a:pt x="577" y="455"/>
                    <a:pt x="583" y="456"/>
                  </a:cubicBezTo>
                  <a:cubicBezTo>
                    <a:pt x="583" y="454"/>
                    <a:pt x="583" y="453"/>
                    <a:pt x="583" y="451"/>
                  </a:cubicBezTo>
                  <a:cubicBezTo>
                    <a:pt x="584" y="451"/>
                    <a:pt x="585" y="451"/>
                    <a:pt x="586" y="451"/>
                  </a:cubicBezTo>
                  <a:cubicBezTo>
                    <a:pt x="587" y="450"/>
                    <a:pt x="586" y="448"/>
                    <a:pt x="588" y="448"/>
                  </a:cubicBezTo>
                  <a:cubicBezTo>
                    <a:pt x="593" y="451"/>
                    <a:pt x="597" y="446"/>
                    <a:pt x="598" y="441"/>
                  </a:cubicBezTo>
                  <a:cubicBezTo>
                    <a:pt x="597" y="441"/>
                    <a:pt x="597" y="440"/>
                    <a:pt x="596" y="440"/>
                  </a:cubicBezTo>
                  <a:cubicBezTo>
                    <a:pt x="604" y="443"/>
                    <a:pt x="608" y="430"/>
                    <a:pt x="603" y="427"/>
                  </a:cubicBezTo>
                  <a:cubicBezTo>
                    <a:pt x="604" y="427"/>
                    <a:pt x="604" y="428"/>
                    <a:pt x="606" y="427"/>
                  </a:cubicBezTo>
                  <a:cubicBezTo>
                    <a:pt x="608" y="425"/>
                    <a:pt x="610" y="423"/>
                    <a:pt x="613" y="421"/>
                  </a:cubicBezTo>
                  <a:cubicBezTo>
                    <a:pt x="613" y="419"/>
                    <a:pt x="610" y="420"/>
                    <a:pt x="611" y="417"/>
                  </a:cubicBezTo>
                  <a:cubicBezTo>
                    <a:pt x="615" y="415"/>
                    <a:pt x="616" y="407"/>
                    <a:pt x="623" y="409"/>
                  </a:cubicBezTo>
                  <a:cubicBezTo>
                    <a:pt x="623" y="406"/>
                    <a:pt x="622" y="405"/>
                    <a:pt x="621" y="403"/>
                  </a:cubicBezTo>
                  <a:cubicBezTo>
                    <a:pt x="624" y="400"/>
                    <a:pt x="627" y="397"/>
                    <a:pt x="633" y="397"/>
                  </a:cubicBezTo>
                  <a:cubicBezTo>
                    <a:pt x="635" y="392"/>
                    <a:pt x="642" y="386"/>
                    <a:pt x="646" y="389"/>
                  </a:cubicBezTo>
                  <a:cubicBezTo>
                    <a:pt x="649" y="389"/>
                    <a:pt x="653" y="388"/>
                    <a:pt x="655" y="390"/>
                  </a:cubicBezTo>
                  <a:cubicBezTo>
                    <a:pt x="653" y="389"/>
                    <a:pt x="653" y="391"/>
                    <a:pt x="652" y="392"/>
                  </a:cubicBezTo>
                  <a:cubicBezTo>
                    <a:pt x="654" y="395"/>
                    <a:pt x="657" y="396"/>
                    <a:pt x="659" y="399"/>
                  </a:cubicBezTo>
                  <a:cubicBezTo>
                    <a:pt x="655" y="400"/>
                    <a:pt x="649" y="402"/>
                    <a:pt x="647" y="396"/>
                  </a:cubicBezTo>
                  <a:cubicBezTo>
                    <a:pt x="640" y="400"/>
                    <a:pt x="635" y="406"/>
                    <a:pt x="627" y="408"/>
                  </a:cubicBezTo>
                  <a:cubicBezTo>
                    <a:pt x="634" y="422"/>
                    <a:pt x="620" y="432"/>
                    <a:pt x="617" y="444"/>
                  </a:cubicBezTo>
                  <a:cubicBezTo>
                    <a:pt x="619" y="448"/>
                    <a:pt x="623" y="450"/>
                    <a:pt x="627" y="451"/>
                  </a:cubicBezTo>
                  <a:cubicBezTo>
                    <a:pt x="628" y="450"/>
                    <a:pt x="626" y="450"/>
                    <a:pt x="626" y="449"/>
                  </a:cubicBezTo>
                  <a:cubicBezTo>
                    <a:pt x="629" y="448"/>
                    <a:pt x="633" y="445"/>
                    <a:pt x="634" y="444"/>
                  </a:cubicBezTo>
                  <a:cubicBezTo>
                    <a:pt x="632" y="449"/>
                    <a:pt x="627" y="451"/>
                    <a:pt x="625" y="455"/>
                  </a:cubicBezTo>
                  <a:cubicBezTo>
                    <a:pt x="619" y="454"/>
                    <a:pt x="615" y="459"/>
                    <a:pt x="615" y="464"/>
                  </a:cubicBezTo>
                  <a:cubicBezTo>
                    <a:pt x="617" y="465"/>
                    <a:pt x="618" y="467"/>
                    <a:pt x="621" y="468"/>
                  </a:cubicBezTo>
                  <a:cubicBezTo>
                    <a:pt x="622" y="468"/>
                    <a:pt x="623" y="468"/>
                    <a:pt x="624" y="468"/>
                  </a:cubicBezTo>
                  <a:cubicBezTo>
                    <a:pt x="624" y="466"/>
                    <a:pt x="626" y="467"/>
                    <a:pt x="627" y="465"/>
                  </a:cubicBezTo>
                  <a:cubicBezTo>
                    <a:pt x="628" y="466"/>
                    <a:pt x="630" y="466"/>
                    <a:pt x="632" y="466"/>
                  </a:cubicBezTo>
                  <a:cubicBezTo>
                    <a:pt x="633" y="466"/>
                    <a:pt x="633" y="464"/>
                    <a:pt x="634" y="464"/>
                  </a:cubicBezTo>
                  <a:cubicBezTo>
                    <a:pt x="633" y="465"/>
                    <a:pt x="633" y="466"/>
                    <a:pt x="636" y="467"/>
                  </a:cubicBezTo>
                  <a:cubicBezTo>
                    <a:pt x="638" y="464"/>
                    <a:pt x="638" y="458"/>
                    <a:pt x="643" y="458"/>
                  </a:cubicBezTo>
                  <a:cubicBezTo>
                    <a:pt x="643" y="458"/>
                    <a:pt x="643" y="456"/>
                    <a:pt x="644" y="456"/>
                  </a:cubicBezTo>
                  <a:cubicBezTo>
                    <a:pt x="649" y="458"/>
                    <a:pt x="656" y="451"/>
                    <a:pt x="655" y="444"/>
                  </a:cubicBezTo>
                  <a:cubicBezTo>
                    <a:pt x="657" y="445"/>
                    <a:pt x="657" y="449"/>
                    <a:pt x="660" y="449"/>
                  </a:cubicBezTo>
                  <a:cubicBezTo>
                    <a:pt x="660" y="445"/>
                    <a:pt x="658" y="442"/>
                    <a:pt x="660" y="440"/>
                  </a:cubicBezTo>
                  <a:cubicBezTo>
                    <a:pt x="661" y="442"/>
                    <a:pt x="660" y="446"/>
                    <a:pt x="663" y="446"/>
                  </a:cubicBezTo>
                  <a:cubicBezTo>
                    <a:pt x="662" y="440"/>
                    <a:pt x="662" y="438"/>
                    <a:pt x="666" y="436"/>
                  </a:cubicBezTo>
                  <a:cubicBezTo>
                    <a:pt x="666" y="438"/>
                    <a:pt x="667" y="439"/>
                    <a:pt x="667" y="440"/>
                  </a:cubicBezTo>
                  <a:cubicBezTo>
                    <a:pt x="670" y="440"/>
                    <a:pt x="668" y="436"/>
                    <a:pt x="670" y="436"/>
                  </a:cubicBezTo>
                  <a:cubicBezTo>
                    <a:pt x="673" y="439"/>
                    <a:pt x="677" y="436"/>
                    <a:pt x="680" y="439"/>
                  </a:cubicBezTo>
                  <a:cubicBezTo>
                    <a:pt x="682" y="437"/>
                    <a:pt x="682" y="436"/>
                    <a:pt x="684" y="438"/>
                  </a:cubicBezTo>
                  <a:cubicBezTo>
                    <a:pt x="684" y="435"/>
                    <a:pt x="685" y="434"/>
                    <a:pt x="685" y="431"/>
                  </a:cubicBezTo>
                  <a:cubicBezTo>
                    <a:pt x="688" y="433"/>
                    <a:pt x="690" y="429"/>
                    <a:pt x="691" y="427"/>
                  </a:cubicBezTo>
                  <a:cubicBezTo>
                    <a:pt x="690" y="426"/>
                    <a:pt x="688" y="426"/>
                    <a:pt x="687" y="425"/>
                  </a:cubicBezTo>
                  <a:cubicBezTo>
                    <a:pt x="689" y="423"/>
                    <a:pt x="690" y="421"/>
                    <a:pt x="693" y="420"/>
                  </a:cubicBezTo>
                  <a:cubicBezTo>
                    <a:pt x="693" y="416"/>
                    <a:pt x="691" y="415"/>
                    <a:pt x="690" y="412"/>
                  </a:cubicBezTo>
                  <a:cubicBezTo>
                    <a:pt x="688" y="412"/>
                    <a:pt x="687" y="417"/>
                    <a:pt x="686" y="416"/>
                  </a:cubicBezTo>
                  <a:cubicBezTo>
                    <a:pt x="689" y="413"/>
                    <a:pt x="686" y="410"/>
                    <a:pt x="687" y="406"/>
                  </a:cubicBezTo>
                  <a:cubicBezTo>
                    <a:pt x="685" y="405"/>
                    <a:pt x="685" y="409"/>
                    <a:pt x="685" y="408"/>
                  </a:cubicBezTo>
                  <a:cubicBezTo>
                    <a:pt x="685" y="403"/>
                    <a:pt x="687" y="400"/>
                    <a:pt x="688" y="396"/>
                  </a:cubicBezTo>
                  <a:cubicBezTo>
                    <a:pt x="688" y="400"/>
                    <a:pt x="691" y="396"/>
                    <a:pt x="691" y="397"/>
                  </a:cubicBezTo>
                  <a:cubicBezTo>
                    <a:pt x="689" y="399"/>
                    <a:pt x="688" y="402"/>
                    <a:pt x="687" y="405"/>
                  </a:cubicBezTo>
                  <a:cubicBezTo>
                    <a:pt x="689" y="406"/>
                    <a:pt x="690" y="406"/>
                    <a:pt x="692" y="407"/>
                  </a:cubicBezTo>
                  <a:cubicBezTo>
                    <a:pt x="692" y="404"/>
                    <a:pt x="693" y="405"/>
                    <a:pt x="696" y="405"/>
                  </a:cubicBezTo>
                  <a:cubicBezTo>
                    <a:pt x="697" y="404"/>
                    <a:pt x="695" y="402"/>
                    <a:pt x="696" y="402"/>
                  </a:cubicBezTo>
                  <a:cubicBezTo>
                    <a:pt x="697" y="403"/>
                    <a:pt x="697" y="404"/>
                    <a:pt x="699" y="404"/>
                  </a:cubicBezTo>
                  <a:cubicBezTo>
                    <a:pt x="699" y="403"/>
                    <a:pt x="698" y="402"/>
                    <a:pt x="699" y="401"/>
                  </a:cubicBezTo>
                  <a:cubicBezTo>
                    <a:pt x="700" y="402"/>
                    <a:pt x="701" y="402"/>
                    <a:pt x="703" y="403"/>
                  </a:cubicBezTo>
                  <a:cubicBezTo>
                    <a:pt x="704" y="399"/>
                    <a:pt x="707" y="401"/>
                    <a:pt x="708" y="397"/>
                  </a:cubicBezTo>
                  <a:cubicBezTo>
                    <a:pt x="707" y="399"/>
                    <a:pt x="708" y="399"/>
                    <a:pt x="709" y="400"/>
                  </a:cubicBezTo>
                  <a:cubicBezTo>
                    <a:pt x="712" y="400"/>
                    <a:pt x="712" y="396"/>
                    <a:pt x="715" y="395"/>
                  </a:cubicBezTo>
                  <a:cubicBezTo>
                    <a:pt x="714" y="397"/>
                    <a:pt x="713" y="398"/>
                    <a:pt x="713" y="399"/>
                  </a:cubicBezTo>
                  <a:cubicBezTo>
                    <a:pt x="714" y="401"/>
                    <a:pt x="716" y="404"/>
                    <a:pt x="718" y="405"/>
                  </a:cubicBezTo>
                  <a:cubicBezTo>
                    <a:pt x="717" y="405"/>
                    <a:pt x="716" y="406"/>
                    <a:pt x="715" y="406"/>
                  </a:cubicBezTo>
                  <a:cubicBezTo>
                    <a:pt x="716" y="412"/>
                    <a:pt x="722" y="408"/>
                    <a:pt x="725" y="407"/>
                  </a:cubicBezTo>
                  <a:cubicBezTo>
                    <a:pt x="725" y="409"/>
                    <a:pt x="721" y="409"/>
                    <a:pt x="723" y="411"/>
                  </a:cubicBezTo>
                  <a:cubicBezTo>
                    <a:pt x="726" y="411"/>
                    <a:pt x="727" y="409"/>
                    <a:pt x="729" y="411"/>
                  </a:cubicBezTo>
                  <a:cubicBezTo>
                    <a:pt x="725" y="413"/>
                    <a:pt x="722" y="417"/>
                    <a:pt x="717" y="415"/>
                  </a:cubicBezTo>
                  <a:cubicBezTo>
                    <a:pt x="716" y="417"/>
                    <a:pt x="715" y="418"/>
                    <a:pt x="715" y="421"/>
                  </a:cubicBezTo>
                  <a:cubicBezTo>
                    <a:pt x="714" y="422"/>
                    <a:pt x="717" y="421"/>
                    <a:pt x="717" y="423"/>
                  </a:cubicBezTo>
                  <a:cubicBezTo>
                    <a:pt x="716" y="423"/>
                    <a:pt x="715" y="424"/>
                    <a:pt x="716" y="425"/>
                  </a:cubicBezTo>
                  <a:cubicBezTo>
                    <a:pt x="716" y="425"/>
                    <a:pt x="716" y="425"/>
                    <a:pt x="717" y="426"/>
                  </a:cubicBezTo>
                  <a:cubicBezTo>
                    <a:pt x="721" y="424"/>
                    <a:pt x="723" y="421"/>
                    <a:pt x="727" y="420"/>
                  </a:cubicBezTo>
                  <a:cubicBezTo>
                    <a:pt x="728" y="418"/>
                    <a:pt x="727" y="418"/>
                    <a:pt x="727" y="416"/>
                  </a:cubicBezTo>
                  <a:cubicBezTo>
                    <a:pt x="729" y="416"/>
                    <a:pt x="728" y="415"/>
                    <a:pt x="730" y="415"/>
                  </a:cubicBezTo>
                  <a:cubicBezTo>
                    <a:pt x="728" y="416"/>
                    <a:pt x="729" y="416"/>
                    <a:pt x="730" y="417"/>
                  </a:cubicBezTo>
                  <a:cubicBezTo>
                    <a:pt x="736" y="414"/>
                    <a:pt x="737" y="420"/>
                    <a:pt x="742" y="420"/>
                  </a:cubicBezTo>
                  <a:cubicBezTo>
                    <a:pt x="745" y="418"/>
                    <a:pt x="749" y="416"/>
                    <a:pt x="750" y="411"/>
                  </a:cubicBezTo>
                  <a:cubicBezTo>
                    <a:pt x="751" y="415"/>
                    <a:pt x="749" y="417"/>
                    <a:pt x="748" y="421"/>
                  </a:cubicBezTo>
                  <a:cubicBezTo>
                    <a:pt x="750" y="422"/>
                    <a:pt x="751" y="422"/>
                    <a:pt x="754" y="423"/>
                  </a:cubicBezTo>
                  <a:cubicBezTo>
                    <a:pt x="753" y="423"/>
                    <a:pt x="753" y="424"/>
                    <a:pt x="754" y="425"/>
                  </a:cubicBezTo>
                  <a:cubicBezTo>
                    <a:pt x="756" y="426"/>
                    <a:pt x="759" y="426"/>
                    <a:pt x="762" y="425"/>
                  </a:cubicBezTo>
                  <a:cubicBezTo>
                    <a:pt x="760" y="427"/>
                    <a:pt x="765" y="427"/>
                    <a:pt x="766" y="429"/>
                  </a:cubicBezTo>
                  <a:cubicBezTo>
                    <a:pt x="765" y="430"/>
                    <a:pt x="762" y="428"/>
                    <a:pt x="762" y="431"/>
                  </a:cubicBezTo>
                  <a:cubicBezTo>
                    <a:pt x="765" y="430"/>
                    <a:pt x="767" y="431"/>
                    <a:pt x="770" y="432"/>
                  </a:cubicBezTo>
                  <a:cubicBezTo>
                    <a:pt x="779" y="428"/>
                    <a:pt x="790" y="425"/>
                    <a:pt x="800" y="426"/>
                  </a:cubicBezTo>
                  <a:cubicBezTo>
                    <a:pt x="809" y="426"/>
                    <a:pt x="814" y="431"/>
                    <a:pt x="818" y="425"/>
                  </a:cubicBezTo>
                  <a:cubicBezTo>
                    <a:pt x="818" y="422"/>
                    <a:pt x="815" y="423"/>
                    <a:pt x="816" y="421"/>
                  </a:cubicBezTo>
                  <a:cubicBezTo>
                    <a:pt x="817" y="422"/>
                    <a:pt x="819" y="424"/>
                    <a:pt x="819" y="427"/>
                  </a:cubicBezTo>
                  <a:cubicBezTo>
                    <a:pt x="817" y="427"/>
                    <a:pt x="816" y="428"/>
                    <a:pt x="815" y="430"/>
                  </a:cubicBezTo>
                  <a:cubicBezTo>
                    <a:pt x="818" y="431"/>
                    <a:pt x="823" y="434"/>
                    <a:pt x="828" y="435"/>
                  </a:cubicBezTo>
                  <a:cubicBezTo>
                    <a:pt x="837" y="437"/>
                    <a:pt x="843" y="432"/>
                    <a:pt x="848" y="428"/>
                  </a:cubicBezTo>
                  <a:cubicBezTo>
                    <a:pt x="848" y="425"/>
                    <a:pt x="849" y="424"/>
                    <a:pt x="850" y="423"/>
                  </a:cubicBezTo>
                  <a:cubicBezTo>
                    <a:pt x="849" y="427"/>
                    <a:pt x="852" y="429"/>
                    <a:pt x="853" y="432"/>
                  </a:cubicBezTo>
                  <a:cubicBezTo>
                    <a:pt x="852" y="435"/>
                    <a:pt x="851" y="437"/>
                    <a:pt x="848" y="438"/>
                  </a:cubicBezTo>
                  <a:cubicBezTo>
                    <a:pt x="850" y="442"/>
                    <a:pt x="856" y="443"/>
                    <a:pt x="861" y="444"/>
                  </a:cubicBezTo>
                  <a:cubicBezTo>
                    <a:pt x="868" y="447"/>
                    <a:pt x="875" y="452"/>
                    <a:pt x="883" y="452"/>
                  </a:cubicBezTo>
                  <a:cubicBezTo>
                    <a:pt x="884" y="455"/>
                    <a:pt x="888" y="456"/>
                    <a:pt x="889" y="458"/>
                  </a:cubicBezTo>
                  <a:cubicBezTo>
                    <a:pt x="890" y="459"/>
                    <a:pt x="890" y="460"/>
                    <a:pt x="890" y="461"/>
                  </a:cubicBezTo>
                  <a:cubicBezTo>
                    <a:pt x="896" y="466"/>
                    <a:pt x="903" y="470"/>
                    <a:pt x="910" y="473"/>
                  </a:cubicBezTo>
                  <a:cubicBezTo>
                    <a:pt x="911" y="473"/>
                    <a:pt x="910" y="472"/>
                    <a:pt x="912" y="472"/>
                  </a:cubicBezTo>
                  <a:cubicBezTo>
                    <a:pt x="914" y="474"/>
                    <a:pt x="917" y="476"/>
                    <a:pt x="920" y="478"/>
                  </a:cubicBezTo>
                  <a:cubicBezTo>
                    <a:pt x="923" y="476"/>
                    <a:pt x="921" y="475"/>
                    <a:pt x="920" y="473"/>
                  </a:cubicBezTo>
                  <a:cubicBezTo>
                    <a:pt x="924" y="475"/>
                    <a:pt x="928" y="471"/>
                    <a:pt x="931" y="470"/>
                  </a:cubicBezTo>
                  <a:cubicBezTo>
                    <a:pt x="931" y="467"/>
                    <a:pt x="929" y="465"/>
                    <a:pt x="928" y="463"/>
                  </a:cubicBezTo>
                  <a:cubicBezTo>
                    <a:pt x="930" y="464"/>
                    <a:pt x="931" y="463"/>
                    <a:pt x="931" y="462"/>
                  </a:cubicBezTo>
                  <a:cubicBezTo>
                    <a:pt x="934" y="463"/>
                    <a:pt x="931" y="466"/>
                    <a:pt x="932" y="468"/>
                  </a:cubicBezTo>
                  <a:cubicBezTo>
                    <a:pt x="935" y="468"/>
                    <a:pt x="936" y="466"/>
                    <a:pt x="939" y="466"/>
                  </a:cubicBezTo>
                  <a:cubicBezTo>
                    <a:pt x="944" y="467"/>
                    <a:pt x="944" y="472"/>
                    <a:pt x="950" y="472"/>
                  </a:cubicBezTo>
                  <a:cubicBezTo>
                    <a:pt x="951" y="469"/>
                    <a:pt x="951" y="467"/>
                    <a:pt x="950" y="464"/>
                  </a:cubicBezTo>
                  <a:cubicBezTo>
                    <a:pt x="950" y="464"/>
                    <a:pt x="950" y="464"/>
                    <a:pt x="950" y="464"/>
                  </a:cubicBezTo>
                  <a:cubicBezTo>
                    <a:pt x="950" y="464"/>
                    <a:pt x="950" y="464"/>
                    <a:pt x="950" y="464"/>
                  </a:cubicBezTo>
                  <a:cubicBezTo>
                    <a:pt x="951" y="468"/>
                    <a:pt x="956" y="472"/>
                    <a:pt x="957" y="474"/>
                  </a:cubicBezTo>
                  <a:cubicBezTo>
                    <a:pt x="958" y="477"/>
                    <a:pt x="960" y="481"/>
                    <a:pt x="961" y="484"/>
                  </a:cubicBezTo>
                  <a:cubicBezTo>
                    <a:pt x="962" y="492"/>
                    <a:pt x="968" y="495"/>
                    <a:pt x="968" y="503"/>
                  </a:cubicBezTo>
                  <a:cubicBezTo>
                    <a:pt x="965" y="506"/>
                    <a:pt x="970" y="510"/>
                    <a:pt x="969" y="513"/>
                  </a:cubicBezTo>
                  <a:cubicBezTo>
                    <a:pt x="971" y="514"/>
                    <a:pt x="971" y="513"/>
                    <a:pt x="973" y="513"/>
                  </a:cubicBezTo>
                  <a:cubicBezTo>
                    <a:pt x="974" y="507"/>
                    <a:pt x="980" y="505"/>
                    <a:pt x="978" y="499"/>
                  </a:cubicBezTo>
                  <a:cubicBezTo>
                    <a:pt x="979" y="499"/>
                    <a:pt x="979" y="500"/>
                    <a:pt x="981" y="500"/>
                  </a:cubicBezTo>
                  <a:cubicBezTo>
                    <a:pt x="981" y="499"/>
                    <a:pt x="982" y="498"/>
                    <a:pt x="983" y="497"/>
                  </a:cubicBezTo>
                  <a:cubicBezTo>
                    <a:pt x="982" y="495"/>
                    <a:pt x="981" y="494"/>
                    <a:pt x="981" y="493"/>
                  </a:cubicBezTo>
                  <a:cubicBezTo>
                    <a:pt x="982" y="493"/>
                    <a:pt x="982" y="493"/>
                    <a:pt x="982" y="493"/>
                  </a:cubicBezTo>
                  <a:cubicBezTo>
                    <a:pt x="979" y="487"/>
                    <a:pt x="971" y="482"/>
                    <a:pt x="969" y="477"/>
                  </a:cubicBezTo>
                  <a:cubicBezTo>
                    <a:pt x="973" y="479"/>
                    <a:pt x="976" y="487"/>
                    <a:pt x="982" y="489"/>
                  </a:cubicBezTo>
                  <a:cubicBezTo>
                    <a:pt x="980" y="481"/>
                    <a:pt x="971" y="475"/>
                    <a:pt x="969" y="468"/>
                  </a:cubicBezTo>
                  <a:cubicBezTo>
                    <a:pt x="967" y="467"/>
                    <a:pt x="967" y="470"/>
                    <a:pt x="966" y="468"/>
                  </a:cubicBezTo>
                  <a:cubicBezTo>
                    <a:pt x="967" y="468"/>
                    <a:pt x="968" y="467"/>
                    <a:pt x="970" y="467"/>
                  </a:cubicBezTo>
                  <a:cubicBezTo>
                    <a:pt x="971" y="474"/>
                    <a:pt x="978" y="474"/>
                    <a:pt x="981" y="480"/>
                  </a:cubicBezTo>
                  <a:cubicBezTo>
                    <a:pt x="984" y="480"/>
                    <a:pt x="986" y="481"/>
                    <a:pt x="987" y="482"/>
                  </a:cubicBezTo>
                  <a:cubicBezTo>
                    <a:pt x="985" y="483"/>
                    <a:pt x="985" y="481"/>
                    <a:pt x="983" y="482"/>
                  </a:cubicBezTo>
                  <a:cubicBezTo>
                    <a:pt x="982" y="486"/>
                    <a:pt x="984" y="488"/>
                    <a:pt x="987" y="489"/>
                  </a:cubicBezTo>
                  <a:cubicBezTo>
                    <a:pt x="987" y="492"/>
                    <a:pt x="989" y="492"/>
                    <a:pt x="989" y="495"/>
                  </a:cubicBezTo>
                  <a:cubicBezTo>
                    <a:pt x="990" y="496"/>
                    <a:pt x="992" y="495"/>
                    <a:pt x="993" y="496"/>
                  </a:cubicBezTo>
                  <a:cubicBezTo>
                    <a:pt x="992" y="497"/>
                    <a:pt x="990" y="497"/>
                    <a:pt x="989" y="497"/>
                  </a:cubicBezTo>
                  <a:cubicBezTo>
                    <a:pt x="989" y="500"/>
                    <a:pt x="991" y="500"/>
                    <a:pt x="989" y="502"/>
                  </a:cubicBezTo>
                  <a:cubicBezTo>
                    <a:pt x="992" y="502"/>
                    <a:pt x="996" y="506"/>
                    <a:pt x="998" y="502"/>
                  </a:cubicBezTo>
                  <a:cubicBezTo>
                    <a:pt x="998" y="503"/>
                    <a:pt x="998" y="503"/>
                    <a:pt x="998" y="504"/>
                  </a:cubicBezTo>
                  <a:cubicBezTo>
                    <a:pt x="1003" y="504"/>
                    <a:pt x="1006" y="508"/>
                    <a:pt x="1008" y="511"/>
                  </a:cubicBezTo>
                  <a:cubicBezTo>
                    <a:pt x="1010" y="511"/>
                    <a:pt x="1011" y="513"/>
                    <a:pt x="1014" y="513"/>
                  </a:cubicBezTo>
                  <a:cubicBezTo>
                    <a:pt x="1014" y="515"/>
                    <a:pt x="1016" y="516"/>
                    <a:pt x="1014" y="517"/>
                  </a:cubicBezTo>
                  <a:cubicBezTo>
                    <a:pt x="1010" y="513"/>
                    <a:pt x="1005" y="510"/>
                    <a:pt x="1001" y="505"/>
                  </a:cubicBezTo>
                  <a:cubicBezTo>
                    <a:pt x="994" y="508"/>
                    <a:pt x="987" y="504"/>
                    <a:pt x="981" y="507"/>
                  </a:cubicBezTo>
                  <a:cubicBezTo>
                    <a:pt x="981" y="509"/>
                    <a:pt x="981" y="510"/>
                    <a:pt x="981" y="511"/>
                  </a:cubicBezTo>
                  <a:cubicBezTo>
                    <a:pt x="985" y="511"/>
                    <a:pt x="986" y="515"/>
                    <a:pt x="986" y="517"/>
                  </a:cubicBezTo>
                  <a:cubicBezTo>
                    <a:pt x="984" y="515"/>
                    <a:pt x="981" y="514"/>
                    <a:pt x="977" y="514"/>
                  </a:cubicBezTo>
                  <a:cubicBezTo>
                    <a:pt x="973" y="518"/>
                    <a:pt x="976" y="525"/>
                    <a:pt x="981" y="527"/>
                  </a:cubicBezTo>
                  <a:cubicBezTo>
                    <a:pt x="980" y="527"/>
                    <a:pt x="979" y="528"/>
                    <a:pt x="979" y="529"/>
                  </a:cubicBezTo>
                  <a:cubicBezTo>
                    <a:pt x="983" y="529"/>
                    <a:pt x="985" y="531"/>
                    <a:pt x="986" y="533"/>
                  </a:cubicBezTo>
                  <a:cubicBezTo>
                    <a:pt x="985" y="533"/>
                    <a:pt x="984" y="532"/>
                    <a:pt x="983" y="532"/>
                  </a:cubicBezTo>
                  <a:cubicBezTo>
                    <a:pt x="981" y="537"/>
                    <a:pt x="984" y="547"/>
                    <a:pt x="990" y="549"/>
                  </a:cubicBezTo>
                  <a:cubicBezTo>
                    <a:pt x="989" y="546"/>
                    <a:pt x="990" y="546"/>
                    <a:pt x="989" y="544"/>
                  </a:cubicBezTo>
                  <a:cubicBezTo>
                    <a:pt x="990" y="545"/>
                    <a:pt x="990" y="546"/>
                    <a:pt x="992" y="545"/>
                  </a:cubicBezTo>
                  <a:cubicBezTo>
                    <a:pt x="993" y="541"/>
                    <a:pt x="991" y="538"/>
                    <a:pt x="993" y="536"/>
                  </a:cubicBezTo>
                  <a:cubicBezTo>
                    <a:pt x="991" y="532"/>
                    <a:pt x="991" y="532"/>
                    <a:pt x="990" y="526"/>
                  </a:cubicBezTo>
                  <a:cubicBezTo>
                    <a:pt x="991" y="527"/>
                    <a:pt x="991" y="526"/>
                    <a:pt x="993" y="526"/>
                  </a:cubicBezTo>
                  <a:cubicBezTo>
                    <a:pt x="993" y="528"/>
                    <a:pt x="993" y="529"/>
                    <a:pt x="994" y="530"/>
                  </a:cubicBezTo>
                  <a:cubicBezTo>
                    <a:pt x="999" y="531"/>
                    <a:pt x="1000" y="526"/>
                    <a:pt x="1005" y="528"/>
                  </a:cubicBezTo>
                  <a:cubicBezTo>
                    <a:pt x="1006" y="527"/>
                    <a:pt x="1005" y="525"/>
                    <a:pt x="1006" y="524"/>
                  </a:cubicBezTo>
                  <a:cubicBezTo>
                    <a:pt x="1014" y="526"/>
                    <a:pt x="1014" y="519"/>
                    <a:pt x="1019" y="518"/>
                  </a:cubicBezTo>
                  <a:cubicBezTo>
                    <a:pt x="1021" y="521"/>
                    <a:pt x="1019" y="520"/>
                    <a:pt x="1020" y="524"/>
                  </a:cubicBezTo>
                  <a:cubicBezTo>
                    <a:pt x="1018" y="522"/>
                    <a:pt x="1018" y="524"/>
                    <a:pt x="1017" y="525"/>
                  </a:cubicBezTo>
                  <a:cubicBezTo>
                    <a:pt x="1014" y="522"/>
                    <a:pt x="1013" y="525"/>
                    <a:pt x="1009" y="525"/>
                  </a:cubicBezTo>
                  <a:cubicBezTo>
                    <a:pt x="1008" y="526"/>
                    <a:pt x="1007" y="528"/>
                    <a:pt x="1007" y="532"/>
                  </a:cubicBezTo>
                  <a:cubicBezTo>
                    <a:pt x="1010" y="532"/>
                    <a:pt x="1011" y="533"/>
                    <a:pt x="1012" y="534"/>
                  </a:cubicBezTo>
                  <a:cubicBezTo>
                    <a:pt x="1014" y="534"/>
                    <a:pt x="1014" y="533"/>
                    <a:pt x="1016" y="533"/>
                  </a:cubicBezTo>
                  <a:cubicBezTo>
                    <a:pt x="1016" y="536"/>
                    <a:pt x="1017" y="539"/>
                    <a:pt x="1020" y="540"/>
                  </a:cubicBezTo>
                  <a:cubicBezTo>
                    <a:pt x="1020" y="539"/>
                    <a:pt x="1021" y="538"/>
                    <a:pt x="1022" y="538"/>
                  </a:cubicBezTo>
                  <a:cubicBezTo>
                    <a:pt x="1023" y="540"/>
                    <a:pt x="1023" y="541"/>
                    <a:pt x="1025" y="543"/>
                  </a:cubicBezTo>
                  <a:cubicBezTo>
                    <a:pt x="1028" y="543"/>
                    <a:pt x="1030" y="542"/>
                    <a:pt x="1031" y="541"/>
                  </a:cubicBezTo>
                  <a:cubicBezTo>
                    <a:pt x="1032" y="538"/>
                    <a:pt x="1029" y="538"/>
                    <a:pt x="1029" y="536"/>
                  </a:cubicBezTo>
                  <a:cubicBezTo>
                    <a:pt x="1031" y="537"/>
                    <a:pt x="1030" y="534"/>
                    <a:pt x="1031" y="534"/>
                  </a:cubicBezTo>
                  <a:cubicBezTo>
                    <a:pt x="1032" y="540"/>
                    <a:pt x="1033" y="546"/>
                    <a:pt x="1029" y="548"/>
                  </a:cubicBezTo>
                  <a:cubicBezTo>
                    <a:pt x="1031" y="550"/>
                    <a:pt x="1032" y="553"/>
                    <a:pt x="1033" y="555"/>
                  </a:cubicBezTo>
                  <a:cubicBezTo>
                    <a:pt x="1036" y="554"/>
                    <a:pt x="1037" y="556"/>
                    <a:pt x="1039" y="556"/>
                  </a:cubicBezTo>
                  <a:cubicBezTo>
                    <a:pt x="1040" y="551"/>
                    <a:pt x="1040" y="549"/>
                    <a:pt x="1041" y="543"/>
                  </a:cubicBezTo>
                  <a:cubicBezTo>
                    <a:pt x="1041" y="545"/>
                    <a:pt x="1041" y="550"/>
                    <a:pt x="1044" y="551"/>
                  </a:cubicBezTo>
                  <a:cubicBezTo>
                    <a:pt x="1040" y="556"/>
                    <a:pt x="1041" y="568"/>
                    <a:pt x="1048" y="568"/>
                  </a:cubicBezTo>
                  <a:cubicBezTo>
                    <a:pt x="1048" y="567"/>
                    <a:pt x="1047" y="564"/>
                    <a:pt x="1048" y="563"/>
                  </a:cubicBezTo>
                  <a:cubicBezTo>
                    <a:pt x="1050" y="567"/>
                    <a:pt x="1050" y="569"/>
                    <a:pt x="1050" y="572"/>
                  </a:cubicBezTo>
                  <a:cubicBezTo>
                    <a:pt x="1053" y="572"/>
                    <a:pt x="1053" y="571"/>
                    <a:pt x="1055" y="571"/>
                  </a:cubicBezTo>
                  <a:cubicBezTo>
                    <a:pt x="1055" y="572"/>
                    <a:pt x="1053" y="572"/>
                    <a:pt x="1054" y="574"/>
                  </a:cubicBezTo>
                  <a:cubicBezTo>
                    <a:pt x="1055" y="575"/>
                    <a:pt x="1057" y="576"/>
                    <a:pt x="1059" y="576"/>
                  </a:cubicBezTo>
                  <a:cubicBezTo>
                    <a:pt x="1059" y="575"/>
                    <a:pt x="1061" y="575"/>
                    <a:pt x="1061" y="574"/>
                  </a:cubicBezTo>
                  <a:cubicBezTo>
                    <a:pt x="1061" y="571"/>
                    <a:pt x="1059" y="571"/>
                    <a:pt x="1059" y="569"/>
                  </a:cubicBezTo>
                  <a:cubicBezTo>
                    <a:pt x="1057" y="570"/>
                    <a:pt x="1058" y="571"/>
                    <a:pt x="1056" y="571"/>
                  </a:cubicBezTo>
                  <a:cubicBezTo>
                    <a:pt x="1058" y="568"/>
                    <a:pt x="1055" y="563"/>
                    <a:pt x="1052" y="561"/>
                  </a:cubicBezTo>
                  <a:cubicBezTo>
                    <a:pt x="1055" y="561"/>
                    <a:pt x="1056" y="565"/>
                    <a:pt x="1060" y="563"/>
                  </a:cubicBezTo>
                  <a:cubicBezTo>
                    <a:pt x="1060" y="565"/>
                    <a:pt x="1062" y="565"/>
                    <a:pt x="1063" y="566"/>
                  </a:cubicBezTo>
                  <a:cubicBezTo>
                    <a:pt x="1063" y="567"/>
                    <a:pt x="1063" y="568"/>
                    <a:pt x="1063" y="569"/>
                  </a:cubicBezTo>
                  <a:cubicBezTo>
                    <a:pt x="1066" y="570"/>
                    <a:pt x="1066" y="574"/>
                    <a:pt x="1067" y="576"/>
                  </a:cubicBezTo>
                  <a:cubicBezTo>
                    <a:pt x="1080" y="579"/>
                    <a:pt x="1080" y="562"/>
                    <a:pt x="1083" y="552"/>
                  </a:cubicBezTo>
                  <a:cubicBezTo>
                    <a:pt x="1080" y="546"/>
                    <a:pt x="1076" y="541"/>
                    <a:pt x="1074" y="535"/>
                  </a:cubicBezTo>
                  <a:close/>
                  <a:moveTo>
                    <a:pt x="974" y="527"/>
                  </a:moveTo>
                  <a:cubicBezTo>
                    <a:pt x="973" y="522"/>
                    <a:pt x="967" y="512"/>
                    <a:pt x="965" y="507"/>
                  </a:cubicBezTo>
                  <a:cubicBezTo>
                    <a:pt x="963" y="504"/>
                    <a:pt x="965" y="502"/>
                    <a:pt x="963" y="499"/>
                  </a:cubicBezTo>
                  <a:cubicBezTo>
                    <a:pt x="962" y="498"/>
                    <a:pt x="962" y="500"/>
                    <a:pt x="961" y="498"/>
                  </a:cubicBezTo>
                  <a:cubicBezTo>
                    <a:pt x="961" y="497"/>
                    <a:pt x="963" y="498"/>
                    <a:pt x="962" y="496"/>
                  </a:cubicBezTo>
                  <a:cubicBezTo>
                    <a:pt x="960" y="492"/>
                    <a:pt x="959" y="488"/>
                    <a:pt x="956" y="484"/>
                  </a:cubicBezTo>
                  <a:cubicBezTo>
                    <a:pt x="960" y="475"/>
                    <a:pt x="951" y="477"/>
                    <a:pt x="943" y="474"/>
                  </a:cubicBezTo>
                  <a:cubicBezTo>
                    <a:pt x="941" y="474"/>
                    <a:pt x="938" y="471"/>
                    <a:pt x="935" y="470"/>
                  </a:cubicBezTo>
                  <a:cubicBezTo>
                    <a:pt x="934" y="472"/>
                    <a:pt x="933" y="473"/>
                    <a:pt x="932" y="475"/>
                  </a:cubicBezTo>
                  <a:cubicBezTo>
                    <a:pt x="928" y="473"/>
                    <a:pt x="929" y="477"/>
                    <a:pt x="925" y="475"/>
                  </a:cubicBezTo>
                  <a:cubicBezTo>
                    <a:pt x="925" y="478"/>
                    <a:pt x="925" y="480"/>
                    <a:pt x="922" y="480"/>
                  </a:cubicBezTo>
                  <a:cubicBezTo>
                    <a:pt x="922" y="484"/>
                    <a:pt x="923" y="485"/>
                    <a:pt x="923" y="488"/>
                  </a:cubicBezTo>
                  <a:cubicBezTo>
                    <a:pt x="926" y="490"/>
                    <a:pt x="928" y="493"/>
                    <a:pt x="932" y="494"/>
                  </a:cubicBezTo>
                  <a:cubicBezTo>
                    <a:pt x="931" y="494"/>
                    <a:pt x="931" y="495"/>
                    <a:pt x="931" y="496"/>
                  </a:cubicBezTo>
                  <a:cubicBezTo>
                    <a:pt x="938" y="498"/>
                    <a:pt x="937" y="504"/>
                    <a:pt x="944" y="506"/>
                  </a:cubicBezTo>
                  <a:cubicBezTo>
                    <a:pt x="943" y="506"/>
                    <a:pt x="942" y="506"/>
                    <a:pt x="942" y="506"/>
                  </a:cubicBezTo>
                  <a:cubicBezTo>
                    <a:pt x="943" y="508"/>
                    <a:pt x="943" y="509"/>
                    <a:pt x="942" y="512"/>
                  </a:cubicBezTo>
                  <a:cubicBezTo>
                    <a:pt x="944" y="511"/>
                    <a:pt x="944" y="514"/>
                    <a:pt x="945" y="514"/>
                  </a:cubicBezTo>
                  <a:cubicBezTo>
                    <a:pt x="944" y="515"/>
                    <a:pt x="944" y="517"/>
                    <a:pt x="944" y="520"/>
                  </a:cubicBezTo>
                  <a:cubicBezTo>
                    <a:pt x="947" y="521"/>
                    <a:pt x="947" y="519"/>
                    <a:pt x="950" y="519"/>
                  </a:cubicBezTo>
                  <a:cubicBezTo>
                    <a:pt x="951" y="516"/>
                    <a:pt x="950" y="513"/>
                    <a:pt x="952" y="512"/>
                  </a:cubicBezTo>
                  <a:cubicBezTo>
                    <a:pt x="953" y="514"/>
                    <a:pt x="954" y="517"/>
                    <a:pt x="956" y="516"/>
                  </a:cubicBezTo>
                  <a:cubicBezTo>
                    <a:pt x="952" y="519"/>
                    <a:pt x="956" y="527"/>
                    <a:pt x="960" y="525"/>
                  </a:cubicBezTo>
                  <a:cubicBezTo>
                    <a:pt x="960" y="526"/>
                    <a:pt x="959" y="527"/>
                    <a:pt x="960" y="529"/>
                  </a:cubicBezTo>
                  <a:cubicBezTo>
                    <a:pt x="967" y="533"/>
                    <a:pt x="968" y="543"/>
                    <a:pt x="977" y="545"/>
                  </a:cubicBezTo>
                  <a:cubicBezTo>
                    <a:pt x="977" y="540"/>
                    <a:pt x="976" y="535"/>
                    <a:pt x="974" y="532"/>
                  </a:cubicBezTo>
                  <a:cubicBezTo>
                    <a:pt x="975" y="532"/>
                    <a:pt x="974" y="528"/>
                    <a:pt x="974" y="527"/>
                  </a:cubicBezTo>
                  <a:close/>
                  <a:moveTo>
                    <a:pt x="288" y="628"/>
                  </a:moveTo>
                  <a:cubicBezTo>
                    <a:pt x="290" y="625"/>
                    <a:pt x="297" y="626"/>
                    <a:pt x="294" y="621"/>
                  </a:cubicBezTo>
                  <a:cubicBezTo>
                    <a:pt x="291" y="622"/>
                    <a:pt x="292" y="621"/>
                    <a:pt x="291" y="620"/>
                  </a:cubicBezTo>
                  <a:cubicBezTo>
                    <a:pt x="290" y="621"/>
                    <a:pt x="289" y="622"/>
                    <a:pt x="288" y="623"/>
                  </a:cubicBezTo>
                  <a:cubicBezTo>
                    <a:pt x="288" y="620"/>
                    <a:pt x="286" y="624"/>
                    <a:pt x="285" y="622"/>
                  </a:cubicBezTo>
                  <a:cubicBezTo>
                    <a:pt x="286" y="621"/>
                    <a:pt x="287" y="621"/>
                    <a:pt x="286" y="619"/>
                  </a:cubicBezTo>
                  <a:cubicBezTo>
                    <a:pt x="282" y="616"/>
                    <a:pt x="275" y="618"/>
                    <a:pt x="272" y="621"/>
                  </a:cubicBezTo>
                  <a:cubicBezTo>
                    <a:pt x="272" y="624"/>
                    <a:pt x="274" y="624"/>
                    <a:pt x="274" y="627"/>
                  </a:cubicBezTo>
                  <a:cubicBezTo>
                    <a:pt x="276" y="626"/>
                    <a:pt x="279" y="628"/>
                    <a:pt x="278" y="629"/>
                  </a:cubicBezTo>
                  <a:cubicBezTo>
                    <a:pt x="277" y="627"/>
                    <a:pt x="276" y="627"/>
                    <a:pt x="273" y="627"/>
                  </a:cubicBezTo>
                  <a:cubicBezTo>
                    <a:pt x="273" y="629"/>
                    <a:pt x="272" y="630"/>
                    <a:pt x="270" y="630"/>
                  </a:cubicBezTo>
                  <a:cubicBezTo>
                    <a:pt x="270" y="633"/>
                    <a:pt x="268" y="633"/>
                    <a:pt x="268" y="635"/>
                  </a:cubicBezTo>
                  <a:cubicBezTo>
                    <a:pt x="264" y="634"/>
                    <a:pt x="258" y="635"/>
                    <a:pt x="251" y="637"/>
                  </a:cubicBezTo>
                  <a:cubicBezTo>
                    <a:pt x="251" y="640"/>
                    <a:pt x="255" y="640"/>
                    <a:pt x="255" y="642"/>
                  </a:cubicBezTo>
                  <a:cubicBezTo>
                    <a:pt x="258" y="641"/>
                    <a:pt x="258" y="641"/>
                    <a:pt x="260" y="643"/>
                  </a:cubicBezTo>
                  <a:cubicBezTo>
                    <a:pt x="262" y="639"/>
                    <a:pt x="268" y="640"/>
                    <a:pt x="272" y="638"/>
                  </a:cubicBezTo>
                  <a:cubicBezTo>
                    <a:pt x="273" y="640"/>
                    <a:pt x="276" y="638"/>
                    <a:pt x="278" y="640"/>
                  </a:cubicBezTo>
                  <a:cubicBezTo>
                    <a:pt x="278" y="639"/>
                    <a:pt x="279" y="638"/>
                    <a:pt x="279" y="638"/>
                  </a:cubicBezTo>
                  <a:cubicBezTo>
                    <a:pt x="280" y="639"/>
                    <a:pt x="280" y="639"/>
                    <a:pt x="280" y="639"/>
                  </a:cubicBezTo>
                  <a:cubicBezTo>
                    <a:pt x="281" y="637"/>
                    <a:pt x="281" y="636"/>
                    <a:pt x="283" y="637"/>
                  </a:cubicBezTo>
                  <a:cubicBezTo>
                    <a:pt x="284" y="635"/>
                    <a:pt x="284" y="636"/>
                    <a:pt x="286" y="634"/>
                  </a:cubicBezTo>
                  <a:cubicBezTo>
                    <a:pt x="288" y="635"/>
                    <a:pt x="291" y="632"/>
                    <a:pt x="293" y="633"/>
                  </a:cubicBezTo>
                  <a:cubicBezTo>
                    <a:pt x="294" y="631"/>
                    <a:pt x="296" y="630"/>
                    <a:pt x="296" y="627"/>
                  </a:cubicBezTo>
                  <a:cubicBezTo>
                    <a:pt x="294" y="625"/>
                    <a:pt x="290" y="629"/>
                    <a:pt x="288" y="628"/>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3" name="Alabama">
              <a:extLst>
                <a:ext uri="{FF2B5EF4-FFF2-40B4-BE49-F238E27FC236}">
                  <a16:creationId xmlns:a16="http://schemas.microsoft.com/office/drawing/2014/main" id="{A9106EA6-B407-7C83-4886-05AEB7E91891}"/>
                </a:ext>
              </a:extLst>
            </p:cNvPr>
            <p:cNvSpPr>
              <a:spLocks/>
            </p:cNvSpPr>
            <p:nvPr/>
          </p:nvSpPr>
          <p:spPr bwMode="auto">
            <a:xfrm>
              <a:off x="7620647" y="3637760"/>
              <a:ext cx="521611" cy="1004769"/>
            </a:xfrm>
            <a:custGeom>
              <a:avLst/>
              <a:gdLst>
                <a:gd name="T0" fmla="*/ 132 w 132"/>
                <a:gd name="T1" fmla="*/ 220 h 254"/>
                <a:gd name="T2" fmla="*/ 132 w 132"/>
                <a:gd name="T3" fmla="*/ 217 h 254"/>
                <a:gd name="T4" fmla="*/ 131 w 132"/>
                <a:gd name="T5" fmla="*/ 216 h 254"/>
                <a:gd name="T6" fmla="*/ 131 w 132"/>
                <a:gd name="T7" fmla="*/ 132 h 254"/>
                <a:gd name="T8" fmla="*/ 125 w 132"/>
                <a:gd name="T9" fmla="*/ 116 h 254"/>
                <a:gd name="T10" fmla="*/ 125 w 132"/>
                <a:gd name="T11" fmla="*/ 90 h 254"/>
                <a:gd name="T12" fmla="*/ 119 w 132"/>
                <a:gd name="T13" fmla="*/ 77 h 254"/>
                <a:gd name="T14" fmla="*/ 119 w 132"/>
                <a:gd name="T15" fmla="*/ 71 h 254"/>
                <a:gd name="T16" fmla="*/ 115 w 132"/>
                <a:gd name="T17" fmla="*/ 63 h 254"/>
                <a:gd name="T18" fmla="*/ 115 w 132"/>
                <a:gd name="T19" fmla="*/ 22 h 254"/>
                <a:gd name="T20" fmla="*/ 111 w 132"/>
                <a:gd name="T21" fmla="*/ 9 h 254"/>
                <a:gd name="T22" fmla="*/ 111 w 132"/>
                <a:gd name="T23" fmla="*/ 0 h 254"/>
                <a:gd name="T24" fmla="*/ 16 w 132"/>
                <a:gd name="T25" fmla="*/ 0 h 254"/>
                <a:gd name="T26" fmla="*/ 16 w 132"/>
                <a:gd name="T27" fmla="*/ 56 h 254"/>
                <a:gd name="T28" fmla="*/ 16 w 132"/>
                <a:gd name="T29" fmla="*/ 68 h 254"/>
                <a:gd name="T30" fmla="*/ 16 w 132"/>
                <a:gd name="T31" fmla="*/ 68 h 254"/>
                <a:gd name="T32" fmla="*/ 7 w 132"/>
                <a:gd name="T33" fmla="*/ 92 h 254"/>
                <a:gd name="T34" fmla="*/ 6 w 132"/>
                <a:gd name="T35" fmla="*/ 108 h 254"/>
                <a:gd name="T36" fmla="*/ 1 w 132"/>
                <a:gd name="T37" fmla="*/ 157 h 254"/>
                <a:gd name="T38" fmla="*/ 1 w 132"/>
                <a:gd name="T39" fmla="*/ 248 h 254"/>
                <a:gd name="T40" fmla="*/ 1 w 132"/>
                <a:gd name="T41" fmla="*/ 248 h 254"/>
                <a:gd name="T42" fmla="*/ 17 w 132"/>
                <a:gd name="T43" fmla="*/ 250 h 254"/>
                <a:gd name="T44" fmla="*/ 17 w 132"/>
                <a:gd name="T45" fmla="*/ 246 h 254"/>
                <a:gd name="T46" fmla="*/ 25 w 132"/>
                <a:gd name="T47" fmla="*/ 223 h 254"/>
                <a:gd name="T48" fmla="*/ 25 w 132"/>
                <a:gd name="T49" fmla="*/ 246 h 254"/>
                <a:gd name="T50" fmla="*/ 25 w 132"/>
                <a:gd name="T51" fmla="*/ 250 h 254"/>
                <a:gd name="T52" fmla="*/ 25 w 132"/>
                <a:gd name="T53" fmla="*/ 254 h 254"/>
                <a:gd name="T54" fmla="*/ 39 w 132"/>
                <a:gd name="T55" fmla="*/ 251 h 254"/>
                <a:gd name="T56" fmla="*/ 39 w 132"/>
                <a:gd name="T57" fmla="*/ 220 h 254"/>
                <a:gd name="T58" fmla="*/ 132 w 132"/>
                <a:gd name="T59" fmla="*/ 22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254">
                  <a:moveTo>
                    <a:pt x="132" y="220"/>
                  </a:moveTo>
                  <a:cubicBezTo>
                    <a:pt x="132" y="217"/>
                    <a:pt x="132" y="217"/>
                    <a:pt x="132" y="217"/>
                  </a:cubicBezTo>
                  <a:cubicBezTo>
                    <a:pt x="131" y="216"/>
                    <a:pt x="131" y="216"/>
                    <a:pt x="131" y="216"/>
                  </a:cubicBezTo>
                  <a:cubicBezTo>
                    <a:pt x="131" y="132"/>
                    <a:pt x="131" y="132"/>
                    <a:pt x="131" y="132"/>
                  </a:cubicBezTo>
                  <a:cubicBezTo>
                    <a:pt x="125" y="116"/>
                    <a:pt x="125" y="116"/>
                    <a:pt x="125" y="116"/>
                  </a:cubicBezTo>
                  <a:cubicBezTo>
                    <a:pt x="125" y="90"/>
                    <a:pt x="125" y="90"/>
                    <a:pt x="125" y="90"/>
                  </a:cubicBezTo>
                  <a:cubicBezTo>
                    <a:pt x="119" y="77"/>
                    <a:pt x="119" y="77"/>
                    <a:pt x="119" y="77"/>
                  </a:cubicBezTo>
                  <a:cubicBezTo>
                    <a:pt x="119" y="71"/>
                    <a:pt x="119" y="71"/>
                    <a:pt x="119" y="71"/>
                  </a:cubicBezTo>
                  <a:cubicBezTo>
                    <a:pt x="115" y="63"/>
                    <a:pt x="115" y="63"/>
                    <a:pt x="115" y="63"/>
                  </a:cubicBezTo>
                  <a:cubicBezTo>
                    <a:pt x="115" y="22"/>
                    <a:pt x="115" y="22"/>
                    <a:pt x="115" y="22"/>
                  </a:cubicBezTo>
                  <a:cubicBezTo>
                    <a:pt x="111" y="9"/>
                    <a:pt x="111" y="9"/>
                    <a:pt x="111" y="9"/>
                  </a:cubicBezTo>
                  <a:cubicBezTo>
                    <a:pt x="111" y="0"/>
                    <a:pt x="111" y="0"/>
                    <a:pt x="111" y="0"/>
                  </a:cubicBezTo>
                  <a:cubicBezTo>
                    <a:pt x="16" y="0"/>
                    <a:pt x="16" y="0"/>
                    <a:pt x="16" y="0"/>
                  </a:cubicBezTo>
                  <a:cubicBezTo>
                    <a:pt x="16" y="56"/>
                    <a:pt x="16" y="56"/>
                    <a:pt x="16" y="56"/>
                  </a:cubicBezTo>
                  <a:cubicBezTo>
                    <a:pt x="16" y="68"/>
                    <a:pt x="16" y="68"/>
                    <a:pt x="16" y="68"/>
                  </a:cubicBezTo>
                  <a:cubicBezTo>
                    <a:pt x="16" y="68"/>
                    <a:pt x="16" y="68"/>
                    <a:pt x="16" y="68"/>
                  </a:cubicBezTo>
                  <a:cubicBezTo>
                    <a:pt x="12" y="78"/>
                    <a:pt x="7" y="90"/>
                    <a:pt x="7" y="92"/>
                  </a:cubicBezTo>
                  <a:cubicBezTo>
                    <a:pt x="7" y="93"/>
                    <a:pt x="7" y="99"/>
                    <a:pt x="6" y="108"/>
                  </a:cubicBezTo>
                  <a:cubicBezTo>
                    <a:pt x="3" y="126"/>
                    <a:pt x="0" y="154"/>
                    <a:pt x="1" y="157"/>
                  </a:cubicBezTo>
                  <a:cubicBezTo>
                    <a:pt x="2" y="161"/>
                    <a:pt x="1" y="227"/>
                    <a:pt x="1" y="248"/>
                  </a:cubicBezTo>
                  <a:cubicBezTo>
                    <a:pt x="1" y="248"/>
                    <a:pt x="1" y="248"/>
                    <a:pt x="1" y="248"/>
                  </a:cubicBezTo>
                  <a:cubicBezTo>
                    <a:pt x="17" y="250"/>
                    <a:pt x="17" y="250"/>
                    <a:pt x="17" y="250"/>
                  </a:cubicBezTo>
                  <a:cubicBezTo>
                    <a:pt x="17" y="246"/>
                    <a:pt x="17" y="246"/>
                    <a:pt x="17" y="246"/>
                  </a:cubicBezTo>
                  <a:cubicBezTo>
                    <a:pt x="25" y="223"/>
                    <a:pt x="25" y="223"/>
                    <a:pt x="25" y="223"/>
                  </a:cubicBezTo>
                  <a:cubicBezTo>
                    <a:pt x="25" y="246"/>
                    <a:pt x="25" y="246"/>
                    <a:pt x="25" y="246"/>
                  </a:cubicBezTo>
                  <a:cubicBezTo>
                    <a:pt x="25" y="250"/>
                    <a:pt x="25" y="250"/>
                    <a:pt x="25" y="250"/>
                  </a:cubicBezTo>
                  <a:cubicBezTo>
                    <a:pt x="25" y="254"/>
                    <a:pt x="25" y="254"/>
                    <a:pt x="25" y="254"/>
                  </a:cubicBezTo>
                  <a:cubicBezTo>
                    <a:pt x="39" y="251"/>
                    <a:pt x="39" y="251"/>
                    <a:pt x="39" y="251"/>
                  </a:cubicBezTo>
                  <a:cubicBezTo>
                    <a:pt x="39" y="220"/>
                    <a:pt x="39" y="220"/>
                    <a:pt x="39" y="220"/>
                  </a:cubicBezTo>
                  <a:lnTo>
                    <a:pt x="132" y="22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grpSp>
    </p:spTree>
    <p:extLst>
      <p:ext uri="{BB962C8B-B14F-4D97-AF65-F5344CB8AC3E}">
        <p14:creationId xmlns:p14="http://schemas.microsoft.com/office/powerpoint/2010/main" val="30869773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vavilable illustrations">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DA04F8B-20AD-41E2-B405-2AC3307FB734}"/>
              </a:ext>
            </a:extLst>
          </p:cNvPr>
          <p:cNvSpPr txBox="1"/>
          <p:nvPr userDrawn="1"/>
        </p:nvSpPr>
        <p:spPr>
          <a:xfrm>
            <a:off x="574313" y="2520807"/>
            <a:ext cx="1246909" cy="184666"/>
          </a:xfrm>
          <a:prstGeom prst="rect">
            <a:avLst/>
          </a:prstGeom>
          <a:noFill/>
        </p:spPr>
        <p:txBody>
          <a:bodyPr wrap="square" lIns="0" tIns="0" rIns="0" bIns="0" rtlCol="0">
            <a:spAutoFit/>
          </a:bodyPr>
          <a:lstStyle/>
          <a:p>
            <a:pPr algn="ctr"/>
            <a:r>
              <a:rPr lang="en-US" sz="1200" dirty="0"/>
              <a:t>(Global)</a:t>
            </a:r>
          </a:p>
        </p:txBody>
      </p:sp>
      <p:sp>
        <p:nvSpPr>
          <p:cNvPr id="4" name="TextBox 3">
            <a:extLst>
              <a:ext uri="{FF2B5EF4-FFF2-40B4-BE49-F238E27FC236}">
                <a16:creationId xmlns:a16="http://schemas.microsoft.com/office/drawing/2014/main" id="{F932225F-224D-2F26-799E-E52ED6356A3A}"/>
              </a:ext>
            </a:extLst>
          </p:cNvPr>
          <p:cNvSpPr txBox="1"/>
          <p:nvPr userDrawn="1"/>
        </p:nvSpPr>
        <p:spPr>
          <a:xfrm>
            <a:off x="2569013" y="2520807"/>
            <a:ext cx="1246909" cy="184666"/>
          </a:xfrm>
          <a:prstGeom prst="rect">
            <a:avLst/>
          </a:prstGeom>
          <a:noFill/>
        </p:spPr>
        <p:txBody>
          <a:bodyPr wrap="square" lIns="0" tIns="0" rIns="0" bIns="0" rtlCol="0">
            <a:spAutoFit/>
          </a:bodyPr>
          <a:lstStyle/>
          <a:p>
            <a:pPr algn="ctr"/>
            <a:r>
              <a:rPr lang="en-US" sz="1200" dirty="0"/>
              <a:t>(Connections)</a:t>
            </a:r>
          </a:p>
        </p:txBody>
      </p:sp>
      <p:sp>
        <p:nvSpPr>
          <p:cNvPr id="5" name="TextBox 4">
            <a:extLst>
              <a:ext uri="{FF2B5EF4-FFF2-40B4-BE49-F238E27FC236}">
                <a16:creationId xmlns:a16="http://schemas.microsoft.com/office/drawing/2014/main" id="{F4D8048A-8CB3-B9FE-6BDB-5C56B5273CDF}"/>
              </a:ext>
            </a:extLst>
          </p:cNvPr>
          <p:cNvSpPr txBox="1"/>
          <p:nvPr userDrawn="1"/>
        </p:nvSpPr>
        <p:spPr>
          <a:xfrm>
            <a:off x="4474556" y="2520807"/>
            <a:ext cx="1246909" cy="184666"/>
          </a:xfrm>
          <a:prstGeom prst="rect">
            <a:avLst/>
          </a:prstGeom>
          <a:noFill/>
        </p:spPr>
        <p:txBody>
          <a:bodyPr wrap="square" lIns="0" tIns="0" rIns="0" bIns="0" rtlCol="0">
            <a:spAutoFit/>
          </a:bodyPr>
          <a:lstStyle/>
          <a:p>
            <a:pPr algn="ctr"/>
            <a:r>
              <a:rPr lang="en-US" sz="1200" dirty="0"/>
              <a:t>(People) </a:t>
            </a:r>
          </a:p>
        </p:txBody>
      </p:sp>
      <p:sp>
        <p:nvSpPr>
          <p:cNvPr id="6" name="TextBox 5">
            <a:extLst>
              <a:ext uri="{FF2B5EF4-FFF2-40B4-BE49-F238E27FC236}">
                <a16:creationId xmlns:a16="http://schemas.microsoft.com/office/drawing/2014/main" id="{05E5138E-B186-AACE-12F7-77A059BCA634}"/>
              </a:ext>
            </a:extLst>
          </p:cNvPr>
          <p:cNvSpPr txBox="1"/>
          <p:nvPr userDrawn="1"/>
        </p:nvSpPr>
        <p:spPr>
          <a:xfrm>
            <a:off x="6470534" y="2520807"/>
            <a:ext cx="1246909" cy="184666"/>
          </a:xfrm>
          <a:prstGeom prst="rect">
            <a:avLst/>
          </a:prstGeom>
          <a:noFill/>
        </p:spPr>
        <p:txBody>
          <a:bodyPr wrap="square" lIns="0" tIns="0" rIns="0" bIns="0" rtlCol="0">
            <a:spAutoFit/>
          </a:bodyPr>
          <a:lstStyle/>
          <a:p>
            <a:pPr algn="ctr"/>
            <a:r>
              <a:rPr lang="en-US" sz="1200" dirty="0"/>
              <a:t>(Focus)</a:t>
            </a:r>
          </a:p>
        </p:txBody>
      </p:sp>
      <p:sp>
        <p:nvSpPr>
          <p:cNvPr id="7" name="TextBox 6">
            <a:extLst>
              <a:ext uri="{FF2B5EF4-FFF2-40B4-BE49-F238E27FC236}">
                <a16:creationId xmlns:a16="http://schemas.microsoft.com/office/drawing/2014/main" id="{8D6D7D71-7FE2-872F-8DF7-EBC43F4E8532}"/>
              </a:ext>
            </a:extLst>
          </p:cNvPr>
          <p:cNvSpPr txBox="1"/>
          <p:nvPr userDrawn="1"/>
        </p:nvSpPr>
        <p:spPr>
          <a:xfrm>
            <a:off x="8466512" y="2520807"/>
            <a:ext cx="1246909" cy="184666"/>
          </a:xfrm>
          <a:prstGeom prst="rect">
            <a:avLst/>
          </a:prstGeom>
          <a:noFill/>
        </p:spPr>
        <p:txBody>
          <a:bodyPr wrap="square" lIns="0" tIns="0" rIns="0" bIns="0" rtlCol="0">
            <a:spAutoFit/>
          </a:bodyPr>
          <a:lstStyle/>
          <a:p>
            <a:pPr algn="ctr"/>
            <a:r>
              <a:rPr lang="en-US" sz="1200" dirty="0"/>
              <a:t>(Precision)</a:t>
            </a:r>
          </a:p>
        </p:txBody>
      </p:sp>
      <p:sp>
        <p:nvSpPr>
          <p:cNvPr id="8" name="TextBox 7">
            <a:extLst>
              <a:ext uri="{FF2B5EF4-FFF2-40B4-BE49-F238E27FC236}">
                <a16:creationId xmlns:a16="http://schemas.microsoft.com/office/drawing/2014/main" id="{227D8B25-6DB6-6C0B-258E-F315B60052EB}"/>
              </a:ext>
            </a:extLst>
          </p:cNvPr>
          <p:cNvSpPr txBox="1"/>
          <p:nvPr userDrawn="1"/>
        </p:nvSpPr>
        <p:spPr>
          <a:xfrm>
            <a:off x="10374503" y="2520807"/>
            <a:ext cx="1246909" cy="184666"/>
          </a:xfrm>
          <a:prstGeom prst="rect">
            <a:avLst/>
          </a:prstGeom>
          <a:noFill/>
        </p:spPr>
        <p:txBody>
          <a:bodyPr wrap="square" lIns="0" tIns="0" rIns="0" bIns="0" rtlCol="0">
            <a:spAutoFit/>
          </a:bodyPr>
          <a:lstStyle/>
          <a:p>
            <a:pPr algn="ctr"/>
            <a:r>
              <a:rPr lang="en-US" sz="1200" dirty="0">
                <a:solidFill>
                  <a:srgbClr val="1D1C1D"/>
                </a:solidFill>
                <a:effectLst/>
                <a:latin typeface="+mn-lt" panose="020B0604020202020204" pitchFamily="34" charset="0"/>
              </a:rPr>
              <a:t>(Insights)</a:t>
            </a:r>
            <a:endParaRPr lang="en-US" sz="1200" dirty="0"/>
          </a:p>
        </p:txBody>
      </p:sp>
      <p:sp>
        <p:nvSpPr>
          <p:cNvPr id="9" name="TextBox 8">
            <a:extLst>
              <a:ext uri="{FF2B5EF4-FFF2-40B4-BE49-F238E27FC236}">
                <a16:creationId xmlns:a16="http://schemas.microsoft.com/office/drawing/2014/main" id="{C8C33654-D56D-798C-B3EE-9562232368FA}"/>
              </a:ext>
            </a:extLst>
          </p:cNvPr>
          <p:cNvSpPr txBox="1"/>
          <p:nvPr userDrawn="1"/>
        </p:nvSpPr>
        <p:spPr>
          <a:xfrm>
            <a:off x="574313" y="4406629"/>
            <a:ext cx="1246909" cy="184666"/>
          </a:xfrm>
          <a:prstGeom prst="rect">
            <a:avLst/>
          </a:prstGeom>
          <a:noFill/>
        </p:spPr>
        <p:txBody>
          <a:bodyPr wrap="square" lIns="0" tIns="0" rIns="0" bIns="0" rtlCol="0">
            <a:spAutoFit/>
          </a:bodyPr>
          <a:lstStyle/>
          <a:p>
            <a:pPr algn="ctr"/>
            <a:r>
              <a:rPr lang="en-US" sz="1200" dirty="0"/>
              <a:t>(Collaboration)</a:t>
            </a:r>
          </a:p>
        </p:txBody>
      </p:sp>
      <p:sp>
        <p:nvSpPr>
          <p:cNvPr id="10" name="TextBox 9">
            <a:extLst>
              <a:ext uri="{FF2B5EF4-FFF2-40B4-BE49-F238E27FC236}">
                <a16:creationId xmlns:a16="http://schemas.microsoft.com/office/drawing/2014/main" id="{673A1F06-02E2-262C-52AD-64A740C90F1E}"/>
              </a:ext>
            </a:extLst>
          </p:cNvPr>
          <p:cNvSpPr txBox="1"/>
          <p:nvPr userDrawn="1"/>
        </p:nvSpPr>
        <p:spPr>
          <a:xfrm>
            <a:off x="2478578" y="4406629"/>
            <a:ext cx="1246909" cy="184666"/>
          </a:xfrm>
          <a:prstGeom prst="rect">
            <a:avLst/>
          </a:prstGeom>
          <a:noFill/>
        </p:spPr>
        <p:txBody>
          <a:bodyPr wrap="square" lIns="0" tIns="0" rIns="0" bIns="0" rtlCol="0">
            <a:spAutoFit/>
          </a:bodyPr>
          <a:lstStyle/>
          <a:p>
            <a:pPr algn="ctr"/>
            <a:r>
              <a:rPr lang="en-US" sz="1200" dirty="0"/>
              <a:t>(Agility)</a:t>
            </a:r>
          </a:p>
        </p:txBody>
      </p:sp>
      <p:sp>
        <p:nvSpPr>
          <p:cNvPr id="11" name="TextBox 10">
            <a:extLst>
              <a:ext uri="{FF2B5EF4-FFF2-40B4-BE49-F238E27FC236}">
                <a16:creationId xmlns:a16="http://schemas.microsoft.com/office/drawing/2014/main" id="{DC2D4D8A-6C45-1106-102F-822DFBB497EC}"/>
              </a:ext>
            </a:extLst>
          </p:cNvPr>
          <p:cNvSpPr txBox="1"/>
          <p:nvPr userDrawn="1"/>
        </p:nvSpPr>
        <p:spPr>
          <a:xfrm>
            <a:off x="4474556" y="4406629"/>
            <a:ext cx="1246909" cy="184666"/>
          </a:xfrm>
          <a:prstGeom prst="rect">
            <a:avLst/>
          </a:prstGeom>
          <a:noFill/>
        </p:spPr>
        <p:txBody>
          <a:bodyPr wrap="square" lIns="0" tIns="0" rIns="0" bIns="0" rtlCol="0">
            <a:spAutoFit/>
          </a:bodyPr>
          <a:lstStyle/>
          <a:p>
            <a:pPr algn="ctr"/>
            <a:r>
              <a:rPr lang="en-US" sz="1200" dirty="0"/>
              <a:t>(Growth)</a:t>
            </a:r>
          </a:p>
        </p:txBody>
      </p:sp>
      <p:sp>
        <p:nvSpPr>
          <p:cNvPr id="12" name="TextBox 11">
            <a:extLst>
              <a:ext uri="{FF2B5EF4-FFF2-40B4-BE49-F238E27FC236}">
                <a16:creationId xmlns:a16="http://schemas.microsoft.com/office/drawing/2014/main" id="{F2775C2E-51A9-6B2F-CE0E-7E6B656DA960}"/>
              </a:ext>
            </a:extLst>
          </p:cNvPr>
          <p:cNvSpPr txBox="1"/>
          <p:nvPr userDrawn="1"/>
        </p:nvSpPr>
        <p:spPr>
          <a:xfrm>
            <a:off x="6470534" y="4406629"/>
            <a:ext cx="1246909" cy="184666"/>
          </a:xfrm>
          <a:prstGeom prst="rect">
            <a:avLst/>
          </a:prstGeom>
          <a:noFill/>
        </p:spPr>
        <p:txBody>
          <a:bodyPr wrap="square" lIns="0" tIns="0" rIns="0" bIns="0" rtlCol="0">
            <a:spAutoFit/>
          </a:bodyPr>
          <a:lstStyle/>
          <a:p>
            <a:pPr algn="ctr"/>
            <a:r>
              <a:rPr lang="en-US" sz="1200" dirty="0"/>
              <a:t>(Synthesis)</a:t>
            </a:r>
          </a:p>
        </p:txBody>
      </p:sp>
      <p:sp>
        <p:nvSpPr>
          <p:cNvPr id="13" name="TextBox 12">
            <a:extLst>
              <a:ext uri="{FF2B5EF4-FFF2-40B4-BE49-F238E27FC236}">
                <a16:creationId xmlns:a16="http://schemas.microsoft.com/office/drawing/2014/main" id="{6D6B7556-B3CD-0C53-9575-7E1AB58226DA}"/>
              </a:ext>
            </a:extLst>
          </p:cNvPr>
          <p:cNvSpPr txBox="1"/>
          <p:nvPr userDrawn="1"/>
        </p:nvSpPr>
        <p:spPr>
          <a:xfrm>
            <a:off x="8466512" y="4406629"/>
            <a:ext cx="1246909" cy="184666"/>
          </a:xfrm>
          <a:prstGeom prst="rect">
            <a:avLst/>
          </a:prstGeom>
          <a:noFill/>
        </p:spPr>
        <p:txBody>
          <a:bodyPr wrap="square" lIns="0" tIns="0" rIns="0" bIns="0" rtlCol="0">
            <a:spAutoFit/>
          </a:bodyPr>
          <a:lstStyle/>
          <a:p>
            <a:pPr algn="ctr"/>
            <a:r>
              <a:rPr lang="en-US" sz="1200" dirty="0"/>
              <a:t>(Protection)</a:t>
            </a:r>
          </a:p>
        </p:txBody>
      </p:sp>
      <p:sp>
        <p:nvSpPr>
          <p:cNvPr id="14" name="TextBox 13">
            <a:extLst>
              <a:ext uri="{FF2B5EF4-FFF2-40B4-BE49-F238E27FC236}">
                <a16:creationId xmlns:a16="http://schemas.microsoft.com/office/drawing/2014/main" id="{CFD45ABB-7E5E-6D98-79CE-3919D7033353}"/>
              </a:ext>
            </a:extLst>
          </p:cNvPr>
          <p:cNvSpPr txBox="1"/>
          <p:nvPr userDrawn="1"/>
        </p:nvSpPr>
        <p:spPr>
          <a:xfrm>
            <a:off x="10374503" y="4406629"/>
            <a:ext cx="1246909" cy="184666"/>
          </a:xfrm>
          <a:prstGeom prst="rect">
            <a:avLst/>
          </a:prstGeom>
          <a:noFill/>
        </p:spPr>
        <p:txBody>
          <a:bodyPr wrap="square" lIns="0" tIns="0" rIns="0" bIns="0" rtlCol="0">
            <a:spAutoFit/>
          </a:bodyPr>
          <a:lstStyle/>
          <a:p>
            <a:pPr algn="ctr"/>
            <a:r>
              <a:rPr lang="en-US" sz="1200" dirty="0">
                <a:solidFill>
                  <a:srgbClr val="1D1C1D"/>
                </a:solidFill>
                <a:effectLst/>
                <a:latin typeface="+mn-lt" panose="020B0604020202020204" pitchFamily="34" charset="0"/>
              </a:rPr>
              <a:t>(Improving)</a:t>
            </a:r>
            <a:endParaRPr lang="en-US" sz="1200" dirty="0"/>
          </a:p>
        </p:txBody>
      </p:sp>
      <p:sp>
        <p:nvSpPr>
          <p:cNvPr id="15" name="TextBox 14">
            <a:extLst>
              <a:ext uri="{FF2B5EF4-FFF2-40B4-BE49-F238E27FC236}">
                <a16:creationId xmlns:a16="http://schemas.microsoft.com/office/drawing/2014/main" id="{321640ED-028F-FA20-DBE1-DB559ED6D00A}"/>
              </a:ext>
            </a:extLst>
          </p:cNvPr>
          <p:cNvSpPr txBox="1"/>
          <p:nvPr userDrawn="1"/>
        </p:nvSpPr>
        <p:spPr>
          <a:xfrm>
            <a:off x="4418060" y="6199218"/>
            <a:ext cx="1246909" cy="184666"/>
          </a:xfrm>
          <a:prstGeom prst="rect">
            <a:avLst/>
          </a:prstGeom>
          <a:noFill/>
        </p:spPr>
        <p:txBody>
          <a:bodyPr wrap="square" lIns="0" tIns="0" rIns="0" bIns="0" rtlCol="0">
            <a:spAutoFit/>
          </a:bodyPr>
          <a:lstStyle/>
          <a:p>
            <a:pPr algn="ctr"/>
            <a:r>
              <a:rPr lang="en-US" sz="1200" dirty="0"/>
              <a:t>(4 Word Diagram)</a:t>
            </a:r>
          </a:p>
        </p:txBody>
      </p:sp>
      <p:sp>
        <p:nvSpPr>
          <p:cNvPr id="16" name="TextBox 15">
            <a:extLst>
              <a:ext uri="{FF2B5EF4-FFF2-40B4-BE49-F238E27FC236}">
                <a16:creationId xmlns:a16="http://schemas.microsoft.com/office/drawing/2014/main" id="{3BEA73D0-0EFD-9B7C-A0DB-B1F078CDEC6D}"/>
              </a:ext>
            </a:extLst>
          </p:cNvPr>
          <p:cNvSpPr txBox="1"/>
          <p:nvPr userDrawn="1"/>
        </p:nvSpPr>
        <p:spPr>
          <a:xfrm>
            <a:off x="8406604" y="6199218"/>
            <a:ext cx="1246909" cy="184666"/>
          </a:xfrm>
          <a:prstGeom prst="rect">
            <a:avLst/>
          </a:prstGeom>
          <a:noFill/>
        </p:spPr>
        <p:txBody>
          <a:bodyPr wrap="square" lIns="0" tIns="0" rIns="0" bIns="0" rtlCol="0">
            <a:spAutoFit/>
          </a:bodyPr>
          <a:lstStyle/>
          <a:p>
            <a:pPr algn="ctr"/>
            <a:r>
              <a:rPr lang="en-US" sz="1200" dirty="0"/>
              <a:t>(Reinventing)</a:t>
            </a:r>
          </a:p>
        </p:txBody>
      </p:sp>
      <p:pic>
        <p:nvPicPr>
          <p:cNvPr id="17" name="Reinventing">
            <a:extLst>
              <a:ext uri="{FF2B5EF4-FFF2-40B4-BE49-F238E27FC236}">
                <a16:creationId xmlns:a16="http://schemas.microsoft.com/office/drawing/2014/main" id="{C2EC632F-E6DE-1D8D-493E-239C8FEB333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85613" y="4797373"/>
            <a:ext cx="2688890" cy="1387814"/>
          </a:xfrm>
          <a:prstGeom prst="rect">
            <a:avLst/>
          </a:prstGeom>
        </p:spPr>
      </p:pic>
      <p:pic>
        <p:nvPicPr>
          <p:cNvPr id="18" name="4 Word Diagram">
            <a:extLst>
              <a:ext uri="{FF2B5EF4-FFF2-40B4-BE49-F238E27FC236}">
                <a16:creationId xmlns:a16="http://schemas.microsoft.com/office/drawing/2014/main" id="{D933D3F1-E38F-CB30-B170-55F7C9E3875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827177" y="4797373"/>
            <a:ext cx="2428675" cy="1387815"/>
          </a:xfrm>
          <a:prstGeom prst="rect">
            <a:avLst/>
          </a:prstGeom>
        </p:spPr>
      </p:pic>
      <p:pic>
        <p:nvPicPr>
          <p:cNvPr id="19" name="Improving">
            <a:extLst>
              <a:ext uri="{FF2B5EF4-FFF2-40B4-BE49-F238E27FC236}">
                <a16:creationId xmlns:a16="http://schemas.microsoft.com/office/drawing/2014/main" id="{7CB04506-027E-F60B-22C3-BB3FCAFD46D3}"/>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82366" y="2957101"/>
            <a:ext cx="1431183" cy="1387814"/>
          </a:xfrm>
          <a:prstGeom prst="rect">
            <a:avLst/>
          </a:prstGeom>
        </p:spPr>
      </p:pic>
      <p:pic>
        <p:nvPicPr>
          <p:cNvPr id="20" name="Protection">
            <a:extLst>
              <a:ext uri="{FF2B5EF4-FFF2-40B4-BE49-F238E27FC236}">
                <a16:creationId xmlns:a16="http://schemas.microsoft.com/office/drawing/2014/main" id="{1C404DD1-5006-7A89-6C19-639286A30AD5}"/>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27379" y="2957100"/>
            <a:ext cx="1387814" cy="1387814"/>
          </a:xfrm>
          <a:prstGeom prst="rect">
            <a:avLst/>
          </a:prstGeom>
        </p:spPr>
      </p:pic>
      <p:pic>
        <p:nvPicPr>
          <p:cNvPr id="21" name="Synthesis">
            <a:extLst>
              <a:ext uri="{FF2B5EF4-FFF2-40B4-BE49-F238E27FC236}">
                <a16:creationId xmlns:a16="http://schemas.microsoft.com/office/drawing/2014/main" id="{2E65C7D1-01DB-82FF-D8E8-B95BCC83F2B2}"/>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72393" y="2957100"/>
            <a:ext cx="1387814" cy="1387814"/>
          </a:xfrm>
          <a:prstGeom prst="rect">
            <a:avLst/>
          </a:prstGeom>
        </p:spPr>
      </p:pic>
      <p:pic>
        <p:nvPicPr>
          <p:cNvPr id="22" name="Growth">
            <a:extLst>
              <a:ext uri="{FF2B5EF4-FFF2-40B4-BE49-F238E27FC236}">
                <a16:creationId xmlns:a16="http://schemas.microsoft.com/office/drawing/2014/main" id="{3E9F7329-8CDB-341D-1CF7-966500D26A44}"/>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17407" y="2957100"/>
            <a:ext cx="1387814" cy="1387814"/>
          </a:xfrm>
          <a:prstGeom prst="rect">
            <a:avLst/>
          </a:prstGeom>
        </p:spPr>
      </p:pic>
      <p:pic>
        <p:nvPicPr>
          <p:cNvPr id="23" name="Agility">
            <a:extLst>
              <a:ext uri="{FF2B5EF4-FFF2-40B4-BE49-F238E27FC236}">
                <a16:creationId xmlns:a16="http://schemas.microsoft.com/office/drawing/2014/main" id="{E5F43673-04B3-D1F7-83CE-3AEBD8B5E925}"/>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462421" y="2957100"/>
            <a:ext cx="1387814" cy="1387814"/>
          </a:xfrm>
          <a:prstGeom prst="rect">
            <a:avLst/>
          </a:prstGeom>
        </p:spPr>
      </p:pic>
      <p:pic>
        <p:nvPicPr>
          <p:cNvPr id="24" name="Collaboration">
            <a:extLst>
              <a:ext uri="{FF2B5EF4-FFF2-40B4-BE49-F238E27FC236}">
                <a16:creationId xmlns:a16="http://schemas.microsoft.com/office/drawing/2014/main" id="{9D6E5C4E-7767-FEC9-5119-D74BA6825F64}"/>
              </a:ext>
            </a:extLst>
          </p:cNvPr>
          <p:cNvPicPr>
            <a:picLocks noChangeAspect="1"/>
          </p:cNvPicPr>
          <p:nvPr userDrawn="1"/>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03860" y="2957100"/>
            <a:ext cx="1387814" cy="1387814"/>
          </a:xfrm>
          <a:prstGeom prst="rect">
            <a:avLst/>
          </a:prstGeom>
        </p:spPr>
      </p:pic>
      <p:pic>
        <p:nvPicPr>
          <p:cNvPr id="25" name="Insights">
            <a:extLst>
              <a:ext uri="{FF2B5EF4-FFF2-40B4-BE49-F238E27FC236}">
                <a16:creationId xmlns:a16="http://schemas.microsoft.com/office/drawing/2014/main" id="{1B0BE08B-7DF9-45C3-0DA1-1ADD658BE64A}"/>
              </a:ext>
            </a:extLst>
          </p:cNvPr>
          <p:cNvPicPr>
            <a:picLocks noChangeAspect="1"/>
          </p:cNvPicPr>
          <p:nvPr userDrawn="1"/>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304050" y="1062616"/>
            <a:ext cx="1387814" cy="1387814"/>
          </a:xfrm>
          <a:prstGeom prst="rect">
            <a:avLst/>
          </a:prstGeom>
        </p:spPr>
      </p:pic>
      <p:pic>
        <p:nvPicPr>
          <p:cNvPr id="26" name="Precision">
            <a:extLst>
              <a:ext uri="{FF2B5EF4-FFF2-40B4-BE49-F238E27FC236}">
                <a16:creationId xmlns:a16="http://schemas.microsoft.com/office/drawing/2014/main" id="{B2ED8BC8-8305-7D7D-E3A0-755152BAAC5F}"/>
              </a:ext>
            </a:extLst>
          </p:cNvPr>
          <p:cNvPicPr>
            <a:picLocks noChangeAspect="1"/>
          </p:cNvPicPr>
          <p:nvPr userDrawn="1"/>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360999" y="1062616"/>
            <a:ext cx="1387814" cy="1387814"/>
          </a:xfrm>
          <a:prstGeom prst="rect">
            <a:avLst/>
          </a:prstGeom>
        </p:spPr>
      </p:pic>
      <p:pic>
        <p:nvPicPr>
          <p:cNvPr id="27" name="Focus">
            <a:extLst>
              <a:ext uri="{FF2B5EF4-FFF2-40B4-BE49-F238E27FC236}">
                <a16:creationId xmlns:a16="http://schemas.microsoft.com/office/drawing/2014/main" id="{D78CEB43-D20B-90B6-5223-8612DA657CAA}"/>
              </a:ext>
            </a:extLst>
          </p:cNvPr>
          <p:cNvPicPr>
            <a:picLocks noChangeAspect="1"/>
          </p:cNvPicPr>
          <p:nvPr userDrawn="1"/>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6397608" y="1062616"/>
            <a:ext cx="1387814" cy="1387814"/>
          </a:xfrm>
          <a:prstGeom prst="rect">
            <a:avLst/>
          </a:prstGeom>
        </p:spPr>
      </p:pic>
      <p:pic>
        <p:nvPicPr>
          <p:cNvPr id="28" name="People">
            <a:extLst>
              <a:ext uri="{FF2B5EF4-FFF2-40B4-BE49-F238E27FC236}">
                <a16:creationId xmlns:a16="http://schemas.microsoft.com/office/drawing/2014/main" id="{389C4265-C17A-E6BE-F563-B13D21C57180}"/>
              </a:ext>
            </a:extLst>
          </p:cNvPr>
          <p:cNvPicPr>
            <a:picLocks noChangeAspect="1"/>
          </p:cNvPicPr>
          <p:nvPr userDrawn="1"/>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4434217" y="1062616"/>
            <a:ext cx="1387814" cy="1387814"/>
          </a:xfrm>
          <a:prstGeom prst="rect">
            <a:avLst/>
          </a:prstGeom>
        </p:spPr>
      </p:pic>
      <p:pic>
        <p:nvPicPr>
          <p:cNvPr id="29" name="Connections">
            <a:extLst>
              <a:ext uri="{FF2B5EF4-FFF2-40B4-BE49-F238E27FC236}">
                <a16:creationId xmlns:a16="http://schemas.microsoft.com/office/drawing/2014/main" id="{214E6337-D383-B3D8-BA3C-2485A5F28A71}"/>
              </a:ext>
            </a:extLst>
          </p:cNvPr>
          <p:cNvPicPr>
            <a:picLocks noChangeAspect="1"/>
          </p:cNvPicPr>
          <p:nvPr userDrawn="1"/>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2470826" y="1062616"/>
            <a:ext cx="1387814" cy="1387814"/>
          </a:xfrm>
          <a:prstGeom prst="rect">
            <a:avLst/>
          </a:prstGeom>
        </p:spPr>
      </p:pic>
      <p:pic>
        <p:nvPicPr>
          <p:cNvPr id="30" name="Global">
            <a:extLst>
              <a:ext uri="{FF2B5EF4-FFF2-40B4-BE49-F238E27FC236}">
                <a16:creationId xmlns:a16="http://schemas.microsoft.com/office/drawing/2014/main" id="{6B5B0C62-3C26-80B3-0E3D-6657027E9CEC}"/>
              </a:ext>
            </a:extLst>
          </p:cNvPr>
          <p:cNvPicPr>
            <a:picLocks noChangeAspect="1"/>
          </p:cNvPicPr>
          <p:nvPr userDrawn="1"/>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03860" y="1062616"/>
            <a:ext cx="1387814" cy="1387814"/>
          </a:xfrm>
          <a:prstGeom prst="rect">
            <a:avLst/>
          </a:prstGeom>
        </p:spPr>
      </p:pic>
      <p:sp>
        <p:nvSpPr>
          <p:cNvPr id="31" name="TextBox 30">
            <a:extLst>
              <a:ext uri="{FF2B5EF4-FFF2-40B4-BE49-F238E27FC236}">
                <a16:creationId xmlns:a16="http://schemas.microsoft.com/office/drawing/2014/main" id="{ECF70E5B-ACC5-9BE1-7547-F8E430E6D607}"/>
              </a:ext>
            </a:extLst>
          </p:cNvPr>
          <p:cNvSpPr txBox="1"/>
          <p:nvPr userDrawn="1"/>
        </p:nvSpPr>
        <p:spPr>
          <a:xfrm>
            <a:off x="493714" y="347715"/>
            <a:ext cx="7223730" cy="400110"/>
          </a:xfrm>
          <a:prstGeom prst="rect">
            <a:avLst/>
          </a:prstGeom>
          <a:noFill/>
        </p:spPr>
        <p:txBody>
          <a:bodyPr wrap="square">
            <a:spAutoFit/>
          </a:bodyPr>
          <a:lstStyle/>
          <a:p>
            <a:pPr algn="l"/>
            <a:r>
              <a:rPr lang="en-GB" sz="1000" b="1" i="1" dirty="0" err="1">
                <a:solidFill>
                  <a:srgbClr val="212121"/>
                </a:solidFill>
              </a:rPr>
              <a:t>N</a:t>
            </a:r>
            <a:r>
              <a:rPr lang="en-GB" sz="1000" b="1" i="1" u="none" strike="noStrike" dirty="0" err="1">
                <a:solidFill>
                  <a:srgbClr val="212121"/>
                </a:solidFill>
                <a:effectLst/>
                <a:latin typeface="+mn-lt"/>
              </a:rPr>
              <a:t>ote</a:t>
            </a:r>
            <a:r>
              <a:rPr lang="en-GB" sz="1000" b="0" i="1" u="none" strike="noStrike" dirty="0" err="1">
                <a:solidFill>
                  <a:srgbClr val="212121"/>
                </a:solidFill>
                <a:effectLst/>
                <a:latin typeface="+mn-lt"/>
              </a:rPr>
              <a:t>:</a:t>
            </a:r>
            <a:r>
              <a:rPr lang="en-GB" sz="1000" i="1" dirty="0" err="1">
                <a:latin typeface="+mn-lt"/>
              </a:rPr>
              <a:t>These</a:t>
            </a:r>
            <a:r>
              <a:rPr lang="en-GB" sz="1000" i="1" dirty="0">
                <a:latin typeface="+mn-lt"/>
              </a:rPr>
              <a:t> abstract illustrations that can be used to support your message. The words show what each mean conceptually for your guidance, please don’t include the words when using these. Copy and paste the art into the space you’d like to use it.</a:t>
            </a:r>
            <a:endParaRPr lang="en-US" sz="1000" dirty="0">
              <a:latin typeface="+mn-lt"/>
            </a:endParaRPr>
          </a:p>
        </p:txBody>
      </p:sp>
    </p:spTree>
    <p:extLst>
      <p:ext uri="{BB962C8B-B14F-4D97-AF65-F5344CB8AC3E}">
        <p14:creationId xmlns:p14="http://schemas.microsoft.com/office/powerpoint/2010/main" val="738410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Final presentation slide">
    <p:spTree>
      <p:nvGrpSpPr>
        <p:cNvPr id="1" name=""/>
        <p:cNvGrpSpPr/>
        <p:nvPr/>
      </p:nvGrpSpPr>
      <p:grpSpPr>
        <a:xfrm>
          <a:off x="0" y="0"/>
          <a:ext cx="0" cy="0"/>
          <a:chOff x="0" y="0"/>
          <a:chExt cx="0" cy="0"/>
        </a:xfrm>
      </p:grpSpPr>
      <p:pic>
        <p:nvPicPr>
          <p:cNvPr id="3" name="Logo rgb">
            <a:extLst>
              <a:ext uri="{FF2B5EF4-FFF2-40B4-BE49-F238E27FC236}">
                <a16:creationId xmlns:a16="http://schemas.microsoft.com/office/drawing/2014/main" id="{5C7A042E-1E88-93AE-EA91-89D8A5D007F1}"/>
              </a:ext>
            </a:extLst>
          </p:cNvPr>
          <p:cNvPicPr>
            <a:picLocks noChangeAspect="1"/>
          </p:cNvPicPr>
          <p:nvPr userDrawn="1"/>
        </p:nvPicPr>
        <p:blipFill>
          <a:blip r:embed="rId2"/>
          <a:stretch>
            <a:fillRect/>
          </a:stretch>
        </p:blipFill>
        <p:spPr>
          <a:xfrm>
            <a:off x="3931997" y="2960671"/>
            <a:ext cx="4328005" cy="936658"/>
          </a:xfrm>
          <a:prstGeom prst="rect">
            <a:avLst/>
          </a:prstGeom>
        </p:spPr>
      </p:pic>
    </p:spTree>
    <p:extLst>
      <p:ext uri="{BB962C8B-B14F-4D97-AF65-F5344CB8AC3E}">
        <p14:creationId xmlns:p14="http://schemas.microsoft.com/office/powerpoint/2010/main" val="29735624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 Slide Image Static">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C921EBE9-992D-2C55-D921-765FFBDA0E59}"/>
              </a:ext>
            </a:extLst>
          </p:cNvPr>
          <p:cNvSpPr>
            <a:spLocks noGrp="1"/>
          </p:cNvSpPr>
          <p:nvPr>
            <p:ph type="pic" sz="quarter" idx="10"/>
          </p:nvPr>
        </p:nvSpPr>
        <p:spPr>
          <a:xfrm>
            <a:off x="7178675" y="11545"/>
            <a:ext cx="5013325" cy="6858000"/>
          </a:xfrm>
        </p:spPr>
        <p:txBody>
          <a:bodyPr/>
          <a:lstStyle>
            <a:lvl1pPr algn="r">
              <a:defRPr/>
            </a:lvl1pPr>
          </a:lstStyle>
          <a:p>
            <a:r>
              <a:rPr lang="en-US"/>
              <a:t>Click icon to add picture</a:t>
            </a:r>
            <a:endParaRPr lang="en-US" dirty="0"/>
          </a:p>
        </p:txBody>
      </p:sp>
      <p:pic>
        <p:nvPicPr>
          <p:cNvPr id="7" name="Picture 6">
            <a:extLst>
              <a:ext uri="{FF2B5EF4-FFF2-40B4-BE49-F238E27FC236}">
                <a16:creationId xmlns:a16="http://schemas.microsoft.com/office/drawing/2014/main" id="{BBECD53D-5090-7E96-4543-1035674112A7}"/>
              </a:ext>
            </a:extLst>
          </p:cNvPr>
          <p:cNvPicPr>
            <a:picLocks noChangeAspect="1"/>
          </p:cNvPicPr>
          <p:nvPr userDrawn="1"/>
        </p:nvPicPr>
        <p:blipFill>
          <a:blip r:embed="rId3"/>
          <a:stretch>
            <a:fillRect/>
          </a:stretch>
        </p:blipFill>
        <p:spPr>
          <a:xfrm>
            <a:off x="0" y="1"/>
            <a:ext cx="9528313" cy="6869544"/>
          </a:xfrm>
          <a:prstGeom prst="rect">
            <a:avLst/>
          </a:prstGeom>
        </p:spPr>
      </p:pic>
      <p:graphicFrame>
        <p:nvGraphicFramePr>
          <p:cNvPr id="6" name="think-cell data - do not delete" hidden="1">
            <a:extLst>
              <a:ext uri="{FF2B5EF4-FFF2-40B4-BE49-F238E27FC236}">
                <a16:creationId xmlns:a16="http://schemas.microsoft.com/office/drawing/2014/main" id="{DE9DB453-028E-3EF2-45D2-00AD8E66B2A0}"/>
              </a:ext>
            </a:extLst>
          </p:cNvPr>
          <p:cNvGraphicFramePr>
            <a:graphicFrameLocks noChangeAspect="1"/>
          </p:cNvGraphicFramePr>
          <p:nvPr userDrawn="1">
            <p:custDataLst>
              <p:tags r:id="rId1"/>
            </p:custDataLst>
            <p:extLst>
              <p:ext uri="{D42A27DB-BD31-4B8C-83A1-F6EECF244321}">
                <p14:modId xmlns:p14="http://schemas.microsoft.com/office/powerpoint/2010/main" val="33725244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DE9DB453-028E-3EF2-45D2-00AD8E66B2A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p:nvPr>
        </p:nvSpPr>
        <p:spPr>
          <a:xfrm>
            <a:off x="493714" y="4377847"/>
            <a:ext cx="5492750" cy="836112"/>
          </a:xfrm>
        </p:spPr>
        <p:txBody>
          <a:bodyPr/>
          <a:lstStyle>
            <a:lvl1pPr marL="0" indent="0" algn="l">
              <a:spcBef>
                <a:spcPts val="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p:cNvSpPr>
            <a:spLocks noGrp="1"/>
          </p:cNvSpPr>
          <p:nvPr>
            <p:ph type="ctrTitle"/>
          </p:nvPr>
        </p:nvSpPr>
        <p:spPr>
          <a:xfrm>
            <a:off x="493714" y="1143000"/>
            <a:ext cx="5492750" cy="2984325"/>
          </a:xfrm>
        </p:spPr>
        <p:txBody>
          <a:bodyPr vert="horz" anchor="b"/>
          <a:lstStyle>
            <a:lvl1pPr algn="l">
              <a:defRPr sz="5600"/>
            </a:lvl1pPr>
          </a:lstStyle>
          <a:p>
            <a:r>
              <a:rPr lang="en-US"/>
              <a:t>Click to edit Master title style</a:t>
            </a:r>
            <a:endParaRPr lang="en-US" dirty="0"/>
          </a:p>
        </p:txBody>
      </p:sp>
      <p:sp>
        <p:nvSpPr>
          <p:cNvPr id="15" name="Text Placeholder 3">
            <a:extLst>
              <a:ext uri="{FF2B5EF4-FFF2-40B4-BE49-F238E27FC236}">
                <a16:creationId xmlns:a16="http://schemas.microsoft.com/office/drawing/2014/main" id="{9268547D-8226-DF8B-B63B-9888C9C029CD}"/>
              </a:ext>
            </a:extLst>
          </p:cNvPr>
          <p:cNvSpPr>
            <a:spLocks noGrp="1"/>
          </p:cNvSpPr>
          <p:nvPr>
            <p:ph type="body" sz="half" idx="2" hasCustomPrompt="1"/>
          </p:nvPr>
        </p:nvSpPr>
        <p:spPr>
          <a:xfrm>
            <a:off x="493714" y="6162263"/>
            <a:ext cx="4278311" cy="237841"/>
          </a:xfrm>
        </p:spPr>
        <p:txBody>
          <a:bodyPr/>
          <a:lstStyle>
            <a:lvl1pPr marL="0" indent="0">
              <a:spcBef>
                <a:spcPts val="0"/>
              </a:spcBef>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Day, Year</a:t>
            </a:r>
          </a:p>
        </p:txBody>
      </p:sp>
      <p:sp>
        <p:nvSpPr>
          <p:cNvPr id="10" name="Oval 9">
            <a:extLst>
              <a:ext uri="{FF2B5EF4-FFF2-40B4-BE49-F238E27FC236}">
                <a16:creationId xmlns:a16="http://schemas.microsoft.com/office/drawing/2014/main" id="{05C55B9D-5F0D-59EF-F42B-043365AFDB48}"/>
              </a:ext>
            </a:extLst>
          </p:cNvPr>
          <p:cNvSpPr/>
          <p:nvPr userDrawn="1"/>
        </p:nvSpPr>
        <p:spPr>
          <a:xfrm>
            <a:off x="6422073" y="-2448323"/>
            <a:ext cx="11754643" cy="11754000"/>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5A07CCEB-1BCB-67FE-5EBE-B0045EA2B7FE}"/>
              </a:ext>
            </a:extLst>
          </p:cNvPr>
          <p:cNvSpPr/>
          <p:nvPr userDrawn="1"/>
        </p:nvSpPr>
        <p:spPr>
          <a:xfrm>
            <a:off x="6436901" y="4787239"/>
            <a:ext cx="426720" cy="42672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A1A95D22-3D1A-B6A1-EDB9-42477AA46F29}"/>
              </a:ext>
            </a:extLst>
          </p:cNvPr>
          <p:cNvSpPr/>
          <p:nvPr userDrawn="1"/>
        </p:nvSpPr>
        <p:spPr>
          <a:xfrm>
            <a:off x="7247101" y="-1623340"/>
            <a:ext cx="10104587" cy="10104034"/>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3E73C7B9-E2DC-B271-7679-9A8F2CB538EF}"/>
              </a:ext>
            </a:extLst>
          </p:cNvPr>
          <p:cNvSpPr/>
          <p:nvPr userDrawn="1"/>
        </p:nvSpPr>
        <p:spPr>
          <a:xfrm>
            <a:off x="7563942" y="928800"/>
            <a:ext cx="428400" cy="4284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Logo rgb">
            <a:extLst>
              <a:ext uri="{FF2B5EF4-FFF2-40B4-BE49-F238E27FC236}">
                <a16:creationId xmlns:a16="http://schemas.microsoft.com/office/drawing/2014/main" id="{05D852C5-4C3A-4448-8D80-D67DE17F98B2}"/>
              </a:ext>
            </a:extLst>
          </p:cNvPr>
          <p:cNvPicPr>
            <a:picLocks noChangeAspect="1"/>
          </p:cNvPicPr>
          <p:nvPr userDrawn="1"/>
        </p:nvPicPr>
        <p:blipFill>
          <a:blip r:embed="rId6"/>
          <a:stretch>
            <a:fillRect/>
          </a:stretch>
        </p:blipFill>
        <p:spPr>
          <a:xfrm>
            <a:off x="470222" y="457895"/>
            <a:ext cx="1559515" cy="337507"/>
          </a:xfrm>
          <a:prstGeom prst="rect">
            <a:avLst/>
          </a:prstGeom>
        </p:spPr>
      </p:pic>
    </p:spTree>
    <p:extLst>
      <p:ext uri="{BB962C8B-B14F-4D97-AF65-F5344CB8AC3E}">
        <p14:creationId xmlns:p14="http://schemas.microsoft.com/office/powerpoint/2010/main" val="1352870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Title Slide Globe Static">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8F43BA5-5F0F-F60A-E19A-253A25BA66A2}"/>
              </a:ext>
            </a:extLst>
          </p:cNvPr>
          <p:cNvSpPr/>
          <p:nvPr userDrawn="1"/>
        </p:nvSpPr>
        <p:spPr>
          <a:xfrm>
            <a:off x="0" y="0"/>
            <a:ext cx="12192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think-cell data - do not delete" hidden="1">
            <a:extLst>
              <a:ext uri="{FF2B5EF4-FFF2-40B4-BE49-F238E27FC236}">
                <a16:creationId xmlns:a16="http://schemas.microsoft.com/office/drawing/2014/main" id="{DE9DB453-028E-3EF2-45D2-00AD8E66B2A0}"/>
              </a:ext>
            </a:extLst>
          </p:cNvPr>
          <p:cNvGraphicFramePr>
            <a:graphicFrameLocks noChangeAspect="1"/>
          </p:cNvGraphicFramePr>
          <p:nvPr userDrawn="1">
            <p:custDataLst>
              <p:tags r:id="rId1"/>
            </p:custDataLst>
            <p:extLst>
              <p:ext uri="{D42A27DB-BD31-4B8C-83A1-F6EECF244321}">
                <p14:modId xmlns:p14="http://schemas.microsoft.com/office/powerpoint/2010/main" val="33725244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E9DB453-028E-3EF2-45D2-00AD8E66B2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p:nvPr>
        </p:nvSpPr>
        <p:spPr>
          <a:xfrm>
            <a:off x="493714" y="4377847"/>
            <a:ext cx="5492750" cy="836112"/>
          </a:xfrm>
        </p:spPr>
        <p:txBody>
          <a:bodyPr/>
          <a:lstStyle>
            <a:lvl1pPr marL="0" indent="0" algn="l">
              <a:spcBef>
                <a:spcPts val="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p:cNvSpPr>
            <a:spLocks noGrp="1"/>
          </p:cNvSpPr>
          <p:nvPr>
            <p:ph type="ctrTitle"/>
          </p:nvPr>
        </p:nvSpPr>
        <p:spPr>
          <a:xfrm>
            <a:off x="493714" y="1143000"/>
            <a:ext cx="5492750" cy="2984325"/>
          </a:xfrm>
        </p:spPr>
        <p:txBody>
          <a:bodyPr vert="horz" anchor="b"/>
          <a:lstStyle>
            <a:lvl1pPr algn="l">
              <a:defRPr sz="5600"/>
            </a:lvl1pPr>
          </a:lstStyle>
          <a:p>
            <a:r>
              <a:rPr lang="en-US"/>
              <a:t>Click to edit Master title style</a:t>
            </a:r>
            <a:endParaRPr lang="en-US" dirty="0"/>
          </a:p>
        </p:txBody>
      </p:sp>
      <p:sp>
        <p:nvSpPr>
          <p:cNvPr id="15" name="Text Placeholder 3">
            <a:extLst>
              <a:ext uri="{FF2B5EF4-FFF2-40B4-BE49-F238E27FC236}">
                <a16:creationId xmlns:a16="http://schemas.microsoft.com/office/drawing/2014/main" id="{9268547D-8226-DF8B-B63B-9888C9C029CD}"/>
              </a:ext>
            </a:extLst>
          </p:cNvPr>
          <p:cNvSpPr>
            <a:spLocks noGrp="1"/>
          </p:cNvSpPr>
          <p:nvPr>
            <p:ph type="body" sz="half" idx="2" hasCustomPrompt="1"/>
          </p:nvPr>
        </p:nvSpPr>
        <p:spPr>
          <a:xfrm>
            <a:off x="493714" y="6162263"/>
            <a:ext cx="4278311" cy="237841"/>
          </a:xfrm>
        </p:spPr>
        <p:txBody>
          <a:bodyPr/>
          <a:lstStyle>
            <a:lvl1pPr marL="0" indent="0">
              <a:spcBef>
                <a:spcPts val="0"/>
              </a:spcBef>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Day, Year</a:t>
            </a:r>
          </a:p>
        </p:txBody>
      </p:sp>
      <p:pic>
        <p:nvPicPr>
          <p:cNvPr id="8" name="Picture 7">
            <a:extLst>
              <a:ext uri="{FF2B5EF4-FFF2-40B4-BE49-F238E27FC236}">
                <a16:creationId xmlns:a16="http://schemas.microsoft.com/office/drawing/2014/main" id="{8F564185-4773-B1FB-AD50-4172B5522BD2}"/>
              </a:ext>
            </a:extLst>
          </p:cNvPr>
          <p:cNvPicPr>
            <a:picLocks noChangeAspect="1"/>
          </p:cNvPicPr>
          <p:nvPr userDrawn="1"/>
        </p:nvPicPr>
        <p:blipFill rotWithShape="1">
          <a:blip r:embed="rId5"/>
          <a:srcRect t="1951" r="28613" b="1951"/>
          <a:stretch/>
        </p:blipFill>
        <p:spPr>
          <a:xfrm>
            <a:off x="7097495" y="0"/>
            <a:ext cx="5094505" cy="6858000"/>
          </a:xfrm>
          <a:prstGeom prst="rect">
            <a:avLst/>
          </a:prstGeom>
        </p:spPr>
      </p:pic>
      <p:sp>
        <p:nvSpPr>
          <p:cNvPr id="12" name="Oval 11">
            <a:extLst>
              <a:ext uri="{FF2B5EF4-FFF2-40B4-BE49-F238E27FC236}">
                <a16:creationId xmlns:a16="http://schemas.microsoft.com/office/drawing/2014/main" id="{57F993AA-8421-00BA-4922-3F9F807ED02C}"/>
              </a:ext>
            </a:extLst>
          </p:cNvPr>
          <p:cNvSpPr/>
          <p:nvPr userDrawn="1"/>
        </p:nvSpPr>
        <p:spPr>
          <a:xfrm>
            <a:off x="7886098" y="3171825"/>
            <a:ext cx="514350" cy="514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D835A817-8394-FC5A-29C7-2DC3A24AB08C}"/>
              </a:ext>
            </a:extLst>
          </p:cNvPr>
          <p:cNvSpPr/>
          <p:nvPr userDrawn="1"/>
        </p:nvSpPr>
        <p:spPr>
          <a:xfrm>
            <a:off x="10408582" y="1406525"/>
            <a:ext cx="514350" cy="514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A18BED52-4E92-E6D0-3574-D58AE023E90D}"/>
              </a:ext>
            </a:extLst>
          </p:cNvPr>
          <p:cNvSpPr/>
          <p:nvPr userDrawn="1"/>
        </p:nvSpPr>
        <p:spPr>
          <a:xfrm>
            <a:off x="11523662" y="4930775"/>
            <a:ext cx="514350" cy="514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Logo rgb">
            <a:extLst>
              <a:ext uri="{FF2B5EF4-FFF2-40B4-BE49-F238E27FC236}">
                <a16:creationId xmlns:a16="http://schemas.microsoft.com/office/drawing/2014/main" id="{F74863BA-5A9F-E648-BBA3-B5A49782F94E}"/>
              </a:ext>
            </a:extLst>
          </p:cNvPr>
          <p:cNvPicPr>
            <a:picLocks noChangeAspect="1"/>
          </p:cNvPicPr>
          <p:nvPr userDrawn="1"/>
        </p:nvPicPr>
        <p:blipFill>
          <a:blip r:embed="rId6"/>
          <a:stretch>
            <a:fillRect/>
          </a:stretch>
        </p:blipFill>
        <p:spPr>
          <a:xfrm>
            <a:off x="470222" y="457895"/>
            <a:ext cx="1559515" cy="337507"/>
          </a:xfrm>
          <a:prstGeom prst="rect">
            <a:avLst/>
          </a:prstGeom>
        </p:spPr>
      </p:pic>
    </p:spTree>
    <p:extLst>
      <p:ext uri="{BB962C8B-B14F-4D97-AF65-F5344CB8AC3E}">
        <p14:creationId xmlns:p14="http://schemas.microsoft.com/office/powerpoint/2010/main" val="42946975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w/ Imag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3714" y="4377847"/>
            <a:ext cx="5492750" cy="836112"/>
          </a:xfrm>
        </p:spPr>
        <p:txBody>
          <a:bodyPr/>
          <a:lstStyle>
            <a:lvl1pPr marL="0" indent="0" algn="l">
              <a:spcBef>
                <a:spcPts val="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1"/>
          <p:cNvSpPr>
            <a:spLocks noGrp="1"/>
          </p:cNvSpPr>
          <p:nvPr>
            <p:ph type="ctrTitle"/>
          </p:nvPr>
        </p:nvSpPr>
        <p:spPr>
          <a:xfrm>
            <a:off x="493714" y="1143000"/>
            <a:ext cx="5492750" cy="2984325"/>
          </a:xfrm>
        </p:spPr>
        <p:txBody>
          <a:bodyPr anchor="b"/>
          <a:lstStyle>
            <a:lvl1pPr algn="l">
              <a:defRPr sz="5600"/>
            </a:lvl1pPr>
          </a:lstStyle>
          <a:p>
            <a:r>
              <a:rPr lang="en-US"/>
              <a:t>Click to edit Master title style</a:t>
            </a:r>
          </a:p>
        </p:txBody>
      </p:sp>
      <p:sp>
        <p:nvSpPr>
          <p:cNvPr id="15" name="Text Placeholder 3">
            <a:extLst>
              <a:ext uri="{FF2B5EF4-FFF2-40B4-BE49-F238E27FC236}">
                <a16:creationId xmlns:a16="http://schemas.microsoft.com/office/drawing/2014/main" id="{9268547D-8226-DF8B-B63B-9888C9C029CD}"/>
              </a:ext>
            </a:extLst>
          </p:cNvPr>
          <p:cNvSpPr>
            <a:spLocks noGrp="1"/>
          </p:cNvSpPr>
          <p:nvPr>
            <p:ph type="body" sz="half" idx="2" hasCustomPrompt="1"/>
          </p:nvPr>
        </p:nvSpPr>
        <p:spPr>
          <a:xfrm>
            <a:off x="493714" y="6162263"/>
            <a:ext cx="4278311" cy="237841"/>
          </a:xfrm>
        </p:spPr>
        <p:txBody>
          <a:bodyPr/>
          <a:lstStyle>
            <a:lvl1pPr marL="0" indent="0">
              <a:spcBef>
                <a:spcPts val="0"/>
              </a:spcBef>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Day, Year</a:t>
            </a:r>
          </a:p>
        </p:txBody>
      </p:sp>
      <p:sp>
        <p:nvSpPr>
          <p:cNvPr id="5" name="Picture Placeholder 4">
            <a:extLst>
              <a:ext uri="{FF2B5EF4-FFF2-40B4-BE49-F238E27FC236}">
                <a16:creationId xmlns:a16="http://schemas.microsoft.com/office/drawing/2014/main" id="{0F100CC2-89A6-8386-59D9-36EA685DCABE}"/>
              </a:ext>
            </a:extLst>
          </p:cNvPr>
          <p:cNvSpPr>
            <a:spLocks noGrp="1"/>
          </p:cNvSpPr>
          <p:nvPr>
            <p:ph type="pic" sz="quarter" idx="10"/>
          </p:nvPr>
        </p:nvSpPr>
        <p:spPr>
          <a:xfrm>
            <a:off x="6934200" y="0"/>
            <a:ext cx="5257800" cy="6858000"/>
          </a:xfrm>
          <a:solidFill>
            <a:schemeClr val="bg1">
              <a:lumMod val="95000"/>
            </a:schemeClr>
          </a:solidFill>
        </p:spPr>
        <p:txBody>
          <a:bodyPr/>
          <a:lstStyle>
            <a:lvl1pPr algn="ctr">
              <a:defRPr sz="1200">
                <a:solidFill>
                  <a:schemeClr val="tx2"/>
                </a:solidFill>
              </a:defRPr>
            </a:lvl1pPr>
          </a:lstStyle>
          <a:p>
            <a:r>
              <a:rPr lang="en-US"/>
              <a:t>Click icon to add picture</a:t>
            </a:r>
          </a:p>
        </p:txBody>
      </p:sp>
      <p:pic>
        <p:nvPicPr>
          <p:cNvPr id="7" name="Logo rgb">
            <a:extLst>
              <a:ext uri="{FF2B5EF4-FFF2-40B4-BE49-F238E27FC236}">
                <a16:creationId xmlns:a16="http://schemas.microsoft.com/office/drawing/2014/main" id="{CA50A588-63BF-224A-A704-FB4B114ED1CE}"/>
              </a:ext>
            </a:extLst>
          </p:cNvPr>
          <p:cNvPicPr>
            <a:picLocks noChangeAspect="1"/>
          </p:cNvPicPr>
          <p:nvPr userDrawn="1"/>
        </p:nvPicPr>
        <p:blipFill>
          <a:blip r:embed="rId2"/>
          <a:stretch>
            <a:fillRect/>
          </a:stretch>
        </p:blipFill>
        <p:spPr>
          <a:xfrm>
            <a:off x="470222" y="457895"/>
            <a:ext cx="1559515" cy="337507"/>
          </a:xfrm>
          <a:prstGeom prst="rect">
            <a:avLst/>
          </a:prstGeom>
        </p:spPr>
      </p:pic>
    </p:spTree>
    <p:extLst>
      <p:ext uri="{BB962C8B-B14F-4D97-AF65-F5344CB8AC3E}">
        <p14:creationId xmlns:p14="http://schemas.microsoft.com/office/powerpoint/2010/main" val="963899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7A3DD27-7ACE-ECCB-7050-31DAF3EFC23C}"/>
              </a:ext>
            </a:extLst>
          </p:cNvPr>
          <p:cNvSpPr>
            <a:spLocks noGrp="1"/>
          </p:cNvSpPr>
          <p:nvPr>
            <p:ph type="body" sz="half" idx="2" hasCustomPrompt="1"/>
          </p:nvPr>
        </p:nvSpPr>
        <p:spPr>
          <a:xfrm>
            <a:off x="3111500" y="6337300"/>
            <a:ext cx="7645401"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Tree>
    <p:extLst>
      <p:ext uri="{BB962C8B-B14F-4D97-AF65-F5344CB8AC3E}">
        <p14:creationId xmlns:p14="http://schemas.microsoft.com/office/powerpoint/2010/main" val="29268926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3713" y="368300"/>
            <a:ext cx="11218100" cy="774700"/>
          </a:xfrm>
        </p:spPr>
        <p:txBody>
          <a:bodyPr/>
          <a:lstStyle/>
          <a:p>
            <a:r>
              <a:rPr lang="en-US"/>
              <a:t>Click to edit Master title style</a:t>
            </a:r>
          </a:p>
        </p:txBody>
      </p:sp>
      <p:sp>
        <p:nvSpPr>
          <p:cNvPr id="3" name="Content Placeholder 2"/>
          <p:cNvSpPr>
            <a:spLocks noGrp="1"/>
          </p:cNvSpPr>
          <p:nvPr>
            <p:ph sz="half" idx="1"/>
          </p:nvPr>
        </p:nvSpPr>
        <p:spPr>
          <a:xfrm>
            <a:off x="493713" y="1663700"/>
            <a:ext cx="5492750"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23000" y="1663700"/>
            <a:ext cx="5488813"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3111500" y="6337300"/>
            <a:ext cx="7645401"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a:t>Click to add footnote or delete if not in use</a:t>
            </a:r>
          </a:p>
        </p:txBody>
      </p:sp>
    </p:spTree>
    <p:extLst>
      <p:ext uri="{BB962C8B-B14F-4D97-AF65-F5344CB8AC3E}">
        <p14:creationId xmlns:p14="http://schemas.microsoft.com/office/powerpoint/2010/main" val="3719263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Light Re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309BA0B-4EA6-A2A9-F0B1-5900F1285DF4}"/>
              </a:ext>
            </a:extLst>
          </p:cNvPr>
          <p:cNvGraphicFramePr>
            <a:graphicFrameLocks noChangeAspect="1"/>
          </p:cNvGraphicFramePr>
          <p:nvPr userDrawn="1">
            <p:custDataLst>
              <p:tags r:id="rId1"/>
            </p:custDataLst>
            <p:extLst>
              <p:ext uri="{D42A27DB-BD31-4B8C-83A1-F6EECF244321}">
                <p14:modId xmlns:p14="http://schemas.microsoft.com/office/powerpoint/2010/main" val="26292983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309BA0B-4EA6-A2A9-F0B1-5900F1285DF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07BB7BF9-A97E-3584-9D29-1FE9C122AB18}"/>
              </a:ext>
            </a:extLst>
          </p:cNvPr>
          <p:cNvSpPr/>
          <p:nvPr userDrawn="1"/>
        </p:nvSpPr>
        <p:spPr>
          <a:xfrm>
            <a:off x="0" y="1143000"/>
            <a:ext cx="12192000" cy="5715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3">
            <a:extLst>
              <a:ext uri="{FF2B5EF4-FFF2-40B4-BE49-F238E27FC236}">
                <a16:creationId xmlns:a16="http://schemas.microsoft.com/office/drawing/2014/main" id="{82052235-08B8-1291-7773-AED9F3278F28}"/>
              </a:ext>
            </a:extLst>
          </p:cNvPr>
          <p:cNvSpPr>
            <a:spLocks noGrp="1"/>
          </p:cNvSpPr>
          <p:nvPr>
            <p:ph type="body" sz="half" idx="10" hasCustomPrompt="1"/>
          </p:nvPr>
        </p:nvSpPr>
        <p:spPr>
          <a:xfrm>
            <a:off x="3111500" y="6337300"/>
            <a:ext cx="7645401" cy="293128"/>
          </a:xfrm>
        </p:spPr>
        <p:txBody>
          <a:bodyPr vert="horz" lIns="0" tIns="0" rIns="0" bIns="0" rtlCol="0" anchor="b" anchorCtr="0">
            <a:noAutofit/>
          </a:bodyPr>
          <a:lstStyle>
            <a:lvl1pPr algn="r">
              <a:spcBef>
                <a:spcPts val="0"/>
              </a:spcBef>
              <a:defRPr lang="en-US" sz="800" baseline="0" dirty="0" smtClean="0">
                <a:solidFill>
                  <a:schemeClr val="tx1"/>
                </a:solidFill>
              </a:defRPr>
            </a:lvl1pPr>
          </a:lstStyle>
          <a:p>
            <a:pPr lvl="0" algn="r"/>
            <a:r>
              <a:rPr lang="en-US" dirty="0"/>
              <a:t>Click to add footnote or delete if not in use</a:t>
            </a:r>
          </a:p>
        </p:txBody>
      </p:sp>
      <p:sp>
        <p:nvSpPr>
          <p:cNvPr id="10" name="TextBox 9">
            <a:extLst>
              <a:ext uri="{FF2B5EF4-FFF2-40B4-BE49-F238E27FC236}">
                <a16:creationId xmlns:a16="http://schemas.microsoft.com/office/drawing/2014/main" id="{9D2B8259-9F05-6B89-902E-19BB93F60310}"/>
              </a:ext>
            </a:extLst>
          </p:cNvPr>
          <p:cNvSpPr txBox="1"/>
          <p:nvPr userDrawn="1"/>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latin typeface="+mn-lt"/>
                <a:ea typeface="+mn-lt" charset="0"/>
                <a:cs typeface="+mn-lt" panose="020B0604020202020204" pitchFamily="34" charset="0"/>
              </a:rPr>
              <a:pPr lvl="0" algn="r">
                <a:lnSpc>
                  <a:spcPts val="1000"/>
                </a:lnSpc>
              </a:pPr>
              <a:t>‹#›</a:t>
            </a:fld>
            <a:endParaRPr lang="en-US" sz="800" b="0" i="0">
              <a:latin typeface="+mn-lt"/>
              <a:ea typeface="+mn-lt" charset="0"/>
              <a:cs typeface="+mn-lt" panose="020B0604020202020204" pitchFamily="34" charset="0"/>
            </a:endParaRPr>
          </a:p>
        </p:txBody>
      </p:sp>
      <p:sp>
        <p:nvSpPr>
          <p:cNvPr id="2" name="Title 1"/>
          <p:cNvSpPr>
            <a:spLocks noGrp="1"/>
          </p:cNvSpPr>
          <p:nvPr>
            <p:ph type="title"/>
          </p:nvPr>
        </p:nvSpPr>
        <p:spPr>
          <a:xfrm>
            <a:off x="493713" y="368300"/>
            <a:ext cx="11218100" cy="774700"/>
          </a:xfrm>
        </p:spPr>
        <p:txBody>
          <a:bodyPr vert="horz"/>
          <a:lstStyle/>
          <a:p>
            <a:r>
              <a:rPr lang="en-US"/>
              <a:t>Click to edit Master title style</a:t>
            </a:r>
          </a:p>
        </p:txBody>
      </p:sp>
      <p:sp>
        <p:nvSpPr>
          <p:cNvPr id="3" name="Content Placeholder 2"/>
          <p:cNvSpPr>
            <a:spLocks noGrp="1"/>
          </p:cNvSpPr>
          <p:nvPr>
            <p:ph sz="half" idx="1"/>
          </p:nvPr>
        </p:nvSpPr>
        <p:spPr>
          <a:xfrm>
            <a:off x="493713" y="1663700"/>
            <a:ext cx="5492750"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23000" y="1663700"/>
            <a:ext cx="5488813"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Logo rgb">
            <a:extLst>
              <a:ext uri="{FF2B5EF4-FFF2-40B4-BE49-F238E27FC236}">
                <a16:creationId xmlns:a16="http://schemas.microsoft.com/office/drawing/2014/main" id="{4FB0754D-905C-B848-9DA7-8FFC0E74C9D6}"/>
              </a:ext>
            </a:extLst>
          </p:cNvPr>
          <p:cNvPicPr>
            <a:picLocks noChangeAspect="1"/>
          </p:cNvPicPr>
          <p:nvPr userDrawn="1"/>
        </p:nvPicPr>
        <p:blipFill>
          <a:blip r:embed="rId5"/>
          <a:stretch>
            <a:fillRect/>
          </a:stretch>
        </p:blipFill>
        <p:spPr>
          <a:xfrm>
            <a:off x="468737" y="6451600"/>
            <a:ext cx="787254" cy="170376"/>
          </a:xfrm>
          <a:prstGeom prst="rect">
            <a:avLst/>
          </a:prstGeom>
        </p:spPr>
      </p:pic>
    </p:spTree>
    <p:extLst>
      <p:ext uri="{BB962C8B-B14F-4D97-AF65-F5344CB8AC3E}">
        <p14:creationId xmlns:p14="http://schemas.microsoft.com/office/powerpoint/2010/main" val="34240210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57FBAF9-20A1-3DB9-3EAA-189A7D43D36B}"/>
              </a:ext>
            </a:extLst>
          </p:cNvPr>
          <p:cNvGraphicFramePr>
            <a:graphicFrameLocks noChangeAspect="1"/>
          </p:cNvGraphicFramePr>
          <p:nvPr userDrawn="1">
            <p:custDataLst>
              <p:tags r:id="rId37"/>
            </p:custDataLst>
            <p:extLst>
              <p:ext uri="{D42A27DB-BD31-4B8C-83A1-F6EECF244321}">
                <p14:modId xmlns:p14="http://schemas.microsoft.com/office/powerpoint/2010/main" val="22705282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8" imgW="7772400" imgH="10058400" progId="TCLayout.ActiveDocument.1">
                  <p:embed/>
                </p:oleObj>
              </mc:Choice>
              <mc:Fallback>
                <p:oleObj name="think-cell Slide" r:id="rId38" imgW="7772400" imgH="10058400" progId="TCLayout.ActiveDocument.1">
                  <p:embed/>
                  <p:pic>
                    <p:nvPicPr>
                      <p:cNvPr id="5" name="think-cell data - do not delete" hidden="1">
                        <a:extLst>
                          <a:ext uri="{FF2B5EF4-FFF2-40B4-BE49-F238E27FC236}">
                            <a16:creationId xmlns:a16="http://schemas.microsoft.com/office/drawing/2014/main" id="{A57FBAF9-20A1-3DB9-3EAA-189A7D43D36B}"/>
                          </a:ext>
                        </a:extLst>
                      </p:cNvPr>
                      <p:cNvPicPr/>
                      <p:nvPr/>
                    </p:nvPicPr>
                    <p:blipFill>
                      <a:blip r:embed="rId39"/>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93713" y="368300"/>
            <a:ext cx="11218100" cy="7747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93713" y="1663701"/>
            <a:ext cx="11218100" cy="4432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1739B50-35A6-B301-00A8-279B7B270099}"/>
              </a:ext>
            </a:extLst>
          </p:cNvPr>
          <p:cNvSpPr txBox="1"/>
          <p:nvPr/>
        </p:nvSpPr>
        <p:spPr>
          <a:xfrm>
            <a:off x="11330813" y="6511925"/>
            <a:ext cx="381000" cy="119576"/>
          </a:xfrm>
          <a:prstGeom prst="rect">
            <a:avLst/>
          </a:prstGeom>
        </p:spPr>
        <p:txBody>
          <a:bodyPr vert="horz" lIns="0" tIns="0" rIns="0" bIns="0" rtlCol="0" anchor="b" anchorCtr="0"/>
          <a:lstStyle>
            <a:defPPr>
              <a:defRPr lang="en-US"/>
            </a:defPPr>
            <a:lvl1pPr>
              <a:defRPr>
                <a:solidFill>
                  <a:srgbClr val="000000"/>
                </a:solidFill>
                <a:latin typeface="+mn-lt" charset="0"/>
                <a:ea typeface="+mn-lt" charset="0"/>
                <a:cs typeface="+mn-lt" charset="0"/>
              </a:defRPr>
            </a:lvl1pPr>
          </a:lstStyle>
          <a:p>
            <a:pPr lvl="0" algn="r">
              <a:lnSpc>
                <a:spcPts val="1000"/>
              </a:lnSpc>
            </a:pPr>
            <a:fld id="{DA68CEF4-E06B-2F45-9C1B-34EEEC442DB9}" type="slidenum">
              <a:rPr lang="en-US" sz="800" b="0" i="0" smtClean="0">
                <a:latin typeface="+mn-lt"/>
                <a:ea typeface="+mn-lt" charset="0"/>
                <a:cs typeface="+mn-lt" panose="020B0604020202020204" pitchFamily="34" charset="0"/>
              </a:rPr>
              <a:pPr lvl="0" algn="r">
                <a:lnSpc>
                  <a:spcPts val="1000"/>
                </a:lnSpc>
              </a:pPr>
              <a:t>‹#›</a:t>
            </a:fld>
            <a:endParaRPr lang="en-US" sz="800" b="0" i="0" dirty="0">
              <a:latin typeface="+mn-lt"/>
              <a:ea typeface="+mn-lt" charset="0"/>
              <a:cs typeface="+mn-lt" panose="020B0604020202020204" pitchFamily="34" charset="0"/>
            </a:endParaRPr>
          </a:p>
        </p:txBody>
      </p:sp>
      <p:pic>
        <p:nvPicPr>
          <p:cNvPr id="9" name="Logo rgb">
            <a:extLst>
              <a:ext uri="{FF2B5EF4-FFF2-40B4-BE49-F238E27FC236}">
                <a16:creationId xmlns:a16="http://schemas.microsoft.com/office/drawing/2014/main" id="{317D29E3-490B-8E48-BA16-93B698D91730}"/>
              </a:ext>
            </a:extLst>
          </p:cNvPr>
          <p:cNvPicPr>
            <a:picLocks noChangeAspect="1"/>
          </p:cNvPicPr>
          <p:nvPr userDrawn="1"/>
        </p:nvPicPr>
        <p:blipFill>
          <a:blip r:embed="rId40"/>
          <a:stretch>
            <a:fillRect/>
          </a:stretch>
        </p:blipFill>
        <p:spPr>
          <a:xfrm>
            <a:off x="468737" y="6451600"/>
            <a:ext cx="787254" cy="170376"/>
          </a:xfrm>
          <a:prstGeom prst="rect">
            <a:avLst/>
          </a:prstGeom>
        </p:spPr>
      </p:pic>
    </p:spTree>
    <p:extLst>
      <p:ext uri="{BB962C8B-B14F-4D97-AF65-F5344CB8AC3E}">
        <p14:creationId xmlns:p14="http://schemas.microsoft.com/office/powerpoint/2010/main" val="1791834121"/>
      </p:ext>
    </p:extLst>
  </p:cSld>
  <p:clrMap bg1="lt1" tx1="dk1" bg2="lt2" tx2="dk2" accent1="accent1" accent2="accent2" accent3="accent3" accent4="accent4" accent5="accent5" accent6="accent6" hlink="hlink" folHlink="folHlink"/>
  <p:sldLayoutIdLst>
    <p:sldLayoutId id="2147483697" r:id="rId1"/>
    <p:sldLayoutId id="2147483694" r:id="rId2"/>
    <p:sldLayoutId id="2147483712" r:id="rId3"/>
    <p:sldLayoutId id="2147483711" r:id="rId4"/>
    <p:sldLayoutId id="2147483710" r:id="rId5"/>
    <p:sldLayoutId id="2147483663" r:id="rId6"/>
    <p:sldLayoutId id="2147483664" r:id="rId7"/>
    <p:sldLayoutId id="2147483665" r:id="rId8"/>
    <p:sldLayoutId id="2147483690" r:id="rId9"/>
    <p:sldLayoutId id="2147483691" r:id="rId10"/>
    <p:sldLayoutId id="2147483692" r:id="rId11"/>
    <p:sldLayoutId id="2147483666" r:id="rId12"/>
    <p:sldLayoutId id="2147483667" r:id="rId13"/>
    <p:sldLayoutId id="2147483668" r:id="rId14"/>
    <p:sldLayoutId id="2147483701" r:id="rId15"/>
    <p:sldLayoutId id="2147483700" r:id="rId16"/>
    <p:sldLayoutId id="2147483671" r:id="rId17"/>
    <p:sldLayoutId id="2147483688" r:id="rId18"/>
    <p:sldLayoutId id="2147483693" r:id="rId19"/>
    <p:sldLayoutId id="2147483681" r:id="rId20"/>
    <p:sldLayoutId id="2147483682" r:id="rId21"/>
    <p:sldLayoutId id="2147483680" r:id="rId22"/>
    <p:sldLayoutId id="2147483703" r:id="rId23"/>
    <p:sldLayoutId id="2147483672" r:id="rId24"/>
    <p:sldLayoutId id="2147483709" r:id="rId25"/>
    <p:sldLayoutId id="2147483684" r:id="rId26"/>
    <p:sldLayoutId id="2147483685" r:id="rId27"/>
    <p:sldLayoutId id="2147483683" r:id="rId28"/>
    <p:sldLayoutId id="2147483673" r:id="rId29"/>
    <p:sldLayoutId id="2147483686" r:id="rId30"/>
    <p:sldLayoutId id="2147483704" r:id="rId31"/>
    <p:sldLayoutId id="2147483706" r:id="rId32"/>
    <p:sldLayoutId id="2147483705" r:id="rId33"/>
    <p:sldLayoutId id="2147483708" r:id="rId34"/>
    <p:sldLayoutId id="2147483677" r:id="rId35"/>
  </p:sldLayoutIdLst>
  <p:txStyles>
    <p:titleStyle>
      <a:lvl1pPr algn="l" defTabSz="9144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buFont typeface="+mn-lt" panose="020B0604020202020204" pitchFamily="34" charset="0"/>
        <a:buNone/>
        <a:defRPr sz="1600" kern="1200">
          <a:solidFill>
            <a:schemeClr val="tx1"/>
          </a:solidFill>
          <a:latin typeface="+mn-lt"/>
          <a:ea typeface="+mn-ea"/>
          <a:cs typeface="+mn-cs"/>
        </a:defRPr>
      </a:lvl1pPr>
      <a:lvl2pPr marL="230188" indent="-225425" algn="l" defTabSz="914400" rtl="0" eaLnBrk="1" latinLnBrk="0" hangingPunct="1">
        <a:lnSpc>
          <a:spcPct val="100000"/>
        </a:lnSpc>
        <a:spcBef>
          <a:spcPts val="600"/>
        </a:spcBef>
        <a:buClr>
          <a:schemeClr val="tx2"/>
        </a:buClr>
        <a:buFont typeface="+mn-lt" panose="020B0604020202020204" pitchFamily="34" charset="0"/>
        <a:buChar char="•"/>
        <a:tabLst/>
        <a:defRPr sz="1600" kern="1200">
          <a:solidFill>
            <a:schemeClr val="tx1"/>
          </a:solidFill>
          <a:latin typeface="+mn-lt"/>
          <a:ea typeface="+mn-ea"/>
          <a:cs typeface="+mn-cs"/>
        </a:defRPr>
      </a:lvl2pPr>
      <a:lvl3pPr marL="460375" indent="-230188" algn="l" defTabSz="914400" rtl="0" eaLnBrk="1" latinLnBrk="0" hangingPunct="1">
        <a:lnSpc>
          <a:spcPct val="100000"/>
        </a:lnSpc>
        <a:spcBef>
          <a:spcPts val="600"/>
        </a:spcBef>
        <a:buClr>
          <a:schemeClr val="tx2"/>
        </a:buClr>
        <a:buFont typeface="+mn-lt" panose="020B0604020202020204" pitchFamily="34" charset="0"/>
        <a:buChar char="•"/>
        <a:tabLst/>
        <a:defRPr sz="1600" kern="1200">
          <a:solidFill>
            <a:schemeClr val="tx1"/>
          </a:solidFill>
          <a:latin typeface="+mn-lt"/>
          <a:ea typeface="+mn-ea"/>
          <a:cs typeface="+mn-cs"/>
        </a:defRPr>
      </a:lvl3pPr>
      <a:lvl4pPr marL="690563" indent="-230188" algn="l" defTabSz="914400" rtl="0" eaLnBrk="1" latinLnBrk="0" hangingPunct="1">
        <a:lnSpc>
          <a:spcPct val="100000"/>
        </a:lnSpc>
        <a:spcBef>
          <a:spcPts val="600"/>
        </a:spcBef>
        <a:buClr>
          <a:schemeClr val="tx2"/>
        </a:buClr>
        <a:buFont typeface="+mn-lt" panose="020B0604020202020204" pitchFamily="34" charset="0"/>
        <a:buChar char="•"/>
        <a:tabLst/>
        <a:defRPr sz="1600" kern="1200">
          <a:solidFill>
            <a:schemeClr val="tx1"/>
          </a:solidFill>
          <a:latin typeface="+mn-lt"/>
          <a:ea typeface="+mn-ea"/>
          <a:cs typeface="+mn-cs"/>
        </a:defRPr>
      </a:lvl4pPr>
      <a:lvl5pPr marL="914400" indent="-223838" algn="l" defTabSz="914400" rtl="0" eaLnBrk="1" latinLnBrk="0" hangingPunct="1">
        <a:lnSpc>
          <a:spcPct val="100000"/>
        </a:lnSpc>
        <a:spcBef>
          <a:spcPts val="600"/>
        </a:spcBef>
        <a:buClr>
          <a:schemeClr val="tx2"/>
        </a:buClr>
        <a:buFont typeface="+mn-lt"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mn-lt"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mn-l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mn-l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mn-lt"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userDrawn="1">
          <p15:clr>
            <a:srgbClr val="F26B43"/>
          </p15:clr>
        </p15:guide>
        <p15:guide id="2" pos="311">
          <p15:clr>
            <a:srgbClr val="F26B43"/>
          </p15:clr>
        </p15:guide>
        <p15:guide id="3" pos="763">
          <p15:clr>
            <a:srgbClr val="F26B43"/>
          </p15:clr>
        </p15:guide>
        <p15:guide id="4" pos="913">
          <p15:clr>
            <a:srgbClr val="F26B43"/>
          </p15:clr>
        </p15:guide>
        <p15:guide id="5" pos="1364">
          <p15:clr>
            <a:srgbClr val="F26B43"/>
          </p15:clr>
        </p15:guide>
        <p15:guide id="6" pos="1514">
          <p15:clr>
            <a:srgbClr val="F26B43"/>
          </p15:clr>
        </p15:guide>
        <p15:guide id="7" pos="1966">
          <p15:clr>
            <a:srgbClr val="F26B43"/>
          </p15:clr>
        </p15:guide>
        <p15:guide id="8" pos="2116">
          <p15:clr>
            <a:srgbClr val="F26B43"/>
          </p15:clr>
        </p15:guide>
        <p15:guide id="9" pos="2568">
          <p15:clr>
            <a:srgbClr val="F26B43"/>
          </p15:clr>
        </p15:guide>
        <p15:guide id="10" pos="2717">
          <p15:clr>
            <a:srgbClr val="F26B43"/>
          </p15:clr>
        </p15:guide>
        <p15:guide id="11" pos="3169">
          <p15:clr>
            <a:srgbClr val="F26B43"/>
          </p15:clr>
        </p15:guide>
        <p15:guide id="12" pos="3319">
          <p15:clr>
            <a:srgbClr val="F26B43"/>
          </p15:clr>
        </p15:guide>
        <p15:guide id="13" pos="3771">
          <p15:clr>
            <a:srgbClr val="F26B43"/>
          </p15:clr>
        </p15:guide>
        <p15:guide id="14" pos="3920">
          <p15:clr>
            <a:srgbClr val="F26B43"/>
          </p15:clr>
        </p15:guide>
        <p15:guide id="15" pos="4372">
          <p15:clr>
            <a:srgbClr val="F26B43"/>
          </p15:clr>
        </p15:guide>
        <p15:guide id="16" pos="4522">
          <p15:clr>
            <a:srgbClr val="F26B43"/>
          </p15:clr>
        </p15:guide>
        <p15:guide id="17" pos="4974">
          <p15:clr>
            <a:srgbClr val="F26B43"/>
          </p15:clr>
        </p15:guide>
        <p15:guide id="18" pos="5123">
          <p15:clr>
            <a:srgbClr val="F26B43"/>
          </p15:clr>
        </p15:guide>
        <p15:guide id="19" pos="5575">
          <p15:clr>
            <a:srgbClr val="F26B43"/>
          </p15:clr>
        </p15:guide>
        <p15:guide id="20" pos="5725">
          <p15:clr>
            <a:srgbClr val="F26B43"/>
          </p15:clr>
        </p15:guide>
        <p15:guide id="21" pos="6177">
          <p15:clr>
            <a:srgbClr val="F26B43"/>
          </p15:clr>
        </p15:guide>
        <p15:guide id="22" pos="6327">
          <p15:clr>
            <a:srgbClr val="F26B43"/>
          </p15:clr>
        </p15:guide>
        <p15:guide id="23" pos="6779">
          <p15:clr>
            <a:srgbClr val="F26B43"/>
          </p15:clr>
        </p15:guide>
        <p15:guide id="24" pos="6928">
          <p15:clr>
            <a:srgbClr val="F26B43"/>
          </p15:clr>
        </p15:guide>
        <p15:guide id="25" pos="7380">
          <p15:clr>
            <a:srgbClr val="F26B43"/>
          </p15:clr>
        </p15:guide>
        <p15:guide id="26" pos="7463">
          <p15:clr>
            <a:srgbClr val="F26B43"/>
          </p15:clr>
        </p15:guide>
        <p15:guide id="27" orient="horz" pos="232">
          <p15:clr>
            <a:srgbClr val="F26B43"/>
          </p15:clr>
        </p15:guide>
        <p15:guide id="28" orient="horz" pos="720">
          <p15:clr>
            <a:srgbClr val="F26B43"/>
          </p15:clr>
        </p15:guide>
        <p15:guide id="29" orient="horz" pos="1048">
          <p15:clr>
            <a:srgbClr val="F26B43"/>
          </p15:clr>
        </p15:guide>
        <p15:guide id="30" orient="horz" pos="3840">
          <p15:clr>
            <a:srgbClr val="F26B43"/>
          </p15:clr>
        </p15:guide>
        <p15:guide id="31" orient="horz" pos="3994">
          <p15:clr>
            <a:srgbClr val="F26B43"/>
          </p15:clr>
        </p15:guide>
        <p15:guide id="32" orient="horz" pos="415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Layout" Target="../slideLayouts/slideLayout7.xml"/><Relationship Id="rId4" Type="http://schemas.openxmlformats.org/officeDocument/2006/relationships/image" Target="../media/image4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04A8C7D-07FC-0818-7290-AD2E24D0F631}"/>
              </a:ext>
            </a:extLst>
          </p:cNvPr>
          <p:cNvGrpSpPr/>
          <p:nvPr/>
        </p:nvGrpSpPr>
        <p:grpSpPr>
          <a:xfrm>
            <a:off x="542202" y="107575"/>
            <a:ext cx="11221173" cy="6443536"/>
            <a:chOff x="542202" y="107575"/>
            <a:chExt cx="11221173" cy="6443536"/>
          </a:xfrm>
        </p:grpSpPr>
        <p:grpSp>
          <p:nvGrpSpPr>
            <p:cNvPr id="19" name="Group 18">
              <a:extLst>
                <a:ext uri="{FF2B5EF4-FFF2-40B4-BE49-F238E27FC236}">
                  <a16:creationId xmlns:a16="http://schemas.microsoft.com/office/drawing/2014/main" id="{B080F100-C5CE-EB6B-D090-8A777F09BBCF}"/>
                </a:ext>
              </a:extLst>
            </p:cNvPr>
            <p:cNvGrpSpPr/>
            <p:nvPr/>
          </p:nvGrpSpPr>
          <p:grpSpPr>
            <a:xfrm>
              <a:off x="7027361" y="152400"/>
              <a:ext cx="4736014" cy="4060341"/>
              <a:chOff x="7027361" y="152400"/>
              <a:chExt cx="4736014" cy="4060341"/>
            </a:xfrm>
          </p:grpSpPr>
          <p:pic>
            <p:nvPicPr>
              <p:cNvPr id="20" name="Picture 19">
                <a:extLst>
                  <a:ext uri="{FF2B5EF4-FFF2-40B4-BE49-F238E27FC236}">
                    <a16:creationId xmlns:a16="http://schemas.microsoft.com/office/drawing/2014/main" id="{81008460-60CA-FFC3-FE85-9EB53DF4E8B7}"/>
                  </a:ext>
                </a:extLst>
              </p:cNvPr>
              <p:cNvPicPr>
                <a:picLocks noChangeAspect="1"/>
              </p:cNvPicPr>
              <p:nvPr/>
            </p:nvPicPr>
            <p:blipFill>
              <a:blip r:embed="rId2"/>
              <a:stretch>
                <a:fillRect/>
              </a:stretch>
            </p:blipFill>
            <p:spPr>
              <a:xfrm>
                <a:off x="7027361" y="521732"/>
                <a:ext cx="4611624" cy="2801112"/>
              </a:xfrm>
              <a:prstGeom prst="rect">
                <a:avLst/>
              </a:prstGeom>
              <a:ln>
                <a:solidFill>
                  <a:schemeClr val="tx1"/>
                </a:solidFill>
              </a:ln>
            </p:spPr>
          </p:pic>
          <p:grpSp>
            <p:nvGrpSpPr>
              <p:cNvPr id="23" name="Group 22">
                <a:extLst>
                  <a:ext uri="{FF2B5EF4-FFF2-40B4-BE49-F238E27FC236}">
                    <a16:creationId xmlns:a16="http://schemas.microsoft.com/office/drawing/2014/main" id="{155B8F69-A0A9-7F72-AF01-53C05A9BF469}"/>
                  </a:ext>
                </a:extLst>
              </p:cNvPr>
              <p:cNvGrpSpPr/>
              <p:nvPr/>
            </p:nvGrpSpPr>
            <p:grpSpPr>
              <a:xfrm>
                <a:off x="7148459" y="152400"/>
                <a:ext cx="4614916" cy="4060341"/>
                <a:chOff x="7148459" y="152400"/>
                <a:chExt cx="4614916" cy="4060341"/>
              </a:xfrm>
            </p:grpSpPr>
            <p:sp>
              <p:nvSpPr>
                <p:cNvPr id="24" name="TextBox 23">
                  <a:extLst>
                    <a:ext uri="{FF2B5EF4-FFF2-40B4-BE49-F238E27FC236}">
                      <a16:creationId xmlns:a16="http://schemas.microsoft.com/office/drawing/2014/main" id="{52549FC2-1C8C-287C-227A-BBE9ED036A02}"/>
                    </a:ext>
                  </a:extLst>
                </p:cNvPr>
                <p:cNvSpPr txBox="1"/>
                <p:nvPr/>
              </p:nvSpPr>
              <p:spPr>
                <a:xfrm>
                  <a:off x="7148459" y="152400"/>
                  <a:ext cx="4301688" cy="338554"/>
                </a:xfrm>
                <a:prstGeom prst="rect">
                  <a:avLst/>
                </a:prstGeom>
                <a:noFill/>
              </p:spPr>
              <p:txBody>
                <a:bodyPr wrap="square" rtlCol="0">
                  <a:spAutoFit/>
                </a:bodyPr>
                <a:lstStyle/>
                <a:p>
                  <a:r>
                    <a:rPr lang="en-GB" sz="1600" b="1" dirty="0">
                      <a:solidFill>
                        <a:srgbClr val="C00000"/>
                      </a:solidFill>
                    </a:rPr>
                    <a:t>2. FIX RATES, CALIBRATE ON SEVERITY</a:t>
                  </a:r>
                </a:p>
              </p:txBody>
            </p:sp>
            <p:grpSp>
              <p:nvGrpSpPr>
                <p:cNvPr id="26" name="Group 25">
                  <a:extLst>
                    <a:ext uri="{FF2B5EF4-FFF2-40B4-BE49-F238E27FC236}">
                      <a16:creationId xmlns:a16="http://schemas.microsoft.com/office/drawing/2014/main" id="{A606589C-D810-3CF3-2B84-3BAB1ABEF697}"/>
                    </a:ext>
                  </a:extLst>
                </p:cNvPr>
                <p:cNvGrpSpPr/>
                <p:nvPr/>
              </p:nvGrpSpPr>
              <p:grpSpPr>
                <a:xfrm>
                  <a:off x="7691718" y="859989"/>
                  <a:ext cx="4071657" cy="3352752"/>
                  <a:chOff x="7691718" y="859989"/>
                  <a:chExt cx="4071657" cy="3352752"/>
                </a:xfrm>
              </p:grpSpPr>
              <p:grpSp>
                <p:nvGrpSpPr>
                  <p:cNvPr id="27" name="Group 26">
                    <a:extLst>
                      <a:ext uri="{FF2B5EF4-FFF2-40B4-BE49-F238E27FC236}">
                        <a16:creationId xmlns:a16="http://schemas.microsoft.com/office/drawing/2014/main" id="{45A20A73-BD68-EF43-FB5C-DCD5F83397A2}"/>
                      </a:ext>
                    </a:extLst>
                  </p:cNvPr>
                  <p:cNvGrpSpPr/>
                  <p:nvPr/>
                </p:nvGrpSpPr>
                <p:grpSpPr>
                  <a:xfrm>
                    <a:off x="10458450" y="859989"/>
                    <a:ext cx="1304925" cy="711636"/>
                    <a:chOff x="9639300" y="816174"/>
                    <a:chExt cx="1304925" cy="711636"/>
                  </a:xfrm>
                </p:grpSpPr>
                <p:sp>
                  <p:nvSpPr>
                    <p:cNvPr id="31" name="Arrow: Up-Down 30">
                      <a:extLst>
                        <a:ext uri="{FF2B5EF4-FFF2-40B4-BE49-F238E27FC236}">
                          <a16:creationId xmlns:a16="http://schemas.microsoft.com/office/drawing/2014/main" id="{B4B080EB-93A2-8435-21CD-298C5AEAFB2B}"/>
                        </a:ext>
                      </a:extLst>
                    </p:cNvPr>
                    <p:cNvSpPr/>
                    <p:nvPr/>
                  </p:nvSpPr>
                  <p:spPr>
                    <a:xfrm>
                      <a:off x="10489219" y="1080135"/>
                      <a:ext cx="283556" cy="447675"/>
                    </a:xfrm>
                    <a:prstGeom prst="upDown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extBox 31">
                      <a:extLst>
                        <a:ext uri="{FF2B5EF4-FFF2-40B4-BE49-F238E27FC236}">
                          <a16:creationId xmlns:a16="http://schemas.microsoft.com/office/drawing/2014/main" id="{A0F517EC-8D63-D54B-E9FD-7712833F940A}"/>
                        </a:ext>
                      </a:extLst>
                    </p:cNvPr>
                    <p:cNvSpPr txBox="1"/>
                    <p:nvPr/>
                  </p:nvSpPr>
                  <p:spPr>
                    <a:xfrm>
                      <a:off x="9639300" y="816174"/>
                      <a:ext cx="1304925" cy="307777"/>
                    </a:xfrm>
                    <a:prstGeom prst="rect">
                      <a:avLst/>
                    </a:prstGeom>
                    <a:noFill/>
                  </p:spPr>
                  <p:txBody>
                    <a:bodyPr wrap="square" rtlCol="0">
                      <a:spAutoFit/>
                    </a:bodyPr>
                    <a:lstStyle/>
                    <a:p>
                      <a:r>
                        <a:rPr lang="en-GB" sz="1400" b="1" dirty="0"/>
                        <a:t>30% shortfall</a:t>
                      </a:r>
                    </a:p>
                  </p:txBody>
                </p:sp>
              </p:grpSp>
              <p:sp>
                <p:nvSpPr>
                  <p:cNvPr id="28" name="TextBox 27">
                    <a:extLst>
                      <a:ext uri="{FF2B5EF4-FFF2-40B4-BE49-F238E27FC236}">
                        <a16:creationId xmlns:a16="http://schemas.microsoft.com/office/drawing/2014/main" id="{165A7704-29F0-9F38-AAA4-4E30EF310C44}"/>
                      </a:ext>
                    </a:extLst>
                  </p:cNvPr>
                  <p:cNvSpPr txBox="1"/>
                  <p:nvPr/>
                </p:nvSpPr>
                <p:spPr>
                  <a:xfrm>
                    <a:off x="7691718" y="3427911"/>
                    <a:ext cx="3758429" cy="784830"/>
                  </a:xfrm>
                  <a:prstGeom prst="rect">
                    <a:avLst/>
                  </a:prstGeom>
                  <a:noFill/>
                </p:spPr>
                <p:txBody>
                  <a:bodyPr wrap="square" rtlCol="0">
                    <a:spAutoFit/>
                  </a:bodyPr>
                  <a:lstStyle/>
                  <a:p>
                    <a:r>
                      <a:rPr lang="en-GB" sz="1500" dirty="0"/>
                      <a:t>Rates do not represent the last decade – but AAL matches industry experience – only achievable by adjusting severity</a:t>
                    </a:r>
                  </a:p>
                </p:txBody>
              </p:sp>
            </p:grpSp>
          </p:grpSp>
        </p:grpSp>
        <p:grpSp>
          <p:nvGrpSpPr>
            <p:cNvPr id="67" name="Group 66">
              <a:extLst>
                <a:ext uri="{FF2B5EF4-FFF2-40B4-BE49-F238E27FC236}">
                  <a16:creationId xmlns:a16="http://schemas.microsoft.com/office/drawing/2014/main" id="{460437CC-6D82-755C-EE74-45FDF56FB4C9}"/>
                </a:ext>
              </a:extLst>
            </p:cNvPr>
            <p:cNvGrpSpPr/>
            <p:nvPr/>
          </p:nvGrpSpPr>
          <p:grpSpPr>
            <a:xfrm>
              <a:off x="1901473" y="3427911"/>
              <a:ext cx="4836591" cy="3123200"/>
              <a:chOff x="1901473" y="3427911"/>
              <a:chExt cx="4836591" cy="3123200"/>
            </a:xfrm>
          </p:grpSpPr>
          <p:grpSp>
            <p:nvGrpSpPr>
              <p:cNvPr id="33" name="Group 32">
                <a:extLst>
                  <a:ext uri="{FF2B5EF4-FFF2-40B4-BE49-F238E27FC236}">
                    <a16:creationId xmlns:a16="http://schemas.microsoft.com/office/drawing/2014/main" id="{ABEE31E8-DC50-4E59-7231-2EF0BAB48E74}"/>
                  </a:ext>
                </a:extLst>
              </p:cNvPr>
              <p:cNvGrpSpPr/>
              <p:nvPr/>
            </p:nvGrpSpPr>
            <p:grpSpPr>
              <a:xfrm>
                <a:off x="1901473" y="3427911"/>
                <a:ext cx="4836591" cy="3123200"/>
                <a:chOff x="694297" y="3479808"/>
                <a:chExt cx="4836591" cy="3123200"/>
              </a:xfrm>
            </p:grpSpPr>
            <p:sp>
              <p:nvSpPr>
                <p:cNvPr id="34" name="TextBox 33">
                  <a:extLst>
                    <a:ext uri="{FF2B5EF4-FFF2-40B4-BE49-F238E27FC236}">
                      <a16:creationId xmlns:a16="http://schemas.microsoft.com/office/drawing/2014/main" id="{7944DA0C-404D-2F93-561A-2F393983988D}"/>
                    </a:ext>
                  </a:extLst>
                </p:cNvPr>
                <p:cNvSpPr txBox="1"/>
                <p:nvPr/>
              </p:nvSpPr>
              <p:spPr>
                <a:xfrm>
                  <a:off x="694297" y="3479808"/>
                  <a:ext cx="4836591" cy="338554"/>
                </a:xfrm>
                <a:prstGeom prst="rect">
                  <a:avLst/>
                </a:prstGeom>
                <a:noFill/>
              </p:spPr>
              <p:txBody>
                <a:bodyPr wrap="square" rtlCol="0">
                  <a:spAutoFit/>
                </a:bodyPr>
                <a:lstStyle/>
                <a:p>
                  <a:r>
                    <a:rPr lang="en-GB" sz="1600" b="1" dirty="0">
                      <a:solidFill>
                        <a:srgbClr val="C00000"/>
                      </a:solidFill>
                    </a:rPr>
                    <a:t>3. VULNERABILITY AS A “VOLUME CONTROL”</a:t>
                  </a:r>
                </a:p>
              </p:txBody>
            </p:sp>
            <p:pic>
              <p:nvPicPr>
                <p:cNvPr id="36" name="Picture 35">
                  <a:extLst>
                    <a:ext uri="{FF2B5EF4-FFF2-40B4-BE49-F238E27FC236}">
                      <a16:creationId xmlns:a16="http://schemas.microsoft.com/office/drawing/2014/main" id="{9E4AE0D2-A6C4-1ACC-5256-A317606CE696}"/>
                    </a:ext>
                  </a:extLst>
                </p:cNvPr>
                <p:cNvPicPr>
                  <a:picLocks noChangeAspect="1"/>
                </p:cNvPicPr>
                <p:nvPr/>
              </p:nvPicPr>
              <p:blipFill>
                <a:blip r:embed="rId3"/>
                <a:stretch>
                  <a:fillRect/>
                </a:stretch>
              </p:blipFill>
              <p:spPr>
                <a:xfrm>
                  <a:off x="821258" y="3849140"/>
                  <a:ext cx="4582668" cy="2753868"/>
                </a:xfrm>
                <a:prstGeom prst="rect">
                  <a:avLst/>
                </a:prstGeom>
                <a:ln>
                  <a:solidFill>
                    <a:schemeClr val="tx1"/>
                  </a:solidFill>
                </a:ln>
              </p:spPr>
            </p:pic>
          </p:grpSp>
          <p:sp>
            <p:nvSpPr>
              <p:cNvPr id="66" name="TextBox 65">
                <a:extLst>
                  <a:ext uri="{FF2B5EF4-FFF2-40B4-BE49-F238E27FC236}">
                    <a16:creationId xmlns:a16="http://schemas.microsoft.com/office/drawing/2014/main" id="{DB9E6F26-FE3D-9627-3418-AFA780CA0C39}"/>
                  </a:ext>
                </a:extLst>
              </p:cNvPr>
              <p:cNvSpPr txBox="1"/>
              <p:nvPr/>
            </p:nvSpPr>
            <p:spPr>
              <a:xfrm>
                <a:off x="3953513" y="4982846"/>
                <a:ext cx="2784551" cy="553998"/>
              </a:xfrm>
              <a:prstGeom prst="rect">
                <a:avLst/>
              </a:prstGeom>
              <a:noFill/>
            </p:spPr>
            <p:txBody>
              <a:bodyPr wrap="square" rtlCol="0">
                <a:spAutoFit/>
              </a:bodyPr>
              <a:lstStyle/>
              <a:p>
                <a:pPr algn="ctr"/>
                <a:r>
                  <a:rPr lang="en-GB" sz="1500" dirty="0"/>
                  <a:t>Cat model is scaled down relative to site specific model</a:t>
                </a:r>
              </a:p>
            </p:txBody>
          </p:sp>
        </p:grpSp>
        <p:grpSp>
          <p:nvGrpSpPr>
            <p:cNvPr id="9" name="Group 8">
              <a:extLst>
                <a:ext uri="{FF2B5EF4-FFF2-40B4-BE49-F238E27FC236}">
                  <a16:creationId xmlns:a16="http://schemas.microsoft.com/office/drawing/2014/main" id="{29BC8F6B-88F9-C113-4B11-B3BAC5BC433E}"/>
                </a:ext>
              </a:extLst>
            </p:cNvPr>
            <p:cNvGrpSpPr/>
            <p:nvPr/>
          </p:nvGrpSpPr>
          <p:grpSpPr>
            <a:xfrm>
              <a:off x="542202" y="107575"/>
              <a:ext cx="6060199" cy="3101864"/>
              <a:chOff x="542202" y="107575"/>
              <a:chExt cx="6060199" cy="3101864"/>
            </a:xfrm>
          </p:grpSpPr>
          <p:grpSp>
            <p:nvGrpSpPr>
              <p:cNvPr id="64" name="Group 63">
                <a:extLst>
                  <a:ext uri="{FF2B5EF4-FFF2-40B4-BE49-F238E27FC236}">
                    <a16:creationId xmlns:a16="http://schemas.microsoft.com/office/drawing/2014/main" id="{2E07DDB6-2B29-83DB-A86D-EDA38037536B}"/>
                  </a:ext>
                </a:extLst>
              </p:cNvPr>
              <p:cNvGrpSpPr/>
              <p:nvPr/>
            </p:nvGrpSpPr>
            <p:grpSpPr>
              <a:xfrm>
                <a:off x="542202" y="107575"/>
                <a:ext cx="6060199" cy="3101864"/>
                <a:chOff x="292975" y="152400"/>
                <a:chExt cx="6060199" cy="3101864"/>
              </a:xfrm>
            </p:grpSpPr>
            <p:grpSp>
              <p:nvGrpSpPr>
                <p:cNvPr id="40" name="Group 39">
                  <a:extLst>
                    <a:ext uri="{FF2B5EF4-FFF2-40B4-BE49-F238E27FC236}">
                      <a16:creationId xmlns:a16="http://schemas.microsoft.com/office/drawing/2014/main" id="{242140DC-75F9-8FAB-5212-2B9780D19020}"/>
                    </a:ext>
                  </a:extLst>
                </p:cNvPr>
                <p:cNvGrpSpPr/>
                <p:nvPr/>
              </p:nvGrpSpPr>
              <p:grpSpPr>
                <a:xfrm>
                  <a:off x="292975" y="152400"/>
                  <a:ext cx="6060199" cy="3101864"/>
                  <a:chOff x="292975" y="152400"/>
                  <a:chExt cx="6060199" cy="3101864"/>
                </a:xfrm>
              </p:grpSpPr>
              <p:pic>
                <p:nvPicPr>
                  <p:cNvPr id="41" name="Picture 40">
                    <a:extLst>
                      <a:ext uri="{FF2B5EF4-FFF2-40B4-BE49-F238E27FC236}">
                        <a16:creationId xmlns:a16="http://schemas.microsoft.com/office/drawing/2014/main" id="{0EA1F977-9F9E-D9E5-58C0-48E5BA47E517}"/>
                      </a:ext>
                    </a:extLst>
                  </p:cNvPr>
                  <p:cNvPicPr>
                    <a:picLocks noChangeAspect="1"/>
                  </p:cNvPicPr>
                  <p:nvPr/>
                </p:nvPicPr>
                <p:blipFill>
                  <a:blip r:embed="rId4"/>
                  <a:stretch>
                    <a:fillRect/>
                  </a:stretch>
                </p:blipFill>
                <p:spPr>
                  <a:xfrm>
                    <a:off x="821259" y="521732"/>
                    <a:ext cx="4517136" cy="2732532"/>
                  </a:xfrm>
                  <a:prstGeom prst="rect">
                    <a:avLst/>
                  </a:prstGeom>
                  <a:ln>
                    <a:solidFill>
                      <a:schemeClr val="tx1"/>
                    </a:solidFill>
                  </a:ln>
                </p:spPr>
              </p:pic>
              <p:sp>
                <p:nvSpPr>
                  <p:cNvPr id="42" name="TextBox 41">
                    <a:extLst>
                      <a:ext uri="{FF2B5EF4-FFF2-40B4-BE49-F238E27FC236}">
                        <a16:creationId xmlns:a16="http://schemas.microsoft.com/office/drawing/2014/main" id="{2B7458C0-5F9C-867E-B120-60D40F111539}"/>
                      </a:ext>
                    </a:extLst>
                  </p:cNvPr>
                  <p:cNvSpPr txBox="1"/>
                  <p:nvPr/>
                </p:nvSpPr>
                <p:spPr>
                  <a:xfrm>
                    <a:off x="292975" y="152400"/>
                    <a:ext cx="6060199" cy="338554"/>
                  </a:xfrm>
                  <a:prstGeom prst="rect">
                    <a:avLst/>
                  </a:prstGeom>
                  <a:noFill/>
                </p:spPr>
                <p:txBody>
                  <a:bodyPr wrap="square" rtlCol="0">
                    <a:spAutoFit/>
                  </a:bodyPr>
                  <a:lstStyle/>
                  <a:p>
                    <a:r>
                      <a:rPr lang="en-GB" sz="1600" b="1" dirty="0">
                        <a:solidFill>
                          <a:srgbClr val="C00000"/>
                        </a:solidFill>
                      </a:rPr>
                      <a:t>1. STRONG CONVERGENCE WHERE NO RECENT LOSSES</a:t>
                    </a:r>
                  </a:p>
                </p:txBody>
              </p:sp>
            </p:grpSp>
            <p:sp>
              <p:nvSpPr>
                <p:cNvPr id="63" name="TextBox 62">
                  <a:extLst>
                    <a:ext uri="{FF2B5EF4-FFF2-40B4-BE49-F238E27FC236}">
                      <a16:creationId xmlns:a16="http://schemas.microsoft.com/office/drawing/2014/main" id="{41474F3D-3C6D-EEC8-1FE2-C3D2462C4D57}"/>
                    </a:ext>
                  </a:extLst>
                </p:cNvPr>
                <p:cNvSpPr txBox="1"/>
                <p:nvPr/>
              </p:nvSpPr>
              <p:spPr>
                <a:xfrm>
                  <a:off x="2292675" y="1642980"/>
                  <a:ext cx="3719907" cy="553998"/>
                </a:xfrm>
                <a:prstGeom prst="rect">
                  <a:avLst/>
                </a:prstGeom>
                <a:solidFill>
                  <a:schemeClr val="bg1"/>
                </a:solidFill>
              </p:spPr>
              <p:txBody>
                <a:bodyPr wrap="square" rtlCol="0">
                  <a:spAutoFit/>
                </a:bodyPr>
                <a:lstStyle/>
                <a:p>
                  <a:pPr algn="ctr"/>
                  <a:r>
                    <a:rPr lang="en-GB" sz="1500" dirty="0"/>
                    <a:t>All three are almost identical at OEP 100.</a:t>
                  </a:r>
                </a:p>
                <a:p>
                  <a:pPr algn="ctr"/>
                  <a:r>
                    <a:rPr lang="en-GB" sz="1500" dirty="0"/>
                    <a:t>Two events are used to calibrate.</a:t>
                  </a:r>
                </a:p>
              </p:txBody>
            </p:sp>
          </p:grpSp>
          <p:grpSp>
            <p:nvGrpSpPr>
              <p:cNvPr id="2" name="Group 1">
                <a:extLst>
                  <a:ext uri="{FF2B5EF4-FFF2-40B4-BE49-F238E27FC236}">
                    <a16:creationId xmlns:a16="http://schemas.microsoft.com/office/drawing/2014/main" id="{E240B246-52D4-511A-C319-5A6C461646F6}"/>
                  </a:ext>
                </a:extLst>
              </p:cNvPr>
              <p:cNvGrpSpPr/>
              <p:nvPr/>
            </p:nvGrpSpPr>
            <p:grpSpPr>
              <a:xfrm>
                <a:off x="1433650" y="1655584"/>
                <a:ext cx="1135778" cy="641665"/>
                <a:chOff x="1197195" y="1693812"/>
                <a:chExt cx="1135778" cy="641665"/>
              </a:xfrm>
            </p:grpSpPr>
            <p:sp>
              <p:nvSpPr>
                <p:cNvPr id="3" name="Star: 5 Points 2">
                  <a:extLst>
                    <a:ext uri="{FF2B5EF4-FFF2-40B4-BE49-F238E27FC236}">
                      <a16:creationId xmlns:a16="http://schemas.microsoft.com/office/drawing/2014/main" id="{22FCBDE5-FB73-5A48-7816-D6544FD01F20}"/>
                    </a:ext>
                  </a:extLst>
                </p:cNvPr>
                <p:cNvSpPr/>
                <p:nvPr/>
              </p:nvSpPr>
              <p:spPr>
                <a:xfrm>
                  <a:off x="1197195" y="2035395"/>
                  <a:ext cx="180000" cy="180000"/>
                </a:xfrm>
                <a:prstGeom prst="star5">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a:extLst>
                    <a:ext uri="{FF2B5EF4-FFF2-40B4-BE49-F238E27FC236}">
                      <a16:creationId xmlns:a16="http://schemas.microsoft.com/office/drawing/2014/main" id="{11F7409A-CEB2-A3D0-1DF5-F788B4E95B8E}"/>
                    </a:ext>
                  </a:extLst>
                </p:cNvPr>
                <p:cNvGrpSpPr/>
                <p:nvPr/>
              </p:nvGrpSpPr>
              <p:grpSpPr>
                <a:xfrm>
                  <a:off x="1287195" y="1693812"/>
                  <a:ext cx="1045778" cy="641665"/>
                  <a:chOff x="1287195" y="1693812"/>
                  <a:chExt cx="1045778" cy="641665"/>
                </a:xfrm>
              </p:grpSpPr>
              <p:sp>
                <p:nvSpPr>
                  <p:cNvPr id="5" name="Star: 5 Points 4">
                    <a:extLst>
                      <a:ext uri="{FF2B5EF4-FFF2-40B4-BE49-F238E27FC236}">
                        <a16:creationId xmlns:a16="http://schemas.microsoft.com/office/drawing/2014/main" id="{68AAF2AA-8E08-0FF0-FDA9-AEF407A8DF20}"/>
                      </a:ext>
                    </a:extLst>
                  </p:cNvPr>
                  <p:cNvSpPr/>
                  <p:nvPr/>
                </p:nvSpPr>
                <p:spPr>
                  <a:xfrm>
                    <a:off x="1622862" y="1693812"/>
                    <a:ext cx="180000" cy="180000"/>
                  </a:xfrm>
                  <a:prstGeom prst="star5">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oup 5">
                    <a:extLst>
                      <a:ext uri="{FF2B5EF4-FFF2-40B4-BE49-F238E27FC236}">
                        <a16:creationId xmlns:a16="http://schemas.microsoft.com/office/drawing/2014/main" id="{03CE55AE-9883-2C08-29AD-ED672B4D5B9E}"/>
                      </a:ext>
                    </a:extLst>
                  </p:cNvPr>
                  <p:cNvGrpSpPr/>
                  <p:nvPr/>
                </p:nvGrpSpPr>
                <p:grpSpPr>
                  <a:xfrm>
                    <a:off x="1287195" y="1719923"/>
                    <a:ext cx="1045778" cy="615554"/>
                    <a:chOff x="1287195" y="1719923"/>
                    <a:chExt cx="1045778" cy="615554"/>
                  </a:xfrm>
                </p:grpSpPr>
                <p:sp>
                  <p:nvSpPr>
                    <p:cNvPr id="7" name="TextBox 6">
                      <a:extLst>
                        <a:ext uri="{FF2B5EF4-FFF2-40B4-BE49-F238E27FC236}">
                          <a16:creationId xmlns:a16="http://schemas.microsoft.com/office/drawing/2014/main" id="{9DF441CB-C538-196F-32C9-A13EE1000252}"/>
                        </a:ext>
                      </a:extLst>
                    </p:cNvPr>
                    <p:cNvSpPr txBox="1"/>
                    <p:nvPr/>
                  </p:nvSpPr>
                  <p:spPr>
                    <a:xfrm>
                      <a:off x="1712862" y="1719923"/>
                      <a:ext cx="620111" cy="307777"/>
                    </a:xfrm>
                    <a:prstGeom prst="rect">
                      <a:avLst/>
                    </a:prstGeom>
                    <a:noFill/>
                  </p:spPr>
                  <p:txBody>
                    <a:bodyPr wrap="square" rtlCol="0">
                      <a:spAutoFit/>
                    </a:bodyPr>
                    <a:lstStyle/>
                    <a:p>
                      <a:r>
                        <a:rPr lang="en-GB" sz="1400" b="1" dirty="0"/>
                        <a:t>1906</a:t>
                      </a:r>
                    </a:p>
                  </p:txBody>
                </p:sp>
                <p:sp>
                  <p:nvSpPr>
                    <p:cNvPr id="8" name="TextBox 7">
                      <a:extLst>
                        <a:ext uri="{FF2B5EF4-FFF2-40B4-BE49-F238E27FC236}">
                          <a16:creationId xmlns:a16="http://schemas.microsoft.com/office/drawing/2014/main" id="{6FAA9222-6ABA-5EA1-7E31-65C4F90B4F9F}"/>
                        </a:ext>
                      </a:extLst>
                    </p:cNvPr>
                    <p:cNvSpPr txBox="1"/>
                    <p:nvPr/>
                  </p:nvSpPr>
                  <p:spPr>
                    <a:xfrm>
                      <a:off x="1287195" y="2027700"/>
                      <a:ext cx="620111" cy="307777"/>
                    </a:xfrm>
                    <a:prstGeom prst="rect">
                      <a:avLst/>
                    </a:prstGeom>
                    <a:noFill/>
                  </p:spPr>
                  <p:txBody>
                    <a:bodyPr wrap="square" rtlCol="0">
                      <a:spAutoFit/>
                    </a:bodyPr>
                    <a:lstStyle/>
                    <a:p>
                      <a:r>
                        <a:rPr lang="en-GB" sz="1400" b="1" dirty="0"/>
                        <a:t>1994</a:t>
                      </a:r>
                    </a:p>
                  </p:txBody>
                </p:sp>
              </p:grpSp>
            </p:grpSp>
          </p:grpSp>
        </p:grpSp>
      </p:grpSp>
    </p:spTree>
    <p:extLst>
      <p:ext uri="{BB962C8B-B14F-4D97-AF65-F5344CB8AC3E}">
        <p14:creationId xmlns:p14="http://schemas.microsoft.com/office/powerpoint/2010/main" val="2984447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mpo">
  <a:themeElements>
    <a:clrScheme name="SOMPO">
      <a:dk1>
        <a:srgbClr val="000000"/>
      </a:dk1>
      <a:lt1>
        <a:srgbClr val="FFFFFF"/>
      </a:lt1>
      <a:dk2>
        <a:srgbClr val="9B2222"/>
      </a:dk2>
      <a:lt2>
        <a:srgbClr val="FFF1F1"/>
      </a:lt2>
      <a:accent1>
        <a:srgbClr val="DF082A"/>
      </a:accent1>
      <a:accent2>
        <a:srgbClr val="9B2222"/>
      </a:accent2>
      <a:accent3>
        <a:srgbClr val="EEAAAA"/>
      </a:accent3>
      <a:accent4>
        <a:srgbClr val="93989C"/>
      </a:accent4>
      <a:accent5>
        <a:srgbClr val="C8CED2"/>
      </a:accent5>
      <a:accent6>
        <a:srgbClr val="874CA9"/>
      </a:accent6>
      <a:hlink>
        <a:srgbClr val="DF082A"/>
      </a:hlink>
      <a:folHlink>
        <a:srgbClr val="93989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err="1" smtClean="0"/>
        </a:defPPr>
      </a:lstStyle>
    </a:txDef>
  </a:objectDefaults>
  <a:extraClrSchemeLst/>
  <a:custClrLst>
    <a:custClr name="Dark Purple">
      <a:srgbClr val="874CA9"/>
    </a:custClr>
    <a:custClr name="Medium Purple">
      <a:srgbClr val="A78AD1"/>
    </a:custClr>
    <a:custClr name="Light Purple">
      <a:srgbClr val="D2BDFF"/>
    </a:custClr>
    <a:custClr name="Dark Orange">
      <a:srgbClr val="AE6A19"/>
    </a:custClr>
    <a:custClr name="Medium Orange">
      <a:srgbClr val="FC9F31"/>
    </a:custClr>
    <a:custClr name="Light Orange">
      <a:srgbClr val="FFC47E"/>
    </a:custClr>
    <a:custClr name="Light Platinum">
      <a:srgbClr val="EFF4F5"/>
    </a:custClr>
  </a:custClrLst>
  <a:extLst>
    <a:ext uri="{05A4C25C-085E-4340-85A3-A5531E510DB2}">
      <thm15:themeFamily xmlns:thm15="http://schemas.microsoft.com/office/thememl/2012/main" name="SOMPO-PowerPointTemplate-StandardVersion_0030724[17]  -  Read-Only" id="{BDDB6789-7383-364E-9354-7D56073029C0}" vid="{A7F07511-E880-B54D-B7BD-9C909052B9FF}"/>
    </a:ext>
  </a:extLst>
</a:theme>
</file>

<file path=ppt/theme/theme2.xml><?xml version="1.0" encoding="utf-8"?>
<a:theme xmlns:a="http://schemas.openxmlformats.org/drawingml/2006/main" name="Office Theme">
  <a:themeElements>
    <a:clrScheme name="Sompo">
      <a:dk1>
        <a:srgbClr val="000000"/>
      </a:dk1>
      <a:lt1>
        <a:srgbClr val="FFFFFF"/>
      </a:lt1>
      <a:dk2>
        <a:srgbClr val="9B2222"/>
      </a:dk2>
      <a:lt2>
        <a:srgbClr val="FFF1F1"/>
      </a:lt2>
      <a:accent1>
        <a:srgbClr val="DF082A"/>
      </a:accent1>
      <a:accent2>
        <a:srgbClr val="9B2222"/>
      </a:accent2>
      <a:accent3>
        <a:srgbClr val="EEAAAA"/>
      </a:accent3>
      <a:accent4>
        <a:srgbClr val="93989C"/>
      </a:accent4>
      <a:accent5>
        <a:srgbClr val="C8CED2"/>
      </a:accent5>
      <a:accent6>
        <a:srgbClr val="874CA9"/>
      </a:accent6>
      <a:hlink>
        <a:srgbClr val="DF082A"/>
      </a:hlink>
      <a:folHlink>
        <a:srgbClr val="93989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Purple">
      <a:srgbClr val="874CA9"/>
    </a:custClr>
    <a:custClr name="Medium Purple">
      <a:srgbClr val="A78AD1"/>
    </a:custClr>
    <a:custClr name="Light Purple">
      <a:srgbClr val="D2BDFF"/>
    </a:custClr>
    <a:custClr name="Dark Orange">
      <a:srgbClr val="AE6A19"/>
    </a:custClr>
    <a:custClr name="Medium Orange">
      <a:srgbClr val="FC9F31"/>
    </a:custClr>
    <a:custClr name="Light Orange">
      <a:srgbClr val="FFC47E"/>
    </a:custClr>
    <a:custClr name="Light Platinum">
      <a:srgbClr val="EFF4F5"/>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ompo">
      <a:dk1>
        <a:srgbClr val="000000"/>
      </a:dk1>
      <a:lt1>
        <a:srgbClr val="FFFFFF"/>
      </a:lt1>
      <a:dk2>
        <a:srgbClr val="9B2222"/>
      </a:dk2>
      <a:lt2>
        <a:srgbClr val="FFF1F1"/>
      </a:lt2>
      <a:accent1>
        <a:srgbClr val="DF082A"/>
      </a:accent1>
      <a:accent2>
        <a:srgbClr val="9B2222"/>
      </a:accent2>
      <a:accent3>
        <a:srgbClr val="EEAAAA"/>
      </a:accent3>
      <a:accent4>
        <a:srgbClr val="93989C"/>
      </a:accent4>
      <a:accent5>
        <a:srgbClr val="C8CED2"/>
      </a:accent5>
      <a:accent6>
        <a:srgbClr val="874CA9"/>
      </a:accent6>
      <a:hlink>
        <a:srgbClr val="DF082A"/>
      </a:hlink>
      <a:folHlink>
        <a:srgbClr val="93989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Purple">
      <a:srgbClr val="874CA9"/>
    </a:custClr>
    <a:custClr name="Medium Purple">
      <a:srgbClr val="A78AD1"/>
    </a:custClr>
    <a:custClr name="Light Purple">
      <a:srgbClr val="D2BDFF"/>
    </a:custClr>
    <a:custClr name="Dark Orange">
      <a:srgbClr val="AE6A19"/>
    </a:custClr>
    <a:custClr name="Medium Orange">
      <a:srgbClr val="FC9F31"/>
    </a:custClr>
    <a:custClr name="Light Orange">
      <a:srgbClr val="FFC47E"/>
    </a:custClr>
    <a:custClr name="Light Platinum">
      <a:srgbClr val="EFF4F5"/>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F093BC43E38944AAD9704928BFC9013" ma:contentTypeVersion="21" ma:contentTypeDescription="Create a new document." ma:contentTypeScope="" ma:versionID="63b243f4d02319e3699cb5da70b8ffe9">
  <xsd:schema xmlns:xsd="http://www.w3.org/2001/XMLSchema" xmlns:xs="http://www.w3.org/2001/XMLSchema" xmlns:p="http://schemas.microsoft.com/office/2006/metadata/properties" xmlns:ns2="6a0b7e70-5888-44be-9c8e-787da007b5ad" xmlns:ns3="b721b582-8b61-4450-8a89-3fffe0905a7e" targetNamespace="http://schemas.microsoft.com/office/2006/metadata/properties" ma:root="true" ma:fieldsID="b6aa3a3505dd0d25436974fad5e51b98" ns2:_="" ns3:_="">
    <xsd:import namespace="6a0b7e70-5888-44be-9c8e-787da007b5ad"/>
    <xsd:import namespace="b721b582-8b61-4450-8a89-3fffe0905a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3:TaxCatchAll" minOccurs="0"/>
                <xsd:element ref="ns2:lcf76f155ced4ddcb4097134ff3c332f" minOccurs="0"/>
                <xsd:element ref="ns2:MediaServiceObjectDetectorVersions" minOccurs="0"/>
                <xsd:element ref="ns2:DateAdded"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0b7e70-5888-44be-9c8e-787da007b5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0b0bba67-c0a4-400a-b9cc-2fce6262d31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DateAdded" ma:index="25" nillable="true" ma:displayName="Date Added" ma:format="DateOnly" ma:internalName="DateAdded">
      <xsd:simpleType>
        <xsd:restriction base="dms:DateTime"/>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21b582-8b61-4450-8a89-3fffe0905a7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1eceaf39-c74a-4105-8d31-d8727b325017}" ma:internalName="TaxCatchAll" ma:showField="CatchAllData" ma:web="b721b582-8b61-4450-8a89-3fffe0905a7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3978EA-4FE8-405C-9BBD-B795E7FDA1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0b7e70-5888-44be-9c8e-787da007b5ad"/>
    <ds:schemaRef ds:uri="b721b582-8b61-4450-8a89-3fffe0905a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72FD0B0-B814-49E9-871E-D82F01CA3AA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OMPO-PowerPointTemplate-StandardVersion_030724</Template>
  <TotalTime>795</TotalTime>
  <Words>75</Words>
  <Application>Microsoft Office PowerPoint</Application>
  <PresentationFormat>Widescreen</PresentationFormat>
  <Paragraphs>10</Paragraphs>
  <Slides>1</Slides>
  <Notes>0</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4" baseType="lpstr">
      <vt:lpstr>Arial</vt:lpstr>
      <vt:lpstr>Sompo</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ghtful presentation title  (max 3 lines)</dc:title>
  <dc:creator>Catarino, Andrea</dc:creator>
  <cp:lastModifiedBy>Winspear, Nigel</cp:lastModifiedBy>
  <cp:revision>87</cp:revision>
  <dcterms:created xsi:type="dcterms:W3CDTF">2025-02-03T16:53:58Z</dcterms:created>
  <dcterms:modified xsi:type="dcterms:W3CDTF">2026-04-22T11:1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f1469a-2c2a-4aee-b92b-090d4c5468ff_Enabled">
    <vt:lpwstr>true</vt:lpwstr>
  </property>
  <property fmtid="{D5CDD505-2E9C-101B-9397-08002B2CF9AE}" pid="3" name="MSIP_Label_38f1469a-2c2a-4aee-b92b-090d4c5468ff_SetDate">
    <vt:lpwstr>2023-10-05T16:51:47Z</vt:lpwstr>
  </property>
  <property fmtid="{D5CDD505-2E9C-101B-9397-08002B2CF9AE}" pid="4" name="MSIP_Label_38f1469a-2c2a-4aee-b92b-090d4c5468ff_Method">
    <vt:lpwstr>Standard</vt:lpwstr>
  </property>
  <property fmtid="{D5CDD505-2E9C-101B-9397-08002B2CF9AE}" pid="5" name="MSIP_Label_38f1469a-2c2a-4aee-b92b-090d4c5468ff_Name">
    <vt:lpwstr>Confidential - Unmarked</vt:lpwstr>
  </property>
  <property fmtid="{D5CDD505-2E9C-101B-9397-08002B2CF9AE}" pid="6" name="MSIP_Label_38f1469a-2c2a-4aee-b92b-090d4c5468ff_SiteId">
    <vt:lpwstr>2a6e6092-73e4-4752-b1a5-477a17f5056d</vt:lpwstr>
  </property>
  <property fmtid="{D5CDD505-2E9C-101B-9397-08002B2CF9AE}" pid="7" name="MSIP_Label_38f1469a-2c2a-4aee-b92b-090d4c5468ff_ActionId">
    <vt:lpwstr>fecdaf3c-f185-4373-91eb-0d8195c00591</vt:lpwstr>
  </property>
  <property fmtid="{D5CDD505-2E9C-101B-9397-08002B2CF9AE}" pid="8" name="MSIP_Label_38f1469a-2c2a-4aee-b92b-090d4c5468ff_ContentBits">
    <vt:lpwstr>0</vt:lpwstr>
  </property>
  <property fmtid="{D5CDD505-2E9C-101B-9397-08002B2CF9AE}" pid="9" name="DTPToolkitLastOptimized">
    <vt:lpwstr>703.67</vt:lpwstr>
  </property>
</Properties>
</file>